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962" r:id="rId4"/>
    <p:sldMasterId id="2147484087" r:id="rId5"/>
    <p:sldMasterId id="2147484125" r:id="rId6"/>
  </p:sldMasterIdLst>
  <p:notesMasterIdLst>
    <p:notesMasterId r:id="rId47"/>
  </p:notesMasterIdLst>
  <p:handoutMasterIdLst>
    <p:handoutMasterId r:id="rId48"/>
  </p:handoutMasterIdLst>
  <p:sldIdLst>
    <p:sldId id="2145706857" r:id="rId7"/>
    <p:sldId id="2145706777" r:id="rId8"/>
    <p:sldId id="2145706770" r:id="rId9"/>
    <p:sldId id="2145706818" r:id="rId10"/>
    <p:sldId id="2145706904" r:id="rId11"/>
    <p:sldId id="2145706884" r:id="rId12"/>
    <p:sldId id="2145706844" r:id="rId13"/>
    <p:sldId id="2145706919" r:id="rId14"/>
    <p:sldId id="2145706827" r:id="rId15"/>
    <p:sldId id="2145706824" r:id="rId16"/>
    <p:sldId id="2145706923" r:id="rId17"/>
    <p:sldId id="2145706771" r:id="rId18"/>
    <p:sldId id="2145706908" r:id="rId19"/>
    <p:sldId id="2145706931" r:id="rId20"/>
    <p:sldId id="2145706795" r:id="rId21"/>
    <p:sldId id="2145706924" r:id="rId22"/>
    <p:sldId id="2145706734" r:id="rId23"/>
    <p:sldId id="2145706925" r:id="rId24"/>
    <p:sldId id="2145706885" r:id="rId25"/>
    <p:sldId id="2145706886" r:id="rId26"/>
    <p:sldId id="2145706888" r:id="rId27"/>
    <p:sldId id="2145706889" r:id="rId28"/>
    <p:sldId id="2145706895" r:id="rId29"/>
    <p:sldId id="2145706928" r:id="rId30"/>
    <p:sldId id="2145706893" r:id="rId31"/>
    <p:sldId id="2145706916" r:id="rId32"/>
    <p:sldId id="2145706930" r:id="rId33"/>
    <p:sldId id="2145706890" r:id="rId34"/>
    <p:sldId id="2145706875" r:id="rId35"/>
    <p:sldId id="2145706801" r:id="rId36"/>
    <p:sldId id="2145706780" r:id="rId37"/>
    <p:sldId id="2145706932" r:id="rId38"/>
    <p:sldId id="2145706922" r:id="rId39"/>
    <p:sldId id="2145706926" r:id="rId40"/>
    <p:sldId id="2145706874" r:id="rId41"/>
    <p:sldId id="1084" r:id="rId42"/>
    <p:sldId id="2145706899" r:id="rId43"/>
    <p:sldId id="2145706900" r:id="rId44"/>
    <p:sldId id="2145706819" r:id="rId45"/>
    <p:sldId id="2145706639" r:id="rId46"/>
  </p:sldIdLst>
  <p:sldSz cx="12192000" cy="6858000"/>
  <p:notesSz cx="6797675" cy="9926638"/>
  <p:embeddedFontLst>
    <p:embeddedFont>
      <p:font typeface="Calibri" panose="020F0502020204030204" pitchFamily="34" charset="0"/>
      <p:regular r:id="rId49"/>
      <p:bold r:id="rId50"/>
      <p:italic r:id="rId51"/>
      <p:boldItalic r:id="rId52"/>
    </p:embeddedFont>
    <p:embeddedFont>
      <p:font typeface="Calibri Light" panose="020F0302020204030204" pitchFamily="34" charset="0"/>
      <p:regular r:id="rId53"/>
      <p:italic r:id="rId54"/>
    </p:embeddedFont>
    <p:embeddedFont>
      <p:font typeface="Georgia" panose="02040502050405020303" pitchFamily="18" charset="0"/>
      <p:regular r:id="rId55"/>
      <p:bold r:id="rId56"/>
      <p:italic r:id="rId57"/>
      <p:boldItalic r:id="rId58"/>
    </p:embeddedFont>
    <p:embeddedFont>
      <p:font typeface="roboto" panose="02000000000000000000" pitchFamily="2" charset="0"/>
      <p:regular r:id="rId59"/>
      <p:bold r:id="rId60"/>
      <p:italic r:id="rId61"/>
      <p:boldItalic r:id="rId62"/>
    </p:embeddedFont>
    <p:embeddedFont>
      <p:font typeface="Ubuntu" panose="020B0504030602030204" pitchFamily="34" charset="0"/>
      <p:regular r:id="rId63"/>
      <p:bold r:id="rId64"/>
      <p:italic r:id="rId65"/>
      <p:boldItalic r:id="rId66"/>
    </p:embeddedFont>
    <p:embeddedFont>
      <p:font typeface="Ubuntu Light" panose="020B0304030602030204" pitchFamily="34" charset="0"/>
      <p:regular r:id="rId67"/>
      <p:italic r:id="rId68"/>
    </p:embeddedFont>
    <p:embeddedFont>
      <p:font typeface="Ubuntu Medium" panose="020B0604030602030204" pitchFamily="34" charset="0"/>
      <p:regular r:id="rId69"/>
      <p:italic r:id="rId70"/>
    </p:embeddedFont>
    <p:embeddedFont>
      <p:font typeface="Verdana" panose="020B0604030504040204" pitchFamily="34" charset="0"/>
      <p:regular r:id="rId71"/>
      <p:bold r:id="rId72"/>
      <p:italic r:id="rId73"/>
      <p:boldItalic r:id="rId74"/>
    </p:embeddedFont>
  </p:embeddedFontLst>
  <p:custDataLst>
    <p:tags r:id="rId75"/>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3AD6611-A864-5245-FA41-B8763F127D7D}" name="Lewiner, Colette" initials="LC" userId="S::colette.lewiner.externe@capgemini.com::42447d0a-e5ab-4f7f-bdde-be8bc8c8715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29B"/>
    <a:srgbClr val="007D74"/>
    <a:srgbClr val="1599A3"/>
    <a:srgbClr val="00BEC8"/>
    <a:srgbClr val="272936"/>
    <a:srgbClr val="0F6A71"/>
    <a:srgbClr val="336B7D"/>
    <a:srgbClr val="00B0A3"/>
    <a:srgbClr val="0F6A72"/>
    <a:srgbClr val="0070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864" y="58"/>
      </p:cViewPr>
      <p:guideLst>
        <p:guide orient="horz" pos="2341"/>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notesMaster" Target="notesMasters/notesMaster1.xml"/><Relationship Id="rId50" Type="http://schemas.openxmlformats.org/officeDocument/2006/relationships/font" Target="fonts/font2.fntdata"/><Relationship Id="rId55" Type="http://schemas.openxmlformats.org/officeDocument/2006/relationships/font" Target="fonts/font7.fntdata"/><Relationship Id="rId63" Type="http://schemas.openxmlformats.org/officeDocument/2006/relationships/font" Target="fonts/font15.fntdata"/><Relationship Id="rId68" Type="http://schemas.openxmlformats.org/officeDocument/2006/relationships/font" Target="fonts/font20.fntdata"/><Relationship Id="rId76"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font" Target="fonts/font23.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font" Target="fonts/font5.fntdata"/><Relationship Id="rId58" Type="http://schemas.openxmlformats.org/officeDocument/2006/relationships/font" Target="fonts/font10.fntdata"/><Relationship Id="rId66" Type="http://schemas.openxmlformats.org/officeDocument/2006/relationships/font" Target="fonts/font18.fntdata"/><Relationship Id="rId74" Type="http://schemas.openxmlformats.org/officeDocument/2006/relationships/font" Target="fonts/font26.fntdata"/><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13.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font" Target="fonts/font4.fntdata"/><Relationship Id="rId60" Type="http://schemas.openxmlformats.org/officeDocument/2006/relationships/font" Target="fonts/font12.fntdata"/><Relationship Id="rId65" Type="http://schemas.openxmlformats.org/officeDocument/2006/relationships/font" Target="fonts/font17.fntdata"/><Relationship Id="rId73" Type="http://schemas.openxmlformats.org/officeDocument/2006/relationships/font" Target="fonts/font25.fntdata"/><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handoutMaster" Target="handoutMasters/handoutMaster1.xml"/><Relationship Id="rId56" Type="http://schemas.openxmlformats.org/officeDocument/2006/relationships/font" Target="fonts/font8.fntdata"/><Relationship Id="rId64" Type="http://schemas.openxmlformats.org/officeDocument/2006/relationships/font" Target="fonts/font16.fntdata"/><Relationship Id="rId69" Type="http://schemas.openxmlformats.org/officeDocument/2006/relationships/font" Target="fonts/font21.fntdata"/><Relationship Id="rId77"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font" Target="fonts/font3.fntdata"/><Relationship Id="rId72" Type="http://schemas.openxmlformats.org/officeDocument/2006/relationships/font" Target="fonts/font24.fntdata"/><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11.fntdata"/><Relationship Id="rId67" Type="http://schemas.openxmlformats.org/officeDocument/2006/relationships/font" Target="fonts/font19.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6.fntdata"/><Relationship Id="rId62" Type="http://schemas.openxmlformats.org/officeDocument/2006/relationships/font" Target="fonts/font14.fntdata"/><Relationship Id="rId70" Type="http://schemas.openxmlformats.org/officeDocument/2006/relationships/font" Target="fonts/font22.fntdata"/><Relationship Id="rId75"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font" Target="fonts/font1.fntdata"/><Relationship Id="rId57" Type="http://schemas.openxmlformats.org/officeDocument/2006/relationships/font" Target="fonts/font9.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capgemini-my.sharepoint.com/personal/marie_vermersch_capgemini_com/Documents/Documents/WEMO%202022/Sources/Lithium.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Colonne1</c:v>
                </c:pt>
              </c:strCache>
            </c:strRef>
          </c:tx>
          <c:spPr>
            <a:solidFill>
              <a:srgbClr val="336B7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Germany</c:v>
                </c:pt>
                <c:pt idx="1">
                  <c:v>UK</c:v>
                </c:pt>
                <c:pt idx="2">
                  <c:v>The Netherlands</c:v>
                </c:pt>
                <c:pt idx="3">
                  <c:v>Belgium</c:v>
                </c:pt>
                <c:pt idx="4">
                  <c:v>France</c:v>
                </c:pt>
                <c:pt idx="5">
                  <c:v>Spain</c:v>
                </c:pt>
                <c:pt idx="6">
                  <c:v>Italy</c:v>
                </c:pt>
              </c:strCache>
            </c:strRef>
          </c:cat>
          <c:val>
            <c:numRef>
              <c:f>Feuil1!$B$2:$B$8</c:f>
              <c:numCache>
                <c:formatCode>General</c:formatCode>
                <c:ptCount val="7"/>
                <c:pt idx="0">
                  <c:v>40</c:v>
                </c:pt>
                <c:pt idx="1">
                  <c:v>30</c:v>
                </c:pt>
                <c:pt idx="2">
                  <c:v>7</c:v>
                </c:pt>
                <c:pt idx="3">
                  <c:v>3</c:v>
                </c:pt>
                <c:pt idx="4">
                  <c:v>1</c:v>
                </c:pt>
                <c:pt idx="5">
                  <c:v>0</c:v>
                </c:pt>
                <c:pt idx="6">
                  <c:v>0</c:v>
                </c:pt>
              </c:numCache>
            </c:numRef>
          </c:val>
          <c:extLst>
            <c:ext xmlns:c16="http://schemas.microsoft.com/office/drawing/2014/chart" uri="{C3380CC4-5D6E-409C-BE32-E72D297353CC}">
              <c16:uniqueId val="{00000000-FC8F-4928-BF10-29E65B37F34E}"/>
            </c:ext>
          </c:extLst>
        </c:ser>
        <c:dLbls>
          <c:dLblPos val="outEnd"/>
          <c:showLegendKey val="0"/>
          <c:showVal val="1"/>
          <c:showCatName val="0"/>
          <c:showSerName val="0"/>
          <c:showPercent val="0"/>
          <c:showBubbleSize val="0"/>
        </c:dLbls>
        <c:gapWidth val="219"/>
        <c:overlap val="-27"/>
        <c:axId val="482402200"/>
        <c:axId val="482402528"/>
      </c:barChart>
      <c:catAx>
        <c:axId val="482402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82402528"/>
        <c:crosses val="autoZero"/>
        <c:auto val="1"/>
        <c:lblAlgn val="ctr"/>
        <c:lblOffset val="100"/>
        <c:noMultiLvlLbl val="0"/>
      </c:catAx>
      <c:valAx>
        <c:axId val="4824025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4824022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1!$B$1</c:f>
              <c:strCache>
                <c:ptCount val="1"/>
                <c:pt idx="0">
                  <c:v>Wind 2020</c:v>
                </c:pt>
              </c:strCache>
            </c:strRef>
          </c:tx>
          <c:spPr>
            <a:solidFill>
              <a:srgbClr val="DAE3F3"/>
            </a:solidFill>
            <a:ln>
              <a:noFill/>
            </a:ln>
            <a:effectLst/>
          </c:spPr>
          <c:invertIfNegative val="0"/>
          <c:cat>
            <c:strRef>
              <c:f>Feuil1!$A$2:$A$6</c:f>
              <c:strCache>
                <c:ptCount val="5"/>
                <c:pt idx="0">
                  <c:v>Global</c:v>
                </c:pt>
                <c:pt idx="1">
                  <c:v>EU28</c:v>
                </c:pt>
                <c:pt idx="2">
                  <c:v>U.S.</c:v>
                </c:pt>
                <c:pt idx="3">
                  <c:v>China</c:v>
                </c:pt>
                <c:pt idx="4">
                  <c:v>Other</c:v>
                </c:pt>
              </c:strCache>
            </c:strRef>
          </c:cat>
          <c:val>
            <c:numRef>
              <c:f>Feuil1!$B$2:$B$6</c:f>
              <c:numCache>
                <c:formatCode>General</c:formatCode>
                <c:ptCount val="5"/>
                <c:pt idx="0">
                  <c:v>110.5</c:v>
                </c:pt>
                <c:pt idx="1">
                  <c:v>12.800000000000011</c:v>
                </c:pt>
                <c:pt idx="2">
                  <c:v>14.600000000000009</c:v>
                </c:pt>
                <c:pt idx="3">
                  <c:v>72.500000000000028</c:v>
                </c:pt>
                <c:pt idx="4">
                  <c:v>10.600000000000023</c:v>
                </c:pt>
              </c:numCache>
            </c:numRef>
          </c:val>
          <c:extLst>
            <c:ext xmlns:c16="http://schemas.microsoft.com/office/drawing/2014/chart" uri="{C3380CC4-5D6E-409C-BE32-E72D297353CC}">
              <c16:uniqueId val="{00000000-D142-4D54-9DA1-AE0CBB96E1E2}"/>
            </c:ext>
          </c:extLst>
        </c:ser>
        <c:ser>
          <c:idx val="1"/>
          <c:order val="1"/>
          <c:tx>
            <c:strRef>
              <c:f>Feuil1!$C$1</c:f>
              <c:strCache>
                <c:ptCount val="1"/>
                <c:pt idx="0">
                  <c:v>Wind 2021</c:v>
                </c:pt>
              </c:strCache>
            </c:strRef>
          </c:tx>
          <c:spPr>
            <a:solidFill>
              <a:srgbClr val="2E75B6"/>
            </a:solidFill>
            <a:ln>
              <a:noFill/>
            </a:ln>
            <a:effectLst/>
          </c:spPr>
          <c:invertIfNegative val="0"/>
          <c:cat>
            <c:strRef>
              <c:f>Feuil1!$A$2:$A$6</c:f>
              <c:strCache>
                <c:ptCount val="5"/>
                <c:pt idx="0">
                  <c:v>Global</c:v>
                </c:pt>
                <c:pt idx="1">
                  <c:v>EU28</c:v>
                </c:pt>
                <c:pt idx="2">
                  <c:v>U.S.</c:v>
                </c:pt>
                <c:pt idx="3">
                  <c:v>China</c:v>
                </c:pt>
                <c:pt idx="4">
                  <c:v>Other</c:v>
                </c:pt>
              </c:strCache>
            </c:strRef>
          </c:cat>
          <c:val>
            <c:numRef>
              <c:f>Feuil1!$C$2:$C$6</c:f>
              <c:numCache>
                <c:formatCode>General</c:formatCode>
                <c:ptCount val="5"/>
                <c:pt idx="0">
                  <c:v>93.100000000000023</c:v>
                </c:pt>
                <c:pt idx="1">
                  <c:v>15.799999999999983</c:v>
                </c:pt>
                <c:pt idx="2">
                  <c:v>13.999999999999986</c:v>
                </c:pt>
                <c:pt idx="3">
                  <c:v>46.899999999999977</c:v>
                </c:pt>
                <c:pt idx="4">
                  <c:v>16.400000000000091</c:v>
                </c:pt>
              </c:numCache>
            </c:numRef>
          </c:val>
          <c:extLst>
            <c:ext xmlns:c16="http://schemas.microsoft.com/office/drawing/2014/chart" uri="{C3380CC4-5D6E-409C-BE32-E72D297353CC}">
              <c16:uniqueId val="{00000001-D142-4D54-9DA1-AE0CBB96E1E2}"/>
            </c:ext>
          </c:extLst>
        </c:ser>
        <c:ser>
          <c:idx val="2"/>
          <c:order val="2"/>
          <c:tx>
            <c:strRef>
              <c:f>Feuil1!$D$1</c:f>
              <c:strCache>
                <c:ptCount val="1"/>
                <c:pt idx="0">
                  <c:v>Solar 2020</c:v>
                </c:pt>
              </c:strCache>
            </c:strRef>
          </c:tx>
          <c:spPr>
            <a:solidFill>
              <a:srgbClr val="FFE699"/>
            </a:solidFill>
            <a:ln>
              <a:noFill/>
            </a:ln>
            <a:effectLst/>
          </c:spPr>
          <c:invertIfNegative val="0"/>
          <c:cat>
            <c:strRef>
              <c:f>Feuil1!$A$2:$A$6</c:f>
              <c:strCache>
                <c:ptCount val="5"/>
                <c:pt idx="0">
                  <c:v>Global</c:v>
                </c:pt>
                <c:pt idx="1">
                  <c:v>EU28</c:v>
                </c:pt>
                <c:pt idx="2">
                  <c:v>U.S.</c:v>
                </c:pt>
                <c:pt idx="3">
                  <c:v>China</c:v>
                </c:pt>
                <c:pt idx="4">
                  <c:v>Other</c:v>
                </c:pt>
              </c:strCache>
            </c:strRef>
          </c:cat>
          <c:val>
            <c:numRef>
              <c:f>Feuil1!$D$2:$D$6</c:f>
              <c:numCache>
                <c:formatCode>General</c:formatCode>
                <c:ptCount val="5"/>
                <c:pt idx="0">
                  <c:v>125.59999999999991</c:v>
                </c:pt>
                <c:pt idx="1">
                  <c:v>21</c:v>
                </c:pt>
                <c:pt idx="2">
                  <c:v>14.699999999999996</c:v>
                </c:pt>
                <c:pt idx="3">
                  <c:v>48.800000000000011</c:v>
                </c:pt>
                <c:pt idx="4">
                  <c:v>41.099999999999852</c:v>
                </c:pt>
              </c:numCache>
            </c:numRef>
          </c:val>
          <c:extLst>
            <c:ext xmlns:c16="http://schemas.microsoft.com/office/drawing/2014/chart" uri="{C3380CC4-5D6E-409C-BE32-E72D297353CC}">
              <c16:uniqueId val="{00000002-D142-4D54-9DA1-AE0CBB96E1E2}"/>
            </c:ext>
          </c:extLst>
        </c:ser>
        <c:ser>
          <c:idx val="3"/>
          <c:order val="3"/>
          <c:tx>
            <c:strRef>
              <c:f>Feuil1!$E$1</c:f>
              <c:strCache>
                <c:ptCount val="1"/>
                <c:pt idx="0">
                  <c:v>Solar 2021</c:v>
                </c:pt>
              </c:strCache>
            </c:strRef>
          </c:tx>
          <c:spPr>
            <a:solidFill>
              <a:srgbClr val="FFC000"/>
            </a:solidFill>
            <a:ln>
              <a:noFill/>
            </a:ln>
            <a:effectLst/>
          </c:spPr>
          <c:invertIfNegative val="0"/>
          <c:cat>
            <c:strRef>
              <c:f>Feuil1!$A$2:$A$6</c:f>
              <c:strCache>
                <c:ptCount val="5"/>
                <c:pt idx="0">
                  <c:v>Global</c:v>
                </c:pt>
                <c:pt idx="1">
                  <c:v>EU28</c:v>
                </c:pt>
                <c:pt idx="2">
                  <c:v>U.S.</c:v>
                </c:pt>
                <c:pt idx="3">
                  <c:v>China</c:v>
                </c:pt>
                <c:pt idx="4">
                  <c:v>Other</c:v>
                </c:pt>
              </c:strCache>
            </c:strRef>
          </c:cat>
          <c:val>
            <c:numRef>
              <c:f>Feuil1!$E$2:$E$6</c:f>
              <c:numCache>
                <c:formatCode>General</c:formatCode>
                <c:ptCount val="5"/>
                <c:pt idx="0">
                  <c:v>132.80000000000007</c:v>
                </c:pt>
                <c:pt idx="1">
                  <c:v>24.099999999999994</c:v>
                </c:pt>
                <c:pt idx="2">
                  <c:v>19.900000000000006</c:v>
                </c:pt>
                <c:pt idx="3">
                  <c:v>52.999999999999972</c:v>
                </c:pt>
                <c:pt idx="4">
                  <c:v>35.800000000000068</c:v>
                </c:pt>
              </c:numCache>
            </c:numRef>
          </c:val>
          <c:extLst>
            <c:ext xmlns:c16="http://schemas.microsoft.com/office/drawing/2014/chart" uri="{C3380CC4-5D6E-409C-BE32-E72D297353CC}">
              <c16:uniqueId val="{00000004-D142-4D54-9DA1-AE0CBB96E1E2}"/>
            </c:ext>
          </c:extLst>
        </c:ser>
        <c:dLbls>
          <c:showLegendKey val="0"/>
          <c:showVal val="0"/>
          <c:showCatName val="0"/>
          <c:showSerName val="0"/>
          <c:showPercent val="0"/>
          <c:showBubbleSize val="0"/>
        </c:dLbls>
        <c:gapWidth val="219"/>
        <c:overlap val="-27"/>
        <c:axId val="895488200"/>
        <c:axId val="895482296"/>
      </c:barChart>
      <c:catAx>
        <c:axId val="89548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crossAx val="895482296"/>
        <c:crosses val="autoZero"/>
        <c:auto val="1"/>
        <c:lblAlgn val="ctr"/>
        <c:lblOffset val="100"/>
        <c:noMultiLvlLbl val="0"/>
      </c:catAx>
      <c:valAx>
        <c:axId val="8954822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sz="1800" b="0" i="0" baseline="0">
                    <a:effectLst/>
                  </a:rPr>
                  <a:t>Added Capacity [GW]</a:t>
                </a:r>
                <a:endParaRPr lang="fr-FR">
                  <a:effectLst/>
                </a:endParaRP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crossAx val="895488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in 1,000 metric tons of lithium carbonate equivalent</c:v>
          </c:tx>
          <c:spPr>
            <a:solidFill>
              <a:schemeClr val="accent1">
                <a:lumMod val="75000"/>
              </a:schemeClr>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12-DEBC-44D2-AB4C-FB9814DBDB8D}"/>
              </c:ext>
            </c:extLst>
          </c:dPt>
          <c:dPt>
            <c:idx val="1"/>
            <c:invertIfNegative val="0"/>
            <c:bubble3D val="0"/>
            <c:spPr>
              <a:solidFill>
                <a:schemeClr val="accent2"/>
              </a:solidFill>
              <a:ln>
                <a:noFill/>
              </a:ln>
              <a:effectLst/>
            </c:spPr>
            <c:extLst>
              <c:ext xmlns:c16="http://schemas.microsoft.com/office/drawing/2014/chart" uri="{C3380CC4-5D6E-409C-BE32-E72D297353CC}">
                <c16:uniqueId val="{00000013-DEBC-44D2-AB4C-FB9814DBDB8D}"/>
              </c:ext>
            </c:extLst>
          </c:dPt>
          <c:dPt>
            <c:idx val="2"/>
            <c:invertIfNegative val="0"/>
            <c:bubble3D val="0"/>
            <c:spPr>
              <a:solidFill>
                <a:schemeClr val="accent2"/>
              </a:solidFill>
              <a:ln>
                <a:noFill/>
              </a:ln>
              <a:effectLst/>
            </c:spPr>
            <c:extLst>
              <c:ext xmlns:c16="http://schemas.microsoft.com/office/drawing/2014/chart" uri="{C3380CC4-5D6E-409C-BE32-E72D297353CC}">
                <c16:uniqueId val="{00000014-DEBC-44D2-AB4C-FB9814DBDB8D}"/>
              </c:ext>
            </c:extLst>
          </c:dPt>
          <c:dPt>
            <c:idx val="3"/>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A-40F0-493F-8523-1DC0D69B7985}"/>
              </c:ext>
            </c:extLst>
          </c:dPt>
          <c:dPt>
            <c:idx val="4"/>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9-40F0-493F-8523-1DC0D69B7985}"/>
              </c:ext>
            </c:extLst>
          </c:dPt>
          <c:dPt>
            <c:idx val="5"/>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8-40F0-493F-8523-1DC0D69B7985}"/>
              </c:ext>
            </c:extLst>
          </c:dPt>
          <c:dPt>
            <c:idx val="6"/>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7-40F0-493F-8523-1DC0D69B7985}"/>
              </c:ext>
            </c:extLst>
          </c:dPt>
          <c:dPt>
            <c:idx val="7"/>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6-40F0-493F-8523-1DC0D69B7985}"/>
              </c:ext>
            </c:extLst>
          </c:dPt>
          <c:dPt>
            <c:idx val="8"/>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5-40F0-493F-8523-1DC0D69B7985}"/>
              </c:ext>
            </c:extLst>
          </c:dPt>
          <c:dPt>
            <c:idx val="9"/>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4-40F0-493F-8523-1DC0D69B7985}"/>
              </c:ext>
            </c:extLst>
          </c:dPt>
          <c:dPt>
            <c:idx val="10"/>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3-40F0-493F-8523-1DC0D69B7985}"/>
              </c:ext>
            </c:extLst>
          </c:dPt>
          <c:dPt>
            <c:idx val="11"/>
            <c:invertIfNegative val="0"/>
            <c:bubble3D val="0"/>
            <c:spPr>
              <a:pattFill prst="dkUpDiag">
                <a:fgClr>
                  <a:schemeClr val="accent2"/>
                </a:fgClr>
                <a:bgClr>
                  <a:schemeClr val="bg1"/>
                </a:bgClr>
              </a:pattFill>
              <a:ln>
                <a:noFill/>
              </a:ln>
              <a:effectLst/>
            </c:spPr>
            <c:extLst>
              <c:ext xmlns:c16="http://schemas.microsoft.com/office/drawing/2014/chart" uri="{C3380CC4-5D6E-409C-BE32-E72D297353CC}">
                <c16:uniqueId val="{00000002-40F0-493F-8523-1DC0D69B7985}"/>
              </c:ext>
            </c:extLst>
          </c:dPt>
          <c:cat>
            <c:strRef>
              <c:f>Data!$B$6:$B$17</c:f>
              <c:strCach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strCache>
            </c:strRef>
          </c:cat>
          <c:val>
            <c:numRef>
              <c:f>Data!$C$6:$C$17</c:f>
              <c:numCache>
                <c:formatCode>#,##0</c:formatCode>
                <c:ptCount val="12"/>
                <c:pt idx="0">
                  <c:v>263</c:v>
                </c:pt>
                <c:pt idx="1">
                  <c:v>327</c:v>
                </c:pt>
                <c:pt idx="2">
                  <c:v>465</c:v>
                </c:pt>
                <c:pt idx="3">
                  <c:v>559</c:v>
                </c:pt>
                <c:pt idx="4">
                  <c:v>685</c:v>
                </c:pt>
                <c:pt idx="5">
                  <c:v>838</c:v>
                </c:pt>
                <c:pt idx="6">
                  <c:v>1003</c:v>
                </c:pt>
                <c:pt idx="7">
                  <c:v>1169</c:v>
                </c:pt>
                <c:pt idx="8">
                  <c:v>1349</c:v>
                </c:pt>
                <c:pt idx="9">
                  <c:v>1560</c:v>
                </c:pt>
                <c:pt idx="10">
                  <c:v>1831</c:v>
                </c:pt>
                <c:pt idx="11">
                  <c:v>2114</c:v>
                </c:pt>
              </c:numCache>
            </c:numRef>
          </c:val>
          <c:extLst>
            <c:ext xmlns:c16="http://schemas.microsoft.com/office/drawing/2014/chart" uri="{C3380CC4-5D6E-409C-BE32-E72D297353CC}">
              <c16:uniqueId val="{00000000-40F0-493F-8523-1DC0D69B7985}"/>
            </c:ext>
          </c:extLst>
        </c:ser>
        <c:dLbls>
          <c:showLegendKey val="0"/>
          <c:showVal val="0"/>
          <c:showCatName val="0"/>
          <c:showSerName val="0"/>
          <c:showPercent val="0"/>
          <c:showBubbleSize val="0"/>
        </c:dLbls>
        <c:gapWidth val="122"/>
        <c:overlap val="-27"/>
        <c:axId val="427580472"/>
        <c:axId val="427580800"/>
      </c:barChart>
      <c:catAx>
        <c:axId val="427580472"/>
        <c:scaling>
          <c:orientation val="minMax"/>
        </c:scaling>
        <c:delete val="0"/>
        <c:axPos val="b"/>
        <c:numFmt formatCode="General" sourceLinked="1"/>
        <c:majorTickMark val="none"/>
        <c:minorTickMark val="none"/>
        <c:tickLblPos val="nextTo"/>
        <c:spPr>
          <a:noFill/>
          <a:ln w="6350" cap="flat" cmpd="sng" algn="ctr">
            <a:solidFill>
              <a:schemeClr val="bg1">
                <a:lumMod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Ubuntu Light" panose="020B0304030602030204" pitchFamily="34" charset="0"/>
                <a:ea typeface="+mn-ea"/>
                <a:cs typeface="+mn-cs"/>
              </a:defRPr>
            </a:pPr>
            <a:endParaRPr lang="de-DE"/>
          </a:p>
        </c:txPr>
        <c:crossAx val="427580800"/>
        <c:crosses val="autoZero"/>
        <c:auto val="1"/>
        <c:lblAlgn val="ctr"/>
        <c:lblOffset val="100"/>
        <c:noMultiLvlLbl val="0"/>
      </c:catAx>
      <c:valAx>
        <c:axId val="4275808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1" i="0" u="none" strike="noStrike" kern="1200" baseline="0">
                    <a:solidFill>
                      <a:schemeClr val="accent1"/>
                    </a:solidFill>
                    <a:latin typeface="Ubuntu Light" panose="020B0304030602030204" pitchFamily="34" charset="0"/>
                    <a:ea typeface="+mn-ea"/>
                    <a:cs typeface="+mn-cs"/>
                  </a:defRPr>
                </a:pPr>
                <a:r>
                  <a:rPr lang="en-US" sz="1600" b="1">
                    <a:solidFill>
                      <a:schemeClr val="accent1"/>
                    </a:solidFill>
                  </a:rPr>
                  <a:t>in 1,000 metric tons of lithium carbonate equivalent</a:t>
                </a:r>
              </a:p>
            </c:rich>
          </c:tx>
          <c:layout>
            <c:manualLayout>
              <c:xMode val="edge"/>
              <c:yMode val="edge"/>
              <c:x val="3.2066608132278883E-3"/>
              <c:y val="0.1240386445454229"/>
            </c:manualLayout>
          </c:layout>
          <c:overlay val="0"/>
          <c:spPr>
            <a:noFill/>
            <a:ln>
              <a:noFill/>
            </a:ln>
            <a:effectLst/>
          </c:spPr>
          <c:txPr>
            <a:bodyPr rot="-5400000" spcFirstLastPara="1" vertOverflow="ellipsis" vert="horz" wrap="square" anchor="ctr" anchorCtr="1"/>
            <a:lstStyle/>
            <a:p>
              <a:pPr>
                <a:defRPr sz="1600" b="1" i="0" u="none" strike="noStrike" kern="1200" baseline="0">
                  <a:solidFill>
                    <a:schemeClr val="accent1"/>
                  </a:solidFill>
                  <a:latin typeface="Ubuntu Light" panose="020B0304030602030204" pitchFamily="34" charset="0"/>
                  <a:ea typeface="+mn-ea"/>
                  <a:cs typeface="+mn-cs"/>
                </a:defRPr>
              </a:pPr>
              <a:endParaRPr lang="de-DE"/>
            </a:p>
          </c:txPr>
        </c:title>
        <c:numFmt formatCode="#,##0" sourceLinked="1"/>
        <c:majorTickMark val="none"/>
        <c:minorTickMark val="none"/>
        <c:tickLblPos val="nextTo"/>
        <c:spPr>
          <a:noFill/>
          <a:ln w="6350">
            <a:solidFill>
              <a:schemeClr val="bg1">
                <a:lumMod val="75000"/>
              </a:schemeClr>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Ubuntu Light" panose="020B0304030602030204" pitchFamily="34" charset="0"/>
                <a:ea typeface="+mn-ea"/>
                <a:cs typeface="+mn-cs"/>
              </a:defRPr>
            </a:pPr>
            <a:endParaRPr lang="de-DE"/>
          </a:p>
        </c:txPr>
        <c:crossAx val="427580472"/>
        <c:crosses val="autoZero"/>
        <c:crossBetween val="between"/>
      </c:valAx>
      <c:spPr>
        <a:noFill/>
        <a:ln w="3175">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Ubuntu Light" panose="020B0304030602030204" pitchFamily="34" charset="0"/>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6C988DC-9DE3-4390-97AB-D61B85DACE57}" type="datetimeFigureOut">
              <a:rPr lang="pt-PT" sz="900" smtClean="0"/>
              <a:pPr/>
              <a:t>25/04/2023</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F190BF9-40D8-49B5-87EF-599BB2C7EE93}" type="slidenum">
              <a:rPr lang="pt-PT" sz="900" smtClean="0"/>
              <a:pPr/>
              <a:t>‹Nr.›</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900"/>
            </a:lvl1pPr>
          </a:lstStyle>
          <a:p>
            <a:endParaRPr lang="pt-BR"/>
          </a:p>
        </p:txBody>
      </p:sp>
      <p:sp>
        <p:nvSpPr>
          <p:cNvPr id="3" name="Marcador de Posição da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900"/>
            </a:lvl1pPr>
          </a:lstStyle>
          <a:p>
            <a:fld id="{0835B8F7-DAC4-4931-8AED-4356A8B2FD64}" type="datetimeFigureOut">
              <a:rPr lang="pt-BR" smtClean="0"/>
              <a:pPr/>
              <a:t>25/04/2023</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pt-PT"/>
              <a:t>Insert comments</a:t>
            </a:r>
            <a:endParaRPr lang="pt-BR"/>
          </a:p>
        </p:txBody>
      </p:sp>
      <p:sp>
        <p:nvSpPr>
          <p:cNvPr id="6" name="Marcador de Posição do Rodapé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900"/>
            </a:lvl1pPr>
          </a:lstStyle>
          <a:p>
            <a:fld id="{C0696B5C-12A0-4042-B4D0-BD3B9A4F58C6}" type="slidenum">
              <a:rPr lang="pt-BR" smtClean="0"/>
              <a:pPr/>
              <a:t>‹Nr.›</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sciencedirect.com/topics/engineering/surface-recombination-velocity"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ogj.com/general-interest/economics-markets/article/14197855/big-oil-incurred-record-loss-in-2020"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government.nl/latest/news/2022/06/20/groningen-gas-field-on-the-back-burner-in-october"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www.euractiv.com/section/energy/news/europe-urged-to-invest-in-lng-infrastructure-as-winter-gas-crisis-looms/" TargetMode="External"/><Relationship Id="rId4" Type="http://schemas.openxmlformats.org/officeDocument/2006/relationships/hyperlink" Target="https://www.dw.com/en/germany-considers-u-turn-on-nuclear-phaseout/a-62699645#:~:text=The%20phaseout%20has%20been%20planned,using%20nuclear%20power%20by%202022"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1650777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Source</a:t>
            </a:r>
          </a:p>
          <a:p>
            <a:r>
              <a:rPr lang="fr-FR"/>
              <a:t>https://iea.blob.core.windows.net/assets/b0beda65-8a1d-46ae-87a2-f95947ec2714/WorldEnergyInvestment2022.pdf</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4</a:t>
            </a:fld>
            <a:endParaRPr lang="pt-BR"/>
          </a:p>
        </p:txBody>
      </p:sp>
    </p:spTree>
    <p:extLst>
      <p:ext uri="{BB962C8B-B14F-4D97-AF65-F5344CB8AC3E}">
        <p14:creationId xmlns:p14="http://schemas.microsoft.com/office/powerpoint/2010/main" val="24785800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fontAlgn="base">
              <a:buFont typeface="Arial" panose="020B0604020202020204" pitchFamily="34" charset="0"/>
              <a:buNone/>
            </a:pPr>
            <a:endParaRPr lang="en-US" b="0" i="0">
              <a:solidFill>
                <a:srgbClr val="000000"/>
              </a:solidFill>
              <a:effectLst/>
              <a:latin typeface="inherit"/>
            </a:endParaRP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5</a:t>
            </a:fld>
            <a:endParaRPr lang="pt-BR"/>
          </a:p>
        </p:txBody>
      </p:sp>
    </p:spTree>
    <p:extLst>
      <p:ext uri="{BB962C8B-B14F-4D97-AF65-F5344CB8AC3E}">
        <p14:creationId xmlns:p14="http://schemas.microsoft.com/office/powerpoint/2010/main" val="13889787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Source intéressante pour expliquer la baisse de l’éolien : https://www.enerdata.net/publications/daily-energy-news/global-wind-capacities-increased-94-gw-2021-837-gw.html</a:t>
            </a:r>
          </a:p>
          <a:p>
            <a:endParaRPr lang="fr-FR"/>
          </a:p>
          <a:p>
            <a:r>
              <a:rPr lang="fr-FR"/>
              <a:t>Source des chiffres</a:t>
            </a:r>
          </a:p>
          <a:p>
            <a:r>
              <a:rPr lang="fr-FR"/>
              <a:t>https://www.bp.com/content/dam/bp/business-sites/en/global/corporate/pdfs/energy-economics/statistical-review/bp-stats-review-2022-full-report.pdf</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6</a:t>
            </a:fld>
            <a:endParaRPr lang="pt-BR"/>
          </a:p>
        </p:txBody>
      </p:sp>
    </p:spTree>
    <p:extLst>
      <p:ext uri="{BB962C8B-B14F-4D97-AF65-F5344CB8AC3E}">
        <p14:creationId xmlns:p14="http://schemas.microsoft.com/office/powerpoint/2010/main" val="27249854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900"/>
              <a:t>Siemens </a:t>
            </a:r>
            <a:r>
              <a:rPr lang="fr-FR" sz="900" err="1"/>
              <a:t>Gamesa</a:t>
            </a:r>
            <a:r>
              <a:rPr lang="fr-FR" sz="900"/>
              <a:t> a commercialisé la 1</a:t>
            </a:r>
            <a:r>
              <a:rPr lang="fr-FR" sz="900" baseline="30000"/>
              <a:t>ère</a:t>
            </a:r>
            <a:r>
              <a:rPr lang="fr-FR" sz="900"/>
              <a:t> pale 100% recyclable en septembre 2021 (</a:t>
            </a:r>
            <a:r>
              <a:rPr lang="fr-FR" sz="900" err="1"/>
              <a:t>RecyclableBlade</a:t>
            </a:r>
            <a:r>
              <a:rPr lang="fr-FR" sz="900"/>
              <a:t>)</a:t>
            </a:r>
          </a:p>
          <a:p>
            <a:endParaRPr lang="fr-FR"/>
          </a:p>
          <a:p>
            <a:r>
              <a:rPr lang="fr-FR"/>
              <a:t>Source </a:t>
            </a:r>
          </a:p>
          <a:p>
            <a:r>
              <a:rPr lang="fr-FR"/>
              <a:t>https://www.offshorewind.biz/2021/11/12/worlds-largest-most-powerful-wind-turbine-stands-complete/</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30477348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900" b="1">
                <a:solidFill>
                  <a:schemeClr val="bg1"/>
                </a:solidFill>
                <a:latin typeface="Ubuntu Light" panose="020B0304030602030204" pitchFamily="34" charset="0"/>
              </a:rPr>
              <a:t>Offshore is developing faster than onshore </a:t>
            </a:r>
            <a:r>
              <a:rPr lang="en-US" sz="900">
                <a:solidFill>
                  <a:schemeClr val="bg1"/>
                </a:solidFill>
                <a:latin typeface="Ubuntu Light" panose="020B0304030602030204" pitchFamily="34" charset="0"/>
              </a:rPr>
              <a:t>because it is less affected by the difficulties of local acceptance of projects </a:t>
            </a:r>
          </a:p>
          <a:p>
            <a:pPr marL="274320" indent="-274320">
              <a:lnSpc>
                <a:spcPct val="100000"/>
              </a:lnSpc>
              <a:spcAft>
                <a:spcPts val="900"/>
              </a:spcAft>
              <a:buClr>
                <a:schemeClr val="accent2"/>
              </a:buClr>
              <a:buFont typeface="Wingdings" panose="05000000000000000000" pitchFamily="2" charset="2"/>
              <a:buChar char="§"/>
              <a:defRPr/>
            </a:pPr>
            <a:r>
              <a:rPr lang="en-US" sz="900">
                <a:solidFill>
                  <a:schemeClr val="bg1"/>
                </a:solidFill>
                <a:latin typeface="Ubuntu Light" panose="020B0304030602030204" pitchFamily="34" charset="0"/>
              </a:rPr>
              <a:t>Wind onshore, together solar PV, are the </a:t>
            </a:r>
            <a:r>
              <a:rPr lang="en-US" sz="900" b="1">
                <a:solidFill>
                  <a:schemeClr val="bg1"/>
                </a:solidFill>
                <a:latin typeface="Ubuntu Light" panose="020B0304030602030204" pitchFamily="34" charset="0"/>
              </a:rPr>
              <a:t>lowest-cost options for new electricity generation</a:t>
            </a:r>
            <a:r>
              <a:rPr lang="en-US" sz="900">
                <a:solidFill>
                  <a:schemeClr val="bg1"/>
                </a:solidFill>
                <a:latin typeface="Ubuntu Light" panose="020B0304030602030204" pitchFamily="34" charset="0"/>
              </a:rPr>
              <a:t> in most of cases and world places</a:t>
            </a:r>
          </a:p>
          <a:p>
            <a:pPr marL="274320" indent="-274320">
              <a:lnSpc>
                <a:spcPct val="100000"/>
              </a:lnSpc>
              <a:spcAft>
                <a:spcPts val="900"/>
              </a:spcAft>
              <a:buClr>
                <a:schemeClr val="accent2"/>
              </a:buClr>
              <a:buFont typeface="Wingdings" panose="05000000000000000000" pitchFamily="2" charset="2"/>
              <a:buChar char="§"/>
              <a:defRPr/>
            </a:pPr>
            <a:r>
              <a:rPr lang="en-US" sz="900" b="1">
                <a:solidFill>
                  <a:schemeClr val="bg1"/>
                </a:solidFill>
                <a:latin typeface="Ubuntu Light" panose="020B0304030602030204" pitchFamily="34" charset="0"/>
              </a:rPr>
              <a:t>Profitability was hampered </a:t>
            </a:r>
            <a:r>
              <a:rPr lang="en-US" sz="900">
                <a:solidFill>
                  <a:schemeClr val="bg1"/>
                </a:solidFill>
                <a:latin typeface="Ubuntu Light" panose="020B0304030602030204" pitchFamily="34" charset="0"/>
              </a:rPr>
              <a:t>by supply chain disruptions, increased raw material costs, logistical difficulties, cost inflation, and the post COVID recovery</a:t>
            </a:r>
          </a:p>
          <a:p>
            <a:pPr marL="274320" indent="-274320">
              <a:lnSpc>
                <a:spcPct val="100000"/>
              </a:lnSpc>
              <a:spcAft>
                <a:spcPts val="900"/>
              </a:spcAft>
              <a:buClr>
                <a:schemeClr val="accent2"/>
              </a:buClr>
              <a:buFont typeface="Wingdings" panose="05000000000000000000" pitchFamily="2" charset="2"/>
              <a:buChar char="§"/>
              <a:defRPr/>
            </a:pPr>
            <a:endParaRPr lang="en-US" sz="900">
              <a:solidFill>
                <a:schemeClr val="bg1"/>
              </a:solidFill>
              <a:latin typeface="Ubuntu Light" panose="020B0304030602030204" pitchFamily="34" charset="0"/>
            </a:endParaRPr>
          </a:p>
          <a:p>
            <a:pPr marL="274320" indent="-274320">
              <a:lnSpc>
                <a:spcPct val="100000"/>
              </a:lnSpc>
              <a:spcAft>
                <a:spcPts val="900"/>
              </a:spcAft>
              <a:buClr>
                <a:schemeClr val="accent2"/>
              </a:buClr>
              <a:buFont typeface="Wingdings" panose="05000000000000000000" pitchFamily="2" charset="2"/>
              <a:buChar char="§"/>
              <a:defRPr/>
            </a:pPr>
            <a:r>
              <a:rPr lang="en-US" sz="900">
                <a:solidFill>
                  <a:schemeClr val="bg1"/>
                </a:solidFill>
                <a:latin typeface="Ubuntu Light" panose="020B0304030602030204" pitchFamily="34" charset="0"/>
              </a:rPr>
              <a:t>2020: + 6.1GW offshore +86.9GW onshore</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907718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1" i="0">
                <a:solidFill>
                  <a:srgbClr val="333333"/>
                </a:solidFill>
                <a:effectLst/>
                <a:latin typeface="roboto" panose="02000000000000000000" pitchFamily="2" charset="0"/>
              </a:rPr>
              <a:t>BSF (Back Surface Field)</a:t>
            </a:r>
            <a:r>
              <a:rPr lang="en-US" b="0" i="0">
                <a:solidFill>
                  <a:srgbClr val="333333"/>
                </a:solidFill>
                <a:effectLst/>
                <a:latin typeface="roboto" panose="02000000000000000000" pitchFamily="2" charset="0"/>
              </a:rPr>
              <a:t> has been used as a way to increase solar cell performance by reduction of the </a:t>
            </a:r>
            <a:r>
              <a:rPr lang="en-US" b="1" i="0" u="none" strike="noStrike">
                <a:solidFill>
                  <a:srgbClr val="337AB7"/>
                </a:solidFill>
                <a:effectLst/>
                <a:latin typeface="roboto" panose="02000000000000000000" pitchFamily="2" charset="0"/>
                <a:hlinkClick r:id="rId3"/>
              </a:rPr>
              <a:t>surface recombination velocity (SRV)</a:t>
            </a:r>
            <a:r>
              <a:rPr lang="en-US" b="0" i="0">
                <a:solidFill>
                  <a:srgbClr val="333333"/>
                </a:solidFill>
                <a:effectLst/>
                <a:latin typeface="roboto" panose="02000000000000000000" pitchFamily="2" charset="0"/>
              </a:rPr>
              <a:t>.</a:t>
            </a:r>
          </a:p>
          <a:p>
            <a:r>
              <a:rPr lang="en-US" b="0" i="0">
                <a:solidFill>
                  <a:srgbClr val="333333"/>
                </a:solidFill>
                <a:effectLst/>
                <a:latin typeface="roboto" panose="02000000000000000000" pitchFamily="2" charset="0"/>
              </a:rPr>
              <a:t>Printing a full aluminum layer on the rear of the cell, with ensuing alloying through firing, produces a BSF  and improves the cell bulk.</a:t>
            </a:r>
          </a:p>
          <a:p>
            <a:r>
              <a:rPr lang="en-US" b="0" i="0">
                <a:solidFill>
                  <a:srgbClr val="222222"/>
                </a:solidFill>
                <a:effectLst/>
                <a:latin typeface="Helvetica Neue"/>
              </a:rPr>
              <a:t>A "back surface field" (BSF) consists of a higher doped region at the rear surface of the solar cell. The interface between the high and low doped region behaves like a </a:t>
            </a:r>
            <a:r>
              <a:rPr lang="en-US" b="0" i="1">
                <a:solidFill>
                  <a:srgbClr val="222222"/>
                </a:solidFill>
                <a:effectLst/>
                <a:latin typeface="Helvetica Neue"/>
              </a:rPr>
              <a:t>p-n</a:t>
            </a:r>
            <a:r>
              <a:rPr lang="en-US" b="0" i="0">
                <a:solidFill>
                  <a:srgbClr val="222222"/>
                </a:solidFill>
                <a:effectLst/>
                <a:latin typeface="Helvetica Neue"/>
              </a:rPr>
              <a:t> junction. An electric field forms at the interface, which introduces a barrier to minority carrier flow to the rear surface.</a:t>
            </a:r>
            <a:endParaRPr lang="en-US" b="0" i="0">
              <a:solidFill>
                <a:srgbClr val="333333"/>
              </a:solidFill>
              <a:effectLst/>
              <a:latin typeface="roboto" panose="02000000000000000000" pitchFamily="2" charset="0"/>
            </a:endParaRPr>
          </a:p>
          <a:p>
            <a:r>
              <a:rPr lang="fr-FR"/>
              <a:t>https://www.pveducation.org/es/fotovoltaica/design-of-silicon-cells/surface-recombination</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19</a:t>
            </a:fld>
            <a:endParaRPr lang="pt-BR"/>
          </a:p>
        </p:txBody>
      </p:sp>
    </p:spTree>
    <p:extLst>
      <p:ext uri="{BB962C8B-B14F-4D97-AF65-F5344CB8AC3E}">
        <p14:creationId xmlns:p14="http://schemas.microsoft.com/office/powerpoint/2010/main" val="389549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0208145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74320" marR="0" lvl="0" indent="-274320" defTabSz="914400" rtl="0" eaLnBrk="1" fontAlgn="auto" latinLnBrk="0" hangingPunct="1">
              <a:lnSpc>
                <a:spcPct val="100000"/>
              </a:lnSpc>
              <a:spcBef>
                <a:spcPts val="0"/>
              </a:spcBef>
              <a:spcAft>
                <a:spcPts val="900"/>
              </a:spcAft>
              <a:buClr>
                <a:schemeClr val="accent2"/>
              </a:buClr>
              <a:buSzTx/>
              <a:buFont typeface="Wingdings" panose="05000000000000000000" pitchFamily="2" charset="2"/>
              <a:buChar char="§"/>
              <a:tabLst/>
              <a:defRPr/>
            </a:pPr>
            <a:r>
              <a:rPr lang="en-US" sz="900">
                <a:solidFill>
                  <a:schemeClr val="bg1"/>
                </a:solidFill>
                <a:latin typeface="Ubuntu Light" panose="020B0304030602030204" pitchFamily="34" charset="0"/>
              </a:rPr>
              <a:t>According to IEA, nuclear energy production must double by 2050 to meet the Net Zero Carbon objective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900"/>
              <a:t>Préciser que la guerre en Ukraine et les tensions générées autour de la centrale de </a:t>
            </a:r>
            <a:r>
              <a:rPr lang="fr-FR" sz="900" err="1"/>
              <a:t>Zaporijja</a:t>
            </a:r>
            <a:r>
              <a:rPr lang="fr-FR" sz="900"/>
              <a:t> montrent les limites du nucléaire</a:t>
            </a:r>
          </a:p>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4865450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274320" marR="0" lvl="0" indent="-274320" defTabSz="914400" rtl="0" eaLnBrk="1" fontAlgn="auto" latinLnBrk="0" hangingPunct="1">
              <a:lnSpc>
                <a:spcPct val="100000"/>
              </a:lnSpc>
              <a:spcBef>
                <a:spcPts val="0"/>
              </a:spcBef>
              <a:spcAft>
                <a:spcPts val="900"/>
              </a:spcAft>
              <a:buClr>
                <a:schemeClr val="accent2"/>
              </a:buClr>
              <a:buSzTx/>
              <a:buFont typeface="Wingdings" panose="05000000000000000000" pitchFamily="2" charset="2"/>
              <a:buChar char="§"/>
              <a:tabLst/>
              <a:defRPr/>
            </a:pPr>
            <a:r>
              <a:rPr lang="en-US" sz="900">
                <a:solidFill>
                  <a:schemeClr val="bg1"/>
                </a:solidFill>
                <a:latin typeface="Ubuntu Light" panose="020B0304030602030204" pitchFamily="34" charset="0"/>
              </a:rPr>
              <a:t>According to IEA, nuclear energy production must double by 2050 to meet the Net Zero Carbon objectives,</a:t>
            </a:r>
          </a:p>
          <a:p>
            <a:r>
              <a:rPr lang="en-GB" sz="1800">
                <a:effectLst/>
                <a:latin typeface="Calibri" panose="020F0502020204030204" pitchFamily="34" charset="0"/>
                <a:ea typeface="Calibri" panose="020F0502020204030204" pitchFamily="34" charset="0"/>
                <a:cs typeface="Times New Roman" panose="02020603050405020304" pitchFamily="18" charset="0"/>
              </a:rPr>
              <a:t>There are currently four SMRs in advanced stages of construction in Argentina, China, and Russi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highlight>
                  <a:srgbClr val="FFFF00"/>
                </a:highlight>
              </a:rPr>
              <a:t>3</a:t>
            </a:r>
            <a:r>
              <a:rPr lang="en-US" baseline="30000">
                <a:highlight>
                  <a:srgbClr val="FFFF00"/>
                </a:highlight>
              </a:rPr>
              <a:t>rd</a:t>
            </a:r>
            <a:r>
              <a:rPr lang="en-US">
                <a:highlight>
                  <a:srgbClr val="FFFF00"/>
                </a:highlight>
              </a:rPr>
              <a:t> generation reactors: The project owners and their subcontractors’ unpreparedness</a:t>
            </a:r>
            <a:endParaRPr lang="fr-FR">
              <a:highlight>
                <a:srgbClr val="FFFF00"/>
              </a:high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a:highlight>
                  <a:srgbClr val="FFFF00"/>
                </a:highlight>
              </a:rPr>
              <a:t>SMR: </a:t>
            </a:r>
            <a:r>
              <a:rPr lang="en-US"/>
              <a:t>1.7 times more waste per electricity output unit than large reactors</a:t>
            </a:r>
            <a:r>
              <a:rPr lang="en-US" baseline="30000"/>
              <a:t>2</a:t>
            </a:r>
            <a:endParaRPr lang="fr-FR"/>
          </a:p>
          <a:p>
            <a:endParaRPr lang="fr-FR">
              <a:highlight>
                <a:srgbClr val="FFFF00"/>
              </a:highlight>
            </a:endParaRPr>
          </a:p>
          <a:p>
            <a:r>
              <a:rPr lang="fr-FR">
                <a:highlight>
                  <a:srgbClr val="FFFF00"/>
                </a:highlight>
              </a:rPr>
              <a:t>Sources:</a:t>
            </a:r>
          </a:p>
          <a:p>
            <a:r>
              <a:rPr lang="fr-FR">
                <a:highlight>
                  <a:srgbClr val="FFFF00"/>
                </a:highlight>
              </a:rPr>
              <a:t>https://www.lindependant.fr/2022/09/20/fusion-nucleaire-annonce-surprise-de-la-chine-le-pays-sera-t-il-le-premier-a-maitriser-lenergie-du-soleil-10555983.php</a:t>
            </a:r>
          </a:p>
          <a:p>
            <a:r>
              <a:rPr lang="fr-FR">
                <a:highlight>
                  <a:srgbClr val="FFFF00"/>
                </a:highlight>
              </a:rPr>
              <a:t>https://www-pub.iaea.org/MTCD/Publications/PDF/RDS-2-42_web.pdf</a:t>
            </a:r>
          </a:p>
          <a:p>
            <a:endParaRPr lang="fr-FR">
              <a:highlight>
                <a:srgbClr val="FFFF00"/>
              </a:highlight>
            </a:endParaRPr>
          </a:p>
          <a:p>
            <a:r>
              <a:rPr lang="fr-FR">
                <a:highlight>
                  <a:srgbClr val="FFFF00"/>
                </a:highlight>
              </a:rPr>
              <a:t>Fusion </a:t>
            </a:r>
          </a:p>
          <a:p>
            <a:r>
              <a:rPr lang="fr-FR">
                <a:highlight>
                  <a:srgbClr val="FFFF00"/>
                </a:highlight>
              </a:rPr>
              <a:t>Avancées dans la fusion par laser en 2021 mais en 2022 les américains du NIF on avoué ne pas avoir réussi à répliquer leur expérimentation</a:t>
            </a:r>
          </a:p>
          <a:p>
            <a:r>
              <a:rPr lang="fr-FR">
                <a:highlight>
                  <a:srgbClr val="FFFF00"/>
                </a:highlight>
              </a:rPr>
              <a:t>https://www.nature.com/articles/d41586-022-02022-1</a:t>
            </a:r>
          </a:p>
          <a:p>
            <a:endParaRPr lang="fr-FR">
              <a:highlight>
                <a:srgbClr val="FFFF00"/>
              </a:highlight>
            </a:endParaRPr>
          </a:p>
          <a:p>
            <a:endParaRPr lang="fr-FR">
              <a:highlight>
                <a:srgbClr val="FFFF00"/>
              </a:highlight>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0658955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Source des chiffres clés</a:t>
            </a:r>
          </a:p>
          <a:p>
            <a:r>
              <a:rPr lang="fr-FR"/>
              <a:t>https://www.pv-magazine.com/magazine-archive/on-a-mission/</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3</a:t>
            </a:fld>
            <a:endParaRPr lang="pt-BR"/>
          </a:p>
        </p:txBody>
      </p:sp>
    </p:spTree>
    <p:extLst>
      <p:ext uri="{BB962C8B-B14F-4D97-AF65-F5344CB8AC3E}">
        <p14:creationId xmlns:p14="http://schemas.microsoft.com/office/powerpoint/2010/main" val="4166213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FFFFFF"/>
                </a:solidFill>
                <a:effectLst/>
                <a:uLnTx/>
                <a:uFillTx/>
                <a:latin typeface="Ubuntu"/>
                <a:ea typeface="+mn-ea"/>
                <a:cs typeface="+mn-cs"/>
              </a:rPr>
              <a:t>Graphe issu du New York Tim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FFFFFF"/>
                </a:solidFill>
                <a:effectLst/>
                <a:uLnTx/>
                <a:uFillTx/>
                <a:latin typeface="Ubuntu"/>
                <a:ea typeface="+mn-ea"/>
                <a:cs typeface="+mn-cs"/>
              </a:rPr>
              <a:t>https://www.nytimes.com/2022/09/07/business/russia-gas-europe.html</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4</a:t>
            </a:fld>
            <a:endParaRPr lang="pt-BR"/>
          </a:p>
        </p:txBody>
      </p:sp>
    </p:spTree>
    <p:extLst>
      <p:ext uri="{BB962C8B-B14F-4D97-AF65-F5344CB8AC3E}">
        <p14:creationId xmlns:p14="http://schemas.microsoft.com/office/powerpoint/2010/main" val="12538898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Source</a:t>
            </a:r>
          </a:p>
          <a:p>
            <a:r>
              <a:rPr lang="fr-FR"/>
              <a:t>https://www.statista.com/statistics/452025/projected-total-demand-for-lithium-globally/</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5</a:t>
            </a:fld>
            <a:endParaRPr lang="pt-BR"/>
          </a:p>
        </p:txBody>
      </p:sp>
    </p:spTree>
    <p:extLst>
      <p:ext uri="{BB962C8B-B14F-4D97-AF65-F5344CB8AC3E}">
        <p14:creationId xmlns:p14="http://schemas.microsoft.com/office/powerpoint/2010/main" val="33542821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Source chiffre Chine : https://www.bloomberg.com/news/articles/2022-03-14/china-seeks-to-cut-coal-import-reliance-with-mining-boom?leadSource=uverify%20wall</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6</a:t>
            </a:fld>
            <a:endParaRPr lang="pt-BR"/>
          </a:p>
        </p:txBody>
      </p:sp>
    </p:spTree>
    <p:extLst>
      <p:ext uri="{BB962C8B-B14F-4D97-AF65-F5344CB8AC3E}">
        <p14:creationId xmlns:p14="http://schemas.microsoft.com/office/powerpoint/2010/main" val="10863053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Wingdings" panose="05000000000000000000" pitchFamily="2" charset="2"/>
              <a:buChar char="§"/>
            </a:pPr>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4988087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 typeface="Wingdings" panose="05000000000000000000" pitchFamily="2" charset="2"/>
              <a:buChar char="§"/>
            </a:pPr>
            <a:r>
              <a:rPr lang="fr-FR"/>
              <a:t>Schéma</a:t>
            </a:r>
          </a:p>
          <a:p>
            <a:pPr marL="171450" indent="-171450">
              <a:buFont typeface="Wingdings" panose="05000000000000000000" pitchFamily="2" charset="2"/>
              <a:buChar char="§"/>
            </a:pPr>
            <a:r>
              <a:rPr lang="fr-FR"/>
              <a:t>https://www.iea.org/fuels-and-technologies/carbon-capture-utilisation-and-storage</a:t>
            </a:r>
          </a:p>
          <a:p>
            <a:pPr marL="171450" indent="-171450">
              <a:buFont typeface="Wingdings" panose="05000000000000000000" pitchFamily="2" charset="2"/>
              <a:buChar char="§"/>
            </a:pPr>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4994483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Global hydrogen use expands from less than 90 Mt in 2020 to more than 200 Mt in 2030; the  proportion  of  low‐carbon  hydrogen  rises  from  10%  in  2020  to  70%  in  2030  (Figure 2.19).  Around half of low‐carbon hydrogen produced globally in 2030 comes from electrolysis and  the remainder from coal and natural gas with CCUS, although this ratio varies substantially  between  regions.  Hydrogen  is  also  blended  with  natural  gas  in  gas  networks:  the  global  average blend in 2030 includes 15% of hydrogen in volumetric terms, reducing CO2 emissions  from gas consumption by around 6%. </a:t>
            </a:r>
          </a:p>
          <a:p>
            <a:endParaRPr lang="fr-FR"/>
          </a:p>
          <a:p>
            <a:r>
              <a:rPr lang="fr-FR"/>
              <a:t>Source 1 (p.71)</a:t>
            </a:r>
          </a:p>
          <a:p>
            <a:r>
              <a:rPr lang="fr-FR"/>
              <a:t>https://iea.blob.core.windows.net/assets/c5bc75b1-9e4d-460d-9056-6e8e626a11c4/GlobalHydrogenReview2022.pdf</a:t>
            </a:r>
          </a:p>
          <a:p>
            <a:r>
              <a:rPr lang="fr-FR"/>
              <a:t>Source 2</a:t>
            </a:r>
          </a:p>
          <a:p>
            <a:r>
              <a:rPr lang="fr-FR"/>
              <a:t>https://iea.blob.core.windows.net/assets/deebef5d-0c34-4539-9d0c-10b13d840027/NetZeroby2050-ARoadmapfortheGlobalEnergySector_CORR.pdf</a:t>
            </a:r>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9</a:t>
            </a:fld>
            <a:endParaRPr lang="pt-BR"/>
          </a:p>
        </p:txBody>
      </p:sp>
    </p:spTree>
    <p:extLst>
      <p:ext uri="{BB962C8B-B14F-4D97-AF65-F5344CB8AC3E}">
        <p14:creationId xmlns:p14="http://schemas.microsoft.com/office/powerpoint/2010/main" val="10977840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900"/>
              <a:t>Note: Unless otherwise noted, the assumptions used in this sensitivity correspond to those used in the global, unsubsidized analysis as presented on the page titled “Levelized Cost of Energy</a:t>
            </a:r>
          </a:p>
          <a:p>
            <a:r>
              <a:rPr lang="en-US" sz="900"/>
              <a:t>Comparison—Unsubsidized Analys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t>(1) Represents the marginal cost of operating fully depreciated gas combined cycle, coal and nuclear facilities, inclusive of decommissioning costs for nuclear facilities. Analysis assumes that the salvage value for a decommissioned gas combined cycle or coal asset is equivalent to its decommissioning and site restoration costs. Inputs are derived from a benchmark of operating gas combined cycle, coal and nuclear assets across the U.S. Capacity factors, fuel, variable and fixed operating expenses are based on upper and lower quartile estimates derived from Lazard’s research.</a:t>
            </a:r>
          </a:p>
          <a:p>
            <a:endParaRPr lang="en-US" sz="900"/>
          </a:p>
          <a:p>
            <a:endParaRPr lang="fr-F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0</a:t>
            </a:fld>
            <a:endParaRPr lang="pt-BR"/>
          </a:p>
        </p:txBody>
      </p:sp>
    </p:spTree>
    <p:extLst>
      <p:ext uri="{BB962C8B-B14F-4D97-AF65-F5344CB8AC3E}">
        <p14:creationId xmlns:p14="http://schemas.microsoft.com/office/powerpoint/2010/main" val="18333596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602068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663564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err="1"/>
              <a:t>Amount</a:t>
            </a:r>
            <a:r>
              <a:rPr lang="fr-FR"/>
              <a:t> IRA : https://time.com/6204582/inflation-reduction-act-climate-change/</a:t>
            </a:r>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35</a:t>
            </a:fld>
            <a:endParaRPr lang="pt-BR"/>
          </a:p>
        </p:txBody>
      </p:sp>
    </p:spTree>
    <p:extLst>
      <p:ext uri="{BB962C8B-B14F-4D97-AF65-F5344CB8AC3E}">
        <p14:creationId xmlns:p14="http://schemas.microsoft.com/office/powerpoint/2010/main" val="12676452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5228146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EU: </a:t>
            </a:r>
          </a:p>
          <a:p>
            <a:pPr marL="171450" indent="-171450">
              <a:buFont typeface="Arial" panose="020B0604020202020204" pitchFamily="34" charset="0"/>
              <a:buChar char="•"/>
            </a:pPr>
            <a:r>
              <a:rPr lang="en-US"/>
              <a:t>Security of supply endangered</a:t>
            </a:r>
          </a:p>
          <a:p>
            <a:pPr marL="171450" indent="-171450">
              <a:buFont typeface="Arial" panose="020B0604020202020204" pitchFamily="34" charset="0"/>
              <a:buChar char="•"/>
            </a:pPr>
            <a:r>
              <a:rPr lang="en-US"/>
              <a:t>Very sharp rise in energy prices</a:t>
            </a:r>
          </a:p>
          <a:p>
            <a:pPr marL="171450" indent="-171450">
              <a:buFont typeface="Arial" panose="020B0604020202020204" pitchFamily="34" charset="0"/>
              <a:buChar char="•"/>
            </a:pPr>
            <a:r>
              <a:rPr lang="en-US"/>
              <a:t>Trying to reduce its dependence on Russian gas</a:t>
            </a:r>
          </a:p>
          <a:p>
            <a:r>
              <a:rPr lang="fr-FR" err="1"/>
              <a:t>Russia</a:t>
            </a:r>
            <a:r>
              <a:rPr lang="fr-FR"/>
              <a:t>:</a:t>
            </a:r>
          </a:p>
          <a:p>
            <a:pPr marL="177800" indent="-177800">
              <a:buClr>
                <a:srgbClr val="A6001A"/>
              </a:buClr>
              <a:buFont typeface="Wingdings" panose="05000000000000000000" pitchFamily="2" charset="2"/>
              <a:buChar char="§"/>
            </a:pPr>
            <a:r>
              <a:rPr lang="en-US"/>
              <a:t>A lever on </a:t>
            </a:r>
            <a:r>
              <a:rPr lang="en-US" sz="900" b="1">
                <a:solidFill>
                  <a:srgbClr val="A6001A"/>
                </a:solidFill>
              </a:rPr>
              <a:t>European energy dependence</a:t>
            </a:r>
          </a:p>
          <a:p>
            <a:pPr marL="177800" indent="-177800">
              <a:buClr>
                <a:srgbClr val="A6001A"/>
              </a:buClr>
              <a:buFont typeface="Wingdings" panose="05000000000000000000" pitchFamily="2" charset="2"/>
              <a:buChar char="§"/>
            </a:pPr>
            <a:r>
              <a:rPr lang="en-US"/>
              <a:t>A lever on </a:t>
            </a:r>
            <a:r>
              <a:rPr lang="en-US" sz="900" b="1">
                <a:solidFill>
                  <a:srgbClr val="A6001A"/>
                </a:solidFill>
              </a:rPr>
              <a:t>energy prices</a:t>
            </a:r>
          </a:p>
          <a:p>
            <a:pPr marL="177800" indent="-177800">
              <a:buClr>
                <a:srgbClr val="A6001A"/>
              </a:buClr>
              <a:buFont typeface="Wingdings" panose="05000000000000000000" pitchFamily="2" charset="2"/>
              <a:buChar char="§"/>
            </a:pPr>
            <a:r>
              <a:rPr lang="en-US"/>
              <a:t>A </a:t>
            </a:r>
            <a:r>
              <a:rPr lang="en-US" sz="900" b="1">
                <a:solidFill>
                  <a:srgbClr val="A6001A"/>
                </a:solidFill>
              </a:rPr>
              <a:t>nuclear threat </a:t>
            </a:r>
            <a:r>
              <a:rPr lang="en-US"/>
              <a:t>from the </a:t>
            </a:r>
            <a:r>
              <a:rPr lang="en-US" err="1"/>
              <a:t>Zaporijja</a:t>
            </a:r>
            <a:r>
              <a:rPr lang="en-US"/>
              <a:t> nuclear power plant</a:t>
            </a:r>
          </a:p>
          <a:p>
            <a:r>
              <a:rPr lang="fr-FR"/>
              <a:t>Ukraine:</a:t>
            </a:r>
          </a:p>
          <a:p>
            <a:pPr marL="177800" indent="-177800">
              <a:buClr>
                <a:srgbClr val="FFD068"/>
              </a:buClr>
              <a:buFont typeface="Wingdings" panose="05000000000000000000" pitchFamily="2" charset="2"/>
              <a:buChar char="§"/>
            </a:pPr>
            <a:r>
              <a:rPr lang="en-US" sz="1050" b="1">
                <a:solidFill>
                  <a:srgbClr val="FFD068"/>
                </a:solidFill>
              </a:rPr>
              <a:t>6th</a:t>
            </a:r>
            <a:r>
              <a:rPr lang="en-US" sz="900"/>
              <a:t> largest coal country in the world</a:t>
            </a:r>
            <a:r>
              <a:rPr lang="en-US" sz="900" baseline="30000"/>
              <a:t>1</a:t>
            </a:r>
            <a:endParaRPr lang="en-US" sz="900"/>
          </a:p>
          <a:p>
            <a:pPr marL="177800" indent="-177800">
              <a:buClr>
                <a:srgbClr val="FFD068"/>
              </a:buClr>
              <a:buFont typeface="Wingdings" panose="05000000000000000000" pitchFamily="2" charset="2"/>
              <a:buChar char="§"/>
            </a:pPr>
            <a:r>
              <a:rPr lang="en-US" sz="1050" b="1">
                <a:solidFill>
                  <a:srgbClr val="FFD068"/>
                </a:solidFill>
              </a:rPr>
              <a:t>9 </a:t>
            </a:r>
            <a:r>
              <a:rPr lang="en-US" sz="1050" b="1" err="1">
                <a:solidFill>
                  <a:srgbClr val="FFD068"/>
                </a:solidFill>
              </a:rPr>
              <a:t>Btoe</a:t>
            </a:r>
            <a:r>
              <a:rPr lang="en-US" sz="1050" b="1">
                <a:solidFill>
                  <a:srgbClr val="FFD068"/>
                </a:solidFill>
              </a:rPr>
              <a:t> </a:t>
            </a:r>
            <a:r>
              <a:rPr lang="en-US" sz="900"/>
              <a:t>of hydrocarbon reserves</a:t>
            </a:r>
            <a:r>
              <a:rPr lang="en-US" sz="900" baseline="30000"/>
              <a:t>1</a:t>
            </a:r>
            <a:endParaRPr lang="en-US" sz="900"/>
          </a:p>
          <a:p>
            <a:pPr marL="177800" indent="-177800">
              <a:buClr>
                <a:srgbClr val="FFD068"/>
              </a:buClr>
              <a:buFont typeface="Wingdings" panose="05000000000000000000" pitchFamily="2" charset="2"/>
              <a:buChar char="§"/>
            </a:pPr>
            <a:r>
              <a:rPr lang="en-US" sz="900"/>
              <a:t>Natural gas reserves are estimated at </a:t>
            </a:r>
            <a:r>
              <a:rPr lang="en-US" sz="1050" b="1">
                <a:solidFill>
                  <a:srgbClr val="FFD068"/>
                </a:solidFill>
              </a:rPr>
              <a:t>5.4 tcm</a:t>
            </a:r>
            <a:r>
              <a:rPr lang="en-US" sz="900" baseline="30000">
                <a:solidFill>
                  <a:srgbClr val="FFD068"/>
                </a:solidFill>
              </a:rPr>
              <a:t>1</a:t>
            </a:r>
          </a:p>
          <a:p>
            <a:pPr marL="177800" indent="-177800">
              <a:buClr>
                <a:srgbClr val="FFD068"/>
              </a:buClr>
              <a:buFont typeface="Wingdings" panose="05000000000000000000" pitchFamily="2" charset="2"/>
              <a:buChar char="§"/>
            </a:pPr>
            <a:r>
              <a:rPr lang="en-US" sz="1100" b="1">
                <a:solidFill>
                  <a:srgbClr val="FFD068"/>
                </a:solidFill>
              </a:rPr>
              <a:t>Nuclear operator</a:t>
            </a:r>
          </a:p>
          <a:p>
            <a:endParaRPr lang="fr-FR"/>
          </a:p>
          <a:p>
            <a:r>
              <a:rPr lang="fr-FR" err="1"/>
              <a:t>Oil</a:t>
            </a:r>
            <a:r>
              <a:rPr lang="fr-FR"/>
              <a:t> </a:t>
            </a:r>
            <a:r>
              <a:rPr lang="fr-FR" err="1"/>
              <a:t>fields</a:t>
            </a:r>
            <a:r>
              <a:rPr lang="fr-FR"/>
              <a:t> : http://www.energy-cg.com/UkraineAtRisk.html</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2570537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443203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2022 </a:t>
            </a:r>
            <a:r>
              <a:rPr lang="fr-FR" err="1"/>
              <a:t>will</a:t>
            </a:r>
            <a:r>
              <a:rPr lang="fr-FR"/>
              <a:t> </a:t>
            </a:r>
            <a:r>
              <a:rPr lang="fr-FR" err="1"/>
              <a:t>be</a:t>
            </a:r>
            <a:r>
              <a:rPr lang="fr-FR"/>
              <a:t> a </a:t>
            </a:r>
            <a:r>
              <a:rPr lang="fr-FR" err="1"/>
              <a:t>year</a:t>
            </a:r>
            <a:r>
              <a:rPr lang="fr-FR"/>
              <a:t> with </a:t>
            </a:r>
            <a:r>
              <a:rPr lang="fr-FR" err="1"/>
              <a:t>significant</a:t>
            </a:r>
            <a:r>
              <a:rPr lang="fr-FR"/>
              <a:t> GDP </a:t>
            </a:r>
            <a:r>
              <a:rPr lang="fr-FR" err="1"/>
              <a:t>growth</a:t>
            </a:r>
            <a:r>
              <a:rPr lang="fr-FR"/>
              <a:t> </a:t>
            </a:r>
            <a:r>
              <a:rPr lang="fr-FR" err="1"/>
              <a:t>durint</a:t>
            </a:r>
            <a:r>
              <a:rPr lang="fr-FR"/>
              <a:t> H1, </a:t>
            </a:r>
            <a:r>
              <a:rPr lang="fr-FR" err="1"/>
              <a:t>then</a:t>
            </a:r>
            <a:r>
              <a:rPr lang="fr-FR"/>
              <a:t> </a:t>
            </a:r>
            <a:r>
              <a:rPr lang="fr-FR" err="1"/>
              <a:t>slowdon</a:t>
            </a:r>
            <a:r>
              <a:rPr lang="fr-FR"/>
              <a:t> in H2. </a:t>
            </a:r>
            <a:r>
              <a:rPr lang="fr-FR" err="1"/>
              <a:t>Perhaps</a:t>
            </a:r>
            <a:r>
              <a:rPr lang="fr-FR"/>
              <a:t> to </a:t>
            </a:r>
            <a:r>
              <a:rPr lang="fr-FR" err="1"/>
              <a:t>be</a:t>
            </a:r>
            <a:r>
              <a:rPr lang="fr-FR"/>
              <a:t> </a:t>
            </a:r>
            <a:r>
              <a:rPr lang="fr-FR" err="1"/>
              <a:t>shown</a:t>
            </a:r>
            <a:r>
              <a:rPr lang="fr-FR"/>
              <a:t> in the table.</a:t>
            </a:r>
          </a:p>
          <a:p>
            <a:endParaRPr lang="fr-FR"/>
          </a:p>
          <a:p>
            <a:pPr algn="l"/>
            <a:r>
              <a:rPr lang="fr-FR" sz="900"/>
              <a:t>Source FMI</a:t>
            </a:r>
          </a:p>
          <a:p>
            <a:pPr algn="l"/>
            <a:r>
              <a:rPr lang="fr-FR" sz="900"/>
              <a:t>https://www.imf.org/fr/Publications/WEO/Issues/2022/07/26/world-economic-outlook-update-july-2022</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24359822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2022 </a:t>
            </a:r>
            <a:r>
              <a:rPr lang="fr-FR" err="1"/>
              <a:t>will</a:t>
            </a:r>
            <a:r>
              <a:rPr lang="fr-FR"/>
              <a:t> </a:t>
            </a:r>
            <a:r>
              <a:rPr lang="fr-FR" err="1"/>
              <a:t>be</a:t>
            </a:r>
            <a:r>
              <a:rPr lang="fr-FR"/>
              <a:t> a </a:t>
            </a:r>
            <a:r>
              <a:rPr lang="fr-FR" err="1"/>
              <a:t>year</a:t>
            </a:r>
            <a:r>
              <a:rPr lang="fr-FR"/>
              <a:t> </a:t>
            </a:r>
            <a:r>
              <a:rPr lang="fr-FR" err="1"/>
              <a:t>with</a:t>
            </a:r>
            <a:r>
              <a:rPr lang="fr-FR"/>
              <a:t> </a:t>
            </a:r>
            <a:r>
              <a:rPr lang="fr-FR" err="1"/>
              <a:t>significant</a:t>
            </a:r>
            <a:r>
              <a:rPr lang="fr-FR"/>
              <a:t> GDP </a:t>
            </a:r>
            <a:r>
              <a:rPr lang="fr-FR" err="1"/>
              <a:t>growth</a:t>
            </a:r>
            <a:r>
              <a:rPr lang="fr-FR"/>
              <a:t> </a:t>
            </a:r>
            <a:r>
              <a:rPr lang="fr-FR" err="1"/>
              <a:t>durint</a:t>
            </a:r>
            <a:r>
              <a:rPr lang="fr-FR"/>
              <a:t> H1, </a:t>
            </a:r>
            <a:r>
              <a:rPr lang="fr-FR" err="1"/>
              <a:t>then</a:t>
            </a:r>
            <a:r>
              <a:rPr lang="fr-FR"/>
              <a:t> </a:t>
            </a:r>
            <a:r>
              <a:rPr lang="fr-FR" err="1"/>
              <a:t>slowdon</a:t>
            </a:r>
            <a:r>
              <a:rPr lang="fr-FR"/>
              <a:t> in H2. </a:t>
            </a:r>
            <a:r>
              <a:rPr lang="fr-FR" err="1"/>
              <a:t>Perhaps</a:t>
            </a:r>
            <a:r>
              <a:rPr lang="fr-FR"/>
              <a:t> to </a:t>
            </a:r>
            <a:r>
              <a:rPr lang="fr-FR" err="1"/>
              <a:t>be</a:t>
            </a:r>
            <a:r>
              <a:rPr lang="fr-FR"/>
              <a:t> </a:t>
            </a:r>
            <a:r>
              <a:rPr lang="fr-FR" err="1"/>
              <a:t>shown</a:t>
            </a:r>
            <a:r>
              <a:rPr lang="fr-FR"/>
              <a:t> in the table.</a:t>
            </a:r>
          </a:p>
          <a:p>
            <a:endParaRPr lang="fr-FR"/>
          </a:p>
          <a:p>
            <a:pPr algn="l"/>
            <a:r>
              <a:rPr lang="fr-FR" sz="900"/>
              <a:t>Source FMI</a:t>
            </a:r>
          </a:p>
          <a:p>
            <a:pPr algn="l"/>
            <a:r>
              <a:rPr lang="fr-FR" sz="900"/>
              <a:t>https://www.imf.org/fr/Publications/WEO/Issues/2022/07/26/world-economic-outlook-update-july-2022</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6939502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Sources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33333"/>
                </a:solidFill>
                <a:effectLst/>
                <a:uLnTx/>
                <a:uFillTx/>
                <a:latin typeface="Georgia" panose="02040502050405020303" pitchFamily="18" charset="0"/>
                <a:ea typeface="+mn-ea"/>
                <a:cs typeface="+mn-cs"/>
              </a:rPr>
              <a:t>In fact, in 2020 the five integrated supermajors (i.e., “Big Oil”) – ExxonMobil, BP, Shell, Chevron, and Total – </a:t>
            </a:r>
            <a:r>
              <a:rPr kumimoji="0" lang="en-US" sz="900" b="0" i="0" u="none" strike="noStrike" kern="1200" cap="none" spc="0" normalizeH="0" baseline="0" noProof="0">
                <a:ln>
                  <a:noFill/>
                </a:ln>
                <a:solidFill>
                  <a:srgbClr val="003891"/>
                </a:solidFill>
                <a:effectLst/>
                <a:uLnTx/>
                <a:uFillTx/>
                <a:latin typeface="Georgia" panose="02040502050405020303" pitchFamily="18" charset="0"/>
                <a:ea typeface="+mn-ea"/>
                <a:cs typeface="+mn-cs"/>
                <a:hlinkClick r:id="rId3" tooltip="https://www.ogj.com/general-interest/economics-markets/article/14197855/big-oil-incurred-record-loss-in-2020"/>
              </a:rPr>
              <a:t>lost $76 billion</a:t>
            </a:r>
            <a:r>
              <a:rPr kumimoji="0" lang="en-US" sz="900" b="0" i="0" u="none" strike="noStrike" kern="1200" cap="none" spc="0" normalizeH="0" baseline="0" noProof="0">
                <a:ln>
                  <a:noFill/>
                </a:ln>
                <a:solidFill>
                  <a:srgbClr val="333333"/>
                </a:solidFill>
                <a:effectLst/>
                <a:uLnTx/>
                <a:uFillTx/>
                <a:latin typeface="Georgia" panose="02040502050405020303" pitchFamily="18" charset="0"/>
                <a:ea typeface="+mn-ea"/>
                <a:cs typeface="+mn-cs"/>
              </a:rPr>
              <a:t>.</a:t>
            </a:r>
            <a:endParaRPr kumimoji="0" lang="fr-FR" sz="900" b="0" i="0" u="none" strike="noStrike" kern="1200" cap="none" spc="0" normalizeH="0" baseline="0" noProof="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Ubuntu"/>
                <a:ea typeface="+mn-ea"/>
                <a:cs typeface="+mn-cs"/>
              </a:rPr>
              <a:t>https://www.forbes.com/sites/rrapier/2022/04/24/if-oil-companies-control-prices-why-do-they-ever-lose-money/?sh=390bce92cf9d</a:t>
            </a:r>
          </a:p>
          <a:p>
            <a:r>
              <a:rPr lang="fr-FR"/>
              <a:t>Pour les </a:t>
            </a:r>
            <a:r>
              <a:rPr lang="fr-FR" err="1"/>
              <a:t>Oil</a:t>
            </a:r>
            <a:r>
              <a:rPr lang="fr-FR"/>
              <a:t> majors 2021 et 2022  données </a:t>
            </a:r>
            <a:r>
              <a:rPr lang="fr-FR" err="1"/>
              <a:t>Statista</a:t>
            </a:r>
            <a:endParaRPr lang="fr-FR"/>
          </a:p>
          <a:p>
            <a:r>
              <a:rPr lang="fr-FR"/>
              <a:t>https://www.statista.com/statistics/1326419/quarterly-net-profit-of-leading-world-oil-companies/</a:t>
            </a:r>
          </a:p>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085245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Ubuntu"/>
                <a:ea typeface="+mn-ea"/>
                <a:cs typeface="+mn-cs"/>
              </a:rPr>
              <a:t>Sour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prstClr val="black"/>
                </a:solidFill>
                <a:effectLst/>
                <a:uLnTx/>
                <a:uFillTx/>
                <a:latin typeface="Ubuntu"/>
                <a:ea typeface="+mn-ea"/>
                <a:cs typeface="+mn-cs"/>
              </a:rPr>
              <a:t>-Groningen: </a:t>
            </a:r>
            <a:r>
              <a:rPr kumimoji="0" lang="fr-FR" sz="900" b="0" i="0" u="none" strike="noStrike" kern="1200" cap="none" spc="0" normalizeH="0" baseline="0" noProof="0">
                <a:ln>
                  <a:noFill/>
                </a:ln>
                <a:solidFill>
                  <a:prstClr val="black"/>
                </a:solidFill>
                <a:effectLst/>
                <a:uLnTx/>
                <a:uFillTx/>
                <a:latin typeface="Ubuntu"/>
                <a:ea typeface="+mn-ea"/>
                <a:cs typeface="+mn-cs"/>
                <a:hlinkClick r:id="rId3">
                  <a:extLst>
                    <a:ext uri="{A12FA001-AC4F-418D-AE19-62706E023703}">
                      <ahyp:hlinkClr xmlns:ahyp="http://schemas.microsoft.com/office/drawing/2018/hyperlinkcolor" val="tx"/>
                    </a:ext>
                  </a:extLst>
                </a:hlinkClick>
              </a:rPr>
              <a:t>https://www.government.nl/latest/news/2022/06/20/groningen-gas-field-on-the-back-burner-in-october</a:t>
            </a:r>
            <a:endParaRPr kumimoji="0" lang="fr-FR" sz="900" b="0" i="0" u="none" strike="noStrike" kern="1200" cap="none" spc="0" normalizeH="0" baseline="0" noProof="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prstClr val="black"/>
                </a:solidFill>
                <a:effectLst/>
                <a:uLnTx/>
                <a:uFillTx/>
                <a:latin typeface="Ubuntu"/>
                <a:ea typeface="+mn-ea"/>
                <a:cs typeface="+mn-cs"/>
              </a:rPr>
              <a:t>Nuclear</a:t>
            </a:r>
            <a:r>
              <a:rPr kumimoji="0" lang="fr-FR" sz="900" b="0" i="0" u="none" strike="noStrike" kern="1200" cap="none" spc="0" normalizeH="0" baseline="0" noProof="0">
                <a:ln>
                  <a:noFill/>
                </a:ln>
                <a:solidFill>
                  <a:prstClr val="black"/>
                </a:solidFill>
                <a:effectLst/>
                <a:uLnTx/>
                <a:uFillTx/>
                <a:latin typeface="Ubuntu"/>
                <a:ea typeface="+mn-ea"/>
                <a:cs typeface="+mn-cs"/>
              </a:rPr>
              <a:t> plants: </a:t>
            </a:r>
            <a:r>
              <a:rPr kumimoji="0" lang="fr-FR" sz="900" b="0" i="0" u="none" strike="noStrike" kern="1200" cap="none" spc="0" normalizeH="0" baseline="0" noProof="0">
                <a:ln>
                  <a:noFill/>
                </a:ln>
                <a:solidFill>
                  <a:prstClr val="black"/>
                </a:solidFill>
                <a:effectLst/>
                <a:uLnTx/>
                <a:uFillTx/>
                <a:latin typeface="Ubuntu"/>
                <a:ea typeface="+mn-ea"/>
                <a:cs typeface="+mn-cs"/>
                <a:hlinkClick r:id="rId4"/>
              </a:rPr>
              <a:t>https://www.dw.com/en/germany-considers-u-turn-on-nuclear-phaseout/a-62699645#:~:text=The%20phaseout%20has%20been%20planned,using%20nuclear%20power%20by%202022</a:t>
            </a:r>
            <a:r>
              <a:rPr kumimoji="0" lang="fr-FR" sz="900" b="0" i="0" u="none" strike="noStrike" kern="1200" cap="none" spc="0" normalizeH="0" baseline="0" noProof="0">
                <a:ln>
                  <a:noFill/>
                </a:ln>
                <a:solidFill>
                  <a:prstClr val="black"/>
                </a:solidFill>
                <a:effectLst/>
                <a:uLnTx/>
                <a:uFillTx/>
                <a:latin typeface="Ubuntu"/>
                <a:ea typeface="+mn-ea"/>
                <a:cs typeface="+mn-cs"/>
              </a:rPr>
              <a:t>. + Edito: Belgique ok mais Allemagne on ne sait pas encore</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fr-FR" sz="900" b="0" i="0" u="none" strike="noStrike" kern="1200" cap="none" spc="0" normalizeH="0" baseline="0" noProof="0">
                <a:ln>
                  <a:noFill/>
                </a:ln>
                <a:solidFill>
                  <a:prstClr val="black"/>
                </a:solidFill>
                <a:effectLst/>
                <a:uLnTx/>
                <a:uFillTx/>
                <a:latin typeface="Ubuntu"/>
                <a:ea typeface="+mn-ea"/>
                <a:cs typeface="+mn-cs"/>
              </a:rPr>
              <a:t>Invest in gaz </a:t>
            </a:r>
            <a:r>
              <a:rPr kumimoji="0" lang="fr-FR" sz="900" b="0" i="0" u="none" strike="noStrike" kern="1200" cap="none" spc="0" normalizeH="0" baseline="0" noProof="0" err="1">
                <a:ln>
                  <a:noFill/>
                </a:ln>
                <a:solidFill>
                  <a:prstClr val="black"/>
                </a:solidFill>
                <a:effectLst/>
                <a:uLnTx/>
                <a:uFillTx/>
                <a:latin typeface="Ubuntu"/>
                <a:ea typeface="+mn-ea"/>
                <a:cs typeface="+mn-cs"/>
              </a:rPr>
              <a:t>facilities</a:t>
            </a:r>
            <a:r>
              <a:rPr kumimoji="0" lang="fr-FR" sz="900" b="0" i="0" u="none" strike="noStrike" kern="1200" cap="none" spc="0" normalizeH="0" baseline="0" noProof="0">
                <a:ln>
                  <a:noFill/>
                </a:ln>
                <a:solidFill>
                  <a:prstClr val="black"/>
                </a:solidFill>
                <a:effectLst/>
                <a:uLnTx/>
                <a:uFillTx/>
                <a:latin typeface="Ubuntu"/>
                <a:ea typeface="+mn-ea"/>
                <a:cs typeface="+mn-cs"/>
              </a:rPr>
              <a:t>: </a:t>
            </a:r>
            <a:r>
              <a:rPr kumimoji="0" lang="fr-FR" sz="900" b="0" i="0" u="none" strike="noStrike" kern="1200" cap="none" spc="0" normalizeH="0" baseline="0" noProof="0">
                <a:ln>
                  <a:noFill/>
                </a:ln>
                <a:solidFill>
                  <a:prstClr val="black"/>
                </a:solidFill>
                <a:effectLst/>
                <a:uLnTx/>
                <a:uFillTx/>
                <a:latin typeface="Ubuntu"/>
                <a:ea typeface="+mn-ea"/>
                <a:cs typeface="+mn-cs"/>
                <a:hlinkClick r:id="rId5"/>
              </a:rPr>
              <a:t>https://www.euractiv.com/section/energy/news/europe-urged-to-invest-in-lng-infrastructure-as-winter-gas-crisis-looms</a:t>
            </a:r>
            <a:r>
              <a:rPr kumimoji="0" lang="fr-FR" sz="900" b="0" i="0" u="none" strike="noStrike" kern="1200" cap="none" spc="0" normalizeH="0" baseline="0" noProof="0">
                <a:ln>
                  <a:noFill/>
                </a:ln>
                <a:solidFill>
                  <a:prstClr val="black"/>
                </a:solidFill>
                <a:effectLst/>
                <a:uLnTx/>
                <a:uFillTx/>
                <a:latin typeface="Ubuntu"/>
                <a:ea typeface="+mn-ea"/>
                <a:cs typeface="+mn-cs"/>
              </a:rPr>
              <a:t>/+ EDITO</a:t>
            </a:r>
            <a:r>
              <a:rPr kumimoji="0" lang="fr-FR"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a:t>
            </a:r>
            <a:r>
              <a:rPr kumimoji="0" lang="fr-FR" sz="900" b="0" i="0" u="none" strike="noStrike" kern="1200" cap="none" spc="0" normalizeH="0" baseline="0" noProof="0">
                <a:ln>
                  <a:noFill/>
                </a:ln>
                <a:solidFill>
                  <a:prstClr val="black"/>
                </a:solidFill>
                <a:effectLst/>
                <a:highlight>
                  <a:srgbClr val="FFFF00"/>
                </a:highlight>
                <a:uLnTx/>
                <a:uFillTx/>
                <a:latin typeface="Ubuntu"/>
                <a:ea typeface="+mn-ea"/>
                <a:cs typeface="+mn-cs"/>
                <a:sym typeface="Wingdings" panose="05000000000000000000" pitchFamily="2" charset="2"/>
              </a:rPr>
              <a:t>rien de trouvé sur les investissements dans de nouveaux pipelines en Europe</a:t>
            </a:r>
            <a:endParaRPr kumimoji="0" lang="fr-FR" sz="900" b="0" i="0" u="none" strike="noStrike" kern="1200" cap="none" spc="0" normalizeH="0" baseline="0" noProof="0">
              <a:ln>
                <a:noFill/>
              </a:ln>
              <a:solidFill>
                <a:prstClr val="black"/>
              </a:solidFill>
              <a:effectLst/>
              <a:highlight>
                <a:srgbClr val="FFFF00"/>
              </a:highligh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a:ln>
                  <a:noFill/>
                </a:ln>
                <a:solidFill>
                  <a:prstClr val="black"/>
                </a:solidFill>
                <a:effectLst/>
                <a:uLnTx/>
                <a:uFillTx/>
                <a:latin typeface="Ubuntu"/>
                <a:ea typeface="+mn-ea"/>
                <a:cs typeface="+mn-cs"/>
              </a:rPr>
              <a:t>Implement an electricity market reform </a:t>
            </a:r>
            <a:r>
              <a:rPr kumimoji="0" lang="en-US"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EDITO</a:t>
            </a:r>
            <a:endParaRPr kumimoji="0" lang="fr-FR" sz="900" b="0" i="0" u="none" strike="noStrike" kern="1200" cap="none" spc="0" normalizeH="0" baseline="0" noProof="0">
              <a:ln>
                <a:noFill/>
              </a:ln>
              <a:solidFill>
                <a:prstClr val="black"/>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fr-FR" sz="900" b="0" i="0" u="none" strike="noStrike" kern="1200" cap="none" spc="0" normalizeH="0" baseline="0" noProof="0" err="1">
                <a:ln>
                  <a:noFill/>
                </a:ln>
                <a:solidFill>
                  <a:prstClr val="black"/>
                </a:solidFill>
                <a:effectLst/>
                <a:uLnTx/>
                <a:uFillTx/>
                <a:latin typeface="Ubuntu"/>
                <a:ea typeface="+mn-ea"/>
                <a:cs typeface="+mn-cs"/>
              </a:rPr>
              <a:t>Diversifying</a:t>
            </a:r>
            <a:r>
              <a:rPr kumimoji="0" lang="fr-FR" sz="900" b="0" i="0" u="none" strike="noStrike" kern="1200" cap="none" spc="0" normalizeH="0" baseline="0" noProof="0">
                <a:ln>
                  <a:noFill/>
                </a:ln>
                <a:solidFill>
                  <a:prstClr val="black"/>
                </a:solidFill>
                <a:effectLst/>
                <a:uLnTx/>
                <a:uFillTx/>
                <a:latin typeface="Ubuntu"/>
                <a:ea typeface="+mn-ea"/>
                <a:cs typeface="+mn-cs"/>
              </a:rPr>
              <a:t> EU </a:t>
            </a:r>
            <a:r>
              <a:rPr kumimoji="0" lang="fr-FR" sz="900" b="0" i="0" u="none" strike="noStrike" kern="1200" cap="none" spc="0" normalizeH="0" baseline="0" noProof="0" err="1">
                <a:ln>
                  <a:noFill/>
                </a:ln>
                <a:solidFill>
                  <a:prstClr val="black"/>
                </a:solidFill>
                <a:effectLst/>
                <a:uLnTx/>
                <a:uFillTx/>
                <a:latin typeface="Ubuntu"/>
                <a:ea typeface="+mn-ea"/>
                <a:cs typeface="+mn-cs"/>
              </a:rPr>
              <a:t>gas</a:t>
            </a:r>
            <a:r>
              <a:rPr kumimoji="0" lang="fr-FR" sz="900" b="0" i="0" u="none" strike="noStrike" kern="1200" cap="none" spc="0" normalizeH="0" baseline="0" noProof="0">
                <a:ln>
                  <a:noFill/>
                </a:ln>
                <a:solidFill>
                  <a:prstClr val="black"/>
                </a:solidFill>
                <a:effectLst/>
                <a:uLnTx/>
                <a:uFillTx/>
                <a:latin typeface="Ubuntu"/>
                <a:ea typeface="+mn-ea"/>
                <a:cs typeface="+mn-cs"/>
              </a:rPr>
              <a:t> </a:t>
            </a:r>
            <a:r>
              <a:rPr kumimoji="0" lang="fr-FR" sz="900" b="0" i="0" u="none" strike="noStrike" kern="1200" cap="none" spc="0" normalizeH="0" baseline="0" noProof="0" err="1">
                <a:ln>
                  <a:noFill/>
                </a:ln>
                <a:solidFill>
                  <a:prstClr val="black"/>
                </a:solidFill>
                <a:effectLst/>
                <a:uLnTx/>
                <a:uFillTx/>
                <a:latin typeface="Ubuntu"/>
                <a:ea typeface="+mn-ea"/>
                <a:cs typeface="+mn-cs"/>
              </a:rPr>
              <a:t>supplying</a:t>
            </a:r>
            <a:r>
              <a:rPr kumimoji="0" lang="fr-FR" sz="900" b="0" i="0" u="none" strike="noStrike" kern="1200" cap="none" spc="0" normalizeH="0" baseline="0" noProof="0">
                <a:ln>
                  <a:noFill/>
                </a:ln>
                <a:solidFill>
                  <a:prstClr val="black"/>
                </a:solidFill>
                <a:effectLst/>
                <a:uLnTx/>
                <a:uFillTx/>
                <a:latin typeface="Ubuntu"/>
                <a:ea typeface="+mn-ea"/>
                <a:cs typeface="+mn-cs"/>
              </a:rPr>
              <a:t> </a:t>
            </a:r>
            <a:r>
              <a:rPr kumimoji="0" lang="fr-FR"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EDITO</a:t>
            </a:r>
            <a:endParaRPr kumimoji="0" lang="fr-FR" sz="900" b="0" i="0" u="none" strike="noStrike" kern="1200" cap="none" spc="0" normalizeH="0" baseline="0" noProof="0">
              <a:ln>
                <a:noFill/>
              </a:ln>
              <a:solidFill>
                <a:prstClr val="black"/>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fr-FR" sz="900" b="0" i="0" u="none" strike="noStrike" kern="1200" cap="none" spc="0" normalizeH="0" baseline="0" noProof="0">
                <a:ln>
                  <a:noFill/>
                </a:ln>
                <a:solidFill>
                  <a:prstClr val="black"/>
                </a:solidFill>
                <a:effectLst/>
                <a:uLnTx/>
                <a:uFillTx/>
                <a:latin typeface="Ubuntu"/>
                <a:ea typeface="+mn-ea"/>
                <a:cs typeface="+mn-cs"/>
              </a:rPr>
              <a:t>Invest in </a:t>
            </a:r>
            <a:r>
              <a:rPr kumimoji="0" lang="fr-FR" sz="900" b="0" i="0" u="none" strike="noStrike" kern="1200" cap="none" spc="0" normalizeH="0" baseline="0" noProof="0" err="1">
                <a:ln>
                  <a:noFill/>
                </a:ln>
                <a:solidFill>
                  <a:prstClr val="black"/>
                </a:solidFill>
                <a:effectLst/>
                <a:uLnTx/>
                <a:uFillTx/>
                <a:latin typeface="Ubuntu"/>
                <a:ea typeface="+mn-ea"/>
                <a:cs typeface="+mn-cs"/>
              </a:rPr>
              <a:t>nuclear</a:t>
            </a:r>
            <a:r>
              <a:rPr kumimoji="0" lang="fr-FR" sz="900" b="0" i="0" u="none" strike="noStrike" kern="1200" cap="none" spc="0" normalizeH="0" baseline="0" noProof="0">
                <a:ln>
                  <a:noFill/>
                </a:ln>
                <a:solidFill>
                  <a:prstClr val="black"/>
                </a:solidFill>
                <a:effectLst/>
                <a:uLnTx/>
                <a:uFillTx/>
                <a:latin typeface="Ubuntu"/>
                <a:ea typeface="+mn-ea"/>
                <a:cs typeface="+mn-cs"/>
              </a:rPr>
              <a:t> plants </a:t>
            </a:r>
            <a:r>
              <a:rPr kumimoji="0" lang="fr-FR"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EDITO</a:t>
            </a:r>
            <a:endParaRPr kumimoji="0" lang="fr-FR" sz="900" b="0" i="0" u="none" strike="noStrike" kern="1200" cap="none" spc="0" normalizeH="0" baseline="0" noProof="0">
              <a:ln>
                <a:noFill/>
              </a:ln>
              <a:solidFill>
                <a:prstClr val="black"/>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900" b="0" i="0" u="none" strike="noStrike" kern="1200" cap="none" spc="0" normalizeH="0" baseline="0" noProof="0">
                <a:ln>
                  <a:noFill/>
                </a:ln>
                <a:solidFill>
                  <a:prstClr val="black"/>
                </a:solidFill>
                <a:effectLst/>
                <a:uLnTx/>
                <a:uFillTx/>
                <a:latin typeface="Ubuntu"/>
                <a:ea typeface="+mn-ea"/>
                <a:cs typeface="+mn-cs"/>
              </a:rPr>
              <a:t>Create favorable financing conditions for long term green energy projects </a:t>
            </a:r>
            <a:r>
              <a:rPr kumimoji="0" lang="en-US"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EDITO (</a:t>
            </a:r>
            <a:r>
              <a:rPr kumimoji="0" lang="en-US" sz="900" b="0" i="0" u="none" strike="noStrike" kern="1200" cap="none" spc="0" normalizeH="0" baseline="0" noProof="0" err="1">
                <a:ln>
                  <a:noFill/>
                </a:ln>
                <a:solidFill>
                  <a:prstClr val="black"/>
                </a:solidFill>
                <a:effectLst/>
                <a:uLnTx/>
                <a:uFillTx/>
                <a:latin typeface="Ubuntu"/>
                <a:ea typeface="+mn-ea"/>
                <a:cs typeface="+mn-cs"/>
                <a:sym typeface="Wingdings" panose="05000000000000000000" pitchFamily="2" charset="2"/>
              </a:rPr>
              <a:t>investissements</a:t>
            </a:r>
            <a:r>
              <a:rPr kumimoji="0" lang="en-US"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a:t>
            </a:r>
            <a:r>
              <a:rPr kumimoji="0" lang="en-US" sz="900" b="0" i="0" u="none" strike="noStrike" kern="1200" cap="none" spc="0" normalizeH="0" baseline="0" noProof="0" err="1">
                <a:ln>
                  <a:noFill/>
                </a:ln>
                <a:solidFill>
                  <a:prstClr val="black"/>
                </a:solidFill>
                <a:effectLst/>
                <a:uLnTx/>
                <a:uFillTx/>
                <a:latin typeface="Ubuntu"/>
                <a:ea typeface="+mn-ea"/>
                <a:cs typeface="+mn-cs"/>
                <a:sym typeface="Wingdings" panose="05000000000000000000" pitchFamily="2" charset="2"/>
              </a:rPr>
              <a:t>insuffisants</a:t>
            </a:r>
            <a:r>
              <a:rPr kumimoji="0" lang="en-US"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de la part de la France) </a:t>
            </a:r>
            <a:r>
              <a:rPr kumimoji="0" lang="en-US" sz="900" b="0" i="0" u="none" strike="noStrike" kern="1200" cap="none" spc="0" normalizeH="0" baseline="0" noProof="0" err="1">
                <a:ln>
                  <a:noFill/>
                </a:ln>
                <a:solidFill>
                  <a:prstClr val="black"/>
                </a:solidFill>
                <a:effectLst/>
                <a:highlight>
                  <a:srgbClr val="FFFF00"/>
                </a:highlight>
                <a:uLnTx/>
                <a:uFillTx/>
                <a:latin typeface="Ubuntu"/>
                <a:ea typeface="+mn-ea"/>
                <a:cs typeface="+mn-cs"/>
                <a:sym typeface="Wingdings" panose="05000000000000000000" pitchFamily="2" charset="2"/>
              </a:rPr>
              <a:t>mais</a:t>
            </a:r>
            <a:r>
              <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sym typeface="Wingdings" panose="05000000000000000000" pitchFamily="2" charset="2"/>
              </a:rPr>
              <a:t> </a:t>
            </a:r>
            <a:r>
              <a:rPr kumimoji="0" lang="en-US" sz="900" b="0" i="0" u="none" strike="noStrike" kern="1200" cap="none" spc="0" normalizeH="0" baseline="0" noProof="0" err="1">
                <a:ln>
                  <a:noFill/>
                </a:ln>
                <a:solidFill>
                  <a:prstClr val="black"/>
                </a:solidFill>
                <a:effectLst/>
                <a:highlight>
                  <a:srgbClr val="FFFF00"/>
                </a:highlight>
                <a:uLnTx/>
                <a:uFillTx/>
                <a:latin typeface="Ubuntu"/>
                <a:ea typeface="+mn-ea"/>
                <a:cs typeface="+mn-cs"/>
                <a:sym typeface="Wingdings" panose="05000000000000000000" pitchFamily="2" charset="2"/>
              </a:rPr>
              <a:t>est-ce</a:t>
            </a:r>
            <a:r>
              <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sym typeface="Wingdings" panose="05000000000000000000" pitchFamily="2" charset="2"/>
              </a:rPr>
              <a:t> que les 26 milliards </a:t>
            </a:r>
            <a:r>
              <a:rPr kumimoji="0" lang="en-US" sz="900" b="0" i="0" u="none" strike="noStrike" kern="1200" cap="none" spc="0" normalizeH="0" baseline="0" noProof="0" err="1">
                <a:ln>
                  <a:noFill/>
                </a:ln>
                <a:solidFill>
                  <a:prstClr val="black"/>
                </a:solidFill>
                <a:effectLst/>
                <a:highlight>
                  <a:srgbClr val="FFFF00"/>
                </a:highlight>
                <a:uLnTx/>
                <a:uFillTx/>
                <a:latin typeface="Ubuntu"/>
                <a:ea typeface="+mn-ea"/>
                <a:cs typeface="+mn-cs"/>
                <a:sym typeface="Wingdings" panose="05000000000000000000" pitchFamily="2" charset="2"/>
              </a:rPr>
              <a:t>européens</a:t>
            </a:r>
            <a:r>
              <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sym typeface="Wingdings" panose="05000000000000000000" pitchFamily="2" charset="2"/>
              </a:rPr>
              <a:t> </a:t>
            </a:r>
            <a:r>
              <a:rPr kumimoji="0" lang="en-US" sz="900" b="0" i="0" u="none" strike="noStrike" kern="1200" cap="none" spc="0" normalizeH="0" baseline="0" noProof="0" err="1">
                <a:ln>
                  <a:noFill/>
                </a:ln>
                <a:solidFill>
                  <a:prstClr val="black"/>
                </a:solidFill>
                <a:effectLst/>
                <a:highlight>
                  <a:srgbClr val="FFFF00"/>
                </a:highlight>
                <a:uLnTx/>
                <a:uFillTx/>
                <a:latin typeface="Ubuntu"/>
                <a:ea typeface="+mn-ea"/>
                <a:cs typeface="+mn-cs"/>
                <a:sym typeface="Wingdings" panose="05000000000000000000" pitchFamily="2" charset="2"/>
              </a:rPr>
              <a:t>sont</a:t>
            </a:r>
            <a:r>
              <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sym typeface="Wingdings" panose="05000000000000000000" pitchFamily="2" charset="2"/>
              </a:rPr>
              <a:t> </a:t>
            </a:r>
            <a:r>
              <a:rPr kumimoji="0" lang="en-US" sz="900" b="0" i="0" u="none" strike="noStrike" kern="1200" cap="none" spc="0" normalizeH="0" baseline="0" noProof="0" err="1">
                <a:ln>
                  <a:noFill/>
                </a:ln>
                <a:solidFill>
                  <a:prstClr val="black"/>
                </a:solidFill>
                <a:effectLst/>
                <a:highlight>
                  <a:srgbClr val="FFFF00"/>
                </a:highlight>
                <a:uLnTx/>
                <a:uFillTx/>
                <a:latin typeface="Ubuntu"/>
                <a:ea typeface="+mn-ea"/>
                <a:cs typeface="+mn-cs"/>
                <a:sym typeface="Wingdings" panose="05000000000000000000" pitchFamily="2" charset="2"/>
              </a:rPr>
              <a:t>suffisants</a:t>
            </a:r>
            <a:r>
              <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sym typeface="Wingdings" panose="05000000000000000000" pitchFamily="2" charset="2"/>
              </a:rPr>
              <a:t>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nl-NL" sz="900" b="0" i="0" u="none" strike="noStrike" kern="1200" cap="none" spc="0" normalizeH="0" baseline="0" noProof="0" err="1">
                <a:ln>
                  <a:noFill/>
                </a:ln>
                <a:solidFill>
                  <a:prstClr val="black"/>
                </a:solidFill>
                <a:effectLst/>
                <a:uLnTx/>
                <a:uFillTx/>
                <a:latin typeface="Ubuntu"/>
                <a:ea typeface="+mn-ea"/>
                <a:cs typeface="+mn-cs"/>
              </a:rPr>
              <a:t>Accelerate</a:t>
            </a:r>
            <a:r>
              <a:rPr kumimoji="0" lang="nl-NL" sz="900" b="0" i="0" u="none" strike="noStrike" kern="1200" cap="none" spc="0" normalizeH="0" baseline="0" noProof="0">
                <a:ln>
                  <a:noFill/>
                </a:ln>
                <a:solidFill>
                  <a:prstClr val="black"/>
                </a:solidFill>
                <a:effectLst/>
                <a:uLnTx/>
                <a:uFillTx/>
                <a:latin typeface="Ubuntu"/>
                <a:ea typeface="+mn-ea"/>
                <a:cs typeface="+mn-cs"/>
              </a:rPr>
              <a:t> R&amp;D in energy </a:t>
            </a:r>
            <a:r>
              <a:rPr kumimoji="0" lang="nl-NL" sz="900" b="0" i="0" u="none" strike="noStrike" kern="1200" cap="none" spc="0" normalizeH="0" baseline="0" noProof="0" err="1">
                <a:ln>
                  <a:noFill/>
                </a:ln>
                <a:solidFill>
                  <a:prstClr val="black"/>
                </a:solidFill>
                <a:effectLst/>
                <a:uLnTx/>
                <a:uFillTx/>
                <a:latin typeface="Ubuntu"/>
                <a:ea typeface="+mn-ea"/>
                <a:cs typeface="+mn-cs"/>
              </a:rPr>
              <a:t>technologies</a:t>
            </a:r>
            <a:r>
              <a:rPr kumimoji="0" lang="nl-NL" sz="900" b="0" i="0" u="none" strike="noStrike" kern="1200" cap="none" spc="0" normalizeH="0" baseline="0" noProof="0">
                <a:ln>
                  <a:noFill/>
                </a:ln>
                <a:solidFill>
                  <a:prstClr val="black"/>
                </a:solidFill>
                <a:effectLst/>
                <a:uLnTx/>
                <a:uFillTx/>
                <a:latin typeface="Ubuntu"/>
                <a:ea typeface="+mn-ea"/>
                <a:cs typeface="+mn-cs"/>
              </a:rPr>
              <a:t> </a:t>
            </a:r>
            <a:r>
              <a:rPr kumimoji="0" lang="nl-NL"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pas </a:t>
            </a:r>
            <a:r>
              <a:rPr kumimoji="0" lang="nl-NL" sz="900" b="0" i="0" u="none" strike="noStrike" kern="1200" cap="none" spc="0" normalizeH="0" baseline="0" noProof="0" err="1">
                <a:ln>
                  <a:noFill/>
                </a:ln>
                <a:solidFill>
                  <a:prstClr val="black"/>
                </a:solidFill>
                <a:effectLst/>
                <a:uLnTx/>
                <a:uFillTx/>
                <a:latin typeface="Ubuntu"/>
                <a:ea typeface="+mn-ea"/>
                <a:cs typeface="+mn-cs"/>
                <a:sym typeface="Wingdings" panose="05000000000000000000" pitchFamily="2" charset="2"/>
              </a:rPr>
              <a:t>d’accélération</a:t>
            </a:r>
            <a:r>
              <a:rPr kumimoji="0" lang="nl-NL"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les </a:t>
            </a:r>
            <a:r>
              <a:rPr kumimoji="0" lang="nl-NL" sz="900" b="0" i="0" u="none" strike="noStrike" kern="1200" cap="none" spc="0" normalizeH="0" baseline="0" noProof="0" err="1">
                <a:ln>
                  <a:noFill/>
                </a:ln>
                <a:solidFill>
                  <a:prstClr val="black"/>
                </a:solidFill>
                <a:effectLst/>
                <a:uLnTx/>
                <a:uFillTx/>
                <a:latin typeface="Ubuntu"/>
                <a:ea typeface="+mn-ea"/>
                <a:cs typeface="+mn-cs"/>
                <a:sym typeface="Wingdings" panose="05000000000000000000" pitchFamily="2" charset="2"/>
              </a:rPr>
              <a:t>années</a:t>
            </a:r>
            <a:r>
              <a:rPr kumimoji="0" lang="nl-NL"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a:t>
            </a:r>
            <a:r>
              <a:rPr kumimoji="0" lang="nl-NL" sz="900" b="0" i="0" u="none" strike="noStrike" kern="1200" cap="none" spc="0" normalizeH="0" baseline="0" noProof="0" err="1">
                <a:ln>
                  <a:noFill/>
                </a:ln>
                <a:solidFill>
                  <a:prstClr val="black"/>
                </a:solidFill>
                <a:effectLst/>
                <a:uLnTx/>
                <a:uFillTx/>
                <a:latin typeface="Ubuntu"/>
                <a:ea typeface="+mn-ea"/>
                <a:cs typeface="+mn-cs"/>
                <a:sym typeface="Wingdings" panose="05000000000000000000" pitchFamily="2" charset="2"/>
              </a:rPr>
              <a:t>précédentes</a:t>
            </a:r>
            <a:r>
              <a:rPr kumimoji="0" lang="nl-NL"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a:t>
            </a:r>
            <a:r>
              <a:rPr kumimoji="0" lang="nl-NL" sz="900" b="0" i="0" u="none" strike="noStrike" kern="1200" cap="none" spc="0" normalizeH="0" baseline="0" noProof="0">
                <a:ln>
                  <a:noFill/>
                </a:ln>
                <a:solidFill>
                  <a:prstClr val="black"/>
                </a:solidFill>
                <a:effectLst/>
                <a:highlight>
                  <a:srgbClr val="FFFF00"/>
                </a:highlight>
                <a:uLnTx/>
                <a:uFillTx/>
                <a:latin typeface="Ubuntu"/>
                <a:ea typeface="+mn-ea"/>
                <a:cs typeface="+mn-cs"/>
                <a:sym typeface="Wingdings" panose="05000000000000000000" pitchFamily="2" charset="2"/>
              </a:rPr>
              <a:t>mais pas les </a:t>
            </a:r>
            <a:r>
              <a:rPr kumimoji="0" lang="nl-NL" sz="900" b="0" i="0" u="none" strike="noStrike" kern="1200" cap="none" spc="0" normalizeH="0" baseline="0" noProof="0" err="1">
                <a:ln>
                  <a:noFill/>
                </a:ln>
                <a:solidFill>
                  <a:prstClr val="black"/>
                </a:solidFill>
                <a:effectLst/>
                <a:highlight>
                  <a:srgbClr val="FFFF00"/>
                </a:highlight>
                <a:uLnTx/>
                <a:uFillTx/>
                <a:latin typeface="Ubuntu"/>
                <a:ea typeface="+mn-ea"/>
                <a:cs typeface="+mn-cs"/>
                <a:sym typeface="Wingdings" panose="05000000000000000000" pitchFamily="2" charset="2"/>
              </a:rPr>
              <a:t>chiffres</a:t>
            </a:r>
            <a:r>
              <a:rPr kumimoji="0" lang="nl-NL" sz="900" b="0" i="0" u="none" strike="noStrike" kern="1200" cap="none" spc="0" normalizeH="0" baseline="0" noProof="0">
                <a:ln>
                  <a:noFill/>
                </a:ln>
                <a:solidFill>
                  <a:prstClr val="black"/>
                </a:solidFill>
                <a:effectLst/>
                <a:highlight>
                  <a:srgbClr val="FFFF00"/>
                </a:highlight>
                <a:uLnTx/>
                <a:uFillTx/>
                <a:latin typeface="Ubuntu"/>
                <a:ea typeface="+mn-ea"/>
                <a:cs typeface="+mn-cs"/>
                <a:sym typeface="Wingdings" panose="05000000000000000000" pitchFamily="2" charset="2"/>
              </a:rPr>
              <a:t> de 2021 </a:t>
            </a:r>
            <a:r>
              <a:rPr kumimoji="0" lang="nl-NL"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en cours de recherche </a:t>
            </a:r>
            <a:r>
              <a:rPr kumimoji="0" lang="nl-NL" sz="900" b="0" i="0" u="none" strike="noStrike" kern="1200" cap="none" spc="0" normalizeH="0" baseline="0" noProof="0" err="1">
                <a:ln>
                  <a:noFill/>
                </a:ln>
                <a:solidFill>
                  <a:prstClr val="black"/>
                </a:solidFill>
                <a:effectLst/>
                <a:uLnTx/>
                <a:uFillTx/>
                <a:latin typeface="Ubuntu"/>
                <a:ea typeface="+mn-ea"/>
                <a:cs typeface="+mn-cs"/>
                <a:sym typeface="Wingdings" panose="05000000000000000000" pitchFamily="2" charset="2"/>
              </a:rPr>
              <a:t>côté</a:t>
            </a:r>
            <a:r>
              <a:rPr kumimoji="0" lang="nl-NL" sz="900" b="0" i="0" u="none" strike="noStrike" kern="1200" cap="none" spc="0" normalizeH="0" baseline="0" noProof="0">
                <a:ln>
                  <a:noFill/>
                </a:ln>
                <a:solidFill>
                  <a:prstClr val="black"/>
                </a:solidFill>
                <a:effectLst/>
                <a:uLnTx/>
                <a:uFillTx/>
                <a:latin typeface="Ubuntu"/>
                <a:ea typeface="+mn-ea"/>
                <a:cs typeface="+mn-cs"/>
                <a:sym typeface="Wingdings" panose="05000000000000000000" pitchFamily="2" charset="2"/>
              </a:rPr>
              <a:t> Debarghya</a:t>
            </a:r>
            <a:endParaRPr kumimoji="0" lang="nl-NL" sz="900" b="0" i="0" u="none" strike="noStrike" kern="1200" cap="none" spc="0" normalizeH="0" baseline="0" noProof="0">
              <a:ln>
                <a:noFill/>
              </a:ln>
              <a:solidFill>
                <a:prstClr val="black"/>
              </a:solidFill>
              <a:effectLs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900" b="0" i="0" u="none" strike="noStrike" kern="1200" cap="none" spc="0" normalizeH="0" baseline="0" noProof="0">
              <a:ln>
                <a:noFill/>
              </a:ln>
              <a:solidFill>
                <a:prstClr val="black"/>
              </a:solidFill>
              <a:effectLst/>
              <a:highlight>
                <a:srgbClr val="FFFF00"/>
              </a:highlight>
              <a:uLnTx/>
              <a:uFillTx/>
              <a:latin typeface="Ubuntu"/>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fr-FR" sz="900" b="0" i="0" u="none" strike="noStrike" kern="1200" cap="none" spc="0" normalizeH="0" baseline="0" noProof="0">
              <a:ln>
                <a:noFill/>
              </a:ln>
              <a:solidFill>
                <a:prstClr val="black"/>
              </a:solidFill>
              <a:effectLst/>
              <a:uLnTx/>
              <a:uFillTx/>
              <a:latin typeface="Ubuntu"/>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1730683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Article intéressant</a:t>
            </a:r>
          </a:p>
          <a:p>
            <a:r>
              <a:rPr lang="fr-FR"/>
              <a:t>https://balkangreenenergynews.com/european-energy-crisis-and-how-history-repeats-itself-losses-are-borne-by-consumers-while-profits-are-retained-by-utilities/</a:t>
            </a:r>
          </a:p>
          <a:p>
            <a:endParaRPr lang="fr-FR"/>
          </a:p>
          <a:p>
            <a:r>
              <a:rPr lang="fr-FR"/>
              <a:t>Source du graphe</a:t>
            </a:r>
          </a:p>
          <a:p>
            <a:r>
              <a:rPr lang="fr-FR"/>
              <a:t>https://www.adlittle.com/en/insights/viewpoints/energy-retailers%E2%80%99-business-model</a:t>
            </a:r>
          </a:p>
          <a:p>
            <a:r>
              <a:rPr lang="fr-FR"/>
              <a:t>Chiffre de la France</a:t>
            </a:r>
          </a:p>
          <a:p>
            <a:r>
              <a:rPr lang="fr-FR"/>
              <a:t>https://think.ing.com/articles/european-utilities-driven-by-higher-tariffs-and-investment</a:t>
            </a:r>
          </a:p>
          <a:p>
            <a:endParaRPr lang="fr-FR"/>
          </a:p>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900" b="0" i="0" u="none" strike="noStrike" kern="1200" cap="none" spc="0" normalizeH="0" baseline="0" noProof="0" smtClean="0">
                <a:ln>
                  <a:noFill/>
                </a:ln>
                <a:solidFill>
                  <a:prstClr val="black"/>
                </a:solidFill>
                <a:effectLst/>
                <a:uLnTx/>
                <a:uFillTx/>
                <a:latin typeface="Ubuntu"/>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BR" sz="900" b="0" i="0" u="none" strike="noStrike" kern="1200" cap="none" spc="0" normalizeH="0" baseline="0" noProof="0">
              <a:ln>
                <a:noFill/>
              </a:ln>
              <a:solidFill>
                <a:prstClr val="black"/>
              </a:solidFill>
              <a:effectLst/>
              <a:uLnTx/>
              <a:uFillTx/>
              <a:latin typeface="Ubuntu"/>
              <a:ea typeface="+mn-ea"/>
              <a:cs typeface="+mn-cs"/>
            </a:endParaRPr>
          </a:p>
        </p:txBody>
      </p:sp>
    </p:spTree>
    <p:extLst>
      <p:ext uri="{BB962C8B-B14F-4D97-AF65-F5344CB8AC3E}">
        <p14:creationId xmlns:p14="http://schemas.microsoft.com/office/powerpoint/2010/main" val="34432296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2022 </a:t>
            </a:r>
            <a:r>
              <a:rPr lang="fr-FR" err="1"/>
              <a:t>will</a:t>
            </a:r>
            <a:r>
              <a:rPr lang="fr-FR"/>
              <a:t> </a:t>
            </a:r>
            <a:r>
              <a:rPr lang="fr-FR" err="1"/>
              <a:t>be</a:t>
            </a:r>
            <a:r>
              <a:rPr lang="fr-FR"/>
              <a:t> a </a:t>
            </a:r>
            <a:r>
              <a:rPr lang="fr-FR" err="1"/>
              <a:t>year</a:t>
            </a:r>
            <a:r>
              <a:rPr lang="fr-FR"/>
              <a:t> with </a:t>
            </a:r>
            <a:r>
              <a:rPr lang="fr-FR" err="1"/>
              <a:t>significant</a:t>
            </a:r>
            <a:r>
              <a:rPr lang="fr-FR"/>
              <a:t> GDP </a:t>
            </a:r>
            <a:r>
              <a:rPr lang="fr-FR" err="1"/>
              <a:t>growth</a:t>
            </a:r>
            <a:r>
              <a:rPr lang="fr-FR"/>
              <a:t> </a:t>
            </a:r>
            <a:r>
              <a:rPr lang="fr-FR" err="1"/>
              <a:t>durint</a:t>
            </a:r>
            <a:r>
              <a:rPr lang="fr-FR"/>
              <a:t> H1, </a:t>
            </a:r>
            <a:r>
              <a:rPr lang="fr-FR" err="1"/>
              <a:t>then</a:t>
            </a:r>
            <a:r>
              <a:rPr lang="fr-FR"/>
              <a:t> </a:t>
            </a:r>
            <a:r>
              <a:rPr lang="fr-FR" err="1"/>
              <a:t>slowdon</a:t>
            </a:r>
            <a:r>
              <a:rPr lang="fr-FR"/>
              <a:t> in H2. </a:t>
            </a:r>
            <a:r>
              <a:rPr lang="fr-FR" err="1"/>
              <a:t>Perhaps</a:t>
            </a:r>
            <a:r>
              <a:rPr lang="fr-FR"/>
              <a:t> to </a:t>
            </a:r>
            <a:r>
              <a:rPr lang="fr-FR" err="1"/>
              <a:t>be</a:t>
            </a:r>
            <a:r>
              <a:rPr lang="fr-FR"/>
              <a:t> </a:t>
            </a:r>
            <a:r>
              <a:rPr lang="fr-FR" err="1"/>
              <a:t>shown</a:t>
            </a:r>
            <a:r>
              <a:rPr lang="fr-FR"/>
              <a:t> in the table.</a:t>
            </a:r>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3</a:t>
            </a:fld>
            <a:endParaRPr lang="pt-BR"/>
          </a:p>
        </p:txBody>
      </p:sp>
    </p:spTree>
    <p:extLst>
      <p:ext uri="{BB962C8B-B14F-4D97-AF65-F5344CB8AC3E}">
        <p14:creationId xmlns:p14="http://schemas.microsoft.com/office/powerpoint/2010/main" val="24359822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11.emf"/><Relationship Id="rId4" Type="http://schemas.openxmlformats.org/officeDocument/2006/relationships/oleObject" Target="../embeddings/oleObject5.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1.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4.png"/><Relationship Id="rId12" Type="http://schemas.openxmlformats.org/officeDocument/2006/relationships/image" Target="../media/image5.png"/><Relationship Id="rId2" Type="http://schemas.openxmlformats.org/officeDocument/2006/relationships/hyperlink" Target="http://www.linkedin.com/company/capgemini" TargetMode="External"/><Relationship Id="rId1" Type="http://schemas.openxmlformats.org/officeDocument/2006/relationships/slideMaster" Target="../slideMasters/slideMaster3.xml"/><Relationship Id="rId6" Type="http://schemas.openxmlformats.org/officeDocument/2006/relationships/hyperlink" Target="http://www.twitter.com/capgemini" TargetMode="External"/><Relationship Id="rId11" Type="http://schemas.openxmlformats.org/officeDocument/2006/relationships/image" Target="../media/image16.png"/><Relationship Id="rId5" Type="http://schemas.openxmlformats.org/officeDocument/2006/relationships/image" Target="../media/image13.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15.png"/></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1_Diapositive de titre">
    <p:bg>
      <p:bgPr>
        <a:solidFill>
          <a:schemeClr val="accent4"/>
        </a:solidFill>
        <a:effectLst/>
      </p:bgPr>
    </p:bg>
    <p:spTree>
      <p:nvGrpSpPr>
        <p:cNvPr id="1" name=""/>
        <p:cNvGrpSpPr/>
        <p:nvPr/>
      </p:nvGrpSpPr>
      <p:grpSpPr>
        <a:xfrm>
          <a:off x="0" y="0"/>
          <a:ext cx="0" cy="0"/>
          <a:chOff x="0" y="0"/>
          <a:chExt cx="0" cy="0"/>
        </a:xfrm>
      </p:grpSpPr>
      <p:pic>
        <p:nvPicPr>
          <p:cNvPr id="7" name="Picture 6" descr="A picture containing electronics, colorful&#10;&#10;Description automatically generated">
            <a:extLst>
              <a:ext uri="{FF2B5EF4-FFF2-40B4-BE49-F238E27FC236}">
                <a16:creationId xmlns:a16="http://schemas.microsoft.com/office/drawing/2014/main" id="{1BED864F-14E3-47E6-805A-92251671A85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7537" b="7537"/>
          <a:stretch/>
        </p:blipFill>
        <p:spPr>
          <a:xfrm>
            <a:off x="0" y="0"/>
            <a:ext cx="12192000" cy="6858000"/>
          </a:xfrm>
          <a:prstGeom prst="rect">
            <a:avLst/>
          </a:prstGeom>
        </p:spPr>
      </p:pic>
      <p:sp>
        <p:nvSpPr>
          <p:cNvPr id="3" name="Rectangle 2">
            <a:extLst>
              <a:ext uri="{FF2B5EF4-FFF2-40B4-BE49-F238E27FC236}">
                <a16:creationId xmlns:a16="http://schemas.microsoft.com/office/drawing/2014/main" id="{B4263BFB-9D11-0456-3B4E-6333E242248A}"/>
              </a:ext>
            </a:extLst>
          </p:cNvPr>
          <p:cNvSpPr/>
          <p:nvPr userDrawn="1"/>
        </p:nvSpPr>
        <p:spPr>
          <a:xfrm>
            <a:off x="3310" y="-1655"/>
            <a:ext cx="12192000" cy="6858000"/>
          </a:xfrm>
          <a:prstGeom prst="rect">
            <a:avLst/>
          </a:prstGeom>
          <a:solidFill>
            <a:srgbClr val="FFFFFF">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10" name="Group 37">
            <a:extLst>
              <a:ext uri="{FF2B5EF4-FFF2-40B4-BE49-F238E27FC236}">
                <a16:creationId xmlns:a16="http://schemas.microsoft.com/office/drawing/2014/main" id="{FDD462B0-B355-4140-8CC6-CCB94630D32B}"/>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334DD2B8-A933-40EB-9ED5-E8D7722B317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21">
              <a:extLst>
                <a:ext uri="{FF2B5EF4-FFF2-40B4-BE49-F238E27FC236}">
                  <a16:creationId xmlns:a16="http://schemas.microsoft.com/office/drawing/2014/main" id="{C5FB094B-FB57-4878-BF1C-6F49F621746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 name="Groupe 1">
            <a:extLst>
              <a:ext uri="{FF2B5EF4-FFF2-40B4-BE49-F238E27FC236}">
                <a16:creationId xmlns:a16="http://schemas.microsoft.com/office/drawing/2014/main" id="{08F3DED8-8016-CC01-DD57-78948897BA09}"/>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5" name="Freeform 13">
              <a:extLst>
                <a:ext uri="{FF2B5EF4-FFF2-40B4-BE49-F238E27FC236}">
                  <a16:creationId xmlns:a16="http://schemas.microsoft.com/office/drawing/2014/main" id="{05E02E69-AC9A-6F46-3943-C9F7B9E520C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C2AD6536-3A4C-8F35-EE7B-064A2E39A2D6}"/>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3" name="Title Placeholder 1">
            <a:extLst>
              <a:ext uri="{FF2B5EF4-FFF2-40B4-BE49-F238E27FC236}">
                <a16:creationId xmlns:a16="http://schemas.microsoft.com/office/drawing/2014/main" id="{45FBB792-6967-40B4-8DA3-E00C4E396B8D}"/>
              </a:ext>
            </a:extLst>
          </p:cNvPr>
          <p:cNvSpPr>
            <a:spLocks noGrp="1"/>
          </p:cNvSpPr>
          <p:nvPr>
            <p:ph type="title"/>
          </p:nvPr>
        </p:nvSpPr>
        <p:spPr>
          <a:xfrm>
            <a:off x="404813" y="388188"/>
            <a:ext cx="10947772" cy="716711"/>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14" name="Rectangle 27">
            <a:extLst>
              <a:ext uri="{FF2B5EF4-FFF2-40B4-BE49-F238E27FC236}">
                <a16:creationId xmlns:a16="http://schemas.microsoft.com/office/drawing/2014/main" id="{38A7214F-06BE-4689-A3F1-A1DD9AE3F27D}"/>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15" name="Rectangle 43">
            <a:extLst>
              <a:ext uri="{FF2B5EF4-FFF2-40B4-BE49-F238E27FC236}">
                <a16:creationId xmlns:a16="http://schemas.microsoft.com/office/drawing/2014/main" id="{A51096AA-9CD6-4194-9703-67F356138742}"/>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6" name="Rectangle 27">
            <a:extLst>
              <a:ext uri="{FF2B5EF4-FFF2-40B4-BE49-F238E27FC236}">
                <a16:creationId xmlns:a16="http://schemas.microsoft.com/office/drawing/2014/main" id="{206049B4-4180-451A-9A69-78A87DD85135}"/>
              </a:ext>
            </a:extLst>
          </p:cNvPr>
          <p:cNvSpPr/>
          <p:nvPr userDrawn="1"/>
        </p:nvSpPr>
        <p:spPr>
          <a:xfrm>
            <a:off x="404813" y="6571518"/>
            <a:ext cx="509755" cy="107722"/>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WEMO 2022</a:t>
            </a:r>
          </a:p>
        </p:txBody>
      </p:sp>
    </p:spTree>
    <p:extLst>
      <p:ext uri="{BB962C8B-B14F-4D97-AF65-F5344CB8AC3E}">
        <p14:creationId xmlns:p14="http://schemas.microsoft.com/office/powerpoint/2010/main" val="295376166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903980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887933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217478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551127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825136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00929B"/>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25060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388429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8025336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576891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tângulo 43">
            <a:extLst>
              <a:ext uri="{FF2B5EF4-FFF2-40B4-BE49-F238E27FC236}">
                <a16:creationId xmlns:a16="http://schemas.microsoft.com/office/drawing/2014/main" id="{943157CB-8C17-410D-A8F6-B56E14A128F2}"/>
              </a:ext>
            </a:extLst>
          </p:cNvPr>
          <p:cNvSpPr/>
          <p:nvPr userDrawn="1"/>
        </p:nvSpPr>
        <p:spPr>
          <a:xfrm>
            <a:off x="11791753" y="6517658"/>
            <a:ext cx="229263" cy="215444"/>
          </a:xfrm>
          <a:prstGeom prst="rect">
            <a:avLst/>
          </a:prstGeom>
        </p:spPr>
        <p:txBody>
          <a:bodyPr wrap="square" lIns="0" rIns="0" anchor="ctr" anchorCtr="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1" name="Rectangle 27">
            <a:extLst>
              <a:ext uri="{FF2B5EF4-FFF2-40B4-BE49-F238E27FC236}">
                <a16:creationId xmlns:a16="http://schemas.microsoft.com/office/drawing/2014/main" id="{02F47CA5-E1E3-40E3-A92E-A40815E41296}"/>
              </a:ext>
            </a:extLst>
          </p:cNvPr>
          <p:cNvSpPr/>
          <p:nvPr userDrawn="1"/>
        </p:nvSpPr>
        <p:spPr>
          <a:xfrm>
            <a:off x="9229693" y="6573738"/>
            <a:ext cx="2529539" cy="107722"/>
          </a:xfrm>
          <a:prstGeom prst="rect">
            <a:avLst/>
          </a:prstGeom>
        </p:spPr>
        <p:txBody>
          <a:bodyPr wrap="non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2085077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Diapositive de titre">
    <p:bg>
      <p:bgPr>
        <a:solidFill>
          <a:schemeClr val="accent4"/>
        </a:solidFill>
        <a:effectLst/>
      </p:bgPr>
    </p:bg>
    <p:spTree>
      <p:nvGrpSpPr>
        <p:cNvPr id="1" name=""/>
        <p:cNvGrpSpPr/>
        <p:nvPr/>
      </p:nvGrpSpPr>
      <p:grpSpPr>
        <a:xfrm>
          <a:off x="0" y="0"/>
          <a:ext cx="0" cy="0"/>
          <a:chOff x="0" y="0"/>
          <a:chExt cx="0" cy="0"/>
        </a:xfrm>
      </p:grpSpPr>
      <p:pic>
        <p:nvPicPr>
          <p:cNvPr id="12" name="Picture 11" descr="A picture containing grass&#10;&#10;Description automatically generated">
            <a:extLst>
              <a:ext uri="{FF2B5EF4-FFF2-40B4-BE49-F238E27FC236}">
                <a16:creationId xmlns:a16="http://schemas.microsoft.com/office/drawing/2014/main" id="{05603281-4041-4E63-ABEB-688FE4EF6B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09" y="0"/>
            <a:ext cx="12185982" cy="6858000"/>
          </a:xfrm>
          <a:prstGeom prst="rect">
            <a:avLst/>
          </a:prstGeom>
        </p:spPr>
      </p:pic>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4" y="4481746"/>
            <a:ext cx="7347371" cy="307777"/>
          </a:xfrm>
        </p:spPr>
        <p:txBody>
          <a:bodyPr wrap="square" lIns="0" tIns="0" r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4" y="2753099"/>
            <a:ext cx="7748587" cy="1661993"/>
          </a:xfrm>
        </p:spPr>
        <p:txBody>
          <a:bodyPr wrap="square" lIns="0" rIns="0" bIns="0" anchor="b" anchorCtr="0">
            <a:spAutoFit/>
          </a:bodyPr>
          <a:lstStyle>
            <a:lvl1pPr algn="l">
              <a:lnSpc>
                <a:spcPct val="100000"/>
              </a:lnSpc>
              <a:defRPr sz="5400" b="1" baseline="0">
                <a:solidFill>
                  <a:schemeClr val="bg1"/>
                </a:solidFill>
                <a:latin typeface="Ubuntu" panose="020B0504030602030204" pitchFamily="34" charset="0"/>
              </a:defRPr>
            </a:lvl1pPr>
          </a:lstStyle>
          <a:p>
            <a:r>
              <a:rPr lang="en-US"/>
              <a:t>Click to edit Master title style</a:t>
            </a:r>
            <a:endParaRPr lang="en-GB"/>
          </a:p>
        </p:txBody>
      </p:sp>
      <p:pic>
        <p:nvPicPr>
          <p:cNvPr id="9" name="Graphic 8">
            <a:extLst>
              <a:ext uri="{FF2B5EF4-FFF2-40B4-BE49-F238E27FC236}">
                <a16:creationId xmlns:a16="http://schemas.microsoft.com/office/drawing/2014/main" id="{22E2DF71-97BC-4426-A3CC-9ECD69C50DE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517793" y="394961"/>
            <a:ext cx="2241584" cy="500389"/>
          </a:xfrm>
          <a:prstGeom prst="rect">
            <a:avLst/>
          </a:prstGeom>
        </p:spPr>
      </p:pic>
      <p:pic>
        <p:nvPicPr>
          <p:cNvPr id="10" name="Image 24">
            <a:extLst>
              <a:ext uri="{FF2B5EF4-FFF2-40B4-BE49-F238E27FC236}">
                <a16:creationId xmlns:a16="http://schemas.microsoft.com/office/drawing/2014/main" id="{621FA565-F96F-491E-918E-87F44AAE099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21278955">
            <a:off x="-1217416" y="-902051"/>
            <a:ext cx="10414567" cy="7363508"/>
          </a:xfrm>
          <a:prstGeom prst="rect">
            <a:avLst/>
          </a:prstGeom>
        </p:spPr>
      </p:pic>
      <p:sp>
        <p:nvSpPr>
          <p:cNvPr id="7" name="TextBox 6">
            <a:extLst>
              <a:ext uri="{FF2B5EF4-FFF2-40B4-BE49-F238E27FC236}">
                <a16:creationId xmlns:a16="http://schemas.microsoft.com/office/drawing/2014/main" id="{C8A500E4-3BA1-4086-A75D-9A1B27EBDCD4}"/>
              </a:ext>
            </a:extLst>
          </p:cNvPr>
          <p:cNvSpPr txBox="1"/>
          <p:nvPr userDrawn="1"/>
        </p:nvSpPr>
        <p:spPr>
          <a:xfrm>
            <a:off x="8301405" y="4715243"/>
            <a:ext cx="3492944" cy="1231106"/>
          </a:xfrm>
          <a:prstGeom prst="rect">
            <a:avLst/>
          </a:prstGeom>
          <a:noFill/>
        </p:spPr>
        <p:txBody>
          <a:bodyPr wrap="none" lIns="0" tIns="0" rIns="0" bIns="0">
            <a:spAutoFit/>
          </a:bodyPr>
          <a:lstStyle/>
          <a:p>
            <a:pPr algn="r">
              <a:lnSpc>
                <a:spcPts val="3200"/>
              </a:lnSpc>
            </a:pPr>
            <a:r>
              <a:rPr lang="en-US" sz="3600" cap="all" baseline="0">
                <a:solidFill>
                  <a:schemeClr val="bg1"/>
                </a:solidFill>
                <a:latin typeface="Ubuntu" panose="020B0504030602030204" pitchFamily="34" charset="0"/>
              </a:rPr>
              <a:t>World Energy</a:t>
            </a:r>
            <a:br>
              <a:rPr lang="en-US" sz="3600" cap="all" baseline="0">
                <a:solidFill>
                  <a:schemeClr val="bg1"/>
                </a:solidFill>
                <a:latin typeface="Ubuntu" panose="020B0504030602030204" pitchFamily="34" charset="0"/>
              </a:rPr>
            </a:br>
            <a:r>
              <a:rPr lang="en-US" sz="3600" cap="all" baseline="0">
                <a:solidFill>
                  <a:schemeClr val="bg1"/>
                </a:solidFill>
                <a:latin typeface="Ubuntu" panose="020B0504030602030204" pitchFamily="34" charset="0"/>
              </a:rPr>
              <a:t>Markets</a:t>
            </a:r>
            <a:br>
              <a:rPr lang="en-US" sz="3600" cap="all" baseline="0">
                <a:solidFill>
                  <a:schemeClr val="bg1"/>
                </a:solidFill>
                <a:latin typeface="Ubuntu" panose="020B0504030602030204" pitchFamily="34" charset="0"/>
              </a:rPr>
            </a:br>
            <a:r>
              <a:rPr lang="en-US" sz="3600" cap="all" baseline="0">
                <a:solidFill>
                  <a:schemeClr val="bg1"/>
                </a:solidFill>
                <a:latin typeface="Ubuntu" panose="020B0504030602030204" pitchFamily="34" charset="0"/>
              </a:rPr>
              <a:t>Observatory</a:t>
            </a:r>
          </a:p>
        </p:txBody>
      </p:sp>
    </p:spTree>
    <p:extLst>
      <p:ext uri="{BB962C8B-B14F-4D97-AF65-F5344CB8AC3E}">
        <p14:creationId xmlns:p14="http://schemas.microsoft.com/office/powerpoint/2010/main" val="13273863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815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88116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1960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512815"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algn="just" defTabSz="914400" rtl="0" eaLnBrk="1" latinLnBrk="0" hangingPunct="1">
              <a:spcBef>
                <a:spcPts val="0"/>
              </a:spcBef>
              <a:spcAft>
                <a:spcPts val="0"/>
              </a:spcAft>
            </a:pPr>
            <a:r>
              <a:rPr lang="en-IN" sz="900" kern="1200">
                <a:solidFill>
                  <a:schemeClr val="bg1"/>
                </a:solidFill>
                <a:effectLst/>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340,000 team members in more than 50 countries. With its strong 55-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1 global revenues of €18 billion.</a:t>
            </a:r>
            <a:endParaRPr lang="en-US" sz="900" kern="1200">
              <a:solidFill>
                <a:schemeClr val="bg1"/>
              </a:solidFill>
              <a:effectLst/>
              <a:latin typeface="Ubuntu" panose="020B0504030602030204" pitchFamily="34" charset="0"/>
              <a:ea typeface="+mn-ea"/>
              <a:cs typeface="+mn-cs"/>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297963845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61434418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179299207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8_Section A – Narrow">
    <p:spTree>
      <p:nvGrpSpPr>
        <p:cNvPr id="1" name=""/>
        <p:cNvGrpSpPr/>
        <p:nvPr/>
      </p:nvGrpSpPr>
      <p:grpSpPr>
        <a:xfrm>
          <a:off x="0" y="0"/>
          <a:ext cx="0" cy="0"/>
          <a:chOff x="0" y="0"/>
          <a:chExt cx="0" cy="0"/>
        </a:xfrm>
      </p:grpSpPr>
      <p:pic>
        <p:nvPicPr>
          <p:cNvPr id="3" name="Picture 2" descr="A close up of a leaf&#10;&#10;Description automatically generated with medium confidence">
            <a:extLst>
              <a:ext uri="{FF2B5EF4-FFF2-40B4-BE49-F238E27FC236}">
                <a16:creationId xmlns:a16="http://schemas.microsoft.com/office/drawing/2014/main" id="{CF8AD48B-628A-4051-8E89-7543D95C546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Image 24">
            <a:extLst>
              <a:ext uri="{FF2B5EF4-FFF2-40B4-BE49-F238E27FC236}">
                <a16:creationId xmlns:a16="http://schemas.microsoft.com/office/drawing/2014/main" id="{7B07A014-3E31-2041-A65D-D7DDBE7AF9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rot="841245">
            <a:off x="-1295684" y="-1707069"/>
            <a:ext cx="13675914" cy="9669409"/>
          </a:xfrm>
          <a:prstGeom prst="rect">
            <a:avLst/>
          </a:prstGeom>
        </p:spPr>
      </p:pic>
      <p:sp>
        <p:nvSpPr>
          <p:cNvPr id="14" name="Title 1">
            <a:extLst>
              <a:ext uri="{FF2B5EF4-FFF2-40B4-BE49-F238E27FC236}">
                <a16:creationId xmlns:a16="http://schemas.microsoft.com/office/drawing/2014/main" id="{50A620EA-D7F6-457A-9F84-F5DC18B217C6}"/>
              </a:ext>
            </a:extLst>
          </p:cNvPr>
          <p:cNvSpPr>
            <a:spLocks noGrp="1"/>
          </p:cNvSpPr>
          <p:nvPr>
            <p:ph type="ctrTitle" hasCustomPrompt="1"/>
          </p:nvPr>
        </p:nvSpPr>
        <p:spPr bwMode="invGray">
          <a:xfrm>
            <a:off x="404813" y="4965755"/>
            <a:ext cx="6109146" cy="1176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lvl1pPr algn="l">
              <a:lnSpc>
                <a:spcPct val="100000"/>
              </a:lnSpc>
              <a:defRPr lang="en-US" sz="2800" b="1" cap="all" baseline="0" dirty="0">
                <a:solidFill>
                  <a:schemeClr val="bg1"/>
                </a:solidFill>
                <a:latin typeface="Ubuntu" panose="020B0504030602030204" pitchFamily="34" charset="0"/>
              </a:defRPr>
            </a:lvl1pPr>
          </a:lstStyle>
          <a:p>
            <a:pPr marL="0" lvl="0"/>
            <a:r>
              <a:rPr lang="en-US"/>
              <a:t>SECTION TITLE ALL CAPS, LOREM IPSUM DOLOR AMET</a:t>
            </a:r>
          </a:p>
        </p:txBody>
      </p:sp>
    </p:spTree>
    <p:extLst>
      <p:ext uri="{BB962C8B-B14F-4D97-AF65-F5344CB8AC3E}">
        <p14:creationId xmlns:p14="http://schemas.microsoft.com/office/powerpoint/2010/main" val="226083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0_Titre et conten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AC19CA-3112-B5C5-4141-5ABB2FE754E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5601" r="9423" b="6645"/>
          <a:stretch/>
        </p:blipFill>
        <p:spPr>
          <a:xfrm>
            <a:off x="7235952" y="0"/>
            <a:ext cx="4956048" cy="6858000"/>
          </a:xfrm>
          <a:prstGeom prst="rect">
            <a:avLst/>
          </a:prstGeom>
        </p:spPr>
      </p:pic>
      <p:sp>
        <p:nvSpPr>
          <p:cNvPr id="5" name="Rectangle 4">
            <a:extLst>
              <a:ext uri="{FF2B5EF4-FFF2-40B4-BE49-F238E27FC236}">
                <a16:creationId xmlns:a16="http://schemas.microsoft.com/office/drawing/2014/main" id="{600AE830-3893-B6CB-1838-A09ABCCE5B2B}"/>
              </a:ext>
            </a:extLst>
          </p:cNvPr>
          <p:cNvSpPr/>
          <p:nvPr userDrawn="1"/>
        </p:nvSpPr>
        <p:spPr>
          <a:xfrm>
            <a:off x="7235952" y="0"/>
            <a:ext cx="4956048" cy="6858000"/>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04813" y="388188"/>
            <a:ext cx="6621584" cy="716711"/>
          </a:xfrm>
        </p:spPr>
        <p:txBody>
          <a:bodyPr/>
          <a:lstStyle/>
          <a:p>
            <a:r>
              <a:rPr lang="en-US"/>
              <a:t>Click to edit Master title style</a:t>
            </a:r>
            <a:endParaRPr lang="en-GB"/>
          </a:p>
        </p:txBody>
      </p:sp>
      <p:sp>
        <p:nvSpPr>
          <p:cNvPr id="21" name="Rectangle 27">
            <a:extLst>
              <a:ext uri="{FF2B5EF4-FFF2-40B4-BE49-F238E27FC236}">
                <a16:creationId xmlns:a16="http://schemas.microsoft.com/office/drawing/2014/main" id="{2FC62501-A618-42CC-B756-3E46C6369A1D}"/>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22" name="Rectangle 43">
            <a:extLst>
              <a:ext uri="{FF2B5EF4-FFF2-40B4-BE49-F238E27FC236}">
                <a16:creationId xmlns:a16="http://schemas.microsoft.com/office/drawing/2014/main" id="{DB3FAA2F-9F9E-4036-84C0-466551B3A836}"/>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grpSp>
        <p:nvGrpSpPr>
          <p:cNvPr id="10" name="Group 37">
            <a:extLst>
              <a:ext uri="{FF2B5EF4-FFF2-40B4-BE49-F238E27FC236}">
                <a16:creationId xmlns:a16="http://schemas.microsoft.com/office/drawing/2014/main" id="{B4B0AC25-3B75-4D9B-B099-38FFF69B19B3}"/>
              </a:ext>
            </a:extLst>
          </p:cNvPr>
          <p:cNvGrpSpPr/>
          <p:nvPr userDrawn="1"/>
        </p:nvGrpSpPr>
        <p:grpSpPr>
          <a:xfrm>
            <a:off x="11562864" y="207688"/>
            <a:ext cx="418487" cy="387209"/>
            <a:chOff x="5481638" y="2859088"/>
            <a:chExt cx="1231900" cy="1139825"/>
          </a:xfrm>
          <a:solidFill>
            <a:schemeClr val="bg1"/>
          </a:solidFill>
        </p:grpSpPr>
        <p:sp>
          <p:nvSpPr>
            <p:cNvPr id="12" name="Freeform 320">
              <a:extLst>
                <a:ext uri="{FF2B5EF4-FFF2-40B4-BE49-F238E27FC236}">
                  <a16:creationId xmlns:a16="http://schemas.microsoft.com/office/drawing/2014/main" id="{3B7E32E9-2D08-4AC8-B21A-F58BBD7C708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321">
              <a:extLst>
                <a:ext uri="{FF2B5EF4-FFF2-40B4-BE49-F238E27FC236}">
                  <a16:creationId xmlns:a16="http://schemas.microsoft.com/office/drawing/2014/main" id="{7EEF701D-DAD8-47C5-8B14-3F2A40B4DD9F}"/>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016686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35512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46734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bg>
      <p:bgPr>
        <a:solidFill>
          <a:schemeClr val="accent4"/>
        </a:solidFill>
        <a:effectLst/>
      </p:bgPr>
    </p:bg>
    <p:spTree>
      <p:nvGrpSpPr>
        <p:cNvPr id="1" name=""/>
        <p:cNvGrpSpPr/>
        <p:nvPr/>
      </p:nvGrpSpPr>
      <p:grpSpPr>
        <a:xfrm>
          <a:off x="0" y="0"/>
          <a:ext cx="0" cy="0"/>
          <a:chOff x="0" y="0"/>
          <a:chExt cx="0" cy="0"/>
        </a:xfrm>
      </p:grpSpPr>
      <p:pic>
        <p:nvPicPr>
          <p:cNvPr id="5" name="Picture 4" descr="A picture containing sky&#10;&#10;Description automatically generated">
            <a:extLst>
              <a:ext uri="{FF2B5EF4-FFF2-40B4-BE49-F238E27FC236}">
                <a16:creationId xmlns:a16="http://schemas.microsoft.com/office/drawing/2014/main" id="{4911AAEF-B473-4597-9E23-FF415998F32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07" b="7807"/>
          <a:stretch/>
        </p:blipFill>
        <p:spPr>
          <a:xfrm>
            <a:off x="0" y="0"/>
            <a:ext cx="12192000" cy="6858000"/>
          </a:xfrm>
          <a:prstGeom prst="rect">
            <a:avLst/>
          </a:prstGeom>
        </p:spPr>
      </p:pic>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20053" y="5386054"/>
            <a:ext cx="5585460" cy="553998"/>
          </a:xfrm>
        </p:spPr>
        <p:txBody>
          <a:bodyPr wrap="square" lIns="36000" rIns="36000" bIns="0" anchor="b" anchorCtr="0">
            <a:spAutoFit/>
          </a:bodyPr>
          <a:lstStyle>
            <a:lvl1pPr algn="l">
              <a:lnSpc>
                <a:spcPct val="100000"/>
              </a:lnSpc>
              <a:defRPr sz="3600" b="1" baseline="0">
                <a:solidFill>
                  <a:schemeClr val="bg1"/>
                </a:solidFill>
                <a:latin typeface="Ubuntu" panose="020B0504030602030204" pitchFamily="34" charset="0"/>
              </a:defRPr>
            </a:lvl1pPr>
          </a:lstStyle>
          <a:p>
            <a:r>
              <a:rPr lang="en-US"/>
              <a:t>Section title</a:t>
            </a:r>
            <a:endParaRPr lang="en-GB"/>
          </a:p>
        </p:txBody>
      </p:sp>
      <p:pic>
        <p:nvPicPr>
          <p:cNvPr id="9" name="Image 24">
            <a:extLst>
              <a:ext uri="{FF2B5EF4-FFF2-40B4-BE49-F238E27FC236}">
                <a16:creationId xmlns:a16="http://schemas.microsoft.com/office/drawing/2014/main" id="{71903BED-A056-49BC-9CBA-330F7BD0D9A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435926">
            <a:off x="-345559" y="-2015065"/>
            <a:ext cx="12879286" cy="9106161"/>
          </a:xfrm>
          <a:prstGeom prst="rect">
            <a:avLst/>
          </a:prstGeom>
        </p:spPr>
      </p:pic>
      <p:grpSp>
        <p:nvGrpSpPr>
          <p:cNvPr id="10" name="Groupe 1">
            <a:extLst>
              <a:ext uri="{FF2B5EF4-FFF2-40B4-BE49-F238E27FC236}">
                <a16:creationId xmlns:a16="http://schemas.microsoft.com/office/drawing/2014/main" id="{4900A444-3120-47D3-AB10-2791663F1886}"/>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11" name="Freeform 13">
              <a:extLst>
                <a:ext uri="{FF2B5EF4-FFF2-40B4-BE49-F238E27FC236}">
                  <a16:creationId xmlns:a16="http://schemas.microsoft.com/office/drawing/2014/main" id="{1E6F1404-B42E-483B-953B-365928F665D8}"/>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4">
              <a:extLst>
                <a:ext uri="{FF2B5EF4-FFF2-40B4-BE49-F238E27FC236}">
                  <a16:creationId xmlns:a16="http://schemas.microsoft.com/office/drawing/2014/main" id="{403A78D7-2CD7-44DF-AEDE-E34B5B5CFA92}"/>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78854573"/>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011032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695616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804280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76573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1467587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Only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EFC118D-80CA-468D-BFC4-6AFE01DC496B}"/>
              </a:ext>
            </a:extLst>
          </p:cNvPr>
          <p:cNvSpPr/>
          <p:nvPr userDrawn="1"/>
        </p:nvSpPr>
        <p:spPr>
          <a:xfrm>
            <a:off x="8328248" y="0"/>
            <a:ext cx="386375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
        <p:nvSpPr>
          <p:cNvPr id="6" name="Retângulo 43">
            <a:extLst>
              <a:ext uri="{FF2B5EF4-FFF2-40B4-BE49-F238E27FC236}">
                <a16:creationId xmlns:a16="http://schemas.microsoft.com/office/drawing/2014/main" id="{2A749AB4-C540-4278-BDDB-C8317F0C0D2C}"/>
              </a:ext>
            </a:extLst>
          </p:cNvPr>
          <p:cNvSpPr/>
          <p:nvPr userDrawn="1"/>
        </p:nvSpPr>
        <p:spPr>
          <a:xfrm>
            <a:off x="11791753" y="6566999"/>
            <a:ext cx="229263" cy="123111"/>
          </a:xfrm>
          <a:prstGeom prst="rect">
            <a:avLst/>
          </a:prstGeom>
        </p:spPr>
        <p:txBody>
          <a:bodyPr wrap="square" lIns="0" tIns="0" rIns="0" bIns="0" anchor="ctr" anchorCtr="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7" name="Rectangle 27">
            <a:extLst>
              <a:ext uri="{FF2B5EF4-FFF2-40B4-BE49-F238E27FC236}">
                <a16:creationId xmlns:a16="http://schemas.microsoft.com/office/drawing/2014/main" id="{9195BE1D-0043-45A9-9CC2-5268BC026178}"/>
              </a:ext>
            </a:extLst>
          </p:cNvPr>
          <p:cNvSpPr/>
          <p:nvPr userDrawn="1"/>
        </p:nvSpPr>
        <p:spPr>
          <a:xfrm>
            <a:off x="9229693" y="6571518"/>
            <a:ext cx="2529539" cy="107722"/>
          </a:xfrm>
          <a:prstGeom prst="rect">
            <a:avLst/>
          </a:prstGeom>
        </p:spPr>
        <p:txBody>
          <a:bodyPr wrap="non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14324495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8569780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7111641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57778720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3122380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bg>
      <p:bgPr>
        <a:solidFill>
          <a:schemeClr val="accent4"/>
        </a:solidFill>
        <a:effectLst/>
      </p:bgPr>
    </p:bg>
    <p:spTree>
      <p:nvGrpSpPr>
        <p:cNvPr id="1" name=""/>
        <p:cNvGrpSpPr/>
        <p:nvPr/>
      </p:nvGrpSpPr>
      <p:grpSpPr>
        <a:xfrm>
          <a:off x="0" y="0"/>
          <a:ext cx="0" cy="0"/>
          <a:chOff x="0" y="0"/>
          <a:chExt cx="0" cy="0"/>
        </a:xfrm>
      </p:grpSpPr>
      <p:pic>
        <p:nvPicPr>
          <p:cNvPr id="4" name="Picture 3" descr="A group of people on a spiral staircase&#10;&#10;Description automatically generated with low confidence">
            <a:extLst>
              <a:ext uri="{FF2B5EF4-FFF2-40B4-BE49-F238E27FC236}">
                <a16:creationId xmlns:a16="http://schemas.microsoft.com/office/drawing/2014/main" id="{36185991-3817-435A-9E4A-713ACBB736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6875" b="16875"/>
          <a:stretch/>
        </p:blipFill>
        <p:spPr>
          <a:xfrm>
            <a:off x="0" y="0"/>
            <a:ext cx="12192000" cy="6858000"/>
          </a:xfrm>
          <a:prstGeom prst="rect">
            <a:avLst/>
          </a:prstGeom>
        </p:spPr>
      </p:pic>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20053" y="5386054"/>
            <a:ext cx="5585460" cy="553998"/>
          </a:xfrm>
        </p:spPr>
        <p:txBody>
          <a:bodyPr vert="horz" wrap="square" lIns="36000" tIns="0" rIns="36000" bIns="0" rtlCol="0" anchor="b" anchorCtr="0">
            <a:spAutoFit/>
          </a:bodyPr>
          <a:lstStyle>
            <a:lvl1pPr>
              <a:defRPr lang="en-GB" sz="3600" b="1" dirty="0">
                <a:solidFill>
                  <a:schemeClr val="bg1"/>
                </a:solidFill>
                <a:latin typeface="Ubuntu" panose="020B0504030602030204" pitchFamily="34" charset="0"/>
              </a:defRPr>
            </a:lvl1pPr>
          </a:lstStyle>
          <a:p>
            <a:pPr lvl="0">
              <a:lnSpc>
                <a:spcPct val="100000"/>
              </a:lnSpc>
            </a:pPr>
            <a:r>
              <a:rPr lang="en-US"/>
              <a:t>Section title</a:t>
            </a:r>
            <a:endParaRPr lang="en-GB"/>
          </a:p>
        </p:txBody>
      </p:sp>
      <p:pic>
        <p:nvPicPr>
          <p:cNvPr id="7" name="Image 20" descr="Une image contenant lampe&#10;&#10;Description générée automatiquement">
            <a:extLst>
              <a:ext uri="{FF2B5EF4-FFF2-40B4-BE49-F238E27FC236}">
                <a16:creationId xmlns:a16="http://schemas.microsoft.com/office/drawing/2014/main" id="{7A728C05-9608-4CDC-9A21-C1FD73B3936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797169" y="-1062712"/>
            <a:ext cx="12158136" cy="8599740"/>
          </a:xfrm>
          <a:prstGeom prst="rect">
            <a:avLst/>
          </a:prstGeom>
        </p:spPr>
      </p:pic>
      <p:grpSp>
        <p:nvGrpSpPr>
          <p:cNvPr id="8" name="Groupe 1">
            <a:extLst>
              <a:ext uri="{FF2B5EF4-FFF2-40B4-BE49-F238E27FC236}">
                <a16:creationId xmlns:a16="http://schemas.microsoft.com/office/drawing/2014/main" id="{2B2F6731-9273-4B0E-9B12-E13D709B819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 name="Freeform 13">
              <a:extLst>
                <a:ext uri="{FF2B5EF4-FFF2-40B4-BE49-F238E27FC236}">
                  <a16:creationId xmlns:a16="http://schemas.microsoft.com/office/drawing/2014/main" id="{46F1C817-B5CE-4464-A01F-3B51349CB580}"/>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14">
              <a:extLst>
                <a:ext uri="{FF2B5EF4-FFF2-40B4-BE49-F238E27FC236}">
                  <a16:creationId xmlns:a16="http://schemas.microsoft.com/office/drawing/2014/main" id="{C6CDEDDF-9BD8-4B23-995E-C5CA3F1FF192}"/>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1932755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3502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Rectangle 27">
            <a:extLst>
              <a:ext uri="{FF2B5EF4-FFF2-40B4-BE49-F238E27FC236}">
                <a16:creationId xmlns:a16="http://schemas.microsoft.com/office/drawing/2014/main" id="{FD693E00-3DD0-4516-9CAB-2F3E07DEC329}"/>
              </a:ext>
            </a:extLst>
          </p:cNvPr>
          <p:cNvSpPr/>
          <p:nvPr userDrawn="1"/>
        </p:nvSpPr>
        <p:spPr>
          <a:xfrm>
            <a:off x="404813" y="6573738"/>
            <a:ext cx="835165" cy="107722"/>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PWEMO #23  |  2021</a:t>
            </a:r>
          </a:p>
        </p:txBody>
      </p:sp>
      <p:sp>
        <p:nvSpPr>
          <p:cNvPr id="9" name="Retângulo 43">
            <a:extLst>
              <a:ext uri="{FF2B5EF4-FFF2-40B4-BE49-F238E27FC236}">
                <a16:creationId xmlns:a16="http://schemas.microsoft.com/office/drawing/2014/main" id="{5A15DF19-D5EF-4864-BE3E-2BC598AF8549}"/>
              </a:ext>
            </a:extLst>
          </p:cNvPr>
          <p:cNvSpPr/>
          <p:nvPr userDrawn="1"/>
        </p:nvSpPr>
        <p:spPr>
          <a:xfrm>
            <a:off x="11791753" y="6517658"/>
            <a:ext cx="229263" cy="215444"/>
          </a:xfrm>
          <a:prstGeom prst="rect">
            <a:avLst/>
          </a:prstGeom>
        </p:spPr>
        <p:txBody>
          <a:bodyPr wrap="square" lIns="0" rIns="0" anchor="ctr" anchorCtr="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0" name="Rectangle 27">
            <a:extLst>
              <a:ext uri="{FF2B5EF4-FFF2-40B4-BE49-F238E27FC236}">
                <a16:creationId xmlns:a16="http://schemas.microsoft.com/office/drawing/2014/main" id="{32855667-13F4-4BDB-81E2-ED2F723C2CB6}"/>
              </a:ext>
            </a:extLst>
          </p:cNvPr>
          <p:cNvSpPr/>
          <p:nvPr userDrawn="1"/>
        </p:nvSpPr>
        <p:spPr>
          <a:xfrm>
            <a:off x="9229693" y="6573738"/>
            <a:ext cx="2529539" cy="107722"/>
          </a:xfrm>
          <a:prstGeom prst="rect">
            <a:avLst/>
          </a:prstGeom>
        </p:spPr>
        <p:txBody>
          <a:bodyPr wrap="non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283193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3426537327"/>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1_Titre et contenu">
    <p:spTree>
      <p:nvGrpSpPr>
        <p:cNvPr id="1" name=""/>
        <p:cNvGrpSpPr/>
        <p:nvPr/>
      </p:nvGrpSpPr>
      <p:grpSpPr>
        <a:xfrm>
          <a:off x="0" y="0"/>
          <a:ext cx="0" cy="0"/>
          <a:chOff x="0" y="0"/>
          <a:chExt cx="0" cy="0"/>
        </a:xfrm>
      </p:grpSpPr>
      <p:sp>
        <p:nvSpPr>
          <p:cNvPr id="26" name="Texte du titre"/>
          <p:cNvSpPr txBox="1">
            <a:spLocks noGrp="1"/>
          </p:cNvSpPr>
          <p:nvPr>
            <p:ph type="title"/>
          </p:nvPr>
        </p:nvSpPr>
        <p:spPr>
          <a:prstGeom prst="rect">
            <a:avLst/>
          </a:prstGeom>
        </p:spPr>
        <p:txBody>
          <a:bodyPr/>
          <a:lstStyle/>
          <a:p>
            <a:r>
              <a:t>Texte du titre</a:t>
            </a:r>
          </a:p>
        </p:txBody>
      </p:sp>
      <p:sp>
        <p:nvSpPr>
          <p:cNvPr id="27" name="Texte niveau 1…"/>
          <p:cNvSpPr txBox="1">
            <a:spLocks noGrp="1"/>
          </p:cNvSpPr>
          <p:nvPr>
            <p:ph type="body" idx="1"/>
          </p:nvPr>
        </p:nvSpPr>
        <p:spPr>
          <a:prstGeom prst="rect">
            <a:avLst/>
          </a:prstGeom>
        </p:spPr>
        <p:txBody>
          <a:bodyPr/>
          <a:lstStyle/>
          <a:p>
            <a:r>
              <a:t>Texte niveau 1</a:t>
            </a:r>
          </a:p>
          <a:p>
            <a:pPr lvl="1"/>
            <a:r>
              <a:t>Texte niveau 2</a:t>
            </a:r>
          </a:p>
          <a:p>
            <a:pPr lvl="2"/>
            <a:r>
              <a:t>Texte niveau 3</a:t>
            </a:r>
          </a:p>
          <a:p>
            <a:pPr lvl="3"/>
            <a:r>
              <a:t>Texte niveau 4</a:t>
            </a:r>
          </a:p>
          <a:p>
            <a:pPr lvl="4"/>
            <a:r>
              <a:t>Texte niveau 5</a:t>
            </a:r>
          </a:p>
        </p:txBody>
      </p:sp>
      <p:sp>
        <p:nvSpPr>
          <p:cNvPr id="28" name="Numéro de diapositive"/>
          <p:cNvSpPr txBox="1">
            <a:spLocks noGrp="1"/>
          </p:cNvSpPr>
          <p:nvPr>
            <p:ph type="sldNum" sz="quarter" idx="2"/>
          </p:nvPr>
        </p:nvSpPr>
        <p:spPr>
          <a:prstGeom prst="rect">
            <a:avLst/>
          </a:prstGeom>
        </p:spPr>
        <p:txBody>
          <a:bodyPr/>
          <a:lstStyle/>
          <a:p>
            <a:fld id="{86CB4B4D-7CA3-9044-876B-883B54F8677D}" type="slidenum">
              <a:rPr/>
              <a:pPr/>
              <a:t>‹Nr.›</a:t>
            </a:fld>
            <a:endParaRPr/>
          </a:p>
        </p:txBody>
      </p:sp>
    </p:spTree>
    <p:extLst>
      <p:ext uri="{BB962C8B-B14F-4D97-AF65-F5344CB8AC3E}">
        <p14:creationId xmlns:p14="http://schemas.microsoft.com/office/powerpoint/2010/main" val="295956146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E107AA-F133-4C15-89CB-E538749BBA8B}"/>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9A78D99D-E566-4ADD-98CC-E7CD9C9797D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4" name="Straight Connector 3">
            <a:extLst>
              <a:ext uri="{FF2B5EF4-FFF2-40B4-BE49-F238E27FC236}">
                <a16:creationId xmlns:a16="http://schemas.microsoft.com/office/drawing/2014/main" id="{8DA0A939-E0DB-4C40-B641-B49447E1B954}"/>
              </a:ext>
            </a:extLst>
          </p:cNvPr>
          <p:cNvCxnSpPr/>
          <p:nvPr userDrawn="1"/>
        </p:nvCxnSpPr>
        <p:spPr>
          <a:xfrm>
            <a:off x="11333335" y="210073"/>
            <a:ext cx="0" cy="36576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35838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0_Diapositive de titre">
    <p:bg>
      <p:bgPr>
        <a:solidFill>
          <a:schemeClr val="accent4"/>
        </a:solidFill>
        <a:effectLst/>
      </p:bgPr>
    </p:bg>
    <p:spTree>
      <p:nvGrpSpPr>
        <p:cNvPr id="1" name=""/>
        <p:cNvGrpSpPr/>
        <p:nvPr/>
      </p:nvGrpSpPr>
      <p:grpSpPr>
        <a:xfrm>
          <a:off x="0" y="0"/>
          <a:ext cx="0" cy="0"/>
          <a:chOff x="0" y="0"/>
          <a:chExt cx="0" cy="0"/>
        </a:xfrm>
      </p:grpSpPr>
      <p:pic>
        <p:nvPicPr>
          <p:cNvPr id="17" name="Picture 16" descr="A picture containing grass, sky, windmill, outdoor&#10;&#10;Description automatically generated">
            <a:extLst>
              <a:ext uri="{FF2B5EF4-FFF2-40B4-BE49-F238E27FC236}">
                <a16:creationId xmlns:a16="http://schemas.microsoft.com/office/drawing/2014/main" id="{E69FE53B-E6EA-4F2E-AE89-5C15827898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B4263BFB-9D11-0456-3B4E-6333E242248A}"/>
              </a:ext>
            </a:extLst>
          </p:cNvPr>
          <p:cNvSpPr/>
          <p:nvPr userDrawn="1"/>
        </p:nvSpPr>
        <p:spPr>
          <a:xfrm>
            <a:off x="0" y="0"/>
            <a:ext cx="12192000" cy="6858000"/>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nvGrpSpPr>
          <p:cNvPr id="10" name="Group 37">
            <a:extLst>
              <a:ext uri="{FF2B5EF4-FFF2-40B4-BE49-F238E27FC236}">
                <a16:creationId xmlns:a16="http://schemas.microsoft.com/office/drawing/2014/main" id="{FDD462B0-B355-4140-8CC6-CCB94630D32B}"/>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334DD2B8-A933-40EB-9ED5-E8D7722B3173}"/>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21">
              <a:extLst>
                <a:ext uri="{FF2B5EF4-FFF2-40B4-BE49-F238E27FC236}">
                  <a16:creationId xmlns:a16="http://schemas.microsoft.com/office/drawing/2014/main" id="{C5FB094B-FB57-4878-BF1C-6F49F6217460}"/>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 name="Groupe 1">
            <a:extLst>
              <a:ext uri="{FF2B5EF4-FFF2-40B4-BE49-F238E27FC236}">
                <a16:creationId xmlns:a16="http://schemas.microsoft.com/office/drawing/2014/main" id="{08F3DED8-8016-CC01-DD57-78948897BA09}"/>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5" name="Freeform 13">
              <a:extLst>
                <a:ext uri="{FF2B5EF4-FFF2-40B4-BE49-F238E27FC236}">
                  <a16:creationId xmlns:a16="http://schemas.microsoft.com/office/drawing/2014/main" id="{05E02E69-AC9A-6F46-3943-C9F7B9E520C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14">
              <a:extLst>
                <a:ext uri="{FF2B5EF4-FFF2-40B4-BE49-F238E27FC236}">
                  <a16:creationId xmlns:a16="http://schemas.microsoft.com/office/drawing/2014/main" id="{C2AD6536-3A4C-8F35-EE7B-064A2E39A2D6}"/>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3" name="Title Placeholder 1">
            <a:extLst>
              <a:ext uri="{FF2B5EF4-FFF2-40B4-BE49-F238E27FC236}">
                <a16:creationId xmlns:a16="http://schemas.microsoft.com/office/drawing/2014/main" id="{45FBB792-6967-40B4-8DA3-E00C4E396B8D}"/>
              </a:ext>
            </a:extLst>
          </p:cNvPr>
          <p:cNvSpPr>
            <a:spLocks noGrp="1"/>
          </p:cNvSpPr>
          <p:nvPr>
            <p:ph type="title"/>
          </p:nvPr>
        </p:nvSpPr>
        <p:spPr>
          <a:xfrm>
            <a:off x="404813" y="388188"/>
            <a:ext cx="10947772" cy="716711"/>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14" name="Rectangle 27">
            <a:extLst>
              <a:ext uri="{FF2B5EF4-FFF2-40B4-BE49-F238E27FC236}">
                <a16:creationId xmlns:a16="http://schemas.microsoft.com/office/drawing/2014/main" id="{38A7214F-06BE-4689-A3F1-A1DD9AE3F27D}"/>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15" name="Rectangle 43">
            <a:extLst>
              <a:ext uri="{FF2B5EF4-FFF2-40B4-BE49-F238E27FC236}">
                <a16:creationId xmlns:a16="http://schemas.microsoft.com/office/drawing/2014/main" id="{A51096AA-9CD6-4194-9703-67F356138742}"/>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6" name="Rectangle 27">
            <a:extLst>
              <a:ext uri="{FF2B5EF4-FFF2-40B4-BE49-F238E27FC236}">
                <a16:creationId xmlns:a16="http://schemas.microsoft.com/office/drawing/2014/main" id="{206049B4-4180-451A-9A69-78A87DD85135}"/>
              </a:ext>
            </a:extLst>
          </p:cNvPr>
          <p:cNvSpPr/>
          <p:nvPr userDrawn="1"/>
        </p:nvSpPr>
        <p:spPr>
          <a:xfrm>
            <a:off x="404813" y="6571518"/>
            <a:ext cx="509755" cy="107722"/>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WEMO 2022</a:t>
            </a:r>
          </a:p>
        </p:txBody>
      </p:sp>
    </p:spTree>
    <p:extLst>
      <p:ext uri="{BB962C8B-B14F-4D97-AF65-F5344CB8AC3E}">
        <p14:creationId xmlns:p14="http://schemas.microsoft.com/office/powerpoint/2010/main" val="296261414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Graphic 9">
            <a:extLst>
              <a:ext uri="{FF2B5EF4-FFF2-40B4-BE49-F238E27FC236}">
                <a16:creationId xmlns:a16="http://schemas.microsoft.com/office/drawing/2014/main" id="{89A81CAD-9486-4E16-B575-CD268535DB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95300" y="627574"/>
            <a:ext cx="2239484" cy="499636"/>
          </a:xfrm>
          <a:prstGeom prst="rect">
            <a:avLst/>
          </a:prstGeom>
        </p:spPr>
      </p:pic>
    </p:spTree>
    <p:extLst>
      <p:ext uri="{BB962C8B-B14F-4D97-AF65-F5344CB8AC3E}">
        <p14:creationId xmlns:p14="http://schemas.microsoft.com/office/powerpoint/2010/main" val="22579098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E6F7D79-F798-4363-8E9B-6BAAC637D4A4}"/>
              </a:ext>
            </a:extLst>
          </p:cNvPr>
          <p:cNvSpPr>
            <a:spLocks noGrp="1"/>
          </p:cNvSpPr>
          <p:nvPr>
            <p:ph type="pic" sz="quarter" idx="10" hasCustomPrompt="1"/>
          </p:nvPr>
        </p:nvSpPr>
        <p:spPr>
          <a:xfrm>
            <a:off x="0" y="0"/>
            <a:ext cx="12192000" cy="6858000"/>
          </a:xfrm>
        </p:spPr>
        <p:txBody>
          <a:bodyPr/>
          <a:lstStyle>
            <a:lvl1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solidFill>
                  <a:schemeClr val="bg1"/>
                </a:solidFill>
              </a:defRPr>
            </a:lvl1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de-DE"/>
              <a:t>Insert Picture and send to back</a:t>
            </a:r>
          </a:p>
          <a:p>
            <a:endParaRPr lang="en-US"/>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7" name="Graphic 9">
            <a:extLst>
              <a:ext uri="{FF2B5EF4-FFF2-40B4-BE49-F238E27FC236}">
                <a16:creationId xmlns:a16="http://schemas.microsoft.com/office/drawing/2014/main" id="{2EC1376B-6D90-49FF-A3E6-C79ABC9F4FA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44050" y="622811"/>
            <a:ext cx="2239484" cy="499636"/>
          </a:xfrm>
          <a:prstGeom prst="rect">
            <a:avLst/>
          </a:prstGeom>
        </p:spPr>
      </p:pic>
    </p:spTree>
    <p:extLst>
      <p:ext uri="{BB962C8B-B14F-4D97-AF65-F5344CB8AC3E}">
        <p14:creationId xmlns:p14="http://schemas.microsoft.com/office/powerpoint/2010/main" val="590866126"/>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chemeClr val="accent4"/>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5A83A40E-57C0-4BF3-B0BA-AE473D1C2A4D}"/>
              </a:ext>
            </a:extLst>
          </p:cNvPr>
          <p:cNvSpPr>
            <a:spLocks noGrp="1"/>
          </p:cNvSpPr>
          <p:nvPr>
            <p:ph type="title"/>
          </p:nvPr>
        </p:nvSpPr>
        <p:spPr>
          <a:xfrm>
            <a:off x="404813" y="388188"/>
            <a:ext cx="10947772" cy="716711"/>
          </a:xfrm>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76615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44639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9_Diapositive de titre">
    <p:bg>
      <p:bgPr>
        <a:solidFill>
          <a:schemeClr val="accent4"/>
        </a:solidFill>
        <a:effectLst/>
      </p:bgPr>
    </p:bg>
    <p:spTree>
      <p:nvGrpSpPr>
        <p:cNvPr id="1" name=""/>
        <p:cNvGrpSpPr/>
        <p:nvPr/>
      </p:nvGrpSpPr>
      <p:grpSpPr>
        <a:xfrm>
          <a:off x="0" y="0"/>
          <a:ext cx="0" cy="0"/>
          <a:chOff x="0" y="0"/>
          <a:chExt cx="0" cy="0"/>
        </a:xfrm>
      </p:grpSpPr>
      <p:pic>
        <p:nvPicPr>
          <p:cNvPr id="4" name="Picture 3" descr="A picture containing grass, green, lush&#10;&#10;Description automatically generated">
            <a:extLst>
              <a:ext uri="{FF2B5EF4-FFF2-40B4-BE49-F238E27FC236}">
                <a16:creationId xmlns:a16="http://schemas.microsoft.com/office/drawing/2014/main" id="{518831AE-AC8B-4D34-8A75-49C3F203B5B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382" b="6180"/>
          <a:stretch/>
        </p:blipFill>
        <p:spPr>
          <a:xfrm>
            <a:off x="-1" y="0"/>
            <a:ext cx="12191999" cy="6858000"/>
          </a:xfrm>
          <a:prstGeom prst="rect">
            <a:avLst/>
          </a:prstGeom>
        </p:spPr>
      </p:pic>
      <p:sp>
        <p:nvSpPr>
          <p:cNvPr id="2" name="Title">
            <a:extLst>
              <a:ext uri="{FF2B5EF4-FFF2-40B4-BE49-F238E27FC236}">
                <a16:creationId xmlns:a16="http://schemas.microsoft.com/office/drawing/2014/main" id="{A5A39C93-A915-45D6-953A-AAC473CA2FEC}"/>
              </a:ext>
            </a:extLst>
          </p:cNvPr>
          <p:cNvSpPr>
            <a:spLocks noGrp="1"/>
          </p:cNvSpPr>
          <p:nvPr>
            <p:ph type="ctrTitle" hasCustomPrompt="1"/>
          </p:nvPr>
        </p:nvSpPr>
        <p:spPr>
          <a:xfrm>
            <a:off x="420053" y="5386054"/>
            <a:ext cx="5585460" cy="553998"/>
          </a:xfrm>
        </p:spPr>
        <p:txBody>
          <a:bodyPr vert="horz" wrap="square" lIns="36000" tIns="0" rIns="36000" bIns="0" rtlCol="0" anchor="b" anchorCtr="0">
            <a:spAutoFit/>
          </a:bodyPr>
          <a:lstStyle>
            <a:lvl1pPr>
              <a:defRPr lang="en-GB" sz="3600" b="1" dirty="0">
                <a:solidFill>
                  <a:schemeClr val="bg1"/>
                </a:solidFill>
                <a:latin typeface="Ubuntu" panose="020B0504030602030204" pitchFamily="34" charset="0"/>
              </a:defRPr>
            </a:lvl1pPr>
          </a:lstStyle>
          <a:p>
            <a:pPr lvl="0">
              <a:lnSpc>
                <a:spcPct val="100000"/>
              </a:lnSpc>
            </a:pPr>
            <a:r>
              <a:rPr lang="en-US"/>
              <a:t>Section title</a:t>
            </a:r>
            <a:endParaRPr lang="en-GB"/>
          </a:p>
        </p:txBody>
      </p:sp>
      <p:pic>
        <p:nvPicPr>
          <p:cNvPr id="6" name="Image 20" descr="Une image contenant lampe&#10;&#10;Description générée automatiquement">
            <a:extLst>
              <a:ext uri="{FF2B5EF4-FFF2-40B4-BE49-F238E27FC236}">
                <a16:creationId xmlns:a16="http://schemas.microsoft.com/office/drawing/2014/main" id="{E61CF410-F81E-4FA5-B990-D7974DE572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1631" y="-898588"/>
            <a:ext cx="12462936" cy="8815332"/>
          </a:xfrm>
          <a:prstGeom prst="rect">
            <a:avLst/>
          </a:prstGeom>
        </p:spPr>
      </p:pic>
      <p:grpSp>
        <p:nvGrpSpPr>
          <p:cNvPr id="10" name="Group 37">
            <a:extLst>
              <a:ext uri="{FF2B5EF4-FFF2-40B4-BE49-F238E27FC236}">
                <a16:creationId xmlns:a16="http://schemas.microsoft.com/office/drawing/2014/main" id="{4609F136-627E-4A6C-805F-0F063E3F327D}"/>
              </a:ext>
            </a:extLst>
          </p:cNvPr>
          <p:cNvGrpSpPr/>
          <p:nvPr userDrawn="1"/>
        </p:nvGrpSpPr>
        <p:grpSpPr>
          <a:xfrm>
            <a:off x="11559747" y="210928"/>
            <a:ext cx="413177" cy="382296"/>
            <a:chOff x="5481638" y="2859088"/>
            <a:chExt cx="1231900" cy="1139825"/>
          </a:xfrm>
          <a:solidFill>
            <a:schemeClr val="bg1"/>
          </a:solidFill>
        </p:grpSpPr>
        <p:sp>
          <p:nvSpPr>
            <p:cNvPr id="11" name="Freeform 320">
              <a:extLst>
                <a:ext uri="{FF2B5EF4-FFF2-40B4-BE49-F238E27FC236}">
                  <a16:creationId xmlns:a16="http://schemas.microsoft.com/office/drawing/2014/main" id="{BB0073BB-55A0-4C86-984B-FEC5D8204BA0}"/>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321">
              <a:extLst>
                <a:ext uri="{FF2B5EF4-FFF2-40B4-BE49-F238E27FC236}">
                  <a16:creationId xmlns:a16="http://schemas.microsoft.com/office/drawing/2014/main" id="{5AAD61C5-3D87-40D0-834D-1F43B59CC061}"/>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5181877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09AAE2-57FF-4522-80EE-20AE85025FDD}"/>
              </a:ext>
            </a:extLst>
          </p:cNvPr>
          <p:cNvSpPr/>
          <p:nvPr userDrawn="1"/>
        </p:nvSpPr>
        <p:spPr>
          <a:xfrm>
            <a:off x="8328248" y="0"/>
            <a:ext cx="386375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grpSp>
        <p:nvGrpSpPr>
          <p:cNvPr id="6" name="Groupe 1">
            <a:extLst>
              <a:ext uri="{FF2B5EF4-FFF2-40B4-BE49-F238E27FC236}">
                <a16:creationId xmlns:a16="http://schemas.microsoft.com/office/drawing/2014/main" id="{01CBA179-B284-46EF-AA9E-2A3D3FEE0C7B}"/>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7" name="Freeform 13">
              <a:extLst>
                <a:ext uri="{FF2B5EF4-FFF2-40B4-BE49-F238E27FC236}">
                  <a16:creationId xmlns:a16="http://schemas.microsoft.com/office/drawing/2014/main" id="{D31CC986-DAFC-4A91-815F-8B7CDFA58D4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C3587B0C-57D0-414F-9DDB-6F73B40C55E1}"/>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Rectangle 27">
            <a:extLst>
              <a:ext uri="{FF2B5EF4-FFF2-40B4-BE49-F238E27FC236}">
                <a16:creationId xmlns:a16="http://schemas.microsoft.com/office/drawing/2014/main" id="{5EDF383F-50CD-4EF5-8EB8-A936AF9D9FE6}"/>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10" name="Rectangle 43">
            <a:extLst>
              <a:ext uri="{FF2B5EF4-FFF2-40B4-BE49-F238E27FC236}">
                <a16:creationId xmlns:a16="http://schemas.microsoft.com/office/drawing/2014/main" id="{EF8A5ADA-E6BF-4B5F-B7E5-DAF4184F5E73}"/>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14639218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1_Titre et contenu">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09AAE2-57FF-4522-80EE-20AE85025FDD}"/>
              </a:ext>
            </a:extLst>
          </p:cNvPr>
          <p:cNvSpPr/>
          <p:nvPr userDrawn="1"/>
        </p:nvSpPr>
        <p:spPr>
          <a:xfrm>
            <a:off x="8328248" y="0"/>
            <a:ext cx="386375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2" name="Rectangle 11">
            <a:extLst>
              <a:ext uri="{FF2B5EF4-FFF2-40B4-BE49-F238E27FC236}">
                <a16:creationId xmlns:a16="http://schemas.microsoft.com/office/drawing/2014/main" id="{F3542398-E500-4BF6-9190-51CAA2FFD5CD}"/>
              </a:ext>
            </a:extLst>
          </p:cNvPr>
          <p:cNvSpPr/>
          <p:nvPr userDrawn="1"/>
        </p:nvSpPr>
        <p:spPr>
          <a:xfrm>
            <a:off x="8328248" y="3429000"/>
            <a:ext cx="3878889" cy="3429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grpSp>
        <p:nvGrpSpPr>
          <p:cNvPr id="6" name="Groupe 1">
            <a:extLst>
              <a:ext uri="{FF2B5EF4-FFF2-40B4-BE49-F238E27FC236}">
                <a16:creationId xmlns:a16="http://schemas.microsoft.com/office/drawing/2014/main" id="{01CBA179-B284-46EF-AA9E-2A3D3FEE0C7B}"/>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7" name="Freeform 13">
              <a:extLst>
                <a:ext uri="{FF2B5EF4-FFF2-40B4-BE49-F238E27FC236}">
                  <a16:creationId xmlns:a16="http://schemas.microsoft.com/office/drawing/2014/main" id="{D31CC986-DAFC-4A91-815F-8B7CDFA58D4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C3587B0C-57D0-414F-9DDB-6F73B40C55E1}"/>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Rectangle 27">
            <a:extLst>
              <a:ext uri="{FF2B5EF4-FFF2-40B4-BE49-F238E27FC236}">
                <a16:creationId xmlns:a16="http://schemas.microsoft.com/office/drawing/2014/main" id="{5EDF383F-50CD-4EF5-8EB8-A936AF9D9FE6}"/>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10" name="Rectangle 43">
            <a:extLst>
              <a:ext uri="{FF2B5EF4-FFF2-40B4-BE49-F238E27FC236}">
                <a16:creationId xmlns:a16="http://schemas.microsoft.com/office/drawing/2014/main" id="{EF8A5ADA-E6BF-4B5F-B7E5-DAF4184F5E73}"/>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3600971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Titre et contenu">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E6AC915-C173-5FEC-3B0C-649BE153024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9040" t="9641" r="21346" b="16199"/>
          <a:stretch/>
        </p:blipFill>
        <p:spPr>
          <a:xfrm>
            <a:off x="0" y="0"/>
            <a:ext cx="5505253" cy="6858000"/>
          </a:xfrm>
          <a:prstGeom prst="rect">
            <a:avLst/>
          </a:prstGeom>
        </p:spPr>
      </p:pic>
      <p:sp>
        <p:nvSpPr>
          <p:cNvPr id="3" name="Rectangle 2">
            <a:extLst>
              <a:ext uri="{FF2B5EF4-FFF2-40B4-BE49-F238E27FC236}">
                <a16:creationId xmlns:a16="http://schemas.microsoft.com/office/drawing/2014/main" id="{2BF2694E-DADC-AD93-F6D9-C25BA02763F0}"/>
              </a:ext>
            </a:extLst>
          </p:cNvPr>
          <p:cNvSpPr/>
          <p:nvPr userDrawn="1"/>
        </p:nvSpPr>
        <p:spPr>
          <a:xfrm>
            <a:off x="3842656" y="0"/>
            <a:ext cx="834934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 name="Rectangle 4">
            <a:extLst>
              <a:ext uri="{FF2B5EF4-FFF2-40B4-BE49-F238E27FC236}">
                <a16:creationId xmlns:a16="http://schemas.microsoft.com/office/drawing/2014/main" id="{4D09AAE2-57FF-4522-80EE-20AE85025FDD}"/>
              </a:ext>
            </a:extLst>
          </p:cNvPr>
          <p:cNvSpPr/>
          <p:nvPr userDrawn="1"/>
        </p:nvSpPr>
        <p:spPr>
          <a:xfrm>
            <a:off x="8328248" y="0"/>
            <a:ext cx="386375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grpSp>
        <p:nvGrpSpPr>
          <p:cNvPr id="6" name="Groupe 1">
            <a:extLst>
              <a:ext uri="{FF2B5EF4-FFF2-40B4-BE49-F238E27FC236}">
                <a16:creationId xmlns:a16="http://schemas.microsoft.com/office/drawing/2014/main" id="{01CBA179-B284-46EF-AA9E-2A3D3FEE0C7B}"/>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7" name="Freeform 13">
              <a:extLst>
                <a:ext uri="{FF2B5EF4-FFF2-40B4-BE49-F238E27FC236}">
                  <a16:creationId xmlns:a16="http://schemas.microsoft.com/office/drawing/2014/main" id="{D31CC986-DAFC-4A91-815F-8B7CDFA58D4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C3587B0C-57D0-414F-9DDB-6F73B40C55E1}"/>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Rectangle 27">
            <a:extLst>
              <a:ext uri="{FF2B5EF4-FFF2-40B4-BE49-F238E27FC236}">
                <a16:creationId xmlns:a16="http://schemas.microsoft.com/office/drawing/2014/main" id="{5EDF383F-50CD-4EF5-8EB8-A936AF9D9FE6}"/>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10" name="Rectangle 43">
            <a:extLst>
              <a:ext uri="{FF2B5EF4-FFF2-40B4-BE49-F238E27FC236}">
                <a16:creationId xmlns:a16="http://schemas.microsoft.com/office/drawing/2014/main" id="{EF8A5ADA-E6BF-4B5F-B7E5-DAF4184F5E73}"/>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A4C51518-01DF-7C70-7E4B-38BB9D31E0EE}"/>
              </a:ext>
            </a:extLst>
          </p:cNvPr>
          <p:cNvSpPr/>
          <p:nvPr userDrawn="1"/>
        </p:nvSpPr>
        <p:spPr>
          <a:xfrm>
            <a:off x="-21092" y="0"/>
            <a:ext cx="3863746" cy="6858000"/>
          </a:xfrm>
          <a:prstGeom prst="rect">
            <a:avLst/>
          </a:prstGeom>
          <a:solidFill>
            <a:srgbClr val="272936">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19545949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_Titre et contenu">
    <p:spTree>
      <p:nvGrpSpPr>
        <p:cNvPr id="1" name=""/>
        <p:cNvGrpSpPr/>
        <p:nvPr/>
      </p:nvGrpSpPr>
      <p:grpSpPr>
        <a:xfrm>
          <a:off x="0" y="0"/>
          <a:ext cx="0" cy="0"/>
          <a:chOff x="0" y="0"/>
          <a:chExt cx="0" cy="0"/>
        </a:xfrm>
      </p:grpSpPr>
      <p:pic>
        <p:nvPicPr>
          <p:cNvPr id="2" name="Picture 1" descr="A picture containing grass, green, lush&#10;&#10;Description automatically generated">
            <a:extLst>
              <a:ext uri="{FF2B5EF4-FFF2-40B4-BE49-F238E27FC236}">
                <a16:creationId xmlns:a16="http://schemas.microsoft.com/office/drawing/2014/main" id="{73581034-F99F-A3B7-08F2-C0837DCE71D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382" b="6180"/>
          <a:stretch/>
        </p:blipFill>
        <p:spPr>
          <a:xfrm>
            <a:off x="-1" y="0"/>
            <a:ext cx="12191999" cy="6858000"/>
          </a:xfrm>
          <a:prstGeom prst="rect">
            <a:avLst/>
          </a:prstGeom>
        </p:spPr>
      </p:pic>
      <p:sp>
        <p:nvSpPr>
          <p:cNvPr id="3" name="Rectangle 2">
            <a:extLst>
              <a:ext uri="{FF2B5EF4-FFF2-40B4-BE49-F238E27FC236}">
                <a16:creationId xmlns:a16="http://schemas.microsoft.com/office/drawing/2014/main" id="{2BF2694E-DADC-AD93-F6D9-C25BA02763F0}"/>
              </a:ext>
            </a:extLst>
          </p:cNvPr>
          <p:cNvSpPr/>
          <p:nvPr userDrawn="1"/>
        </p:nvSpPr>
        <p:spPr>
          <a:xfrm>
            <a:off x="3842656" y="0"/>
            <a:ext cx="834934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 name="Rectangle 4">
            <a:extLst>
              <a:ext uri="{FF2B5EF4-FFF2-40B4-BE49-F238E27FC236}">
                <a16:creationId xmlns:a16="http://schemas.microsoft.com/office/drawing/2014/main" id="{4D09AAE2-57FF-4522-80EE-20AE85025FDD}"/>
              </a:ext>
            </a:extLst>
          </p:cNvPr>
          <p:cNvSpPr/>
          <p:nvPr userDrawn="1"/>
        </p:nvSpPr>
        <p:spPr>
          <a:xfrm>
            <a:off x="8328248" y="0"/>
            <a:ext cx="386375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grpSp>
        <p:nvGrpSpPr>
          <p:cNvPr id="6" name="Groupe 1">
            <a:extLst>
              <a:ext uri="{FF2B5EF4-FFF2-40B4-BE49-F238E27FC236}">
                <a16:creationId xmlns:a16="http://schemas.microsoft.com/office/drawing/2014/main" id="{01CBA179-B284-46EF-AA9E-2A3D3FEE0C7B}"/>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7" name="Freeform 13">
              <a:extLst>
                <a:ext uri="{FF2B5EF4-FFF2-40B4-BE49-F238E27FC236}">
                  <a16:creationId xmlns:a16="http://schemas.microsoft.com/office/drawing/2014/main" id="{D31CC986-DAFC-4A91-815F-8B7CDFA58D4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C3587B0C-57D0-414F-9DDB-6F73B40C55E1}"/>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Rectangle 27">
            <a:extLst>
              <a:ext uri="{FF2B5EF4-FFF2-40B4-BE49-F238E27FC236}">
                <a16:creationId xmlns:a16="http://schemas.microsoft.com/office/drawing/2014/main" id="{5EDF383F-50CD-4EF5-8EB8-A936AF9D9FE6}"/>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10" name="Rectangle 43">
            <a:extLst>
              <a:ext uri="{FF2B5EF4-FFF2-40B4-BE49-F238E27FC236}">
                <a16:creationId xmlns:a16="http://schemas.microsoft.com/office/drawing/2014/main" id="{EF8A5ADA-E6BF-4B5F-B7E5-DAF4184F5E73}"/>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A4C51518-01DF-7C70-7E4B-38BB9D31E0EE}"/>
              </a:ext>
            </a:extLst>
          </p:cNvPr>
          <p:cNvSpPr/>
          <p:nvPr userDrawn="1"/>
        </p:nvSpPr>
        <p:spPr>
          <a:xfrm>
            <a:off x="-10545" y="0"/>
            <a:ext cx="3863746" cy="6858000"/>
          </a:xfrm>
          <a:prstGeom prst="rect">
            <a:avLst/>
          </a:prstGeom>
          <a:solidFill>
            <a:srgbClr val="272936">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30598749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Titre et contenu">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152548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Titre et contenu">
    <p:spTree>
      <p:nvGrpSpPr>
        <p:cNvPr id="1" name=""/>
        <p:cNvGrpSpPr/>
        <p:nvPr/>
      </p:nvGrpSpPr>
      <p:grpSpPr>
        <a:xfrm>
          <a:off x="0" y="0"/>
          <a:ext cx="0" cy="0"/>
          <a:chOff x="0" y="0"/>
          <a:chExt cx="0" cy="0"/>
        </a:xfrm>
      </p:grpSpPr>
      <p:pic>
        <p:nvPicPr>
          <p:cNvPr id="17" name="Picture 16" descr="A close-up of a bug&#10;&#10;Description automatically generated with medium confidence">
            <a:extLst>
              <a:ext uri="{FF2B5EF4-FFF2-40B4-BE49-F238E27FC236}">
                <a16:creationId xmlns:a16="http://schemas.microsoft.com/office/drawing/2014/main" id="{921558BA-D17B-4DD1-8091-371DFA586A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36798" y="0"/>
            <a:ext cx="4955202" cy="6858000"/>
          </a:xfrm>
          <a:prstGeom prst="rect">
            <a:avLst/>
          </a:prstGeom>
        </p:spPr>
      </p:pic>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404813" y="388188"/>
            <a:ext cx="6621584" cy="716711"/>
          </a:xfrm>
        </p:spPr>
        <p:txBody>
          <a:bodyPr/>
          <a:lstStyle/>
          <a:p>
            <a:r>
              <a:rPr lang="en-US"/>
              <a:t>Click to edit Master title style</a:t>
            </a:r>
            <a:endParaRPr lang="en-GB"/>
          </a:p>
        </p:txBody>
      </p:sp>
      <p:grpSp>
        <p:nvGrpSpPr>
          <p:cNvPr id="18" name="Groupe 1">
            <a:extLst>
              <a:ext uri="{FF2B5EF4-FFF2-40B4-BE49-F238E27FC236}">
                <a16:creationId xmlns:a16="http://schemas.microsoft.com/office/drawing/2014/main" id="{0C8906A6-ECE8-4C84-8CBD-886032BDB6B5}"/>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19" name="Freeform 13">
              <a:extLst>
                <a:ext uri="{FF2B5EF4-FFF2-40B4-BE49-F238E27FC236}">
                  <a16:creationId xmlns:a16="http://schemas.microsoft.com/office/drawing/2014/main" id="{8BD8C8DA-180C-4E84-8F28-D89A5433C4F9}"/>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4">
              <a:extLst>
                <a:ext uri="{FF2B5EF4-FFF2-40B4-BE49-F238E27FC236}">
                  <a16:creationId xmlns:a16="http://schemas.microsoft.com/office/drawing/2014/main" id="{511073A1-D24D-4B10-8291-A1A56966B5C1}"/>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1" name="Rectangle 27">
            <a:extLst>
              <a:ext uri="{FF2B5EF4-FFF2-40B4-BE49-F238E27FC236}">
                <a16:creationId xmlns:a16="http://schemas.microsoft.com/office/drawing/2014/main" id="{2FC62501-A618-42CC-B756-3E46C6369A1D}"/>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22" name="Rectangle 43">
            <a:extLst>
              <a:ext uri="{FF2B5EF4-FFF2-40B4-BE49-F238E27FC236}">
                <a16:creationId xmlns:a16="http://schemas.microsoft.com/office/drawing/2014/main" id="{DB3FAA2F-9F9E-4036-84C0-466551B3A836}"/>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39169960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6965945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870757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613500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162980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re et contenu">
    <p:bg>
      <p:bgPr>
        <a:solidFill>
          <a:schemeClr val="accent4"/>
        </a:solidFill>
        <a:effectLst/>
      </p:bgPr>
    </p:bg>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5A83A40E-57C0-4BF3-B0BA-AE473D1C2A4D}"/>
              </a:ext>
            </a:extLst>
          </p:cNvPr>
          <p:cNvSpPr>
            <a:spLocks noGrp="1"/>
          </p:cNvSpPr>
          <p:nvPr>
            <p:ph type="title"/>
          </p:nvPr>
        </p:nvSpPr>
        <p:spPr>
          <a:xfrm>
            <a:off x="404813" y="388188"/>
            <a:ext cx="10947772" cy="716711"/>
          </a:xfrm>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8330398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00929B"/>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3113115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75A24071-91AD-4811-B183-912B0757110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0" y="0"/>
            <a:ext cx="12192000" cy="1310640"/>
          </a:xfrm>
          <a:prstGeom prst="rect">
            <a:avLst/>
          </a:prstGeom>
        </p:spPr>
      </p:pic>
      <p:grpSp>
        <p:nvGrpSpPr>
          <p:cNvPr id="7" name="Groupe 1">
            <a:extLst>
              <a:ext uri="{FF2B5EF4-FFF2-40B4-BE49-F238E27FC236}">
                <a16:creationId xmlns:a16="http://schemas.microsoft.com/office/drawing/2014/main" id="{8C14675E-D4FE-494A-8FA9-61ED9297E2D8}"/>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8" name="Freeform 13">
              <a:extLst>
                <a:ext uri="{FF2B5EF4-FFF2-40B4-BE49-F238E27FC236}">
                  <a16:creationId xmlns:a16="http://schemas.microsoft.com/office/drawing/2014/main" id="{EBB648A0-19BC-4051-81DF-985C594D9A4B}"/>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Freeform 14">
              <a:extLst>
                <a:ext uri="{FF2B5EF4-FFF2-40B4-BE49-F238E27FC236}">
                  <a16:creationId xmlns:a16="http://schemas.microsoft.com/office/drawing/2014/main" id="{4EE841E8-8B1D-4708-84C8-4177C73DE213}"/>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581655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25415039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054977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251537423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28983646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Large title &amp; large RH image 1">
    <p:bg>
      <p:bgPr>
        <a:solidFill>
          <a:schemeClr val="accent4"/>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5586E72C-F96D-4BE1-996B-39A71EA977D3}"/>
              </a:ext>
            </a:extLst>
          </p:cNvPr>
          <p:cNvSpPr>
            <a:spLocks noGrp="1"/>
          </p:cNvSpPr>
          <p:nvPr>
            <p:ph type="pic" sz="quarter" idx="10"/>
          </p:nvPr>
        </p:nvSpPr>
        <p:spPr>
          <a:xfrm>
            <a:off x="5128004" y="0"/>
            <a:ext cx="7063996" cy="6858000"/>
          </a:xfrm>
          <a:custGeom>
            <a:avLst/>
            <a:gdLst>
              <a:gd name="connsiteX0" fmla="*/ 6658543 w 7063996"/>
              <a:gd name="connsiteY0" fmla="*/ 205058 h 6858000"/>
              <a:gd name="connsiteX1" fmla="*/ 6434159 w 7063996"/>
              <a:gd name="connsiteY1" fmla="*/ 436971 h 6858000"/>
              <a:gd name="connsiteX2" fmla="*/ 6511887 w 7063996"/>
              <a:gd name="connsiteY2" fmla="*/ 551459 h 6858000"/>
              <a:gd name="connsiteX3" fmla="*/ 6591081 w 7063996"/>
              <a:gd name="connsiteY3" fmla="*/ 552927 h 6858000"/>
              <a:gd name="connsiteX4" fmla="*/ 6623162 w 7063996"/>
              <a:gd name="connsiteY4" fmla="*/ 536965 h 6858000"/>
              <a:gd name="connsiteX5" fmla="*/ 6649544 w 7063996"/>
              <a:gd name="connsiteY5" fmla="*/ 513474 h 6858000"/>
              <a:gd name="connsiteX6" fmla="*/ 6642500 w 7063996"/>
              <a:gd name="connsiteY6" fmla="*/ 536398 h 6858000"/>
              <a:gd name="connsiteX7" fmla="*/ 6577699 w 7063996"/>
              <a:gd name="connsiteY7" fmla="*/ 579359 h 6858000"/>
              <a:gd name="connsiteX8" fmla="*/ 6631998 w 7063996"/>
              <a:gd name="connsiteY8" fmla="*/ 594046 h 6858000"/>
              <a:gd name="connsiteX9" fmla="*/ 6761140 w 7063996"/>
              <a:gd name="connsiteY9" fmla="*/ 551453 h 6858000"/>
              <a:gd name="connsiteX10" fmla="*/ 6696569 w 7063996"/>
              <a:gd name="connsiteY10" fmla="*/ 494172 h 6858000"/>
              <a:gd name="connsiteX11" fmla="*/ 6761140 w 7063996"/>
              <a:gd name="connsiteY11" fmla="*/ 525016 h 6858000"/>
              <a:gd name="connsiteX12" fmla="*/ 6846372 w 7063996"/>
              <a:gd name="connsiteY12" fmla="*/ 467391 h 6858000"/>
              <a:gd name="connsiteX13" fmla="*/ 6853587 w 7063996"/>
              <a:gd name="connsiteY13" fmla="*/ 431058 h 6858000"/>
              <a:gd name="connsiteX14" fmla="*/ 6853595 w 7063996"/>
              <a:gd name="connsiteY14" fmla="*/ 431100 h 6858000"/>
              <a:gd name="connsiteX15" fmla="*/ 6853595 w 7063996"/>
              <a:gd name="connsiteY15" fmla="*/ 431017 h 6858000"/>
              <a:gd name="connsiteX16" fmla="*/ 6853595 w 7063996"/>
              <a:gd name="connsiteY16" fmla="*/ 428164 h 6858000"/>
              <a:gd name="connsiteX17" fmla="*/ 6781734 w 7063996"/>
              <a:gd name="connsiteY17" fmla="*/ 279916 h 6858000"/>
              <a:gd name="connsiteX18" fmla="*/ 6668809 w 7063996"/>
              <a:gd name="connsiteY18" fmla="*/ 209461 h 6858000"/>
              <a:gd name="connsiteX19" fmla="*/ 6658543 w 7063996"/>
              <a:gd name="connsiteY19" fmla="*/ 205058 h 6858000"/>
              <a:gd name="connsiteX20" fmla="*/ 0 w 7063996"/>
              <a:gd name="connsiteY20" fmla="*/ 0 h 6858000"/>
              <a:gd name="connsiteX21" fmla="*/ 7063996 w 7063996"/>
              <a:gd name="connsiteY21" fmla="*/ 0 h 6858000"/>
              <a:gd name="connsiteX22" fmla="*/ 7063996 w 7063996"/>
              <a:gd name="connsiteY22" fmla="*/ 6858000 h 6858000"/>
              <a:gd name="connsiteX23" fmla="*/ 0 w 706399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063996" h="6858000">
                <a:moveTo>
                  <a:pt x="6658543" y="205058"/>
                </a:moveTo>
                <a:cubicBezTo>
                  <a:pt x="6608680" y="265238"/>
                  <a:pt x="6434159" y="310740"/>
                  <a:pt x="6434159" y="436971"/>
                </a:cubicBezTo>
                <a:cubicBezTo>
                  <a:pt x="6434159" y="486876"/>
                  <a:pt x="6464957" y="533846"/>
                  <a:pt x="6511887" y="551459"/>
                </a:cubicBezTo>
                <a:cubicBezTo>
                  <a:pt x="6538285" y="561734"/>
                  <a:pt x="6564683" y="561734"/>
                  <a:pt x="6591081" y="552927"/>
                </a:cubicBezTo>
                <a:cubicBezTo>
                  <a:pt x="6602814" y="549258"/>
                  <a:pt x="6613446" y="543753"/>
                  <a:pt x="6623162" y="536965"/>
                </a:cubicBezTo>
                <a:lnTo>
                  <a:pt x="6649544" y="513474"/>
                </a:lnTo>
                <a:lnTo>
                  <a:pt x="6642500" y="536398"/>
                </a:lnTo>
                <a:cubicBezTo>
                  <a:pt x="6630805" y="558154"/>
                  <a:pt x="6606316" y="574953"/>
                  <a:pt x="6577699" y="579359"/>
                </a:cubicBezTo>
                <a:cubicBezTo>
                  <a:pt x="6586504" y="588171"/>
                  <a:pt x="6607050" y="594046"/>
                  <a:pt x="6631998" y="594046"/>
                </a:cubicBezTo>
                <a:cubicBezTo>
                  <a:pt x="6677491" y="594046"/>
                  <a:pt x="6733257" y="580827"/>
                  <a:pt x="6761140" y="551453"/>
                </a:cubicBezTo>
                <a:cubicBezTo>
                  <a:pt x="6722985" y="552921"/>
                  <a:pt x="6698037" y="527953"/>
                  <a:pt x="6696569" y="494172"/>
                </a:cubicBezTo>
                <a:cubicBezTo>
                  <a:pt x="6714179" y="516203"/>
                  <a:pt x="6736192" y="525016"/>
                  <a:pt x="6761140" y="525016"/>
                </a:cubicBezTo>
                <a:cubicBezTo>
                  <a:pt x="6799663" y="525016"/>
                  <a:pt x="6832407" y="501057"/>
                  <a:pt x="6846372" y="467391"/>
                </a:cubicBezTo>
                <a:lnTo>
                  <a:pt x="6853587" y="431058"/>
                </a:lnTo>
                <a:lnTo>
                  <a:pt x="6853595" y="431100"/>
                </a:lnTo>
                <a:lnTo>
                  <a:pt x="6853595" y="431017"/>
                </a:lnTo>
                <a:lnTo>
                  <a:pt x="6853595" y="428164"/>
                </a:lnTo>
                <a:cubicBezTo>
                  <a:pt x="6853595" y="369452"/>
                  <a:pt x="6824264" y="319547"/>
                  <a:pt x="6781734" y="279916"/>
                </a:cubicBezTo>
                <a:cubicBezTo>
                  <a:pt x="6749469" y="249092"/>
                  <a:pt x="6709872" y="227075"/>
                  <a:pt x="6668809" y="209461"/>
                </a:cubicBezTo>
                <a:cubicBezTo>
                  <a:pt x="6665875" y="207994"/>
                  <a:pt x="6662942" y="206526"/>
                  <a:pt x="6658543" y="205058"/>
                </a:cubicBezTo>
                <a:close/>
                <a:moveTo>
                  <a:pt x="0" y="0"/>
                </a:moveTo>
                <a:lnTo>
                  <a:pt x="7063996" y="0"/>
                </a:lnTo>
                <a:lnTo>
                  <a:pt x="706399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a:t>Click icon to add picture</a:t>
            </a:r>
            <a:endParaRPr lang="en-GB"/>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3" y="692696"/>
            <a:ext cx="4562476" cy="2421466"/>
          </a:xfrm>
        </p:spPr>
        <p:txBody>
          <a:bodyPr vert="horz" lIns="72000" tIns="0" rIns="0" bIns="0" rtlCol="0" anchor="b">
            <a:noAutofit/>
          </a:bodyPr>
          <a:lstStyle>
            <a:lvl1pPr>
              <a:lnSpc>
                <a:spcPct val="80000"/>
              </a:lnSpc>
              <a:defRPr lang="en-GB" sz="5400">
                <a:solidFill>
                  <a:schemeClr val="bg1"/>
                </a:solidFill>
              </a:defRPr>
            </a:lvl1pPr>
          </a:lstStyle>
          <a:p>
            <a:pPr lvl="0"/>
            <a:r>
              <a:rPr lang="en-US"/>
              <a:t>Click to edit Master title style</a:t>
            </a:r>
            <a:endParaRPr lang="en-GB"/>
          </a:p>
        </p:txBody>
      </p:sp>
      <p:sp>
        <p:nvSpPr>
          <p:cNvPr id="10" name="Espace réservé du texte 9">
            <a:extLst>
              <a:ext uri="{FF2B5EF4-FFF2-40B4-BE49-F238E27FC236}">
                <a16:creationId xmlns:a16="http://schemas.microsoft.com/office/drawing/2014/main" id="{FC6DF15B-7249-491B-BFB7-9A33784178CD}"/>
              </a:ext>
            </a:extLst>
          </p:cNvPr>
          <p:cNvSpPr>
            <a:spLocks noGrp="1"/>
          </p:cNvSpPr>
          <p:nvPr>
            <p:ph type="body" sz="quarter" idx="12"/>
          </p:nvPr>
        </p:nvSpPr>
        <p:spPr>
          <a:xfrm>
            <a:off x="404813" y="3573040"/>
            <a:ext cx="4395787" cy="2808288"/>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tângulo 43">
            <a:extLst>
              <a:ext uri="{FF2B5EF4-FFF2-40B4-BE49-F238E27FC236}">
                <a16:creationId xmlns:a16="http://schemas.microsoft.com/office/drawing/2014/main" id="{943157CB-8C17-410D-A8F6-B56E14A128F2}"/>
              </a:ext>
            </a:extLst>
          </p:cNvPr>
          <p:cNvSpPr/>
          <p:nvPr userDrawn="1"/>
        </p:nvSpPr>
        <p:spPr>
          <a:xfrm>
            <a:off x="11791753" y="6517658"/>
            <a:ext cx="229263" cy="215444"/>
          </a:xfrm>
          <a:prstGeom prst="rect">
            <a:avLst/>
          </a:prstGeom>
        </p:spPr>
        <p:txBody>
          <a:bodyPr wrap="square" lIns="0" rIns="0" anchor="ctr" anchorCtr="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1" name="Rectangle 27">
            <a:extLst>
              <a:ext uri="{FF2B5EF4-FFF2-40B4-BE49-F238E27FC236}">
                <a16:creationId xmlns:a16="http://schemas.microsoft.com/office/drawing/2014/main" id="{02F47CA5-E1E3-40E3-A92E-A40815E41296}"/>
              </a:ext>
            </a:extLst>
          </p:cNvPr>
          <p:cNvSpPr/>
          <p:nvPr userDrawn="1"/>
        </p:nvSpPr>
        <p:spPr>
          <a:xfrm>
            <a:off x="9229693" y="6573738"/>
            <a:ext cx="2529539" cy="107722"/>
          </a:xfrm>
          <a:prstGeom prst="rect">
            <a:avLst/>
          </a:prstGeom>
        </p:spPr>
        <p:txBody>
          <a:bodyPr wrap="non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44109717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7502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2286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ark grey">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52310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re et contenu">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ABC8D7-F4BB-4E03-BF5D-1F6B0BB6D1A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9040" t="9641" r="21346" b="16199"/>
          <a:stretch/>
        </p:blipFill>
        <p:spPr>
          <a:xfrm>
            <a:off x="0" y="0"/>
            <a:ext cx="5505253" cy="6858000"/>
          </a:xfrm>
          <a:prstGeom prst="rect">
            <a:avLst/>
          </a:prstGeom>
        </p:spPr>
      </p:pic>
    </p:spTree>
    <p:extLst>
      <p:ext uri="{BB962C8B-B14F-4D97-AF65-F5344CB8AC3E}">
        <p14:creationId xmlns:p14="http://schemas.microsoft.com/office/powerpoint/2010/main" val="23361792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2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3318394"/>
            <a:ext cx="4512815" cy="1493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algn="just" defTabSz="914400" rtl="0" eaLnBrk="1" latinLnBrk="0" hangingPunct="1">
              <a:spcBef>
                <a:spcPts val="0"/>
              </a:spcBef>
              <a:spcAft>
                <a:spcPts val="0"/>
              </a:spcAft>
            </a:pPr>
            <a:r>
              <a:rPr lang="en-IN" sz="900" kern="1200">
                <a:solidFill>
                  <a:schemeClr val="bg1"/>
                </a:solidFill>
                <a:effectLst/>
                <a:latin typeface="Ubuntu" panose="020B05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340,000 team members in more than 50 countries. With its strong 55-year heritage and deep industry expertise, Capgemini is trusted by its clients to address the entire breadth of their business needs, from strategy and design to operations, fuelled by the fast evolving and innovative world of cloud, data, AI, connectivity, software, digital engineering and platforms. The Group reported in 2021 global revenues of €18 billion.</a:t>
            </a:r>
            <a:endParaRPr lang="en-US" sz="900" kern="1200">
              <a:solidFill>
                <a:schemeClr val="bg1"/>
              </a:solidFill>
              <a:effectLst/>
              <a:latin typeface="Ubuntu" panose="020B0504030602030204" pitchFamily="34" charset="0"/>
              <a:ea typeface="+mn-ea"/>
              <a:cs typeface="+mn-cs"/>
            </a:endParaRPr>
          </a:p>
        </p:txBody>
      </p:sp>
      <p:sp>
        <p:nvSpPr>
          <p:cNvPr id="15" name="Rectangle 14"/>
          <p:cNvSpPr/>
          <p:nvPr/>
        </p:nvSpPr>
        <p:spPr>
          <a:xfrm>
            <a:off x="6536184" y="2939130"/>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16" name="Rectangle 15"/>
          <p:cNvSpPr/>
          <p:nvPr/>
        </p:nvSpPr>
        <p:spPr>
          <a:xfrm>
            <a:off x="6536184" y="489391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pic>
        <p:nvPicPr>
          <p:cNvPr id="13" name="Image 12" descr="Une image contenant texte&#10;&#10;Description générée automatiquement">
            <a:extLst>
              <a:ext uri="{FF2B5EF4-FFF2-40B4-BE49-F238E27FC236}">
                <a16:creationId xmlns:a16="http://schemas.microsoft.com/office/drawing/2014/main" id="{A0C8CF1B-496A-4A5B-A698-8344534684E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1052546749"/>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2_Final Slide 1">
    <p:bg>
      <p:bgPr>
        <a:solidFill>
          <a:srgbClr val="272936"/>
        </a:solidFill>
        <a:effectLst/>
      </p:bgPr>
    </p:bg>
    <p:spTree>
      <p:nvGrpSpPr>
        <p:cNvPr id="1" name=""/>
        <p:cNvGrpSpPr/>
        <p:nvPr/>
      </p:nvGrpSpPr>
      <p:grpSpPr>
        <a:xfrm>
          <a:off x="0" y="0"/>
          <a:ext cx="0" cy="0"/>
          <a:chOff x="0" y="0"/>
          <a:chExt cx="0" cy="0"/>
        </a:xfrm>
      </p:grpSpPr>
      <p:pic>
        <p:nvPicPr>
          <p:cNvPr id="3" name="Image 2" descr="Une image contenant texte&#10;&#10;Description générée automatiquement">
            <a:extLst>
              <a:ext uri="{FF2B5EF4-FFF2-40B4-BE49-F238E27FC236}">
                <a16:creationId xmlns:a16="http://schemas.microsoft.com/office/drawing/2014/main" id="{4DF6B7E3-9385-486A-9E72-0D561900C7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669" y="622130"/>
            <a:ext cx="3024000" cy="1226177"/>
          </a:xfrm>
          <a:prstGeom prst="rect">
            <a:avLst/>
          </a:prstGeom>
        </p:spPr>
      </p:pic>
    </p:spTree>
    <p:extLst>
      <p:ext uri="{BB962C8B-B14F-4D97-AF65-F5344CB8AC3E}">
        <p14:creationId xmlns:p14="http://schemas.microsoft.com/office/powerpoint/2010/main" val="51501348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Large titl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57200" y="6003700"/>
            <a:ext cx="11277600" cy="822325"/>
          </a:xfrm>
        </p:spPr>
        <p:txBody>
          <a:bodyPr lIns="36000" tIns="144000">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Text Placeholder 6">
            <a:extLst>
              <a:ext uri="{FF2B5EF4-FFF2-40B4-BE49-F238E27FC236}">
                <a16:creationId xmlns:a16="http://schemas.microsoft.com/office/drawing/2014/main" id="{79EA84EC-0E0C-41F6-8286-BC5A87DC6C7B}"/>
              </a:ext>
            </a:extLst>
          </p:cNvPr>
          <p:cNvSpPr>
            <a:spLocks noGrp="1"/>
          </p:cNvSpPr>
          <p:nvPr>
            <p:ph type="body" sz="quarter" idx="10"/>
          </p:nvPr>
        </p:nvSpPr>
        <p:spPr>
          <a:xfrm>
            <a:off x="457200" y="1644650"/>
            <a:ext cx="11277600" cy="3567113"/>
          </a:xfrm>
        </p:spPr>
        <p:txBody>
          <a:bodyPr anchor="ctr" anchorCtr="0">
            <a:normAutofit/>
          </a:bodyPr>
          <a:lstStyle>
            <a:lvl1pPr marL="0" indent="0" algn="l">
              <a:lnSpc>
                <a:spcPct val="70000"/>
              </a:lnSpc>
              <a:buFontTx/>
              <a:buNone/>
              <a:defRPr sz="8000" b="1"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5" name="Image 4" descr="Une image contenant texte&#10;&#10;Description générée automatiquement">
            <a:extLst>
              <a:ext uri="{FF2B5EF4-FFF2-40B4-BE49-F238E27FC236}">
                <a16:creationId xmlns:a16="http://schemas.microsoft.com/office/drawing/2014/main" id="{D1A9B987-E149-4E99-9E1F-336980D5EC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672" y="260648"/>
            <a:ext cx="3024000" cy="1226177"/>
          </a:xfrm>
          <a:prstGeom prst="rect">
            <a:avLst/>
          </a:prstGeom>
        </p:spPr>
      </p:pic>
    </p:spTree>
    <p:extLst>
      <p:ext uri="{BB962C8B-B14F-4D97-AF65-F5344CB8AC3E}">
        <p14:creationId xmlns:p14="http://schemas.microsoft.com/office/powerpoint/2010/main" val="232418711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170552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Titre et contenu">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09AAE2-57FF-4522-80EE-20AE85025FDD}"/>
              </a:ext>
            </a:extLst>
          </p:cNvPr>
          <p:cNvSpPr/>
          <p:nvPr userDrawn="1"/>
        </p:nvSpPr>
        <p:spPr>
          <a:xfrm>
            <a:off x="8328248" y="0"/>
            <a:ext cx="386375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grpSp>
        <p:nvGrpSpPr>
          <p:cNvPr id="6" name="Groupe 1">
            <a:extLst>
              <a:ext uri="{FF2B5EF4-FFF2-40B4-BE49-F238E27FC236}">
                <a16:creationId xmlns:a16="http://schemas.microsoft.com/office/drawing/2014/main" id="{01CBA179-B284-46EF-AA9E-2A3D3FEE0C7B}"/>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7" name="Freeform 13">
              <a:extLst>
                <a:ext uri="{FF2B5EF4-FFF2-40B4-BE49-F238E27FC236}">
                  <a16:creationId xmlns:a16="http://schemas.microsoft.com/office/drawing/2014/main" id="{D31CC986-DAFC-4A91-815F-8B7CDFA58D43}"/>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Freeform 14">
              <a:extLst>
                <a:ext uri="{FF2B5EF4-FFF2-40B4-BE49-F238E27FC236}">
                  <a16:creationId xmlns:a16="http://schemas.microsoft.com/office/drawing/2014/main" id="{C3587B0C-57D0-414F-9DDB-6F73B40C55E1}"/>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 name="Rectangle 27">
            <a:extLst>
              <a:ext uri="{FF2B5EF4-FFF2-40B4-BE49-F238E27FC236}">
                <a16:creationId xmlns:a16="http://schemas.microsoft.com/office/drawing/2014/main" id="{5EDF383F-50CD-4EF5-8EB8-A936AF9D9FE6}"/>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10" name="Rectangle 43">
            <a:extLst>
              <a:ext uri="{FF2B5EF4-FFF2-40B4-BE49-F238E27FC236}">
                <a16:creationId xmlns:a16="http://schemas.microsoft.com/office/drawing/2014/main" id="{EF8A5ADA-E6BF-4B5F-B7E5-DAF4184F5E73}"/>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Tree>
    <p:extLst>
      <p:ext uri="{BB962C8B-B14F-4D97-AF65-F5344CB8AC3E}">
        <p14:creationId xmlns:p14="http://schemas.microsoft.com/office/powerpoint/2010/main" val="29005344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theme" Target="../theme/theme2.xml"/><Relationship Id="rId3" Type="http://schemas.openxmlformats.org/officeDocument/2006/relationships/slideLayout" Target="../slideLayouts/slideLayout30.xml"/><Relationship Id="rId21" Type="http://schemas.openxmlformats.org/officeDocument/2006/relationships/image" Target="../media/image11.emf"/><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oleObject" Target="../embeddings/oleObject2.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ags" Target="../tags/tag5.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theme" Target="../theme/theme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1" name="Rectangle 27">
            <a:extLst>
              <a:ext uri="{FF2B5EF4-FFF2-40B4-BE49-F238E27FC236}">
                <a16:creationId xmlns:a16="http://schemas.microsoft.com/office/drawing/2014/main" id="{B16D8786-6E82-4A6E-B2FB-F065F39AC67A}"/>
              </a:ext>
            </a:extLst>
          </p:cNvPr>
          <p:cNvSpPr/>
          <p:nvPr userDrawn="1"/>
        </p:nvSpPr>
        <p:spPr>
          <a:xfrm>
            <a:off x="404813" y="6571518"/>
            <a:ext cx="509755" cy="107722"/>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WEMO 2022</a:t>
            </a:r>
          </a:p>
        </p:txBody>
      </p:sp>
    </p:spTree>
    <p:extLst>
      <p:ext uri="{BB962C8B-B14F-4D97-AF65-F5344CB8AC3E}">
        <p14:creationId xmlns:p14="http://schemas.microsoft.com/office/powerpoint/2010/main" val="1901136218"/>
      </p:ext>
    </p:extLst>
  </p:cSld>
  <p:clrMap bg1="lt1" tx1="dk1" bg2="lt2" tx2="dk2" accent1="accent1" accent2="accent2" accent3="accent3" accent4="accent4" accent5="accent5" accent6="accent6" hlink="hlink" folHlink="folHlink"/>
  <p:sldLayoutIdLst>
    <p:sldLayoutId id="2147484211" r:id="rId1"/>
    <p:sldLayoutId id="2147484043" r:id="rId2"/>
    <p:sldLayoutId id="2147484071" r:id="rId3"/>
    <p:sldLayoutId id="2147484072" r:id="rId4"/>
    <p:sldLayoutId id="2147484084" r:id="rId5"/>
    <p:sldLayoutId id="2147484070" r:id="rId6"/>
    <p:sldLayoutId id="2147484079" r:id="rId7"/>
    <p:sldLayoutId id="2147484046" r:id="rId8"/>
    <p:sldLayoutId id="2147484086" r:id="rId9"/>
    <p:sldLayoutId id="2147484078"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80" r:id="rId19"/>
    <p:sldLayoutId id="2147484059" r:id="rId20"/>
    <p:sldLayoutId id="2147484060" r:id="rId21"/>
    <p:sldLayoutId id="2147484062" r:id="rId22"/>
    <p:sldLayoutId id="2147484064" r:id="rId23"/>
    <p:sldLayoutId id="2147484066" r:id="rId24"/>
    <p:sldLayoutId id="2147484067" r:id="rId25"/>
    <p:sldLayoutId id="2147484123" r:id="rId26"/>
    <p:sldLayoutId id="2147484212" r:id="rId2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userDrawn="1">
          <p15:clr>
            <a:srgbClr val="F26B43"/>
          </p15:clr>
        </p15:guide>
        <p15:guide id="11" orient="horz" pos="4071" userDrawn="1">
          <p15:clr>
            <a:srgbClr val="F26B43"/>
          </p15:clr>
        </p15:guide>
        <p15:guide id="12" pos="255" userDrawn="1">
          <p15:clr>
            <a:srgbClr val="F26B43"/>
          </p15:clr>
        </p15:guide>
        <p15:guide id="13" orient="horz" pos="836" userDrawn="1">
          <p15:clr>
            <a:srgbClr val="F26B43"/>
          </p15:clr>
        </p15:guide>
        <p15:guide id="14" orient="horz" pos="245" userDrawn="1">
          <p15:clr>
            <a:srgbClr val="F26B43"/>
          </p15:clr>
        </p15:guide>
        <p15:guide id="15" pos="3840" userDrawn="1">
          <p15:clr>
            <a:srgbClr val="F26B43"/>
          </p15:clr>
        </p15:guide>
        <p15:guide id="16" pos="3899" userDrawn="1">
          <p15:clr>
            <a:srgbClr val="F26B43"/>
          </p15:clr>
        </p15:guide>
        <p15:guide id="17" pos="378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19"/>
            </p:custDataLst>
            <p:extLst>
              <p:ext uri="{D42A27DB-BD31-4B8C-83A1-F6EECF244321}">
                <p14:modId xmlns:p14="http://schemas.microsoft.com/office/powerpoint/2010/main" val="19757867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21" name="Object 20"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65" name="Rectangle 27">
            <a:extLst>
              <a:ext uri="{FF2B5EF4-FFF2-40B4-BE49-F238E27FC236}">
                <a16:creationId xmlns:a16="http://schemas.microsoft.com/office/drawing/2014/main" id="{5B538C81-213B-41EC-BB81-FEF313C9D880}"/>
              </a:ext>
            </a:extLst>
          </p:cNvPr>
          <p:cNvSpPr/>
          <p:nvPr userDrawn="1"/>
        </p:nvSpPr>
        <p:spPr>
          <a:xfrm>
            <a:off x="404813" y="6571518"/>
            <a:ext cx="780663" cy="107722"/>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WEMO #23  |  2021</a:t>
            </a:r>
          </a:p>
        </p:txBody>
      </p:sp>
      <p:sp>
        <p:nvSpPr>
          <p:cNvPr id="86" name="Retângulo 43">
            <a:extLst>
              <a:ext uri="{FF2B5EF4-FFF2-40B4-BE49-F238E27FC236}">
                <a16:creationId xmlns:a16="http://schemas.microsoft.com/office/drawing/2014/main" id="{5539996C-DD2A-49D6-AFB0-763FCB2EE440}"/>
              </a:ext>
            </a:extLst>
          </p:cNvPr>
          <p:cNvSpPr/>
          <p:nvPr userDrawn="1"/>
        </p:nvSpPr>
        <p:spPr>
          <a:xfrm>
            <a:off x="11791753" y="6566999"/>
            <a:ext cx="229263" cy="123111"/>
          </a:xfrm>
          <a:prstGeom prst="rect">
            <a:avLst/>
          </a:prstGeom>
        </p:spPr>
        <p:txBody>
          <a:bodyPr wrap="square" lIns="0" tIns="0" rIns="0" bIns="0" anchor="ctr" anchorCtr="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9229693" y="6571518"/>
            <a:ext cx="2529539" cy="107722"/>
          </a:xfrm>
          <a:prstGeom prst="rect">
            <a:avLst/>
          </a:prstGeom>
        </p:spPr>
        <p:txBody>
          <a:bodyPr wrap="non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1. All rights reserved  |</a:t>
            </a:r>
          </a:p>
        </p:txBody>
      </p:sp>
    </p:spTree>
    <p:extLst>
      <p:ext uri="{BB962C8B-B14F-4D97-AF65-F5344CB8AC3E}">
        <p14:creationId xmlns:p14="http://schemas.microsoft.com/office/powerpoint/2010/main" val="963160425"/>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11" r:id="rId13"/>
    <p:sldLayoutId id="2147484112" r:id="rId14"/>
    <p:sldLayoutId id="2147484120" r:id="rId15"/>
    <p:sldLayoutId id="2147484121" r:id="rId16"/>
    <p:sldLayoutId id="2147484122" r:id="rId17"/>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grpSp>
        <p:nvGrpSpPr>
          <p:cNvPr id="94" name="Groupe 1">
            <a:extLst>
              <a:ext uri="{FF2B5EF4-FFF2-40B4-BE49-F238E27FC236}">
                <a16:creationId xmlns:a16="http://schemas.microsoft.com/office/drawing/2014/main" id="{11A3E882-4152-49CC-A658-0BA2BD4CCF4E}"/>
              </a:ext>
              <a:ext uri="{C183D7F6-B498-43B3-948B-1728B52AA6E4}">
                <adec:decorative xmlns:adec="http://schemas.microsoft.com/office/drawing/2017/decorative" val="1"/>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0" name="Rectangle 27">
            <a:extLst>
              <a:ext uri="{FF2B5EF4-FFF2-40B4-BE49-F238E27FC236}">
                <a16:creationId xmlns:a16="http://schemas.microsoft.com/office/drawing/2014/main" id="{777F4691-2D56-47C4-B2B1-73BE348DB06D}"/>
              </a:ext>
            </a:extLst>
          </p:cNvPr>
          <p:cNvSpPr/>
          <p:nvPr userDrawn="1"/>
        </p:nvSpPr>
        <p:spPr>
          <a:xfrm>
            <a:off x="7227070" y="6573738"/>
            <a:ext cx="4532162" cy="107722"/>
          </a:xfrm>
          <a:prstGeom prst="rect">
            <a:avLst/>
          </a:prstGeom>
        </p:spPr>
        <p:txBody>
          <a:bodyPr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2022. All rights reserved |</a:t>
            </a:r>
          </a:p>
        </p:txBody>
      </p:sp>
      <p:sp>
        <p:nvSpPr>
          <p:cNvPr id="99" name="Rectangle 43">
            <a:extLst>
              <a:ext uri="{FF2B5EF4-FFF2-40B4-BE49-F238E27FC236}">
                <a16:creationId xmlns:a16="http://schemas.microsoft.com/office/drawing/2014/main" id="{1302EB1D-4F45-4228-A725-9CA0AEFCE017}"/>
              </a:ext>
            </a:extLst>
          </p:cNvPr>
          <p:cNvSpPr/>
          <p:nvPr userDrawn="1"/>
        </p:nvSpPr>
        <p:spPr>
          <a:xfrm>
            <a:off x="11789372" y="6517658"/>
            <a:ext cx="229263" cy="215444"/>
          </a:xfrm>
          <a:prstGeom prst="rect">
            <a:avLst/>
          </a:prstGeom>
        </p:spPr>
        <p:txBody>
          <a:bodyPr wrap="square" lIns="0" rIns="0">
            <a:spAutoFit/>
          </a:bodyPr>
          <a:lstStyle/>
          <a:p>
            <a:pPr algn="l"/>
            <a:fld id="{0502E5A9-B53C-401E-A0E0-4A359BB0A9E5}" type="slidenum">
              <a:rPr lang="en-US" sz="800" smtClean="0">
                <a:solidFill>
                  <a:srgbClr val="A6A6A6"/>
                </a:solidFill>
                <a:latin typeface="Ubuntu" panose="020B0504030602030204" pitchFamily="34" charset="0"/>
                <a:cs typeface="Arial" panose="020B0604020202020204" pitchFamily="34" charset="0"/>
              </a:rPr>
              <a:pPr algn="l"/>
              <a:t>‹Nr.›</a:t>
            </a:fld>
            <a:endParaRPr lang="en-US" sz="800">
              <a:solidFill>
                <a:srgbClr val="A6A6A6"/>
              </a:solidFill>
              <a:latin typeface="Ubuntu" panose="020B0504030602030204" pitchFamily="34" charset="0"/>
              <a:cs typeface="Arial" panose="020B0604020202020204" pitchFamily="34" charset="0"/>
            </a:endParaRPr>
          </a:p>
        </p:txBody>
      </p:sp>
      <p:sp>
        <p:nvSpPr>
          <p:cNvPr id="11" name="Rectangle 27">
            <a:extLst>
              <a:ext uri="{FF2B5EF4-FFF2-40B4-BE49-F238E27FC236}">
                <a16:creationId xmlns:a16="http://schemas.microsoft.com/office/drawing/2014/main" id="{B16D8786-6E82-4A6E-B2FB-F065F39AC67A}"/>
              </a:ext>
            </a:extLst>
          </p:cNvPr>
          <p:cNvSpPr/>
          <p:nvPr userDrawn="1"/>
        </p:nvSpPr>
        <p:spPr>
          <a:xfrm>
            <a:off x="404813" y="6571518"/>
            <a:ext cx="509755" cy="107722"/>
          </a:xfrm>
          <a:prstGeom prst="rect">
            <a:avLst/>
          </a:prstGeom>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0">
                <a:solidFill>
                  <a:srgbClr val="A6A6A6"/>
                </a:solidFill>
                <a:latin typeface="Ubuntu" panose="020B0504030602030204" pitchFamily="34" charset="0"/>
                <a:cs typeface="Arial" panose="020B0604020202020204" pitchFamily="34" charset="0"/>
              </a:rPr>
              <a:t>WEMO 2022</a:t>
            </a:r>
          </a:p>
        </p:txBody>
      </p:sp>
    </p:spTree>
    <p:extLst>
      <p:ext uri="{BB962C8B-B14F-4D97-AF65-F5344CB8AC3E}">
        <p14:creationId xmlns:p14="http://schemas.microsoft.com/office/powerpoint/2010/main" val="3091449799"/>
      </p:ext>
    </p:extLst>
  </p:cSld>
  <p:clrMap bg1="lt1" tx1="dk1" bg2="lt2" tx2="dk2" accent1="accent1" accent2="accent2" accent3="accent3" accent4="accent4" accent5="accent5" accent6="accent6" hlink="hlink" folHlink="folHlink"/>
  <p:sldLayoutIdLst>
    <p:sldLayoutId id="2147484174" r:id="rId1"/>
    <p:sldLayoutId id="2147484135" r:id="rId2"/>
    <p:sldLayoutId id="2147484136" r:id="rId3"/>
    <p:sldLayoutId id="2147484137" r:id="rId4"/>
    <p:sldLayoutId id="2147484139" r:id="rId5"/>
    <p:sldLayoutId id="2147484140" r:id="rId6"/>
    <p:sldLayoutId id="2147484141" r:id="rId7"/>
    <p:sldLayoutId id="2147484142" r:id="rId8"/>
    <p:sldLayoutId id="2147484143" r:id="rId9"/>
    <p:sldLayoutId id="2147484144" r:id="rId10"/>
    <p:sldLayoutId id="2147484145" r:id="rId11"/>
    <p:sldLayoutId id="2147484147" r:id="rId12"/>
    <p:sldLayoutId id="2147484148"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7" r:id="rId22"/>
    <p:sldLayoutId id="2147484158" r:id="rId23"/>
    <p:sldLayoutId id="2147484159" r:id="rId24"/>
    <p:sldLayoutId id="2147484160" r:id="rId25"/>
    <p:sldLayoutId id="2147484161" r:id="rId26"/>
    <p:sldLayoutId id="2147484162" r:id="rId27"/>
    <p:sldLayoutId id="2147484163" r:id="rId28"/>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4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10" pos="7423">
          <p15:clr>
            <a:srgbClr val="F26B43"/>
          </p15:clr>
        </p15:guide>
        <p15:guide id="11" orient="horz" pos="4071">
          <p15:clr>
            <a:srgbClr val="F26B43"/>
          </p15:clr>
        </p15:guide>
        <p15:guide id="12" pos="255">
          <p15:clr>
            <a:srgbClr val="F26B43"/>
          </p15:clr>
        </p15:guide>
        <p15:guide id="13" orient="horz" pos="836">
          <p15:clr>
            <a:srgbClr val="F26B43"/>
          </p15:clr>
        </p15:guide>
        <p15:guide id="14" orient="horz" pos="245">
          <p15:clr>
            <a:srgbClr val="F26B43"/>
          </p15:clr>
        </p15:guide>
        <p15:guide id="15" pos="3840">
          <p15:clr>
            <a:srgbClr val="F26B43"/>
          </p15:clr>
        </p15:guide>
        <p15:guide id="16" pos="3899">
          <p15:clr>
            <a:srgbClr val="F26B43"/>
          </p15:clr>
        </p15:guide>
        <p15:guide id="17"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jpeg"/><Relationship Id="rId7" Type="http://schemas.openxmlformats.org/officeDocument/2006/relationships/image" Target="../media/image41.jpe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5.xml"/></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45.xm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5.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54.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27.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49.xml"/><Relationship Id="rId4" Type="http://schemas.openxmlformats.org/officeDocument/2006/relationships/image" Target="../media/image55.jpe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50.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13.xml"/><Relationship Id="rId6" Type="http://schemas.openxmlformats.org/officeDocument/2006/relationships/image" Target="../media/image61.png"/><Relationship Id="rId5" Type="http://schemas.openxmlformats.org/officeDocument/2006/relationships/image" Target="../media/image60.jpeg"/><Relationship Id="rId4" Type="http://schemas.openxmlformats.org/officeDocument/2006/relationships/image" Target="../media/image59.jpeg"/></Relationships>
</file>

<file path=ppt/slides/_rels/slide33.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8.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9.xml"/><Relationship Id="rId1" Type="http://schemas.openxmlformats.org/officeDocument/2006/relationships/slideLayout" Target="../slideLayouts/slideLayout52.xml"/><Relationship Id="rId4" Type="http://schemas.openxmlformats.org/officeDocument/2006/relationships/image" Target="../media/image70.sv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71.emf"/><Relationship Id="rId4" Type="http://schemas.openxmlformats.org/officeDocument/2006/relationships/hyperlink" Target="http://www.capgemini.com/wemo"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50.xml"/><Relationship Id="rId5" Type="http://schemas.openxmlformats.org/officeDocument/2006/relationships/image" Target="../media/image33.png"/><Relationship Id="rId4" Type="http://schemas.openxmlformats.org/officeDocument/2006/relationships/image" Target="../media/image32.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49.xml"/><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B674C6-6F49-4721-9F32-47F8347A5DF6}"/>
              </a:ext>
            </a:extLst>
          </p:cNvPr>
          <p:cNvSpPr>
            <a:spLocks noGrp="1"/>
          </p:cNvSpPr>
          <p:nvPr>
            <p:ph type="ctrTitle"/>
          </p:nvPr>
        </p:nvSpPr>
        <p:spPr>
          <a:xfrm>
            <a:off x="404814" y="2383767"/>
            <a:ext cx="7748587" cy="2031325"/>
          </a:xfrm>
        </p:spPr>
        <p:txBody>
          <a:bodyPr/>
          <a:lstStyle/>
          <a:p>
            <a:r>
              <a:rPr lang="en-GB" sz="4400">
                <a:latin typeface="Ubuntu"/>
              </a:rPr>
              <a:t>balancing the fight against climate change WITH energy security</a:t>
            </a:r>
            <a:endParaRPr lang="en-IN" sz="4400">
              <a:latin typeface="Ubuntu"/>
            </a:endParaRPr>
          </a:p>
        </p:txBody>
      </p:sp>
      <p:sp>
        <p:nvSpPr>
          <p:cNvPr id="10" name="Subtitle 1">
            <a:extLst>
              <a:ext uri="{FF2B5EF4-FFF2-40B4-BE49-F238E27FC236}">
                <a16:creationId xmlns:a16="http://schemas.microsoft.com/office/drawing/2014/main" id="{C1E8298C-4E8C-4B4B-BDDA-D0DC6B331AC7}"/>
              </a:ext>
            </a:extLst>
          </p:cNvPr>
          <p:cNvSpPr txBox="1">
            <a:spLocks/>
          </p:cNvSpPr>
          <p:nvPr/>
        </p:nvSpPr>
        <p:spPr>
          <a:xfrm>
            <a:off x="1667213" y="4527212"/>
            <a:ext cx="2199320" cy="307777"/>
          </a:xfrm>
          <a:prstGeom prst="rect">
            <a:avLst/>
          </a:prstGeom>
        </p:spPr>
        <p:txBody>
          <a:bodyPr vert="horz" wrap="non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dirty="0"/>
              <a:t>Dr Colette Lewiner</a:t>
            </a:r>
          </a:p>
        </p:txBody>
      </p:sp>
      <p:pic>
        <p:nvPicPr>
          <p:cNvPr id="12" name="Picture 11">
            <a:extLst>
              <a:ext uri="{FF2B5EF4-FFF2-40B4-BE49-F238E27FC236}">
                <a16:creationId xmlns:a16="http://schemas.microsoft.com/office/drawing/2014/main" id="{4E2018ED-A769-45C8-90C1-CC95AF116C81}"/>
              </a:ext>
            </a:extLst>
          </p:cNvPr>
          <p:cNvPicPr>
            <a:picLocks noChangeAspect="1"/>
          </p:cNvPicPr>
          <p:nvPr/>
        </p:nvPicPr>
        <p:blipFill>
          <a:blip r:embed="rId3"/>
          <a:stretch>
            <a:fillRect/>
          </a:stretch>
        </p:blipFill>
        <p:spPr>
          <a:xfrm>
            <a:off x="2014089" y="5967808"/>
            <a:ext cx="1929403" cy="265785"/>
          </a:xfrm>
          <a:prstGeom prst="rect">
            <a:avLst/>
          </a:prstGeom>
        </p:spPr>
      </p:pic>
      <p:pic>
        <p:nvPicPr>
          <p:cNvPr id="14" name="Picture 13">
            <a:extLst>
              <a:ext uri="{FF2B5EF4-FFF2-40B4-BE49-F238E27FC236}">
                <a16:creationId xmlns:a16="http://schemas.microsoft.com/office/drawing/2014/main" id="{E649584B-4ADB-437B-B70F-2C004EAA6A27}"/>
              </a:ext>
            </a:extLst>
          </p:cNvPr>
          <p:cNvPicPr>
            <a:picLocks noChangeAspect="1"/>
          </p:cNvPicPr>
          <p:nvPr/>
        </p:nvPicPr>
        <p:blipFill>
          <a:blip r:embed="rId4"/>
          <a:stretch>
            <a:fillRect/>
          </a:stretch>
        </p:blipFill>
        <p:spPr>
          <a:xfrm>
            <a:off x="413235" y="5972424"/>
            <a:ext cx="1253978" cy="256553"/>
          </a:xfrm>
          <a:prstGeom prst="rect">
            <a:avLst/>
          </a:prstGeom>
        </p:spPr>
      </p:pic>
      <p:cxnSp>
        <p:nvCxnSpPr>
          <p:cNvPr id="23" name="Straight Connector 22">
            <a:extLst>
              <a:ext uri="{FF2B5EF4-FFF2-40B4-BE49-F238E27FC236}">
                <a16:creationId xmlns:a16="http://schemas.microsoft.com/office/drawing/2014/main" id="{7AF610E9-0F2B-4028-9BFF-FE0933BA837D}"/>
              </a:ext>
            </a:extLst>
          </p:cNvPr>
          <p:cNvCxnSpPr>
            <a:cxnSpLocks/>
          </p:cNvCxnSpPr>
          <p:nvPr/>
        </p:nvCxnSpPr>
        <p:spPr>
          <a:xfrm>
            <a:off x="1840651" y="5917820"/>
            <a:ext cx="0" cy="3657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DFBFE32-A9DC-4608-BBA1-B93CDD7F28C1}"/>
              </a:ext>
            </a:extLst>
          </p:cNvPr>
          <p:cNvCxnSpPr>
            <a:cxnSpLocks/>
          </p:cNvCxnSpPr>
          <p:nvPr/>
        </p:nvCxnSpPr>
        <p:spPr>
          <a:xfrm>
            <a:off x="4090979" y="5917820"/>
            <a:ext cx="0" cy="3657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Subtitle 1">
            <a:extLst>
              <a:ext uri="{FF2B5EF4-FFF2-40B4-BE49-F238E27FC236}">
                <a16:creationId xmlns:a16="http://schemas.microsoft.com/office/drawing/2014/main" id="{8B1D24EF-ABD2-48E1-8293-E6BDAF645544}"/>
              </a:ext>
            </a:extLst>
          </p:cNvPr>
          <p:cNvSpPr txBox="1">
            <a:spLocks/>
          </p:cNvSpPr>
          <p:nvPr/>
        </p:nvSpPr>
        <p:spPr>
          <a:xfrm>
            <a:off x="404813" y="5562600"/>
            <a:ext cx="1477969" cy="184666"/>
          </a:xfrm>
          <a:prstGeom prst="rect">
            <a:avLst/>
          </a:prstGeom>
        </p:spPr>
        <p:txBody>
          <a:bodyPr vert="horz" wrap="non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200"/>
              <a:t>In collaboration with:</a:t>
            </a:r>
          </a:p>
        </p:txBody>
      </p:sp>
      <p:sp>
        <p:nvSpPr>
          <p:cNvPr id="31" name="Subtitle 1">
            <a:extLst>
              <a:ext uri="{FF2B5EF4-FFF2-40B4-BE49-F238E27FC236}">
                <a16:creationId xmlns:a16="http://schemas.microsoft.com/office/drawing/2014/main" id="{A9235BFD-59D1-4BE2-B49D-85A16CEF1756}"/>
              </a:ext>
            </a:extLst>
          </p:cNvPr>
          <p:cNvSpPr txBox="1">
            <a:spLocks/>
          </p:cNvSpPr>
          <p:nvPr/>
        </p:nvSpPr>
        <p:spPr>
          <a:xfrm>
            <a:off x="9912082" y="6012957"/>
            <a:ext cx="1873911" cy="276999"/>
          </a:xfrm>
          <a:prstGeom prst="rect">
            <a:avLst/>
          </a:prstGeom>
        </p:spPr>
        <p:txBody>
          <a:bodyPr vert="horz" wrap="non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800">
                <a:latin typeface="Ubuntu Light" panose="020B0304030602030204" pitchFamily="34" charset="0"/>
              </a:rPr>
              <a:t>24</a:t>
            </a:r>
            <a:r>
              <a:rPr lang="en-GB" sz="1800" baseline="30000">
                <a:latin typeface="Ubuntu Light" panose="020B0304030602030204" pitchFamily="34" charset="0"/>
              </a:rPr>
              <a:t>th</a:t>
            </a:r>
            <a:r>
              <a:rPr lang="en-GB" sz="1800">
                <a:latin typeface="Ubuntu Light" panose="020B0304030602030204" pitchFamily="34" charset="0"/>
              </a:rPr>
              <a:t> Edition | 2022</a:t>
            </a:r>
          </a:p>
        </p:txBody>
      </p:sp>
      <p:pic>
        <p:nvPicPr>
          <p:cNvPr id="11" name="Picture 10">
            <a:extLst>
              <a:ext uri="{FF2B5EF4-FFF2-40B4-BE49-F238E27FC236}">
                <a16:creationId xmlns:a16="http://schemas.microsoft.com/office/drawing/2014/main" id="{DB56F282-3FDD-481F-9FD2-AE595FBD95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7708" y="5867021"/>
            <a:ext cx="783392" cy="452940"/>
          </a:xfrm>
          <a:prstGeom prst="rect">
            <a:avLst/>
          </a:prstGeom>
        </p:spPr>
      </p:pic>
      <p:sp>
        <p:nvSpPr>
          <p:cNvPr id="2" name="Ellipse 1">
            <a:extLst>
              <a:ext uri="{FF2B5EF4-FFF2-40B4-BE49-F238E27FC236}">
                <a16:creationId xmlns:a16="http://schemas.microsoft.com/office/drawing/2014/main" id="{634A0F23-A2AE-4720-9C35-CF46FDA89EC6}"/>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3" name="Image 2">
            <a:extLst>
              <a:ext uri="{FF2B5EF4-FFF2-40B4-BE49-F238E27FC236}">
                <a16:creationId xmlns:a16="http://schemas.microsoft.com/office/drawing/2014/main" id="{F11D0F21-9D63-A11B-281C-05A0D4F16543}"/>
              </a:ext>
            </a:extLst>
          </p:cNvPr>
          <p:cNvPicPr>
            <a:picLocks noChangeAspect="1"/>
          </p:cNvPicPr>
          <p:nvPr/>
        </p:nvPicPr>
        <p:blipFill>
          <a:blip r:embed="rId6"/>
          <a:stretch>
            <a:fillRect/>
          </a:stretch>
        </p:blipFill>
        <p:spPr>
          <a:xfrm>
            <a:off x="164235" y="4828479"/>
            <a:ext cx="5255207" cy="432854"/>
          </a:xfrm>
          <a:prstGeom prst="rect">
            <a:avLst/>
          </a:prstGeom>
        </p:spPr>
      </p:pic>
    </p:spTree>
    <p:extLst>
      <p:ext uri="{BB962C8B-B14F-4D97-AF65-F5344CB8AC3E}">
        <p14:creationId xmlns:p14="http://schemas.microsoft.com/office/powerpoint/2010/main" val="27519969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 name="Groupe 106">
            <a:extLst>
              <a:ext uri="{FF2B5EF4-FFF2-40B4-BE49-F238E27FC236}">
                <a16:creationId xmlns:a16="http://schemas.microsoft.com/office/drawing/2014/main" id="{B28304EF-CDA4-4B30-84F1-2C6ACED49FD8}"/>
              </a:ext>
            </a:extLst>
          </p:cNvPr>
          <p:cNvGrpSpPr/>
          <p:nvPr/>
        </p:nvGrpSpPr>
        <p:grpSpPr>
          <a:xfrm>
            <a:off x="991842" y="2422597"/>
            <a:ext cx="424867" cy="424867"/>
            <a:chOff x="582776" y="4307792"/>
            <a:chExt cx="616229" cy="616229"/>
          </a:xfrm>
          <a:solidFill>
            <a:srgbClr val="2EA657"/>
          </a:solidFill>
        </p:grpSpPr>
        <p:grpSp>
          <p:nvGrpSpPr>
            <p:cNvPr id="114" name="Groupe 94">
              <a:extLst>
                <a:ext uri="{FF2B5EF4-FFF2-40B4-BE49-F238E27FC236}">
                  <a16:creationId xmlns:a16="http://schemas.microsoft.com/office/drawing/2014/main" id="{AA25B367-9020-4C1A-90BB-B7B8A2B6B3B1}"/>
                </a:ext>
              </a:extLst>
            </p:cNvPr>
            <p:cNvGrpSpPr/>
            <p:nvPr/>
          </p:nvGrpSpPr>
          <p:grpSpPr>
            <a:xfrm>
              <a:off x="582776" y="4307792"/>
              <a:ext cx="616229" cy="616229"/>
              <a:chOff x="5735632" y="3411538"/>
              <a:chExt cx="720725" cy="720725"/>
            </a:xfrm>
            <a:grpFill/>
          </p:grpSpPr>
          <p:sp>
            <p:nvSpPr>
              <p:cNvPr id="116" name="CPTKHARA03f10l10s00">
                <a:extLst>
                  <a:ext uri="{FF2B5EF4-FFF2-40B4-BE49-F238E27FC236}">
                    <a16:creationId xmlns:a16="http://schemas.microsoft.com/office/drawing/2014/main" id="{68F1D4B5-5CBE-448C-BAA3-8FF121ED914A}"/>
                  </a:ext>
                </a:extLst>
              </p:cNvPr>
              <p:cNvSpPr/>
              <p:nvPr/>
            </p:nvSpPr>
            <p:spPr>
              <a:xfrm>
                <a:off x="5735632" y="3411538"/>
                <a:ext cx="720725" cy="720725"/>
              </a:xfrm>
              <a:prstGeom prst="ellipse">
                <a:avLst/>
              </a:prstGeom>
              <a:grpFill/>
              <a:ln w="9525">
                <a:solidFill>
                  <a:srgbClr val="178C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17" name="CPTKHARO03l10s00f00">
                <a:extLst>
                  <a:ext uri="{FF2B5EF4-FFF2-40B4-BE49-F238E27FC236}">
                    <a16:creationId xmlns:a16="http://schemas.microsoft.com/office/drawing/2014/main" id="{A16DF699-E79E-40AD-8482-A2286D3E5033}"/>
                  </a:ext>
                </a:extLst>
              </p:cNvPr>
              <p:cNvSpPr/>
              <p:nvPr/>
            </p:nvSpPr>
            <p:spPr>
              <a:xfrm>
                <a:off x="5735632" y="3411538"/>
                <a:ext cx="720725" cy="720725"/>
              </a:xfrm>
              <a:prstGeom prst="ellipse">
                <a:avLst/>
              </a:prstGeom>
              <a:grpFill/>
              <a:ln w="9525" cap="flat" cmpd="sng" algn="ctr">
                <a:solidFill>
                  <a:srgbClr val="178C3D"/>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115" name="CPTKHARA01f10l10s00">
              <a:extLst>
                <a:ext uri="{FF2B5EF4-FFF2-40B4-BE49-F238E27FC236}">
                  <a16:creationId xmlns:a16="http://schemas.microsoft.com/office/drawing/2014/main" id="{85915EFB-1ACA-4EAD-A7AB-8C4042AB432F}"/>
                </a:ext>
              </a:extLst>
            </p:cNvPr>
            <p:cNvSpPr/>
            <p:nvPr/>
          </p:nvSpPr>
          <p:spPr>
            <a:xfrm>
              <a:off x="888194" y="4338173"/>
              <a:ext cx="5" cy="308114"/>
            </a:xfrm>
            <a:prstGeom prst="arc">
              <a:avLst>
                <a:gd name="adj1" fmla="val 16200000"/>
                <a:gd name="adj2" fmla="val 16200000"/>
              </a:avLst>
            </a:prstGeom>
            <a:grpFill/>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GB"/>
              <a:t>HOW TO MANAGE EUROPEAN ENERGY security of SUPPLY WITHOUT RUSSIAN FOSSIL ENERGIES?</a:t>
            </a:r>
            <a:endParaRPr lang="en-IN"/>
          </a:p>
        </p:txBody>
      </p:sp>
      <p:sp>
        <p:nvSpPr>
          <p:cNvPr id="140" name="Rectangle 139">
            <a:extLst>
              <a:ext uri="{FF2B5EF4-FFF2-40B4-BE49-F238E27FC236}">
                <a16:creationId xmlns:a16="http://schemas.microsoft.com/office/drawing/2014/main" id="{F6427401-943D-4A8A-AC0E-C0C3281266F2}"/>
              </a:ext>
            </a:extLst>
          </p:cNvPr>
          <p:cNvSpPr/>
          <p:nvPr/>
        </p:nvSpPr>
        <p:spPr>
          <a:xfrm>
            <a:off x="8020939" y="1341872"/>
            <a:ext cx="3759348" cy="847898"/>
          </a:xfrm>
          <a:prstGeom prst="rect">
            <a:avLst/>
          </a:prstGeom>
          <a:solidFill>
            <a:srgbClr val="0F6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41" name="Rectangle 140">
            <a:extLst>
              <a:ext uri="{FF2B5EF4-FFF2-40B4-BE49-F238E27FC236}">
                <a16:creationId xmlns:a16="http://schemas.microsoft.com/office/drawing/2014/main" id="{A2FF4D1C-BBF4-4132-B6C5-342F6B030245}"/>
              </a:ext>
            </a:extLst>
          </p:cNvPr>
          <p:cNvSpPr/>
          <p:nvPr/>
        </p:nvSpPr>
        <p:spPr>
          <a:xfrm>
            <a:off x="4173477" y="1341872"/>
            <a:ext cx="3847462" cy="847898"/>
          </a:xfrm>
          <a:prstGeom prst="rect">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42" name="Rectangle 141">
            <a:extLst>
              <a:ext uri="{FF2B5EF4-FFF2-40B4-BE49-F238E27FC236}">
                <a16:creationId xmlns:a16="http://schemas.microsoft.com/office/drawing/2014/main" id="{720608D5-F2B4-49AD-AE79-1CCEC7F6CB1D}"/>
              </a:ext>
            </a:extLst>
          </p:cNvPr>
          <p:cNvSpPr/>
          <p:nvPr/>
        </p:nvSpPr>
        <p:spPr>
          <a:xfrm>
            <a:off x="404813" y="1341872"/>
            <a:ext cx="3770024" cy="847898"/>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143" name="Groupe 201">
            <a:extLst>
              <a:ext uri="{FF2B5EF4-FFF2-40B4-BE49-F238E27FC236}">
                <a16:creationId xmlns:a16="http://schemas.microsoft.com/office/drawing/2014/main" id="{DD3FB712-5184-44F8-9FCD-C33651E7EBAB}"/>
              </a:ext>
            </a:extLst>
          </p:cNvPr>
          <p:cNvGrpSpPr/>
          <p:nvPr/>
        </p:nvGrpSpPr>
        <p:grpSpPr>
          <a:xfrm>
            <a:off x="9814968" y="3848950"/>
            <a:ext cx="431944" cy="431936"/>
            <a:chOff x="5735625" y="3411538"/>
            <a:chExt cx="720738" cy="720725"/>
          </a:xfrm>
        </p:grpSpPr>
        <p:sp>
          <p:nvSpPr>
            <p:cNvPr id="144" name="CPTKHARA02f10l10s00">
              <a:extLst>
                <a:ext uri="{FF2B5EF4-FFF2-40B4-BE49-F238E27FC236}">
                  <a16:creationId xmlns:a16="http://schemas.microsoft.com/office/drawing/2014/main" id="{8455DB68-8051-4A27-A168-1F9F20E7AF27}"/>
                </a:ext>
              </a:extLst>
            </p:cNvPr>
            <p:cNvSpPr/>
            <p:nvPr/>
          </p:nvSpPr>
          <p:spPr>
            <a:xfrm>
              <a:off x="5735625" y="3411538"/>
              <a:ext cx="720736" cy="720724"/>
            </a:xfrm>
            <a:prstGeom prst="arc">
              <a:avLst>
                <a:gd name="adj1" fmla="val 16200000"/>
                <a:gd name="adj2" fmla="val 0"/>
              </a:avLst>
            </a:prstGeom>
            <a:solidFill>
              <a:srgbClr val="338091"/>
            </a:solidFill>
            <a:ln w="9525">
              <a:solidFill>
                <a:srgbClr val="33809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45" name="CPTKHARO02l10s00f00">
              <a:extLst>
                <a:ext uri="{FF2B5EF4-FFF2-40B4-BE49-F238E27FC236}">
                  <a16:creationId xmlns:a16="http://schemas.microsoft.com/office/drawing/2014/main" id="{0082E115-6AF2-4043-B84E-20002C35AA90}"/>
                </a:ext>
              </a:extLst>
            </p:cNvPr>
            <p:cNvSpPr/>
            <p:nvPr/>
          </p:nvSpPr>
          <p:spPr>
            <a:xfrm>
              <a:off x="5735638" y="3411538"/>
              <a:ext cx="720725" cy="720725"/>
            </a:xfrm>
            <a:prstGeom prst="ellipse">
              <a:avLst/>
            </a:prstGeom>
            <a:noFill/>
            <a:ln w="9525" cap="flat" cmpd="sng" algn="ctr">
              <a:solidFill>
                <a:srgbClr val="338091"/>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146" name="Groupe 198">
            <a:extLst>
              <a:ext uri="{FF2B5EF4-FFF2-40B4-BE49-F238E27FC236}">
                <a16:creationId xmlns:a16="http://schemas.microsoft.com/office/drawing/2014/main" id="{80EE0F09-CB38-433F-A5C6-1EEF29B18C23}"/>
              </a:ext>
            </a:extLst>
          </p:cNvPr>
          <p:cNvGrpSpPr/>
          <p:nvPr/>
        </p:nvGrpSpPr>
        <p:grpSpPr>
          <a:xfrm>
            <a:off x="2860590" y="2422597"/>
            <a:ext cx="435413" cy="435405"/>
            <a:chOff x="5735619" y="3411538"/>
            <a:chExt cx="720738" cy="720725"/>
          </a:xfrm>
        </p:grpSpPr>
        <p:sp>
          <p:nvSpPr>
            <p:cNvPr id="147" name="CPTKHARA05f10l10s00">
              <a:extLst>
                <a:ext uri="{FF2B5EF4-FFF2-40B4-BE49-F238E27FC236}">
                  <a16:creationId xmlns:a16="http://schemas.microsoft.com/office/drawing/2014/main" id="{4F6BE3E5-ACA9-4677-A4D9-39634163E7ED}"/>
                </a:ext>
              </a:extLst>
            </p:cNvPr>
            <p:cNvSpPr/>
            <p:nvPr/>
          </p:nvSpPr>
          <p:spPr>
            <a:xfrm>
              <a:off x="5735619" y="3411538"/>
              <a:ext cx="720738" cy="720725"/>
            </a:xfrm>
            <a:prstGeom prst="arc">
              <a:avLst>
                <a:gd name="adj1" fmla="val 16200000"/>
                <a:gd name="adj2" fmla="val 5400000"/>
              </a:avLst>
            </a:prstGeom>
            <a:solidFill>
              <a:srgbClr val="00D5D0"/>
            </a:solidFill>
            <a:ln w="9525">
              <a:solidFill>
                <a:srgbClr val="00D5D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48" name="CPTKHARO05l10s00f00">
              <a:extLst>
                <a:ext uri="{FF2B5EF4-FFF2-40B4-BE49-F238E27FC236}">
                  <a16:creationId xmlns:a16="http://schemas.microsoft.com/office/drawing/2014/main" id="{17C86FBA-FAA3-44AF-83BA-02A52D0AF460}"/>
                </a:ext>
              </a:extLst>
            </p:cNvPr>
            <p:cNvSpPr/>
            <p:nvPr/>
          </p:nvSpPr>
          <p:spPr>
            <a:xfrm>
              <a:off x="5735632" y="3411538"/>
              <a:ext cx="720725" cy="720725"/>
            </a:xfrm>
            <a:prstGeom prst="ellipse">
              <a:avLst/>
            </a:prstGeom>
            <a:noFill/>
            <a:ln w="9525" cap="flat" cmpd="sng" algn="ctr">
              <a:solidFill>
                <a:srgbClr val="00D5D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grpSp>
      <p:cxnSp>
        <p:nvCxnSpPr>
          <p:cNvPr id="149" name="Straight Connector 14">
            <a:extLst>
              <a:ext uri="{FF2B5EF4-FFF2-40B4-BE49-F238E27FC236}">
                <a16:creationId xmlns:a16="http://schemas.microsoft.com/office/drawing/2014/main" id="{5981FD4F-81B9-429A-A350-494B017059D3}"/>
              </a:ext>
            </a:extLst>
          </p:cNvPr>
          <p:cNvCxnSpPr>
            <a:cxnSpLocks/>
          </p:cNvCxnSpPr>
          <p:nvPr/>
        </p:nvCxnSpPr>
        <p:spPr>
          <a:xfrm>
            <a:off x="4168332" y="2124260"/>
            <a:ext cx="0" cy="4466545"/>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0" name="Straight Connector 19">
            <a:extLst>
              <a:ext uri="{FF2B5EF4-FFF2-40B4-BE49-F238E27FC236}">
                <a16:creationId xmlns:a16="http://schemas.microsoft.com/office/drawing/2014/main" id="{3B4E3657-CBFC-47A7-8506-1237E1100FBD}"/>
              </a:ext>
            </a:extLst>
          </p:cNvPr>
          <p:cNvCxnSpPr>
            <a:cxnSpLocks/>
          </p:cNvCxnSpPr>
          <p:nvPr/>
        </p:nvCxnSpPr>
        <p:spPr>
          <a:xfrm>
            <a:off x="8020938" y="2189770"/>
            <a:ext cx="0" cy="4401035"/>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 name="Groupe 1">
            <a:extLst>
              <a:ext uri="{FF2B5EF4-FFF2-40B4-BE49-F238E27FC236}">
                <a16:creationId xmlns:a16="http://schemas.microsoft.com/office/drawing/2014/main" id="{A78456DC-4AFB-4B46-AEC8-196F341AB2F7}"/>
              </a:ext>
            </a:extLst>
          </p:cNvPr>
          <p:cNvGrpSpPr/>
          <p:nvPr/>
        </p:nvGrpSpPr>
        <p:grpSpPr>
          <a:xfrm>
            <a:off x="453122" y="1371281"/>
            <a:ext cx="851512" cy="792000"/>
            <a:chOff x="453122" y="1371281"/>
            <a:chExt cx="851512" cy="792000"/>
          </a:xfrm>
        </p:grpSpPr>
        <p:sp>
          <p:nvSpPr>
            <p:cNvPr id="158" name="Freeform 31">
              <a:extLst>
                <a:ext uri="{FF2B5EF4-FFF2-40B4-BE49-F238E27FC236}">
                  <a16:creationId xmlns:a16="http://schemas.microsoft.com/office/drawing/2014/main" id="{BDDB82AB-84EE-4B45-B575-F29DEA10DE87}"/>
                </a:ext>
              </a:extLst>
            </p:cNvPr>
            <p:cNvSpPr>
              <a:spLocks noChangeAspect="1"/>
            </p:cNvSpPr>
            <p:nvPr/>
          </p:nvSpPr>
          <p:spPr bwMode="auto">
            <a:xfrm>
              <a:off x="453122" y="1371281"/>
              <a:ext cx="851512" cy="792000"/>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59" name="Group 158">
              <a:extLst>
                <a:ext uri="{FF2B5EF4-FFF2-40B4-BE49-F238E27FC236}">
                  <a16:creationId xmlns:a16="http://schemas.microsoft.com/office/drawing/2014/main" id="{849797D4-4D0A-4BED-BEEF-68A1276445D3}"/>
                </a:ext>
              </a:extLst>
            </p:cNvPr>
            <p:cNvGrpSpPr/>
            <p:nvPr/>
          </p:nvGrpSpPr>
          <p:grpSpPr>
            <a:xfrm>
              <a:off x="704479" y="1446403"/>
              <a:ext cx="351493" cy="573969"/>
              <a:chOff x="581387" y="1407382"/>
              <a:chExt cx="351493" cy="573969"/>
            </a:xfrm>
          </p:grpSpPr>
          <p:sp>
            <p:nvSpPr>
              <p:cNvPr id="163" name="Freeform 101">
                <a:extLst>
                  <a:ext uri="{FF2B5EF4-FFF2-40B4-BE49-F238E27FC236}">
                    <a16:creationId xmlns:a16="http://schemas.microsoft.com/office/drawing/2014/main" id="{19217BEA-6EF9-41B0-A6F0-9698714FD4CF}"/>
                  </a:ext>
                </a:extLst>
              </p:cNvPr>
              <p:cNvSpPr>
                <a:spLocks/>
              </p:cNvSpPr>
              <p:nvPr/>
            </p:nvSpPr>
            <p:spPr bwMode="auto">
              <a:xfrm>
                <a:off x="581387" y="1863216"/>
                <a:ext cx="75417" cy="118135"/>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rgbClr val="00929B"/>
              </a:solidFill>
              <a:ln w="12700">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4" name="Freeform 102">
                <a:extLst>
                  <a:ext uri="{FF2B5EF4-FFF2-40B4-BE49-F238E27FC236}">
                    <a16:creationId xmlns:a16="http://schemas.microsoft.com/office/drawing/2014/main" id="{6294E309-05C6-4C87-ADD7-6299F2339EA1}"/>
                  </a:ext>
                </a:extLst>
              </p:cNvPr>
              <p:cNvSpPr>
                <a:spLocks/>
              </p:cNvSpPr>
              <p:nvPr/>
            </p:nvSpPr>
            <p:spPr bwMode="auto">
              <a:xfrm>
                <a:off x="717405" y="1817972"/>
                <a:ext cx="76763" cy="163379"/>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w="12700">
                <a:solidFill>
                  <a:srgbClr val="00929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5" name="Freeform 103">
                <a:extLst>
                  <a:ext uri="{FF2B5EF4-FFF2-40B4-BE49-F238E27FC236}">
                    <a16:creationId xmlns:a16="http://schemas.microsoft.com/office/drawing/2014/main" id="{950D7686-EE66-4AC7-AEA1-AF8809C75EC7}"/>
                  </a:ext>
                </a:extLst>
              </p:cNvPr>
              <p:cNvSpPr>
                <a:spLocks/>
              </p:cNvSpPr>
              <p:nvPr/>
            </p:nvSpPr>
            <p:spPr bwMode="auto">
              <a:xfrm>
                <a:off x="853423" y="1773986"/>
                <a:ext cx="79457" cy="207365"/>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w="12700">
                <a:solidFill>
                  <a:srgbClr val="00929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66" name="Group 3">
                <a:extLst>
                  <a:ext uri="{FF2B5EF4-FFF2-40B4-BE49-F238E27FC236}">
                    <a16:creationId xmlns:a16="http://schemas.microsoft.com/office/drawing/2014/main" id="{66674B0A-F1DF-4A73-8039-71B9BE22AF71}"/>
                  </a:ext>
                </a:extLst>
              </p:cNvPr>
              <p:cNvGrpSpPr/>
              <p:nvPr/>
            </p:nvGrpSpPr>
            <p:grpSpPr>
              <a:xfrm>
                <a:off x="595360" y="1407382"/>
                <a:ext cx="329944" cy="365417"/>
                <a:chOff x="5272716" y="1230536"/>
                <a:chExt cx="488813" cy="541365"/>
              </a:xfrm>
              <a:solidFill>
                <a:srgbClr val="00929B"/>
              </a:solidFill>
            </p:grpSpPr>
            <p:sp>
              <p:nvSpPr>
                <p:cNvPr id="167" name="Freeform 105">
                  <a:extLst>
                    <a:ext uri="{FF2B5EF4-FFF2-40B4-BE49-F238E27FC236}">
                      <a16:creationId xmlns:a16="http://schemas.microsoft.com/office/drawing/2014/main" id="{56A8714C-26CB-40DD-A7FB-986B0240C17B}"/>
                    </a:ext>
                  </a:extLst>
                </p:cNvPr>
                <p:cNvSpPr>
                  <a:spLocks noChangeAspect="1" noEditPoints="1"/>
                </p:cNvSpPr>
                <p:nvPr/>
              </p:nvSpPr>
              <p:spPr bwMode="auto">
                <a:xfrm rot="371855">
                  <a:off x="5312833" y="1341250"/>
                  <a:ext cx="380536" cy="375923"/>
                </a:xfrm>
                <a:custGeom>
                  <a:avLst/>
                  <a:gdLst>
                    <a:gd name="T0" fmla="*/ 60 w 70"/>
                    <a:gd name="T1" fmla="*/ 27 h 69"/>
                    <a:gd name="T2" fmla="*/ 62 w 70"/>
                    <a:gd name="T3" fmla="*/ 13 h 69"/>
                    <a:gd name="T4" fmla="*/ 53 w 70"/>
                    <a:gd name="T5" fmla="*/ 15 h 69"/>
                    <a:gd name="T6" fmla="*/ 48 w 70"/>
                    <a:gd name="T7" fmla="*/ 11 h 69"/>
                    <a:gd name="T8" fmla="*/ 39 w 70"/>
                    <a:gd name="T9" fmla="*/ 0 h 69"/>
                    <a:gd name="T10" fmla="*/ 28 w 70"/>
                    <a:gd name="T11" fmla="*/ 9 h 69"/>
                    <a:gd name="T12" fmla="*/ 24 w 70"/>
                    <a:gd name="T13" fmla="*/ 4 h 69"/>
                    <a:gd name="T14" fmla="*/ 22 w 70"/>
                    <a:gd name="T15" fmla="*/ 2 h 69"/>
                    <a:gd name="T16" fmla="*/ 19 w 70"/>
                    <a:gd name="T17" fmla="*/ 3 h 69"/>
                    <a:gd name="T18" fmla="*/ 18 w 70"/>
                    <a:gd name="T19" fmla="*/ 4 h 69"/>
                    <a:gd name="T20" fmla="*/ 13 w 70"/>
                    <a:gd name="T21" fmla="*/ 7 h 69"/>
                    <a:gd name="T22" fmla="*/ 14 w 70"/>
                    <a:gd name="T23" fmla="*/ 9 h 69"/>
                    <a:gd name="T24" fmla="*/ 12 w 70"/>
                    <a:gd name="T25" fmla="*/ 22 h 69"/>
                    <a:gd name="T26" fmla="*/ 3 w 70"/>
                    <a:gd name="T27" fmla="*/ 21 h 69"/>
                    <a:gd name="T28" fmla="*/ 1 w 70"/>
                    <a:gd name="T29" fmla="*/ 29 h 69"/>
                    <a:gd name="T30" fmla="*/ 0 w 70"/>
                    <a:gd name="T31" fmla="*/ 31 h 69"/>
                    <a:gd name="T32" fmla="*/ 9 w 70"/>
                    <a:gd name="T33" fmla="*/ 34 h 69"/>
                    <a:gd name="T34" fmla="*/ 9 w 70"/>
                    <a:gd name="T35" fmla="*/ 38 h 69"/>
                    <a:gd name="T36" fmla="*/ 3 w 70"/>
                    <a:gd name="T37" fmla="*/ 48 h 69"/>
                    <a:gd name="T38" fmla="*/ 16 w 70"/>
                    <a:gd name="T39" fmla="*/ 53 h 69"/>
                    <a:gd name="T40" fmla="*/ 19 w 70"/>
                    <a:gd name="T41" fmla="*/ 56 h 69"/>
                    <a:gd name="T42" fmla="*/ 22 w 70"/>
                    <a:gd name="T43" fmla="*/ 58 h 69"/>
                    <a:gd name="T44" fmla="*/ 23 w 70"/>
                    <a:gd name="T45" fmla="*/ 59 h 69"/>
                    <a:gd name="T46" fmla="*/ 21 w 70"/>
                    <a:gd name="T47" fmla="*/ 67 h 69"/>
                    <a:gd name="T48" fmla="*/ 35 w 70"/>
                    <a:gd name="T49" fmla="*/ 61 h 69"/>
                    <a:gd name="T50" fmla="*/ 39 w 70"/>
                    <a:gd name="T51" fmla="*/ 61 h 69"/>
                    <a:gd name="T52" fmla="*/ 43 w 70"/>
                    <a:gd name="T53" fmla="*/ 60 h 69"/>
                    <a:gd name="T54" fmla="*/ 48 w 70"/>
                    <a:gd name="T55" fmla="*/ 67 h 69"/>
                    <a:gd name="T56" fmla="*/ 54 w 70"/>
                    <a:gd name="T57" fmla="*/ 53 h 69"/>
                    <a:gd name="T58" fmla="*/ 57 w 70"/>
                    <a:gd name="T59" fmla="*/ 49 h 69"/>
                    <a:gd name="T60" fmla="*/ 67 w 70"/>
                    <a:gd name="T61" fmla="*/ 49 h 69"/>
                    <a:gd name="T62" fmla="*/ 62 w 70"/>
                    <a:gd name="T63" fmla="*/ 35 h 69"/>
                    <a:gd name="T64" fmla="*/ 18 w 70"/>
                    <a:gd name="T65" fmla="*/ 38 h 69"/>
                    <a:gd name="T66" fmla="*/ 30 w 70"/>
                    <a:gd name="T67" fmla="*/ 17 h 69"/>
                    <a:gd name="T68" fmla="*/ 52 w 70"/>
                    <a:gd name="T6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69">
                      <a:moveTo>
                        <a:pt x="62" y="35"/>
                      </a:moveTo>
                      <a:cubicBezTo>
                        <a:pt x="62" y="32"/>
                        <a:pt x="61" y="30"/>
                        <a:pt x="60" y="27"/>
                      </a:cubicBezTo>
                      <a:cubicBezTo>
                        <a:pt x="63" y="25"/>
                        <a:pt x="65" y="23"/>
                        <a:pt x="68" y="22"/>
                      </a:cubicBezTo>
                      <a:cubicBezTo>
                        <a:pt x="67" y="18"/>
                        <a:pt x="65" y="15"/>
                        <a:pt x="62" y="13"/>
                      </a:cubicBezTo>
                      <a:cubicBezTo>
                        <a:pt x="60" y="14"/>
                        <a:pt x="57" y="15"/>
                        <a:pt x="54" y="16"/>
                      </a:cubicBezTo>
                      <a:cubicBezTo>
                        <a:pt x="54" y="16"/>
                        <a:pt x="54" y="16"/>
                        <a:pt x="53" y="15"/>
                      </a:cubicBezTo>
                      <a:cubicBezTo>
                        <a:pt x="52" y="14"/>
                        <a:pt x="51" y="13"/>
                        <a:pt x="50" y="12"/>
                      </a:cubicBezTo>
                      <a:cubicBezTo>
                        <a:pt x="49" y="12"/>
                        <a:pt x="49" y="12"/>
                        <a:pt x="48" y="11"/>
                      </a:cubicBezTo>
                      <a:cubicBezTo>
                        <a:pt x="48" y="8"/>
                        <a:pt x="49" y="5"/>
                        <a:pt x="49" y="2"/>
                      </a:cubicBezTo>
                      <a:cubicBezTo>
                        <a:pt x="46" y="1"/>
                        <a:pt x="43" y="0"/>
                        <a:pt x="39" y="0"/>
                      </a:cubicBezTo>
                      <a:cubicBezTo>
                        <a:pt x="38" y="2"/>
                        <a:pt x="37" y="5"/>
                        <a:pt x="36" y="8"/>
                      </a:cubicBezTo>
                      <a:cubicBezTo>
                        <a:pt x="33" y="8"/>
                        <a:pt x="30" y="8"/>
                        <a:pt x="28" y="9"/>
                      </a:cubicBezTo>
                      <a:cubicBezTo>
                        <a:pt x="28" y="9"/>
                        <a:pt x="28" y="9"/>
                        <a:pt x="27" y="9"/>
                      </a:cubicBezTo>
                      <a:cubicBezTo>
                        <a:pt x="26" y="7"/>
                        <a:pt x="25" y="6"/>
                        <a:pt x="24" y="4"/>
                      </a:cubicBezTo>
                      <a:cubicBezTo>
                        <a:pt x="24" y="4"/>
                        <a:pt x="23" y="3"/>
                        <a:pt x="23" y="2"/>
                      </a:cubicBezTo>
                      <a:cubicBezTo>
                        <a:pt x="22" y="2"/>
                        <a:pt x="22" y="2"/>
                        <a:pt x="22" y="2"/>
                      </a:cubicBezTo>
                      <a:cubicBezTo>
                        <a:pt x="22" y="2"/>
                        <a:pt x="22" y="2"/>
                        <a:pt x="22" y="2"/>
                      </a:cubicBezTo>
                      <a:cubicBezTo>
                        <a:pt x="21" y="2"/>
                        <a:pt x="19" y="3"/>
                        <a:pt x="19" y="3"/>
                      </a:cubicBezTo>
                      <a:cubicBezTo>
                        <a:pt x="19" y="3"/>
                        <a:pt x="19" y="3"/>
                        <a:pt x="19" y="3"/>
                      </a:cubicBezTo>
                      <a:cubicBezTo>
                        <a:pt x="18" y="3"/>
                        <a:pt x="18" y="4"/>
                        <a:pt x="18" y="4"/>
                      </a:cubicBezTo>
                      <a:cubicBezTo>
                        <a:pt x="17" y="5"/>
                        <a:pt x="16" y="6"/>
                        <a:pt x="14" y="7"/>
                      </a:cubicBezTo>
                      <a:cubicBezTo>
                        <a:pt x="14" y="7"/>
                        <a:pt x="14" y="7"/>
                        <a:pt x="13" y="7"/>
                      </a:cubicBezTo>
                      <a:cubicBezTo>
                        <a:pt x="13" y="7"/>
                        <a:pt x="13" y="7"/>
                        <a:pt x="13" y="7"/>
                      </a:cubicBezTo>
                      <a:cubicBezTo>
                        <a:pt x="13" y="8"/>
                        <a:pt x="14" y="9"/>
                        <a:pt x="14" y="9"/>
                      </a:cubicBezTo>
                      <a:cubicBezTo>
                        <a:pt x="15" y="11"/>
                        <a:pt x="16" y="13"/>
                        <a:pt x="17" y="15"/>
                      </a:cubicBezTo>
                      <a:cubicBezTo>
                        <a:pt x="15" y="17"/>
                        <a:pt x="13" y="19"/>
                        <a:pt x="12" y="22"/>
                      </a:cubicBezTo>
                      <a:cubicBezTo>
                        <a:pt x="9" y="21"/>
                        <a:pt x="6" y="21"/>
                        <a:pt x="3" y="20"/>
                      </a:cubicBezTo>
                      <a:cubicBezTo>
                        <a:pt x="3" y="21"/>
                        <a:pt x="3" y="21"/>
                        <a:pt x="3" y="21"/>
                      </a:cubicBezTo>
                      <a:cubicBezTo>
                        <a:pt x="2" y="22"/>
                        <a:pt x="2" y="23"/>
                        <a:pt x="1" y="24"/>
                      </a:cubicBezTo>
                      <a:cubicBezTo>
                        <a:pt x="1" y="26"/>
                        <a:pt x="1" y="28"/>
                        <a:pt x="1" y="29"/>
                      </a:cubicBezTo>
                      <a:cubicBezTo>
                        <a:pt x="1" y="30"/>
                        <a:pt x="0" y="30"/>
                        <a:pt x="0" y="30"/>
                      </a:cubicBezTo>
                      <a:cubicBezTo>
                        <a:pt x="0" y="31"/>
                        <a:pt x="0" y="31"/>
                        <a:pt x="0" y="31"/>
                      </a:cubicBezTo>
                      <a:cubicBezTo>
                        <a:pt x="0" y="31"/>
                        <a:pt x="0" y="31"/>
                        <a:pt x="1" y="31"/>
                      </a:cubicBezTo>
                      <a:cubicBezTo>
                        <a:pt x="3" y="32"/>
                        <a:pt x="6" y="33"/>
                        <a:pt x="9" y="34"/>
                      </a:cubicBezTo>
                      <a:cubicBezTo>
                        <a:pt x="9" y="34"/>
                        <a:pt x="9" y="34"/>
                        <a:pt x="9" y="34"/>
                      </a:cubicBezTo>
                      <a:cubicBezTo>
                        <a:pt x="9" y="35"/>
                        <a:pt x="9" y="37"/>
                        <a:pt x="9" y="38"/>
                      </a:cubicBezTo>
                      <a:cubicBezTo>
                        <a:pt x="9" y="40"/>
                        <a:pt x="9" y="41"/>
                        <a:pt x="10" y="42"/>
                      </a:cubicBezTo>
                      <a:cubicBezTo>
                        <a:pt x="8" y="44"/>
                        <a:pt x="5" y="46"/>
                        <a:pt x="3" y="48"/>
                      </a:cubicBezTo>
                      <a:cubicBezTo>
                        <a:pt x="4" y="51"/>
                        <a:pt x="6" y="54"/>
                        <a:pt x="8" y="57"/>
                      </a:cubicBezTo>
                      <a:cubicBezTo>
                        <a:pt x="11" y="55"/>
                        <a:pt x="13" y="54"/>
                        <a:pt x="16" y="53"/>
                      </a:cubicBezTo>
                      <a:cubicBezTo>
                        <a:pt x="16" y="53"/>
                        <a:pt x="16" y="53"/>
                        <a:pt x="17" y="53"/>
                      </a:cubicBezTo>
                      <a:cubicBezTo>
                        <a:pt x="17" y="54"/>
                        <a:pt x="18" y="55"/>
                        <a:pt x="19" y="56"/>
                      </a:cubicBezTo>
                      <a:cubicBezTo>
                        <a:pt x="20" y="56"/>
                        <a:pt x="21" y="56"/>
                        <a:pt x="21" y="57"/>
                      </a:cubicBezTo>
                      <a:cubicBezTo>
                        <a:pt x="22" y="57"/>
                        <a:pt x="22" y="57"/>
                        <a:pt x="22" y="58"/>
                      </a:cubicBezTo>
                      <a:cubicBezTo>
                        <a:pt x="23" y="58"/>
                        <a:pt x="23" y="58"/>
                        <a:pt x="23" y="58"/>
                      </a:cubicBezTo>
                      <a:cubicBezTo>
                        <a:pt x="23" y="59"/>
                        <a:pt x="23" y="59"/>
                        <a:pt x="23" y="59"/>
                      </a:cubicBezTo>
                      <a:cubicBezTo>
                        <a:pt x="22" y="61"/>
                        <a:pt x="22" y="63"/>
                        <a:pt x="22" y="66"/>
                      </a:cubicBezTo>
                      <a:cubicBezTo>
                        <a:pt x="21" y="66"/>
                        <a:pt x="21" y="66"/>
                        <a:pt x="21" y="67"/>
                      </a:cubicBezTo>
                      <a:cubicBezTo>
                        <a:pt x="25" y="68"/>
                        <a:pt x="28" y="69"/>
                        <a:pt x="31" y="69"/>
                      </a:cubicBezTo>
                      <a:cubicBezTo>
                        <a:pt x="33" y="67"/>
                        <a:pt x="34" y="64"/>
                        <a:pt x="35" y="61"/>
                      </a:cubicBezTo>
                      <a:cubicBezTo>
                        <a:pt x="35" y="61"/>
                        <a:pt x="36" y="61"/>
                        <a:pt x="36" y="61"/>
                      </a:cubicBezTo>
                      <a:cubicBezTo>
                        <a:pt x="37" y="61"/>
                        <a:pt x="38" y="61"/>
                        <a:pt x="39" y="61"/>
                      </a:cubicBezTo>
                      <a:cubicBezTo>
                        <a:pt x="40" y="61"/>
                        <a:pt x="41" y="60"/>
                        <a:pt x="43" y="60"/>
                      </a:cubicBezTo>
                      <a:cubicBezTo>
                        <a:pt x="43" y="60"/>
                        <a:pt x="43" y="60"/>
                        <a:pt x="43" y="60"/>
                      </a:cubicBezTo>
                      <a:cubicBezTo>
                        <a:pt x="45" y="62"/>
                        <a:pt x="46" y="65"/>
                        <a:pt x="48" y="67"/>
                      </a:cubicBezTo>
                      <a:cubicBezTo>
                        <a:pt x="48" y="67"/>
                        <a:pt x="48" y="67"/>
                        <a:pt x="48" y="67"/>
                      </a:cubicBezTo>
                      <a:cubicBezTo>
                        <a:pt x="52" y="66"/>
                        <a:pt x="55" y="64"/>
                        <a:pt x="57" y="62"/>
                      </a:cubicBezTo>
                      <a:cubicBezTo>
                        <a:pt x="56" y="59"/>
                        <a:pt x="55" y="56"/>
                        <a:pt x="54" y="53"/>
                      </a:cubicBezTo>
                      <a:cubicBezTo>
                        <a:pt x="54" y="53"/>
                        <a:pt x="55" y="52"/>
                        <a:pt x="55" y="51"/>
                      </a:cubicBezTo>
                      <a:cubicBezTo>
                        <a:pt x="56" y="51"/>
                        <a:pt x="56" y="50"/>
                        <a:pt x="57" y="49"/>
                      </a:cubicBezTo>
                      <a:cubicBezTo>
                        <a:pt x="57" y="49"/>
                        <a:pt x="58" y="48"/>
                        <a:pt x="58" y="47"/>
                      </a:cubicBezTo>
                      <a:cubicBezTo>
                        <a:pt x="61" y="48"/>
                        <a:pt x="64" y="48"/>
                        <a:pt x="67" y="49"/>
                      </a:cubicBezTo>
                      <a:cubicBezTo>
                        <a:pt x="69" y="45"/>
                        <a:pt x="70" y="42"/>
                        <a:pt x="70" y="38"/>
                      </a:cubicBezTo>
                      <a:cubicBezTo>
                        <a:pt x="67" y="37"/>
                        <a:pt x="64" y="36"/>
                        <a:pt x="62" y="35"/>
                      </a:cubicBezTo>
                      <a:close/>
                      <a:moveTo>
                        <a:pt x="40" y="52"/>
                      </a:moveTo>
                      <a:cubicBezTo>
                        <a:pt x="28" y="55"/>
                        <a:pt x="19" y="46"/>
                        <a:pt x="18" y="38"/>
                      </a:cubicBezTo>
                      <a:cubicBezTo>
                        <a:pt x="17" y="32"/>
                        <a:pt x="18" y="27"/>
                        <a:pt x="22" y="22"/>
                      </a:cubicBezTo>
                      <a:cubicBezTo>
                        <a:pt x="24" y="20"/>
                        <a:pt x="27" y="18"/>
                        <a:pt x="30" y="17"/>
                      </a:cubicBezTo>
                      <a:cubicBezTo>
                        <a:pt x="32" y="17"/>
                        <a:pt x="33" y="17"/>
                        <a:pt x="35" y="17"/>
                      </a:cubicBezTo>
                      <a:cubicBezTo>
                        <a:pt x="44" y="16"/>
                        <a:pt x="51" y="24"/>
                        <a:pt x="52" y="30"/>
                      </a:cubicBezTo>
                      <a:cubicBezTo>
                        <a:pt x="55" y="41"/>
                        <a:pt x="48" y="50"/>
                        <a:pt x="40" y="52"/>
                      </a:cubicBezTo>
                      <a:close/>
                    </a:path>
                  </a:pathLst>
                </a:custGeom>
                <a:grpFill/>
                <a:ln w="635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8" name="Freeform 51">
                  <a:extLst>
                    <a:ext uri="{FF2B5EF4-FFF2-40B4-BE49-F238E27FC236}">
                      <a16:creationId xmlns:a16="http://schemas.microsoft.com/office/drawing/2014/main" id="{D7215FEF-3F55-4C6B-A291-F887395C9BA3}"/>
                    </a:ext>
                  </a:extLst>
                </p:cNvPr>
                <p:cNvSpPr>
                  <a:spLocks/>
                </p:cNvSpPr>
                <p:nvPr/>
              </p:nvSpPr>
              <p:spPr bwMode="auto">
                <a:xfrm>
                  <a:off x="5272716" y="1230536"/>
                  <a:ext cx="462386" cy="265660"/>
                </a:xfrm>
                <a:custGeom>
                  <a:avLst/>
                  <a:gdLst>
                    <a:gd name="T0" fmla="*/ 31 w 101"/>
                    <a:gd name="T1" fmla="*/ 64 h 67"/>
                    <a:gd name="T2" fmla="*/ 35 w 101"/>
                    <a:gd name="T3" fmla="*/ 67 h 67"/>
                    <a:gd name="T4" fmla="*/ 38 w 101"/>
                    <a:gd name="T5" fmla="*/ 64 h 67"/>
                    <a:gd name="T6" fmla="*/ 50 w 101"/>
                    <a:gd name="T7" fmla="*/ 55 h 67"/>
                    <a:gd name="T8" fmla="*/ 63 w 101"/>
                    <a:gd name="T9" fmla="*/ 64 h 67"/>
                    <a:gd name="T10" fmla="*/ 66 w 101"/>
                    <a:gd name="T11" fmla="*/ 67 h 67"/>
                    <a:gd name="T12" fmla="*/ 69 w 101"/>
                    <a:gd name="T13" fmla="*/ 64 h 67"/>
                    <a:gd name="T14" fmla="*/ 82 w 101"/>
                    <a:gd name="T15" fmla="*/ 55 h 67"/>
                    <a:gd name="T16" fmla="*/ 94 w 101"/>
                    <a:gd name="T17" fmla="*/ 63 h 67"/>
                    <a:gd name="T18" fmla="*/ 97 w 101"/>
                    <a:gd name="T19" fmla="*/ 67 h 67"/>
                    <a:gd name="T20" fmla="*/ 101 w 101"/>
                    <a:gd name="T21" fmla="*/ 63 h 67"/>
                    <a:gd name="T22" fmla="*/ 54 w 101"/>
                    <a:gd name="T23" fmla="*/ 10 h 67"/>
                    <a:gd name="T24" fmla="*/ 54 w 101"/>
                    <a:gd name="T25" fmla="*/ 3 h 67"/>
                    <a:gd name="T26" fmla="*/ 50 w 101"/>
                    <a:gd name="T27" fmla="*/ 0 h 67"/>
                    <a:gd name="T28" fmla="*/ 47 w 101"/>
                    <a:gd name="T29" fmla="*/ 3 h 67"/>
                    <a:gd name="T30" fmla="*/ 47 w 101"/>
                    <a:gd name="T31" fmla="*/ 10 h 67"/>
                    <a:gd name="T32" fmla="*/ 0 w 101"/>
                    <a:gd name="T33" fmla="*/ 63 h 67"/>
                    <a:gd name="T34" fmla="*/ 3 w 101"/>
                    <a:gd name="T35" fmla="*/ 67 h 67"/>
                    <a:gd name="T36" fmla="*/ 7 w 101"/>
                    <a:gd name="T37" fmla="*/ 63 h 67"/>
                    <a:gd name="T38" fmla="*/ 19 w 101"/>
                    <a:gd name="T39" fmla="*/ 55 h 67"/>
                    <a:gd name="T40" fmla="*/ 31 w 101"/>
                    <a:gd name="T4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 h="67">
                      <a:moveTo>
                        <a:pt x="31" y="64"/>
                      </a:moveTo>
                      <a:cubicBezTo>
                        <a:pt x="31" y="66"/>
                        <a:pt x="33" y="67"/>
                        <a:pt x="35" y="67"/>
                      </a:cubicBezTo>
                      <a:cubicBezTo>
                        <a:pt x="36" y="67"/>
                        <a:pt x="38" y="66"/>
                        <a:pt x="38" y="64"/>
                      </a:cubicBezTo>
                      <a:cubicBezTo>
                        <a:pt x="38" y="59"/>
                        <a:pt x="44" y="55"/>
                        <a:pt x="50" y="55"/>
                      </a:cubicBezTo>
                      <a:cubicBezTo>
                        <a:pt x="57" y="55"/>
                        <a:pt x="63" y="59"/>
                        <a:pt x="63" y="64"/>
                      </a:cubicBezTo>
                      <a:cubicBezTo>
                        <a:pt x="63" y="66"/>
                        <a:pt x="64" y="67"/>
                        <a:pt x="66" y="67"/>
                      </a:cubicBezTo>
                      <a:cubicBezTo>
                        <a:pt x="68" y="67"/>
                        <a:pt x="69" y="66"/>
                        <a:pt x="69" y="64"/>
                      </a:cubicBezTo>
                      <a:cubicBezTo>
                        <a:pt x="69" y="59"/>
                        <a:pt x="75" y="55"/>
                        <a:pt x="82" y="55"/>
                      </a:cubicBezTo>
                      <a:cubicBezTo>
                        <a:pt x="88" y="55"/>
                        <a:pt x="94" y="59"/>
                        <a:pt x="94" y="63"/>
                      </a:cubicBezTo>
                      <a:cubicBezTo>
                        <a:pt x="94" y="65"/>
                        <a:pt x="96" y="67"/>
                        <a:pt x="97" y="67"/>
                      </a:cubicBezTo>
                      <a:cubicBezTo>
                        <a:pt x="99" y="67"/>
                        <a:pt x="101" y="65"/>
                        <a:pt x="101" y="63"/>
                      </a:cubicBezTo>
                      <a:cubicBezTo>
                        <a:pt x="100" y="35"/>
                        <a:pt x="80" y="12"/>
                        <a:pt x="54" y="10"/>
                      </a:cubicBezTo>
                      <a:cubicBezTo>
                        <a:pt x="54" y="3"/>
                        <a:pt x="54" y="3"/>
                        <a:pt x="54" y="3"/>
                      </a:cubicBezTo>
                      <a:cubicBezTo>
                        <a:pt x="54" y="1"/>
                        <a:pt x="53" y="0"/>
                        <a:pt x="50" y="0"/>
                      </a:cubicBezTo>
                      <a:cubicBezTo>
                        <a:pt x="48" y="0"/>
                        <a:pt x="47" y="1"/>
                        <a:pt x="47" y="3"/>
                      </a:cubicBezTo>
                      <a:cubicBezTo>
                        <a:pt x="47" y="10"/>
                        <a:pt x="47" y="10"/>
                        <a:pt x="47" y="10"/>
                      </a:cubicBezTo>
                      <a:cubicBezTo>
                        <a:pt x="21" y="12"/>
                        <a:pt x="0" y="35"/>
                        <a:pt x="0" y="63"/>
                      </a:cubicBezTo>
                      <a:cubicBezTo>
                        <a:pt x="0" y="65"/>
                        <a:pt x="2" y="67"/>
                        <a:pt x="3" y="67"/>
                      </a:cubicBezTo>
                      <a:cubicBezTo>
                        <a:pt x="5" y="67"/>
                        <a:pt x="7" y="65"/>
                        <a:pt x="7" y="63"/>
                      </a:cubicBezTo>
                      <a:cubicBezTo>
                        <a:pt x="7" y="59"/>
                        <a:pt x="13" y="55"/>
                        <a:pt x="19" y="55"/>
                      </a:cubicBezTo>
                      <a:cubicBezTo>
                        <a:pt x="26" y="55"/>
                        <a:pt x="31" y="59"/>
                        <a:pt x="31" y="64"/>
                      </a:cubicBezTo>
                      <a:close/>
                    </a:path>
                  </a:pathLst>
                </a:cu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9" name="Freeform 105">
                  <a:extLst>
                    <a:ext uri="{FF2B5EF4-FFF2-40B4-BE49-F238E27FC236}">
                      <a16:creationId xmlns:a16="http://schemas.microsoft.com/office/drawing/2014/main" id="{6A091F4B-3139-463D-8D01-46613D8A1953}"/>
                    </a:ext>
                  </a:extLst>
                </p:cNvPr>
                <p:cNvSpPr>
                  <a:spLocks noChangeAspect="1" noEditPoints="1"/>
                </p:cNvSpPr>
                <p:nvPr/>
              </p:nvSpPr>
              <p:spPr bwMode="auto">
                <a:xfrm>
                  <a:off x="5606712" y="1618961"/>
                  <a:ext cx="154817" cy="152940"/>
                </a:xfrm>
                <a:custGeom>
                  <a:avLst/>
                  <a:gdLst>
                    <a:gd name="T0" fmla="*/ 60 w 70"/>
                    <a:gd name="T1" fmla="*/ 27 h 69"/>
                    <a:gd name="T2" fmla="*/ 62 w 70"/>
                    <a:gd name="T3" fmla="*/ 13 h 69"/>
                    <a:gd name="T4" fmla="*/ 53 w 70"/>
                    <a:gd name="T5" fmla="*/ 15 h 69"/>
                    <a:gd name="T6" fmla="*/ 48 w 70"/>
                    <a:gd name="T7" fmla="*/ 11 h 69"/>
                    <a:gd name="T8" fmla="*/ 39 w 70"/>
                    <a:gd name="T9" fmla="*/ 0 h 69"/>
                    <a:gd name="T10" fmla="*/ 28 w 70"/>
                    <a:gd name="T11" fmla="*/ 9 h 69"/>
                    <a:gd name="T12" fmla="*/ 24 w 70"/>
                    <a:gd name="T13" fmla="*/ 4 h 69"/>
                    <a:gd name="T14" fmla="*/ 22 w 70"/>
                    <a:gd name="T15" fmla="*/ 2 h 69"/>
                    <a:gd name="T16" fmla="*/ 19 w 70"/>
                    <a:gd name="T17" fmla="*/ 3 h 69"/>
                    <a:gd name="T18" fmla="*/ 18 w 70"/>
                    <a:gd name="T19" fmla="*/ 4 h 69"/>
                    <a:gd name="T20" fmla="*/ 13 w 70"/>
                    <a:gd name="T21" fmla="*/ 7 h 69"/>
                    <a:gd name="T22" fmla="*/ 14 w 70"/>
                    <a:gd name="T23" fmla="*/ 9 h 69"/>
                    <a:gd name="T24" fmla="*/ 12 w 70"/>
                    <a:gd name="T25" fmla="*/ 22 h 69"/>
                    <a:gd name="T26" fmla="*/ 3 w 70"/>
                    <a:gd name="T27" fmla="*/ 21 h 69"/>
                    <a:gd name="T28" fmla="*/ 1 w 70"/>
                    <a:gd name="T29" fmla="*/ 29 h 69"/>
                    <a:gd name="T30" fmla="*/ 0 w 70"/>
                    <a:gd name="T31" fmla="*/ 31 h 69"/>
                    <a:gd name="T32" fmla="*/ 9 w 70"/>
                    <a:gd name="T33" fmla="*/ 34 h 69"/>
                    <a:gd name="T34" fmla="*/ 9 w 70"/>
                    <a:gd name="T35" fmla="*/ 38 h 69"/>
                    <a:gd name="T36" fmla="*/ 3 w 70"/>
                    <a:gd name="T37" fmla="*/ 48 h 69"/>
                    <a:gd name="T38" fmla="*/ 16 w 70"/>
                    <a:gd name="T39" fmla="*/ 53 h 69"/>
                    <a:gd name="T40" fmla="*/ 19 w 70"/>
                    <a:gd name="T41" fmla="*/ 56 h 69"/>
                    <a:gd name="T42" fmla="*/ 22 w 70"/>
                    <a:gd name="T43" fmla="*/ 58 h 69"/>
                    <a:gd name="T44" fmla="*/ 23 w 70"/>
                    <a:gd name="T45" fmla="*/ 59 h 69"/>
                    <a:gd name="T46" fmla="*/ 21 w 70"/>
                    <a:gd name="T47" fmla="*/ 67 h 69"/>
                    <a:gd name="T48" fmla="*/ 35 w 70"/>
                    <a:gd name="T49" fmla="*/ 61 h 69"/>
                    <a:gd name="T50" fmla="*/ 39 w 70"/>
                    <a:gd name="T51" fmla="*/ 61 h 69"/>
                    <a:gd name="T52" fmla="*/ 43 w 70"/>
                    <a:gd name="T53" fmla="*/ 60 h 69"/>
                    <a:gd name="T54" fmla="*/ 48 w 70"/>
                    <a:gd name="T55" fmla="*/ 67 h 69"/>
                    <a:gd name="T56" fmla="*/ 54 w 70"/>
                    <a:gd name="T57" fmla="*/ 53 h 69"/>
                    <a:gd name="T58" fmla="*/ 57 w 70"/>
                    <a:gd name="T59" fmla="*/ 49 h 69"/>
                    <a:gd name="T60" fmla="*/ 67 w 70"/>
                    <a:gd name="T61" fmla="*/ 49 h 69"/>
                    <a:gd name="T62" fmla="*/ 62 w 70"/>
                    <a:gd name="T63" fmla="*/ 35 h 69"/>
                    <a:gd name="T64" fmla="*/ 18 w 70"/>
                    <a:gd name="T65" fmla="*/ 38 h 69"/>
                    <a:gd name="T66" fmla="*/ 30 w 70"/>
                    <a:gd name="T67" fmla="*/ 17 h 69"/>
                    <a:gd name="T68" fmla="*/ 52 w 70"/>
                    <a:gd name="T6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69">
                      <a:moveTo>
                        <a:pt x="62" y="35"/>
                      </a:moveTo>
                      <a:cubicBezTo>
                        <a:pt x="62" y="32"/>
                        <a:pt x="61" y="30"/>
                        <a:pt x="60" y="27"/>
                      </a:cubicBezTo>
                      <a:cubicBezTo>
                        <a:pt x="63" y="25"/>
                        <a:pt x="65" y="23"/>
                        <a:pt x="68" y="22"/>
                      </a:cubicBezTo>
                      <a:cubicBezTo>
                        <a:pt x="67" y="18"/>
                        <a:pt x="65" y="15"/>
                        <a:pt x="62" y="13"/>
                      </a:cubicBezTo>
                      <a:cubicBezTo>
                        <a:pt x="60" y="14"/>
                        <a:pt x="57" y="15"/>
                        <a:pt x="54" y="16"/>
                      </a:cubicBezTo>
                      <a:cubicBezTo>
                        <a:pt x="54" y="16"/>
                        <a:pt x="54" y="16"/>
                        <a:pt x="53" y="15"/>
                      </a:cubicBezTo>
                      <a:cubicBezTo>
                        <a:pt x="52" y="14"/>
                        <a:pt x="51" y="13"/>
                        <a:pt x="50" y="12"/>
                      </a:cubicBezTo>
                      <a:cubicBezTo>
                        <a:pt x="49" y="12"/>
                        <a:pt x="49" y="12"/>
                        <a:pt x="48" y="11"/>
                      </a:cubicBezTo>
                      <a:cubicBezTo>
                        <a:pt x="48" y="8"/>
                        <a:pt x="49" y="5"/>
                        <a:pt x="49" y="2"/>
                      </a:cubicBezTo>
                      <a:cubicBezTo>
                        <a:pt x="46" y="1"/>
                        <a:pt x="43" y="0"/>
                        <a:pt x="39" y="0"/>
                      </a:cubicBezTo>
                      <a:cubicBezTo>
                        <a:pt x="38" y="2"/>
                        <a:pt x="37" y="5"/>
                        <a:pt x="36" y="8"/>
                      </a:cubicBezTo>
                      <a:cubicBezTo>
                        <a:pt x="33" y="8"/>
                        <a:pt x="30" y="8"/>
                        <a:pt x="28" y="9"/>
                      </a:cubicBezTo>
                      <a:cubicBezTo>
                        <a:pt x="28" y="9"/>
                        <a:pt x="28" y="9"/>
                        <a:pt x="27" y="9"/>
                      </a:cubicBezTo>
                      <a:cubicBezTo>
                        <a:pt x="26" y="7"/>
                        <a:pt x="25" y="6"/>
                        <a:pt x="24" y="4"/>
                      </a:cubicBezTo>
                      <a:cubicBezTo>
                        <a:pt x="24" y="4"/>
                        <a:pt x="23" y="3"/>
                        <a:pt x="23" y="2"/>
                      </a:cubicBezTo>
                      <a:cubicBezTo>
                        <a:pt x="22" y="2"/>
                        <a:pt x="22" y="2"/>
                        <a:pt x="22" y="2"/>
                      </a:cubicBezTo>
                      <a:cubicBezTo>
                        <a:pt x="22" y="2"/>
                        <a:pt x="22" y="2"/>
                        <a:pt x="22" y="2"/>
                      </a:cubicBezTo>
                      <a:cubicBezTo>
                        <a:pt x="21" y="2"/>
                        <a:pt x="19" y="3"/>
                        <a:pt x="19" y="3"/>
                      </a:cubicBezTo>
                      <a:cubicBezTo>
                        <a:pt x="19" y="3"/>
                        <a:pt x="19" y="3"/>
                        <a:pt x="19" y="3"/>
                      </a:cubicBezTo>
                      <a:cubicBezTo>
                        <a:pt x="18" y="3"/>
                        <a:pt x="18" y="4"/>
                        <a:pt x="18" y="4"/>
                      </a:cubicBezTo>
                      <a:cubicBezTo>
                        <a:pt x="17" y="5"/>
                        <a:pt x="16" y="6"/>
                        <a:pt x="14" y="7"/>
                      </a:cubicBezTo>
                      <a:cubicBezTo>
                        <a:pt x="14" y="7"/>
                        <a:pt x="14" y="7"/>
                        <a:pt x="13" y="7"/>
                      </a:cubicBezTo>
                      <a:cubicBezTo>
                        <a:pt x="13" y="7"/>
                        <a:pt x="13" y="7"/>
                        <a:pt x="13" y="7"/>
                      </a:cubicBezTo>
                      <a:cubicBezTo>
                        <a:pt x="13" y="8"/>
                        <a:pt x="14" y="9"/>
                        <a:pt x="14" y="9"/>
                      </a:cubicBezTo>
                      <a:cubicBezTo>
                        <a:pt x="15" y="11"/>
                        <a:pt x="16" y="13"/>
                        <a:pt x="17" y="15"/>
                      </a:cubicBezTo>
                      <a:cubicBezTo>
                        <a:pt x="15" y="17"/>
                        <a:pt x="13" y="19"/>
                        <a:pt x="12" y="22"/>
                      </a:cubicBezTo>
                      <a:cubicBezTo>
                        <a:pt x="9" y="21"/>
                        <a:pt x="6" y="21"/>
                        <a:pt x="3" y="20"/>
                      </a:cubicBezTo>
                      <a:cubicBezTo>
                        <a:pt x="3" y="21"/>
                        <a:pt x="3" y="21"/>
                        <a:pt x="3" y="21"/>
                      </a:cubicBezTo>
                      <a:cubicBezTo>
                        <a:pt x="2" y="22"/>
                        <a:pt x="2" y="23"/>
                        <a:pt x="1" y="24"/>
                      </a:cubicBezTo>
                      <a:cubicBezTo>
                        <a:pt x="1" y="26"/>
                        <a:pt x="1" y="28"/>
                        <a:pt x="1" y="29"/>
                      </a:cubicBezTo>
                      <a:cubicBezTo>
                        <a:pt x="1" y="30"/>
                        <a:pt x="0" y="30"/>
                        <a:pt x="0" y="30"/>
                      </a:cubicBezTo>
                      <a:cubicBezTo>
                        <a:pt x="0" y="31"/>
                        <a:pt x="0" y="31"/>
                        <a:pt x="0" y="31"/>
                      </a:cubicBezTo>
                      <a:cubicBezTo>
                        <a:pt x="0" y="31"/>
                        <a:pt x="0" y="31"/>
                        <a:pt x="1" y="31"/>
                      </a:cubicBezTo>
                      <a:cubicBezTo>
                        <a:pt x="3" y="32"/>
                        <a:pt x="6" y="33"/>
                        <a:pt x="9" y="34"/>
                      </a:cubicBezTo>
                      <a:cubicBezTo>
                        <a:pt x="9" y="34"/>
                        <a:pt x="9" y="34"/>
                        <a:pt x="9" y="34"/>
                      </a:cubicBezTo>
                      <a:cubicBezTo>
                        <a:pt x="9" y="35"/>
                        <a:pt x="9" y="37"/>
                        <a:pt x="9" y="38"/>
                      </a:cubicBezTo>
                      <a:cubicBezTo>
                        <a:pt x="9" y="40"/>
                        <a:pt x="9" y="41"/>
                        <a:pt x="10" y="42"/>
                      </a:cubicBezTo>
                      <a:cubicBezTo>
                        <a:pt x="8" y="44"/>
                        <a:pt x="5" y="46"/>
                        <a:pt x="3" y="48"/>
                      </a:cubicBezTo>
                      <a:cubicBezTo>
                        <a:pt x="4" y="51"/>
                        <a:pt x="6" y="54"/>
                        <a:pt x="8" y="57"/>
                      </a:cubicBezTo>
                      <a:cubicBezTo>
                        <a:pt x="11" y="55"/>
                        <a:pt x="13" y="54"/>
                        <a:pt x="16" y="53"/>
                      </a:cubicBezTo>
                      <a:cubicBezTo>
                        <a:pt x="16" y="53"/>
                        <a:pt x="16" y="53"/>
                        <a:pt x="17" y="53"/>
                      </a:cubicBezTo>
                      <a:cubicBezTo>
                        <a:pt x="17" y="54"/>
                        <a:pt x="18" y="55"/>
                        <a:pt x="19" y="56"/>
                      </a:cubicBezTo>
                      <a:cubicBezTo>
                        <a:pt x="20" y="56"/>
                        <a:pt x="21" y="56"/>
                        <a:pt x="21" y="57"/>
                      </a:cubicBezTo>
                      <a:cubicBezTo>
                        <a:pt x="22" y="57"/>
                        <a:pt x="22" y="57"/>
                        <a:pt x="22" y="58"/>
                      </a:cubicBezTo>
                      <a:cubicBezTo>
                        <a:pt x="23" y="58"/>
                        <a:pt x="23" y="58"/>
                        <a:pt x="23" y="58"/>
                      </a:cubicBezTo>
                      <a:cubicBezTo>
                        <a:pt x="23" y="59"/>
                        <a:pt x="23" y="59"/>
                        <a:pt x="23" y="59"/>
                      </a:cubicBezTo>
                      <a:cubicBezTo>
                        <a:pt x="22" y="61"/>
                        <a:pt x="22" y="63"/>
                        <a:pt x="22" y="66"/>
                      </a:cubicBezTo>
                      <a:cubicBezTo>
                        <a:pt x="21" y="66"/>
                        <a:pt x="21" y="66"/>
                        <a:pt x="21" y="67"/>
                      </a:cubicBezTo>
                      <a:cubicBezTo>
                        <a:pt x="25" y="68"/>
                        <a:pt x="28" y="69"/>
                        <a:pt x="31" y="69"/>
                      </a:cubicBezTo>
                      <a:cubicBezTo>
                        <a:pt x="33" y="67"/>
                        <a:pt x="34" y="64"/>
                        <a:pt x="35" y="61"/>
                      </a:cubicBezTo>
                      <a:cubicBezTo>
                        <a:pt x="35" y="61"/>
                        <a:pt x="36" y="61"/>
                        <a:pt x="36" y="61"/>
                      </a:cubicBezTo>
                      <a:cubicBezTo>
                        <a:pt x="37" y="61"/>
                        <a:pt x="38" y="61"/>
                        <a:pt x="39" y="61"/>
                      </a:cubicBezTo>
                      <a:cubicBezTo>
                        <a:pt x="40" y="61"/>
                        <a:pt x="41" y="60"/>
                        <a:pt x="43" y="60"/>
                      </a:cubicBezTo>
                      <a:cubicBezTo>
                        <a:pt x="43" y="60"/>
                        <a:pt x="43" y="60"/>
                        <a:pt x="43" y="60"/>
                      </a:cubicBezTo>
                      <a:cubicBezTo>
                        <a:pt x="45" y="62"/>
                        <a:pt x="46" y="65"/>
                        <a:pt x="48" y="67"/>
                      </a:cubicBezTo>
                      <a:cubicBezTo>
                        <a:pt x="48" y="67"/>
                        <a:pt x="48" y="67"/>
                        <a:pt x="48" y="67"/>
                      </a:cubicBezTo>
                      <a:cubicBezTo>
                        <a:pt x="52" y="66"/>
                        <a:pt x="55" y="64"/>
                        <a:pt x="57" y="62"/>
                      </a:cubicBezTo>
                      <a:cubicBezTo>
                        <a:pt x="56" y="59"/>
                        <a:pt x="55" y="56"/>
                        <a:pt x="54" y="53"/>
                      </a:cubicBezTo>
                      <a:cubicBezTo>
                        <a:pt x="54" y="53"/>
                        <a:pt x="55" y="52"/>
                        <a:pt x="55" y="51"/>
                      </a:cubicBezTo>
                      <a:cubicBezTo>
                        <a:pt x="56" y="51"/>
                        <a:pt x="56" y="50"/>
                        <a:pt x="57" y="49"/>
                      </a:cubicBezTo>
                      <a:cubicBezTo>
                        <a:pt x="57" y="49"/>
                        <a:pt x="58" y="48"/>
                        <a:pt x="58" y="47"/>
                      </a:cubicBezTo>
                      <a:cubicBezTo>
                        <a:pt x="61" y="48"/>
                        <a:pt x="64" y="48"/>
                        <a:pt x="67" y="49"/>
                      </a:cubicBezTo>
                      <a:cubicBezTo>
                        <a:pt x="69" y="45"/>
                        <a:pt x="70" y="42"/>
                        <a:pt x="70" y="38"/>
                      </a:cubicBezTo>
                      <a:cubicBezTo>
                        <a:pt x="67" y="37"/>
                        <a:pt x="64" y="36"/>
                        <a:pt x="62" y="35"/>
                      </a:cubicBezTo>
                      <a:close/>
                      <a:moveTo>
                        <a:pt x="40" y="52"/>
                      </a:moveTo>
                      <a:cubicBezTo>
                        <a:pt x="28" y="55"/>
                        <a:pt x="19" y="46"/>
                        <a:pt x="18" y="38"/>
                      </a:cubicBezTo>
                      <a:cubicBezTo>
                        <a:pt x="17" y="32"/>
                        <a:pt x="18" y="27"/>
                        <a:pt x="22" y="22"/>
                      </a:cubicBezTo>
                      <a:cubicBezTo>
                        <a:pt x="24" y="20"/>
                        <a:pt x="27" y="18"/>
                        <a:pt x="30" y="17"/>
                      </a:cubicBezTo>
                      <a:cubicBezTo>
                        <a:pt x="32" y="17"/>
                        <a:pt x="33" y="17"/>
                        <a:pt x="35" y="17"/>
                      </a:cubicBezTo>
                      <a:cubicBezTo>
                        <a:pt x="44" y="16"/>
                        <a:pt x="51" y="24"/>
                        <a:pt x="52" y="30"/>
                      </a:cubicBezTo>
                      <a:cubicBezTo>
                        <a:pt x="55" y="41"/>
                        <a:pt x="48" y="50"/>
                        <a:pt x="40" y="52"/>
                      </a:cubicBezTo>
                      <a:close/>
                    </a:path>
                  </a:pathLst>
                </a:custGeom>
                <a:grpFill/>
                <a:ln w="635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sp>
        <p:nvSpPr>
          <p:cNvPr id="170" name="Freeform 31">
            <a:extLst>
              <a:ext uri="{FF2B5EF4-FFF2-40B4-BE49-F238E27FC236}">
                <a16:creationId xmlns:a16="http://schemas.microsoft.com/office/drawing/2014/main" id="{E7751ECB-0E3C-4522-A2B4-B91D8C377E26}"/>
              </a:ext>
            </a:extLst>
          </p:cNvPr>
          <p:cNvSpPr>
            <a:spLocks noChangeAspect="1"/>
          </p:cNvSpPr>
          <p:nvPr/>
        </p:nvSpPr>
        <p:spPr bwMode="auto">
          <a:xfrm>
            <a:off x="4252637" y="1371281"/>
            <a:ext cx="851512" cy="792000"/>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71" name="ZoneTexte 59">
            <a:extLst>
              <a:ext uri="{FF2B5EF4-FFF2-40B4-BE49-F238E27FC236}">
                <a16:creationId xmlns:a16="http://schemas.microsoft.com/office/drawing/2014/main" id="{C93EC037-0A1C-4CF9-924B-4C883A9375D9}"/>
              </a:ext>
            </a:extLst>
          </p:cNvPr>
          <p:cNvSpPr txBox="1"/>
          <p:nvPr/>
        </p:nvSpPr>
        <p:spPr>
          <a:xfrm>
            <a:off x="1346178" y="1627322"/>
            <a:ext cx="1200650" cy="276999"/>
          </a:xfrm>
          <a:prstGeom prst="rect">
            <a:avLst/>
          </a:prstGeom>
          <a:noFill/>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srgbClr val="FFFFFF"/>
                </a:solidFill>
                <a:effectLst/>
                <a:uLnTx/>
                <a:uFillTx/>
                <a:latin typeface="Ubuntu"/>
                <a:ea typeface="+mn-ea"/>
                <a:cs typeface="+mn-cs"/>
              </a:rPr>
              <a:t>Short </a:t>
            </a:r>
            <a:r>
              <a:rPr kumimoji="0" lang="fr-FR" sz="1800" b="1" i="0" u="none" strike="noStrike" kern="1200" cap="none" spc="0" normalizeH="0" baseline="0" noProof="0" err="1">
                <a:ln>
                  <a:noFill/>
                </a:ln>
                <a:solidFill>
                  <a:srgbClr val="FFFFFF"/>
                </a:solidFill>
                <a:effectLst/>
                <a:uLnTx/>
                <a:uFillTx/>
                <a:latin typeface="Ubuntu"/>
                <a:ea typeface="+mn-ea"/>
                <a:cs typeface="+mn-cs"/>
              </a:rPr>
              <a:t>term</a:t>
            </a:r>
            <a:endParaRPr kumimoji="0" lang="fr-FR" sz="1800" b="1" i="0" u="none" strike="noStrike" kern="1200" cap="none" spc="0" normalizeH="0" baseline="0" noProof="0">
              <a:ln>
                <a:noFill/>
              </a:ln>
              <a:solidFill>
                <a:srgbClr val="FFFFFF"/>
              </a:solidFill>
              <a:effectLst/>
              <a:uLnTx/>
              <a:uFillTx/>
              <a:latin typeface="Ubuntu"/>
              <a:ea typeface="+mn-ea"/>
              <a:cs typeface="+mn-cs"/>
            </a:endParaRPr>
          </a:p>
        </p:txBody>
      </p:sp>
      <p:sp>
        <p:nvSpPr>
          <p:cNvPr id="172" name="ZoneTexte 60">
            <a:extLst>
              <a:ext uri="{FF2B5EF4-FFF2-40B4-BE49-F238E27FC236}">
                <a16:creationId xmlns:a16="http://schemas.microsoft.com/office/drawing/2014/main" id="{A2B0A9C9-CD1B-4DB8-9DD0-0800926F77C2}"/>
              </a:ext>
            </a:extLst>
          </p:cNvPr>
          <p:cNvSpPr txBox="1"/>
          <p:nvPr/>
        </p:nvSpPr>
        <p:spPr>
          <a:xfrm>
            <a:off x="5160225" y="1627322"/>
            <a:ext cx="1351332" cy="276999"/>
          </a:xfrm>
          <a:prstGeom prst="rect">
            <a:avLst/>
          </a:prstGeom>
          <a:noFill/>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Middle term</a:t>
            </a:r>
          </a:p>
        </p:txBody>
      </p:sp>
      <p:sp>
        <p:nvSpPr>
          <p:cNvPr id="173" name="ZoneTexte 61">
            <a:extLst>
              <a:ext uri="{FF2B5EF4-FFF2-40B4-BE49-F238E27FC236}">
                <a16:creationId xmlns:a16="http://schemas.microsoft.com/office/drawing/2014/main" id="{328022E9-3556-411F-8CDE-8EB207C14320}"/>
              </a:ext>
            </a:extLst>
          </p:cNvPr>
          <p:cNvSpPr txBox="1"/>
          <p:nvPr/>
        </p:nvSpPr>
        <p:spPr>
          <a:xfrm>
            <a:off x="9052115" y="1627322"/>
            <a:ext cx="1133324" cy="276999"/>
          </a:xfrm>
          <a:prstGeom prst="rect">
            <a:avLst/>
          </a:prstGeom>
          <a:noFill/>
        </p:spPr>
        <p:txBody>
          <a:bodyPr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Long term</a:t>
            </a:r>
          </a:p>
        </p:txBody>
      </p:sp>
      <p:sp>
        <p:nvSpPr>
          <p:cNvPr id="174" name="ZoneTexte 63">
            <a:extLst>
              <a:ext uri="{FF2B5EF4-FFF2-40B4-BE49-F238E27FC236}">
                <a16:creationId xmlns:a16="http://schemas.microsoft.com/office/drawing/2014/main" id="{9171ED7C-6F0F-4D39-8295-EFC29858AC43}"/>
              </a:ext>
            </a:extLst>
          </p:cNvPr>
          <p:cNvSpPr txBox="1"/>
          <p:nvPr/>
        </p:nvSpPr>
        <p:spPr>
          <a:xfrm>
            <a:off x="417195" y="2917827"/>
            <a:ext cx="1563624" cy="766107"/>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Not closing Groningen gas field</a:t>
            </a:r>
          </a:p>
        </p:txBody>
      </p:sp>
      <p:sp>
        <p:nvSpPr>
          <p:cNvPr id="175" name="ZoneTexte 64">
            <a:extLst>
              <a:ext uri="{FF2B5EF4-FFF2-40B4-BE49-F238E27FC236}">
                <a16:creationId xmlns:a16="http://schemas.microsoft.com/office/drawing/2014/main" id="{05142634-6494-4277-B864-D557C38E99A7}"/>
              </a:ext>
            </a:extLst>
          </p:cNvPr>
          <p:cNvSpPr txBox="1"/>
          <p:nvPr/>
        </p:nvSpPr>
        <p:spPr>
          <a:xfrm>
            <a:off x="2154753" y="2917827"/>
            <a:ext cx="1847087" cy="766107"/>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Don’t close nuclear plants (Germany, Belgium)</a:t>
            </a:r>
          </a:p>
        </p:txBody>
      </p:sp>
      <p:sp>
        <p:nvSpPr>
          <p:cNvPr id="176" name="ZoneTexte 65">
            <a:extLst>
              <a:ext uri="{FF2B5EF4-FFF2-40B4-BE49-F238E27FC236}">
                <a16:creationId xmlns:a16="http://schemas.microsoft.com/office/drawing/2014/main" id="{4C88C1FD-29DC-47C6-BAEF-5AAD81586B3C}"/>
              </a:ext>
            </a:extLst>
          </p:cNvPr>
          <p:cNvSpPr txBox="1"/>
          <p:nvPr/>
        </p:nvSpPr>
        <p:spPr>
          <a:xfrm>
            <a:off x="417195" y="4351287"/>
            <a:ext cx="1563624" cy="502638"/>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Buy as much LNG as possible</a:t>
            </a:r>
          </a:p>
        </p:txBody>
      </p:sp>
      <p:sp>
        <p:nvSpPr>
          <p:cNvPr id="177" name="ZoneTexte 66">
            <a:extLst>
              <a:ext uri="{FF2B5EF4-FFF2-40B4-BE49-F238E27FC236}">
                <a16:creationId xmlns:a16="http://schemas.microsoft.com/office/drawing/2014/main" id="{06417A60-256D-43C4-A87D-A068BA2E0B72}"/>
              </a:ext>
            </a:extLst>
          </p:cNvPr>
          <p:cNvSpPr txBox="1"/>
          <p:nvPr/>
        </p:nvSpPr>
        <p:spPr>
          <a:xfrm>
            <a:off x="2296484" y="4351287"/>
            <a:ext cx="1563624" cy="502638"/>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Invest in gas infrastructures</a:t>
            </a:r>
          </a:p>
        </p:txBody>
      </p:sp>
      <p:grpSp>
        <p:nvGrpSpPr>
          <p:cNvPr id="181" name="Groupe 106">
            <a:extLst>
              <a:ext uri="{FF2B5EF4-FFF2-40B4-BE49-F238E27FC236}">
                <a16:creationId xmlns:a16="http://schemas.microsoft.com/office/drawing/2014/main" id="{A765FDC3-8E24-431C-96A0-FAAF53FA6C37}"/>
              </a:ext>
            </a:extLst>
          </p:cNvPr>
          <p:cNvGrpSpPr/>
          <p:nvPr/>
        </p:nvGrpSpPr>
        <p:grpSpPr>
          <a:xfrm>
            <a:off x="986574" y="3848950"/>
            <a:ext cx="424867" cy="424867"/>
            <a:chOff x="582776" y="4307792"/>
            <a:chExt cx="616229" cy="616229"/>
          </a:xfrm>
          <a:solidFill>
            <a:srgbClr val="2EA657"/>
          </a:solidFill>
        </p:grpSpPr>
        <p:grpSp>
          <p:nvGrpSpPr>
            <p:cNvPr id="184" name="Groupe 94">
              <a:extLst>
                <a:ext uri="{FF2B5EF4-FFF2-40B4-BE49-F238E27FC236}">
                  <a16:creationId xmlns:a16="http://schemas.microsoft.com/office/drawing/2014/main" id="{261903F8-8946-4AB2-8298-9B2E703F5A2E}"/>
                </a:ext>
              </a:extLst>
            </p:cNvPr>
            <p:cNvGrpSpPr/>
            <p:nvPr/>
          </p:nvGrpSpPr>
          <p:grpSpPr>
            <a:xfrm>
              <a:off x="582776" y="4307792"/>
              <a:ext cx="616229" cy="616229"/>
              <a:chOff x="5735632" y="3411538"/>
              <a:chExt cx="720725" cy="720725"/>
            </a:xfrm>
            <a:grpFill/>
          </p:grpSpPr>
          <p:sp>
            <p:nvSpPr>
              <p:cNvPr id="186" name="CPTKHARA03f10l10s00">
                <a:extLst>
                  <a:ext uri="{FF2B5EF4-FFF2-40B4-BE49-F238E27FC236}">
                    <a16:creationId xmlns:a16="http://schemas.microsoft.com/office/drawing/2014/main" id="{52124011-D88C-4C93-B5D2-E2ABCBAB8066}"/>
                  </a:ext>
                </a:extLst>
              </p:cNvPr>
              <p:cNvSpPr/>
              <p:nvPr/>
            </p:nvSpPr>
            <p:spPr>
              <a:xfrm>
                <a:off x="5735632" y="3411538"/>
                <a:ext cx="720725" cy="720725"/>
              </a:xfrm>
              <a:prstGeom prst="ellipse">
                <a:avLst/>
              </a:prstGeom>
              <a:grpFill/>
              <a:ln w="9525">
                <a:solidFill>
                  <a:srgbClr val="178C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90" name="CPTKHARO03l10s00f00">
                <a:extLst>
                  <a:ext uri="{FF2B5EF4-FFF2-40B4-BE49-F238E27FC236}">
                    <a16:creationId xmlns:a16="http://schemas.microsoft.com/office/drawing/2014/main" id="{513B168A-A777-44CE-8090-6F7ADA1B5E40}"/>
                  </a:ext>
                </a:extLst>
              </p:cNvPr>
              <p:cNvSpPr/>
              <p:nvPr/>
            </p:nvSpPr>
            <p:spPr>
              <a:xfrm>
                <a:off x="5735632" y="3411538"/>
                <a:ext cx="720725" cy="720725"/>
              </a:xfrm>
              <a:prstGeom prst="ellipse">
                <a:avLst/>
              </a:prstGeom>
              <a:grpFill/>
              <a:ln w="9525" cap="flat" cmpd="sng" algn="ctr">
                <a:solidFill>
                  <a:srgbClr val="178C3D"/>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185" name="CPTKHARA01f10l10s00">
              <a:extLst>
                <a:ext uri="{FF2B5EF4-FFF2-40B4-BE49-F238E27FC236}">
                  <a16:creationId xmlns:a16="http://schemas.microsoft.com/office/drawing/2014/main" id="{6BEAD68A-50DC-40A2-82A9-D986FAECE8E7}"/>
                </a:ext>
              </a:extLst>
            </p:cNvPr>
            <p:cNvSpPr/>
            <p:nvPr/>
          </p:nvSpPr>
          <p:spPr>
            <a:xfrm>
              <a:off x="888194" y="4338173"/>
              <a:ext cx="5" cy="308114"/>
            </a:xfrm>
            <a:prstGeom prst="arc">
              <a:avLst>
                <a:gd name="adj1" fmla="val 16200000"/>
                <a:gd name="adj2" fmla="val 16200000"/>
              </a:avLst>
            </a:prstGeom>
            <a:grpFill/>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91" name="ZoneTexte 113">
            <a:extLst>
              <a:ext uri="{FF2B5EF4-FFF2-40B4-BE49-F238E27FC236}">
                <a16:creationId xmlns:a16="http://schemas.microsoft.com/office/drawing/2014/main" id="{AB743865-586B-4B9B-A958-E00F51086DB3}"/>
              </a:ext>
            </a:extLst>
          </p:cNvPr>
          <p:cNvSpPr txBox="1"/>
          <p:nvPr/>
        </p:nvSpPr>
        <p:spPr>
          <a:xfrm>
            <a:off x="417195" y="5612625"/>
            <a:ext cx="1563624" cy="502638"/>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Energy conservation</a:t>
            </a:r>
          </a:p>
        </p:txBody>
      </p:sp>
      <p:sp>
        <p:nvSpPr>
          <p:cNvPr id="192" name="ZoneTexte 114">
            <a:extLst>
              <a:ext uri="{FF2B5EF4-FFF2-40B4-BE49-F238E27FC236}">
                <a16:creationId xmlns:a16="http://schemas.microsoft.com/office/drawing/2014/main" id="{4498059A-29A2-49BF-A987-B29D8CE7DEEF}"/>
              </a:ext>
            </a:extLst>
          </p:cNvPr>
          <p:cNvSpPr txBox="1"/>
          <p:nvPr/>
        </p:nvSpPr>
        <p:spPr>
          <a:xfrm>
            <a:off x="4379428" y="2917827"/>
            <a:ext cx="1563624" cy="502638"/>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Invest in re-gas facilities</a:t>
            </a:r>
          </a:p>
        </p:txBody>
      </p:sp>
      <p:sp>
        <p:nvSpPr>
          <p:cNvPr id="193" name="ZoneTexte 115">
            <a:extLst>
              <a:ext uri="{FF2B5EF4-FFF2-40B4-BE49-F238E27FC236}">
                <a16:creationId xmlns:a16="http://schemas.microsoft.com/office/drawing/2014/main" id="{45CF9992-FBF6-47C7-AD44-F8A788702DD1}"/>
              </a:ext>
            </a:extLst>
          </p:cNvPr>
          <p:cNvSpPr txBox="1"/>
          <p:nvPr/>
        </p:nvSpPr>
        <p:spPr>
          <a:xfrm>
            <a:off x="6254587" y="2917827"/>
            <a:ext cx="1563624" cy="502638"/>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Implement an electricity market reform</a:t>
            </a:r>
          </a:p>
        </p:txBody>
      </p:sp>
      <p:sp>
        <p:nvSpPr>
          <p:cNvPr id="194" name="ZoneTexte 116">
            <a:extLst>
              <a:ext uri="{FF2B5EF4-FFF2-40B4-BE49-F238E27FC236}">
                <a16:creationId xmlns:a16="http://schemas.microsoft.com/office/drawing/2014/main" id="{D4BCF1F8-B1BE-4BC0-A355-2C9916AB5F71}"/>
              </a:ext>
            </a:extLst>
          </p:cNvPr>
          <p:cNvSpPr txBox="1"/>
          <p:nvPr/>
        </p:nvSpPr>
        <p:spPr>
          <a:xfrm>
            <a:off x="4379428" y="4351287"/>
            <a:ext cx="1563624" cy="766107"/>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Accelerate the deployment of renewables</a:t>
            </a:r>
          </a:p>
        </p:txBody>
      </p:sp>
      <p:sp>
        <p:nvSpPr>
          <p:cNvPr id="195" name="ZoneTexte 117">
            <a:extLst>
              <a:ext uri="{FF2B5EF4-FFF2-40B4-BE49-F238E27FC236}">
                <a16:creationId xmlns:a16="http://schemas.microsoft.com/office/drawing/2014/main" id="{799BDE7F-E2E9-45B3-97E2-A9778147B0B7}"/>
              </a:ext>
            </a:extLst>
          </p:cNvPr>
          <p:cNvSpPr txBox="1"/>
          <p:nvPr/>
        </p:nvSpPr>
        <p:spPr>
          <a:xfrm>
            <a:off x="6254587" y="4351287"/>
            <a:ext cx="1563624" cy="502638"/>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Diversifying EU gas supply </a:t>
            </a:r>
          </a:p>
        </p:txBody>
      </p:sp>
      <p:grpSp>
        <p:nvGrpSpPr>
          <p:cNvPr id="196" name="Groupe 121">
            <a:extLst>
              <a:ext uri="{FF2B5EF4-FFF2-40B4-BE49-F238E27FC236}">
                <a16:creationId xmlns:a16="http://schemas.microsoft.com/office/drawing/2014/main" id="{BBD2BD07-99E6-4974-9AC8-66071822957B}"/>
              </a:ext>
            </a:extLst>
          </p:cNvPr>
          <p:cNvGrpSpPr/>
          <p:nvPr/>
        </p:nvGrpSpPr>
        <p:grpSpPr>
          <a:xfrm>
            <a:off x="6820427" y="2422597"/>
            <a:ext cx="431944" cy="431936"/>
            <a:chOff x="5735625" y="3411538"/>
            <a:chExt cx="720738" cy="720725"/>
          </a:xfrm>
        </p:grpSpPr>
        <p:sp>
          <p:nvSpPr>
            <p:cNvPr id="197" name="CPTKHARA02f10l10s00">
              <a:extLst>
                <a:ext uri="{FF2B5EF4-FFF2-40B4-BE49-F238E27FC236}">
                  <a16:creationId xmlns:a16="http://schemas.microsoft.com/office/drawing/2014/main" id="{7DA6A0EA-5B75-42E9-865E-DA7984A2B8FE}"/>
                </a:ext>
              </a:extLst>
            </p:cNvPr>
            <p:cNvSpPr/>
            <p:nvPr/>
          </p:nvSpPr>
          <p:spPr>
            <a:xfrm>
              <a:off x="5735625" y="3411538"/>
              <a:ext cx="720736" cy="720724"/>
            </a:xfrm>
            <a:prstGeom prst="arc">
              <a:avLst>
                <a:gd name="adj1" fmla="val 16200000"/>
                <a:gd name="adj2" fmla="val 0"/>
              </a:avLst>
            </a:prstGeom>
            <a:solidFill>
              <a:srgbClr val="338091"/>
            </a:solidFill>
            <a:ln w="9525">
              <a:solidFill>
                <a:srgbClr val="FF8E1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05" name="CPTKHARO02l10s00f00">
              <a:extLst>
                <a:ext uri="{FF2B5EF4-FFF2-40B4-BE49-F238E27FC236}">
                  <a16:creationId xmlns:a16="http://schemas.microsoft.com/office/drawing/2014/main" id="{3FC54A1F-144E-4D4F-A0E1-0D795C93EBD9}"/>
                </a:ext>
              </a:extLst>
            </p:cNvPr>
            <p:cNvSpPr/>
            <p:nvPr/>
          </p:nvSpPr>
          <p:spPr>
            <a:xfrm>
              <a:off x="5735638" y="3411538"/>
              <a:ext cx="720725" cy="720725"/>
            </a:xfrm>
            <a:prstGeom prst="ellipse">
              <a:avLst/>
            </a:prstGeom>
            <a:noFill/>
            <a:ln w="9525" cap="flat" cmpd="sng" algn="ctr">
              <a:solidFill>
                <a:srgbClr val="338091"/>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206" name="Groupe 150">
            <a:extLst>
              <a:ext uri="{FF2B5EF4-FFF2-40B4-BE49-F238E27FC236}">
                <a16:creationId xmlns:a16="http://schemas.microsoft.com/office/drawing/2014/main" id="{F2B1D0DF-E03F-4E88-94CA-5D09873FE826}"/>
              </a:ext>
            </a:extLst>
          </p:cNvPr>
          <p:cNvGrpSpPr/>
          <p:nvPr/>
        </p:nvGrpSpPr>
        <p:grpSpPr>
          <a:xfrm>
            <a:off x="4945268" y="2422597"/>
            <a:ext cx="431944" cy="431936"/>
            <a:chOff x="5735625" y="3411538"/>
            <a:chExt cx="720738" cy="720725"/>
          </a:xfrm>
        </p:grpSpPr>
        <p:sp>
          <p:nvSpPr>
            <p:cNvPr id="207" name="CPTKHARA02f10l10s00">
              <a:extLst>
                <a:ext uri="{FF2B5EF4-FFF2-40B4-BE49-F238E27FC236}">
                  <a16:creationId xmlns:a16="http://schemas.microsoft.com/office/drawing/2014/main" id="{190CF87B-9D82-4C27-8079-BC89B5CA26E6}"/>
                </a:ext>
              </a:extLst>
            </p:cNvPr>
            <p:cNvSpPr/>
            <p:nvPr/>
          </p:nvSpPr>
          <p:spPr>
            <a:xfrm>
              <a:off x="5735625" y="3411538"/>
              <a:ext cx="720736" cy="720724"/>
            </a:xfrm>
            <a:prstGeom prst="arc">
              <a:avLst>
                <a:gd name="adj1" fmla="val 16200000"/>
                <a:gd name="adj2" fmla="val 0"/>
              </a:avLst>
            </a:prstGeom>
            <a:solidFill>
              <a:srgbClr val="338091"/>
            </a:solidFill>
            <a:ln w="9525">
              <a:solidFill>
                <a:srgbClr val="33809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08" name="CPTKHARO02l10s00f00">
              <a:extLst>
                <a:ext uri="{FF2B5EF4-FFF2-40B4-BE49-F238E27FC236}">
                  <a16:creationId xmlns:a16="http://schemas.microsoft.com/office/drawing/2014/main" id="{A271E748-0FF4-434E-B18A-D040217EA38D}"/>
                </a:ext>
              </a:extLst>
            </p:cNvPr>
            <p:cNvSpPr/>
            <p:nvPr/>
          </p:nvSpPr>
          <p:spPr>
            <a:xfrm>
              <a:off x="5735638" y="3411538"/>
              <a:ext cx="720725" cy="720725"/>
            </a:xfrm>
            <a:prstGeom prst="ellipse">
              <a:avLst/>
            </a:prstGeom>
            <a:noFill/>
            <a:ln w="9525" cap="flat" cmpd="sng" algn="ctr">
              <a:solidFill>
                <a:srgbClr val="338091"/>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grpSp>
      <p:grpSp>
        <p:nvGrpSpPr>
          <p:cNvPr id="209" name="Groupe 153">
            <a:extLst>
              <a:ext uri="{FF2B5EF4-FFF2-40B4-BE49-F238E27FC236}">
                <a16:creationId xmlns:a16="http://schemas.microsoft.com/office/drawing/2014/main" id="{B3B193CE-8295-4C1D-BA44-A0971C9994E4}"/>
              </a:ext>
            </a:extLst>
          </p:cNvPr>
          <p:cNvGrpSpPr/>
          <p:nvPr/>
        </p:nvGrpSpPr>
        <p:grpSpPr>
          <a:xfrm>
            <a:off x="2860594" y="3848950"/>
            <a:ext cx="435404" cy="424867"/>
            <a:chOff x="5735632" y="3411538"/>
            <a:chExt cx="720725" cy="720725"/>
          </a:xfrm>
        </p:grpSpPr>
        <p:sp>
          <p:nvSpPr>
            <p:cNvPr id="210" name="CPTKHARA01f10l10s00">
              <a:extLst>
                <a:ext uri="{FF2B5EF4-FFF2-40B4-BE49-F238E27FC236}">
                  <a16:creationId xmlns:a16="http://schemas.microsoft.com/office/drawing/2014/main" id="{523681F6-1DC1-44CB-92E3-4D4892A1BB1B}"/>
                </a:ext>
              </a:extLst>
            </p:cNvPr>
            <p:cNvSpPr/>
            <p:nvPr/>
          </p:nvSpPr>
          <p:spPr>
            <a:xfrm>
              <a:off x="6095988" y="3411538"/>
              <a:ext cx="6" cy="360362"/>
            </a:xfrm>
            <a:prstGeom prst="arc">
              <a:avLst>
                <a:gd name="adj1" fmla="val 16200000"/>
                <a:gd name="adj2" fmla="val 16200000"/>
              </a:avLst>
            </a:prstGeom>
            <a:solidFill>
              <a:srgbClr val="263147"/>
            </a:solidFill>
            <a:ln w="19050">
              <a:solidFill>
                <a:srgbClr val="214554"/>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11" name="CPTKHARO01l10s00f00">
              <a:extLst>
                <a:ext uri="{FF2B5EF4-FFF2-40B4-BE49-F238E27FC236}">
                  <a16:creationId xmlns:a16="http://schemas.microsoft.com/office/drawing/2014/main" id="{8D26641D-1871-4BB6-AF30-6452515711EE}"/>
                </a:ext>
              </a:extLst>
            </p:cNvPr>
            <p:cNvSpPr/>
            <p:nvPr/>
          </p:nvSpPr>
          <p:spPr>
            <a:xfrm>
              <a:off x="5735632" y="3411538"/>
              <a:ext cx="720725" cy="720725"/>
            </a:xfrm>
            <a:prstGeom prst="ellipse">
              <a:avLst/>
            </a:prstGeom>
            <a:noFill/>
            <a:ln w="19050" cap="flat" cmpd="sng" algn="ctr">
              <a:solidFill>
                <a:srgbClr val="214554"/>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212" name="Groupe 161">
            <a:extLst>
              <a:ext uri="{FF2B5EF4-FFF2-40B4-BE49-F238E27FC236}">
                <a16:creationId xmlns:a16="http://schemas.microsoft.com/office/drawing/2014/main" id="{E8C82505-5E3A-4246-B183-1B6534A09AD3}"/>
              </a:ext>
            </a:extLst>
          </p:cNvPr>
          <p:cNvGrpSpPr/>
          <p:nvPr/>
        </p:nvGrpSpPr>
        <p:grpSpPr>
          <a:xfrm>
            <a:off x="6818693" y="3848950"/>
            <a:ext cx="435413" cy="435405"/>
            <a:chOff x="5735619" y="3411538"/>
            <a:chExt cx="720738" cy="720725"/>
          </a:xfrm>
        </p:grpSpPr>
        <p:sp>
          <p:nvSpPr>
            <p:cNvPr id="213" name="CPTKHARA05f10l10s00">
              <a:extLst>
                <a:ext uri="{FF2B5EF4-FFF2-40B4-BE49-F238E27FC236}">
                  <a16:creationId xmlns:a16="http://schemas.microsoft.com/office/drawing/2014/main" id="{BB421D71-AF07-4A54-AA02-B50CDB892AD3}"/>
                </a:ext>
              </a:extLst>
            </p:cNvPr>
            <p:cNvSpPr/>
            <p:nvPr/>
          </p:nvSpPr>
          <p:spPr>
            <a:xfrm>
              <a:off x="5735619" y="3411538"/>
              <a:ext cx="720738" cy="720725"/>
            </a:xfrm>
            <a:prstGeom prst="arc">
              <a:avLst>
                <a:gd name="adj1" fmla="val 16200000"/>
                <a:gd name="adj2" fmla="val 5400000"/>
              </a:avLst>
            </a:prstGeom>
            <a:solidFill>
              <a:srgbClr val="00D5D0"/>
            </a:solidFill>
            <a:ln w="9525">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14" name="CPTKHARO05l10s00f00">
              <a:extLst>
                <a:ext uri="{FF2B5EF4-FFF2-40B4-BE49-F238E27FC236}">
                  <a16:creationId xmlns:a16="http://schemas.microsoft.com/office/drawing/2014/main" id="{F226D8C1-D57C-49BF-82F8-BDD4B33B833F}"/>
                </a:ext>
              </a:extLst>
            </p:cNvPr>
            <p:cNvSpPr/>
            <p:nvPr/>
          </p:nvSpPr>
          <p:spPr>
            <a:xfrm>
              <a:off x="5735632" y="3411538"/>
              <a:ext cx="720725" cy="720725"/>
            </a:xfrm>
            <a:prstGeom prst="ellipse">
              <a:avLst/>
            </a:prstGeom>
            <a:noFill/>
            <a:ln w="9525" cap="flat" cmpd="sng" algn="ctr">
              <a:solidFill>
                <a:srgbClr val="00D5D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grpSp>
      <p:sp>
        <p:nvSpPr>
          <p:cNvPr id="215" name="ZoneTexte 181">
            <a:extLst>
              <a:ext uri="{FF2B5EF4-FFF2-40B4-BE49-F238E27FC236}">
                <a16:creationId xmlns:a16="http://schemas.microsoft.com/office/drawing/2014/main" id="{E1A99C68-5A37-453F-AF5B-FA87E0A699A9}"/>
              </a:ext>
            </a:extLst>
          </p:cNvPr>
          <p:cNvSpPr txBox="1"/>
          <p:nvPr/>
        </p:nvSpPr>
        <p:spPr>
          <a:xfrm>
            <a:off x="8194873" y="2917827"/>
            <a:ext cx="1563624" cy="766107"/>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Accelerate R&amp;D in energy technologies</a:t>
            </a:r>
          </a:p>
        </p:txBody>
      </p:sp>
      <p:sp>
        <p:nvSpPr>
          <p:cNvPr id="216" name="ZoneTexte 182">
            <a:extLst>
              <a:ext uri="{FF2B5EF4-FFF2-40B4-BE49-F238E27FC236}">
                <a16:creationId xmlns:a16="http://schemas.microsoft.com/office/drawing/2014/main" id="{565E91B8-838D-4C80-AF5A-A8866E2490BB}"/>
              </a:ext>
            </a:extLst>
          </p:cNvPr>
          <p:cNvSpPr txBox="1"/>
          <p:nvPr/>
        </p:nvSpPr>
        <p:spPr>
          <a:xfrm>
            <a:off x="10084230" y="2917827"/>
            <a:ext cx="1563624" cy="502638"/>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Invest in nuclear plants</a:t>
            </a:r>
          </a:p>
        </p:txBody>
      </p:sp>
      <p:grpSp>
        <p:nvGrpSpPr>
          <p:cNvPr id="217" name="Groupe 186">
            <a:extLst>
              <a:ext uri="{FF2B5EF4-FFF2-40B4-BE49-F238E27FC236}">
                <a16:creationId xmlns:a16="http://schemas.microsoft.com/office/drawing/2014/main" id="{6ADD55E4-2817-4E16-B5D5-0CEA4CD6E91F}"/>
              </a:ext>
            </a:extLst>
          </p:cNvPr>
          <p:cNvGrpSpPr/>
          <p:nvPr/>
        </p:nvGrpSpPr>
        <p:grpSpPr>
          <a:xfrm>
            <a:off x="8760713" y="2422597"/>
            <a:ext cx="431944" cy="431936"/>
            <a:chOff x="5735625" y="3411538"/>
            <a:chExt cx="720738" cy="720725"/>
          </a:xfrm>
        </p:grpSpPr>
        <p:sp>
          <p:nvSpPr>
            <p:cNvPr id="218" name="CPTKHARA02f10l10s00">
              <a:extLst>
                <a:ext uri="{FF2B5EF4-FFF2-40B4-BE49-F238E27FC236}">
                  <a16:creationId xmlns:a16="http://schemas.microsoft.com/office/drawing/2014/main" id="{CF593931-2E24-4EB6-9AA5-F7685C310D5A}"/>
                </a:ext>
              </a:extLst>
            </p:cNvPr>
            <p:cNvSpPr/>
            <p:nvPr/>
          </p:nvSpPr>
          <p:spPr>
            <a:xfrm>
              <a:off x="5735625" y="3411538"/>
              <a:ext cx="720736" cy="720724"/>
            </a:xfrm>
            <a:prstGeom prst="arc">
              <a:avLst>
                <a:gd name="adj1" fmla="val 16200000"/>
                <a:gd name="adj2" fmla="val 0"/>
              </a:avLst>
            </a:prstGeom>
            <a:solidFill>
              <a:srgbClr val="338091"/>
            </a:solidFill>
            <a:ln w="9525">
              <a:solidFill>
                <a:srgbClr val="33809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19" name="CPTKHARO02l10s00f00">
              <a:extLst>
                <a:ext uri="{FF2B5EF4-FFF2-40B4-BE49-F238E27FC236}">
                  <a16:creationId xmlns:a16="http://schemas.microsoft.com/office/drawing/2014/main" id="{AFB473A3-D2A9-40FF-BC76-83B7C9645C8C}"/>
                </a:ext>
              </a:extLst>
            </p:cNvPr>
            <p:cNvSpPr/>
            <p:nvPr/>
          </p:nvSpPr>
          <p:spPr>
            <a:xfrm>
              <a:off x="5735638" y="3411538"/>
              <a:ext cx="720725" cy="720725"/>
            </a:xfrm>
            <a:prstGeom prst="ellipse">
              <a:avLst/>
            </a:prstGeom>
            <a:noFill/>
            <a:ln w="9525" cap="flat" cmpd="sng" algn="ctr">
              <a:solidFill>
                <a:srgbClr val="338091"/>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220" name="ZoneTexte 197">
            <a:extLst>
              <a:ext uri="{FF2B5EF4-FFF2-40B4-BE49-F238E27FC236}">
                <a16:creationId xmlns:a16="http://schemas.microsoft.com/office/drawing/2014/main" id="{FD96C510-160E-4533-8F5E-F81078456ACD}"/>
              </a:ext>
            </a:extLst>
          </p:cNvPr>
          <p:cNvSpPr txBox="1"/>
          <p:nvPr/>
        </p:nvSpPr>
        <p:spPr>
          <a:xfrm>
            <a:off x="9040374" y="4351287"/>
            <a:ext cx="1981132" cy="1029577"/>
          </a:xfrm>
          <a:prstGeom prst="rect">
            <a:avLst/>
          </a:prstGeom>
          <a:noFill/>
        </p:spPr>
        <p:txBody>
          <a:bodyPr wrap="square" lIns="0" tIns="0" rIns="0" bIns="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Calibri" panose="020F0502020204030204" pitchFamily="34" charset="0"/>
                <a:cs typeface="Times New Roman" panose="02020603050405020304" pitchFamily="18" charset="0"/>
              </a:rPr>
              <a:t>Create favorable financing conditions for long term green energy projects</a:t>
            </a:r>
          </a:p>
        </p:txBody>
      </p:sp>
      <p:grpSp>
        <p:nvGrpSpPr>
          <p:cNvPr id="221" name="Groupe 97">
            <a:extLst>
              <a:ext uri="{FF2B5EF4-FFF2-40B4-BE49-F238E27FC236}">
                <a16:creationId xmlns:a16="http://schemas.microsoft.com/office/drawing/2014/main" id="{87B55A19-478B-4E38-9CB6-2F8704134B68}"/>
              </a:ext>
            </a:extLst>
          </p:cNvPr>
          <p:cNvGrpSpPr/>
          <p:nvPr/>
        </p:nvGrpSpPr>
        <p:grpSpPr>
          <a:xfrm>
            <a:off x="4943534" y="3848950"/>
            <a:ext cx="435413" cy="435405"/>
            <a:chOff x="5735619" y="3411538"/>
            <a:chExt cx="720738" cy="720725"/>
          </a:xfrm>
        </p:grpSpPr>
        <p:sp>
          <p:nvSpPr>
            <p:cNvPr id="222" name="CPTKHARA05f10l10s00">
              <a:extLst>
                <a:ext uri="{FF2B5EF4-FFF2-40B4-BE49-F238E27FC236}">
                  <a16:creationId xmlns:a16="http://schemas.microsoft.com/office/drawing/2014/main" id="{465647B4-1ABD-48AA-AA1B-D5E75E0EF517}"/>
                </a:ext>
              </a:extLst>
            </p:cNvPr>
            <p:cNvSpPr/>
            <p:nvPr/>
          </p:nvSpPr>
          <p:spPr>
            <a:xfrm>
              <a:off x="5735619" y="3411538"/>
              <a:ext cx="720738" cy="720725"/>
            </a:xfrm>
            <a:prstGeom prst="arc">
              <a:avLst>
                <a:gd name="adj1" fmla="val 16200000"/>
                <a:gd name="adj2" fmla="val 5400000"/>
              </a:avLst>
            </a:prstGeom>
            <a:solidFill>
              <a:srgbClr val="00D5D0"/>
            </a:solidFill>
            <a:ln w="9525">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23" name="CPTKHARO05l10s00f00">
              <a:extLst>
                <a:ext uri="{FF2B5EF4-FFF2-40B4-BE49-F238E27FC236}">
                  <a16:creationId xmlns:a16="http://schemas.microsoft.com/office/drawing/2014/main" id="{94ABF636-5498-4C02-A667-AD96B7FBE3D4}"/>
                </a:ext>
              </a:extLst>
            </p:cNvPr>
            <p:cNvSpPr/>
            <p:nvPr/>
          </p:nvSpPr>
          <p:spPr>
            <a:xfrm>
              <a:off x="5735632" y="3411538"/>
              <a:ext cx="720725" cy="720725"/>
            </a:xfrm>
            <a:prstGeom prst="ellipse">
              <a:avLst/>
            </a:prstGeom>
            <a:noFill/>
            <a:ln w="9525" cap="flat" cmpd="sng" algn="ctr">
              <a:solidFill>
                <a:srgbClr val="00D5D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grpSp>
      <p:grpSp>
        <p:nvGrpSpPr>
          <p:cNvPr id="224" name="Groupe 104">
            <a:extLst>
              <a:ext uri="{FF2B5EF4-FFF2-40B4-BE49-F238E27FC236}">
                <a16:creationId xmlns:a16="http://schemas.microsoft.com/office/drawing/2014/main" id="{5910C085-E3D1-4608-A351-0895CABE1F00}"/>
              </a:ext>
            </a:extLst>
          </p:cNvPr>
          <p:cNvGrpSpPr/>
          <p:nvPr/>
        </p:nvGrpSpPr>
        <p:grpSpPr>
          <a:xfrm>
            <a:off x="981301" y="5116842"/>
            <a:ext cx="435413" cy="435405"/>
            <a:chOff x="5735619" y="3411538"/>
            <a:chExt cx="720738" cy="720725"/>
          </a:xfrm>
        </p:grpSpPr>
        <p:sp>
          <p:nvSpPr>
            <p:cNvPr id="225" name="CPTKHARA05f10l10s00">
              <a:extLst>
                <a:ext uri="{FF2B5EF4-FFF2-40B4-BE49-F238E27FC236}">
                  <a16:creationId xmlns:a16="http://schemas.microsoft.com/office/drawing/2014/main" id="{00409528-7678-46F5-8D1F-BEAAE0FB0B05}"/>
                </a:ext>
              </a:extLst>
            </p:cNvPr>
            <p:cNvSpPr/>
            <p:nvPr/>
          </p:nvSpPr>
          <p:spPr>
            <a:xfrm>
              <a:off x="5735619" y="3411538"/>
              <a:ext cx="720738" cy="720725"/>
            </a:xfrm>
            <a:prstGeom prst="arc">
              <a:avLst>
                <a:gd name="adj1" fmla="val 16200000"/>
                <a:gd name="adj2" fmla="val 5400000"/>
              </a:avLst>
            </a:prstGeom>
            <a:solidFill>
              <a:srgbClr val="00D5D0"/>
            </a:solidFill>
            <a:ln w="9525">
              <a:solidFill>
                <a:srgbClr val="00D5D0"/>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26" name="CPTKHARO05l10s00f00">
              <a:extLst>
                <a:ext uri="{FF2B5EF4-FFF2-40B4-BE49-F238E27FC236}">
                  <a16:creationId xmlns:a16="http://schemas.microsoft.com/office/drawing/2014/main" id="{11662EAD-0EE7-4BD6-8A2A-E9478BE8060A}"/>
                </a:ext>
              </a:extLst>
            </p:cNvPr>
            <p:cNvSpPr/>
            <p:nvPr/>
          </p:nvSpPr>
          <p:spPr>
            <a:xfrm>
              <a:off x="5735632" y="3411538"/>
              <a:ext cx="720725" cy="720725"/>
            </a:xfrm>
            <a:prstGeom prst="ellipse">
              <a:avLst/>
            </a:prstGeom>
            <a:noFill/>
            <a:ln w="9525" cap="flat" cmpd="sng" algn="ctr">
              <a:solidFill>
                <a:srgbClr val="00D5D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grpSp>
      <p:grpSp>
        <p:nvGrpSpPr>
          <p:cNvPr id="227" name="Groupe 19">
            <a:extLst>
              <a:ext uri="{FF2B5EF4-FFF2-40B4-BE49-F238E27FC236}">
                <a16:creationId xmlns:a16="http://schemas.microsoft.com/office/drawing/2014/main" id="{00B90783-0CC4-410A-9135-E0BD4617FE34}"/>
              </a:ext>
            </a:extLst>
          </p:cNvPr>
          <p:cNvGrpSpPr/>
          <p:nvPr/>
        </p:nvGrpSpPr>
        <p:grpSpPr>
          <a:xfrm>
            <a:off x="8337129" y="5680768"/>
            <a:ext cx="3539413" cy="780725"/>
            <a:chOff x="4463590" y="5939916"/>
            <a:chExt cx="3539413" cy="780725"/>
          </a:xfrm>
        </p:grpSpPr>
        <p:grpSp>
          <p:nvGrpSpPr>
            <p:cNvPr id="228" name="Groupe 16">
              <a:extLst>
                <a:ext uri="{FF2B5EF4-FFF2-40B4-BE49-F238E27FC236}">
                  <a16:creationId xmlns:a16="http://schemas.microsoft.com/office/drawing/2014/main" id="{90652E68-F646-4ED6-A797-0E06CC6855F7}"/>
                </a:ext>
              </a:extLst>
            </p:cNvPr>
            <p:cNvGrpSpPr/>
            <p:nvPr/>
          </p:nvGrpSpPr>
          <p:grpSpPr>
            <a:xfrm>
              <a:off x="4487364" y="5939916"/>
              <a:ext cx="3419384" cy="387498"/>
              <a:chOff x="4382391" y="6287260"/>
              <a:chExt cx="3419384" cy="387498"/>
            </a:xfrm>
          </p:grpSpPr>
          <p:grpSp>
            <p:nvGrpSpPr>
              <p:cNvPr id="231" name="Groupe 112">
                <a:extLst>
                  <a:ext uri="{FF2B5EF4-FFF2-40B4-BE49-F238E27FC236}">
                    <a16:creationId xmlns:a16="http://schemas.microsoft.com/office/drawing/2014/main" id="{4EF77F70-6496-4A2A-9D37-6566610E8C9E}"/>
                  </a:ext>
                </a:extLst>
              </p:cNvPr>
              <p:cNvGrpSpPr/>
              <p:nvPr/>
            </p:nvGrpSpPr>
            <p:grpSpPr>
              <a:xfrm>
                <a:off x="6664622" y="6296386"/>
                <a:ext cx="378373" cy="378372"/>
                <a:chOff x="5735632" y="3411538"/>
                <a:chExt cx="720727" cy="720725"/>
              </a:xfrm>
            </p:grpSpPr>
            <p:sp>
              <p:nvSpPr>
                <p:cNvPr id="246" name="CPTKHARA04f10l10s00">
                  <a:extLst>
                    <a:ext uri="{FF2B5EF4-FFF2-40B4-BE49-F238E27FC236}">
                      <a16:creationId xmlns:a16="http://schemas.microsoft.com/office/drawing/2014/main" id="{9EFAFA35-6969-49F1-9865-1AC754FF1FF5}"/>
                    </a:ext>
                  </a:extLst>
                </p:cNvPr>
                <p:cNvSpPr/>
                <p:nvPr/>
              </p:nvSpPr>
              <p:spPr>
                <a:xfrm>
                  <a:off x="5735634" y="3411538"/>
                  <a:ext cx="720725" cy="720725"/>
                </a:xfrm>
                <a:prstGeom prst="arc">
                  <a:avLst>
                    <a:gd name="adj1" fmla="val 16200000"/>
                    <a:gd name="adj2" fmla="val 10800000"/>
                  </a:avLst>
                </a:prstGeom>
                <a:solidFill>
                  <a:srgbClr val="57CF80"/>
                </a:solidFill>
                <a:ln w="9525">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47" name="CPTKHARO04l10s00f00">
                  <a:extLst>
                    <a:ext uri="{FF2B5EF4-FFF2-40B4-BE49-F238E27FC236}">
                      <a16:creationId xmlns:a16="http://schemas.microsoft.com/office/drawing/2014/main" id="{EA3B081F-8594-4EA2-A22F-4AB3FC57E61C}"/>
                    </a:ext>
                  </a:extLst>
                </p:cNvPr>
                <p:cNvSpPr/>
                <p:nvPr/>
              </p:nvSpPr>
              <p:spPr>
                <a:xfrm>
                  <a:off x="5735632" y="3411538"/>
                  <a:ext cx="720725" cy="720725"/>
                </a:xfrm>
                <a:prstGeom prst="ellipse">
                  <a:avLst/>
                </a:prstGeom>
                <a:noFill/>
                <a:ln w="9525" cap="flat" cmpd="sng" algn="ctr">
                  <a:solidFill>
                    <a:srgbClr val="57CF8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232" name="Groupe 109">
                <a:extLst>
                  <a:ext uri="{FF2B5EF4-FFF2-40B4-BE49-F238E27FC236}">
                    <a16:creationId xmlns:a16="http://schemas.microsoft.com/office/drawing/2014/main" id="{EB7CC310-1F05-4B24-8EAF-228897685138}"/>
                  </a:ext>
                </a:extLst>
              </p:cNvPr>
              <p:cNvGrpSpPr/>
              <p:nvPr/>
            </p:nvGrpSpPr>
            <p:grpSpPr>
              <a:xfrm>
                <a:off x="4382391" y="6287260"/>
                <a:ext cx="355846" cy="365103"/>
                <a:chOff x="5735632" y="3411538"/>
                <a:chExt cx="720725" cy="720725"/>
              </a:xfrm>
            </p:grpSpPr>
            <p:sp>
              <p:nvSpPr>
                <p:cNvPr id="244" name="CPTKHARA01f10l10s00">
                  <a:extLst>
                    <a:ext uri="{FF2B5EF4-FFF2-40B4-BE49-F238E27FC236}">
                      <a16:creationId xmlns:a16="http://schemas.microsoft.com/office/drawing/2014/main" id="{8E272BC5-710A-4FE6-A3B2-3E55B284B600}"/>
                    </a:ext>
                  </a:extLst>
                </p:cNvPr>
                <p:cNvSpPr/>
                <p:nvPr/>
              </p:nvSpPr>
              <p:spPr>
                <a:xfrm>
                  <a:off x="6095988" y="3411538"/>
                  <a:ext cx="6" cy="360362"/>
                </a:xfrm>
                <a:prstGeom prst="arc">
                  <a:avLst>
                    <a:gd name="adj1" fmla="val 16200000"/>
                    <a:gd name="adj2" fmla="val 16200000"/>
                  </a:avLst>
                </a:prstGeom>
                <a:solidFill>
                  <a:srgbClr val="263147"/>
                </a:solidFill>
                <a:ln w="19050">
                  <a:solidFill>
                    <a:srgbClr val="214554"/>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45" name="CPTKHARO01l10s00f00">
                  <a:extLst>
                    <a:ext uri="{FF2B5EF4-FFF2-40B4-BE49-F238E27FC236}">
                      <a16:creationId xmlns:a16="http://schemas.microsoft.com/office/drawing/2014/main" id="{05F9A17A-F428-4BE4-90EA-D93F5ED36268}"/>
                    </a:ext>
                  </a:extLst>
                </p:cNvPr>
                <p:cNvSpPr/>
                <p:nvPr/>
              </p:nvSpPr>
              <p:spPr>
                <a:xfrm>
                  <a:off x="5735632" y="3411538"/>
                  <a:ext cx="720725" cy="720725"/>
                </a:xfrm>
                <a:prstGeom prst="ellipse">
                  <a:avLst/>
                </a:prstGeom>
                <a:noFill/>
                <a:ln w="19050" cap="flat" cmpd="sng" algn="ctr">
                  <a:solidFill>
                    <a:srgbClr val="214554"/>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233" name="Groupe 120">
                <a:extLst>
                  <a:ext uri="{FF2B5EF4-FFF2-40B4-BE49-F238E27FC236}">
                    <a16:creationId xmlns:a16="http://schemas.microsoft.com/office/drawing/2014/main" id="{CAA124D2-DE44-4129-8C09-A7048F1B22B6}"/>
                  </a:ext>
                </a:extLst>
              </p:cNvPr>
              <p:cNvGrpSpPr/>
              <p:nvPr/>
            </p:nvGrpSpPr>
            <p:grpSpPr>
              <a:xfrm>
                <a:off x="5131915" y="6291439"/>
                <a:ext cx="371185" cy="371178"/>
                <a:chOff x="5735625" y="3411538"/>
                <a:chExt cx="720738" cy="720725"/>
              </a:xfrm>
            </p:grpSpPr>
            <p:sp>
              <p:nvSpPr>
                <p:cNvPr id="242" name="CPTKHARA02f10l10s00">
                  <a:extLst>
                    <a:ext uri="{FF2B5EF4-FFF2-40B4-BE49-F238E27FC236}">
                      <a16:creationId xmlns:a16="http://schemas.microsoft.com/office/drawing/2014/main" id="{99739D11-911D-409F-B864-4C68D1AD4845}"/>
                    </a:ext>
                  </a:extLst>
                </p:cNvPr>
                <p:cNvSpPr/>
                <p:nvPr/>
              </p:nvSpPr>
              <p:spPr>
                <a:xfrm>
                  <a:off x="5735625" y="3411538"/>
                  <a:ext cx="720736" cy="720724"/>
                </a:xfrm>
                <a:prstGeom prst="arc">
                  <a:avLst>
                    <a:gd name="adj1" fmla="val 16200000"/>
                    <a:gd name="adj2" fmla="val 0"/>
                  </a:avLst>
                </a:prstGeom>
                <a:solidFill>
                  <a:srgbClr val="338091"/>
                </a:solidFill>
                <a:ln w="9525">
                  <a:solidFill>
                    <a:srgbClr val="FF8E12"/>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43" name="CPTKHARO02l10s00f00">
                  <a:extLst>
                    <a:ext uri="{FF2B5EF4-FFF2-40B4-BE49-F238E27FC236}">
                      <a16:creationId xmlns:a16="http://schemas.microsoft.com/office/drawing/2014/main" id="{D337A2C1-D586-4F27-BF40-201DB296EDCD}"/>
                    </a:ext>
                  </a:extLst>
                </p:cNvPr>
                <p:cNvSpPr/>
                <p:nvPr/>
              </p:nvSpPr>
              <p:spPr>
                <a:xfrm>
                  <a:off x="5735638" y="3411538"/>
                  <a:ext cx="720725" cy="720725"/>
                </a:xfrm>
                <a:prstGeom prst="ellipse">
                  <a:avLst/>
                </a:prstGeom>
                <a:noFill/>
                <a:ln w="9525" cap="flat" cmpd="sng" algn="ctr">
                  <a:solidFill>
                    <a:srgbClr val="338091"/>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234" name="Groupe 126">
                <a:extLst>
                  <a:ext uri="{FF2B5EF4-FFF2-40B4-BE49-F238E27FC236}">
                    <a16:creationId xmlns:a16="http://schemas.microsoft.com/office/drawing/2014/main" id="{8788C7AC-0E26-4E80-BE8E-F8E78D919F45}"/>
                  </a:ext>
                </a:extLst>
              </p:cNvPr>
              <p:cNvGrpSpPr/>
              <p:nvPr/>
            </p:nvGrpSpPr>
            <p:grpSpPr>
              <a:xfrm>
                <a:off x="5896778" y="6293488"/>
                <a:ext cx="374166" cy="374159"/>
                <a:chOff x="5735619" y="3411538"/>
                <a:chExt cx="720738" cy="720725"/>
              </a:xfrm>
            </p:grpSpPr>
            <p:sp>
              <p:nvSpPr>
                <p:cNvPr id="240" name="CPTKHARA05f10l10s00">
                  <a:extLst>
                    <a:ext uri="{FF2B5EF4-FFF2-40B4-BE49-F238E27FC236}">
                      <a16:creationId xmlns:a16="http://schemas.microsoft.com/office/drawing/2014/main" id="{559E47A6-E126-48B4-9498-DAFC36E52865}"/>
                    </a:ext>
                  </a:extLst>
                </p:cNvPr>
                <p:cNvSpPr/>
                <p:nvPr/>
              </p:nvSpPr>
              <p:spPr>
                <a:xfrm>
                  <a:off x="5735619" y="3411538"/>
                  <a:ext cx="720738" cy="720725"/>
                </a:xfrm>
                <a:prstGeom prst="arc">
                  <a:avLst>
                    <a:gd name="adj1" fmla="val 16200000"/>
                    <a:gd name="adj2" fmla="val 5400000"/>
                  </a:avLst>
                </a:prstGeom>
                <a:solidFill>
                  <a:srgbClr val="00D5D0"/>
                </a:solidFill>
                <a:ln w="9525">
                  <a:no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41" name="CPTKHARO05l10s00f00">
                  <a:extLst>
                    <a:ext uri="{FF2B5EF4-FFF2-40B4-BE49-F238E27FC236}">
                      <a16:creationId xmlns:a16="http://schemas.microsoft.com/office/drawing/2014/main" id="{7EEF2157-7C36-4451-B7F4-84726D0B8A97}"/>
                    </a:ext>
                  </a:extLst>
                </p:cNvPr>
                <p:cNvSpPr/>
                <p:nvPr/>
              </p:nvSpPr>
              <p:spPr>
                <a:xfrm>
                  <a:off x="5735632" y="3411538"/>
                  <a:ext cx="720725" cy="720725"/>
                </a:xfrm>
                <a:prstGeom prst="ellipse">
                  <a:avLst/>
                </a:prstGeom>
                <a:noFill/>
                <a:ln w="9525" cap="flat" cmpd="sng" algn="ctr">
                  <a:solidFill>
                    <a:srgbClr val="00D5D0"/>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grpSp>
          <p:grpSp>
            <p:nvGrpSpPr>
              <p:cNvPr id="235" name="Groupe 129">
                <a:extLst>
                  <a:ext uri="{FF2B5EF4-FFF2-40B4-BE49-F238E27FC236}">
                    <a16:creationId xmlns:a16="http://schemas.microsoft.com/office/drawing/2014/main" id="{3F83FE1F-E073-44A5-9588-AB3D40988685}"/>
                  </a:ext>
                </a:extLst>
              </p:cNvPr>
              <p:cNvGrpSpPr/>
              <p:nvPr/>
            </p:nvGrpSpPr>
            <p:grpSpPr>
              <a:xfrm>
                <a:off x="7436672" y="6287260"/>
                <a:ext cx="365103" cy="365103"/>
                <a:chOff x="582776" y="4307792"/>
                <a:chExt cx="616229" cy="616229"/>
              </a:xfrm>
            </p:grpSpPr>
            <p:grpSp>
              <p:nvGrpSpPr>
                <p:cNvPr id="236" name="Groupe 130">
                  <a:extLst>
                    <a:ext uri="{FF2B5EF4-FFF2-40B4-BE49-F238E27FC236}">
                      <a16:creationId xmlns:a16="http://schemas.microsoft.com/office/drawing/2014/main" id="{3B1D46D6-1163-4E3E-AF13-19337C211D72}"/>
                    </a:ext>
                  </a:extLst>
                </p:cNvPr>
                <p:cNvGrpSpPr/>
                <p:nvPr/>
              </p:nvGrpSpPr>
              <p:grpSpPr>
                <a:xfrm>
                  <a:off x="582776" y="4307792"/>
                  <a:ext cx="616229" cy="616229"/>
                  <a:chOff x="5735632" y="3411538"/>
                  <a:chExt cx="720725" cy="720725"/>
                </a:xfrm>
                <a:solidFill>
                  <a:srgbClr val="178C3D"/>
                </a:solidFill>
              </p:grpSpPr>
              <p:sp>
                <p:nvSpPr>
                  <p:cNvPr id="238" name="CPTKHARA03f10l10s00">
                    <a:extLst>
                      <a:ext uri="{FF2B5EF4-FFF2-40B4-BE49-F238E27FC236}">
                        <a16:creationId xmlns:a16="http://schemas.microsoft.com/office/drawing/2014/main" id="{460773BB-7D8A-4D12-9EB2-8B5862D30EB5}"/>
                      </a:ext>
                    </a:extLst>
                  </p:cNvPr>
                  <p:cNvSpPr/>
                  <p:nvPr/>
                </p:nvSpPr>
                <p:spPr>
                  <a:xfrm>
                    <a:off x="5735632" y="3411538"/>
                    <a:ext cx="720725" cy="720725"/>
                  </a:xfrm>
                  <a:prstGeom prst="ellipse">
                    <a:avLst/>
                  </a:prstGeom>
                  <a:grpFill/>
                  <a:ln w="9525">
                    <a:solidFill>
                      <a:srgbClr val="178C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39" name="CPTKHARO03l10s00f00">
                    <a:extLst>
                      <a:ext uri="{FF2B5EF4-FFF2-40B4-BE49-F238E27FC236}">
                        <a16:creationId xmlns:a16="http://schemas.microsoft.com/office/drawing/2014/main" id="{8D2AB85D-31D2-4049-B0B2-FBA6B5925A1D}"/>
                      </a:ext>
                    </a:extLst>
                  </p:cNvPr>
                  <p:cNvSpPr/>
                  <p:nvPr/>
                </p:nvSpPr>
                <p:spPr>
                  <a:xfrm>
                    <a:off x="5735632" y="3411538"/>
                    <a:ext cx="720725" cy="720725"/>
                  </a:xfrm>
                  <a:prstGeom prst="ellipse">
                    <a:avLst/>
                  </a:prstGeom>
                  <a:solidFill>
                    <a:srgbClr val="2EA657"/>
                  </a:solidFill>
                  <a:ln w="9525" cap="flat" cmpd="sng" algn="ctr">
                    <a:solidFill>
                      <a:srgbClr val="178C3D"/>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237" name="CPTKHARA01f10l10s00">
                  <a:extLst>
                    <a:ext uri="{FF2B5EF4-FFF2-40B4-BE49-F238E27FC236}">
                      <a16:creationId xmlns:a16="http://schemas.microsoft.com/office/drawing/2014/main" id="{DC73C71C-BE70-42A0-B8B3-054837095DEB}"/>
                    </a:ext>
                  </a:extLst>
                </p:cNvPr>
                <p:cNvSpPr/>
                <p:nvPr/>
              </p:nvSpPr>
              <p:spPr>
                <a:xfrm>
                  <a:off x="888194" y="4338173"/>
                  <a:ext cx="5" cy="308114"/>
                </a:xfrm>
                <a:prstGeom prst="arc">
                  <a:avLst>
                    <a:gd name="adj1" fmla="val 16200000"/>
                    <a:gd name="adj2" fmla="val 16200000"/>
                  </a:avLst>
                </a:prstGeom>
                <a:solidFill>
                  <a:schemeClr val="bg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229" name="Connecteur droit avec flèche 10">
              <a:extLst>
                <a:ext uri="{FF2B5EF4-FFF2-40B4-BE49-F238E27FC236}">
                  <a16:creationId xmlns:a16="http://schemas.microsoft.com/office/drawing/2014/main" id="{EB7435B9-BBB2-4E32-A008-F85FD866D8D9}"/>
                </a:ext>
              </a:extLst>
            </p:cNvPr>
            <p:cNvCxnSpPr>
              <a:cxnSpLocks/>
            </p:cNvCxnSpPr>
            <p:nvPr/>
          </p:nvCxnSpPr>
          <p:spPr>
            <a:xfrm>
              <a:off x="4463590" y="6400917"/>
              <a:ext cx="3539413"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0" name="ZoneTexte 13">
              <a:extLst>
                <a:ext uri="{FF2B5EF4-FFF2-40B4-BE49-F238E27FC236}">
                  <a16:creationId xmlns:a16="http://schemas.microsoft.com/office/drawing/2014/main" id="{1C6DD429-A791-4E01-BF57-1BC88B400EAD}"/>
                </a:ext>
              </a:extLst>
            </p:cNvPr>
            <p:cNvSpPr txBox="1"/>
            <p:nvPr/>
          </p:nvSpPr>
          <p:spPr>
            <a:xfrm>
              <a:off x="4680736" y="6474420"/>
              <a:ext cx="3016852" cy="246221"/>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err="1">
                  <a:ln>
                    <a:noFill/>
                  </a:ln>
                  <a:solidFill>
                    <a:prstClr val="black"/>
                  </a:solidFill>
                  <a:effectLst/>
                  <a:uLnTx/>
                  <a:uFillTx/>
                  <a:latin typeface="Ubuntu Light" panose="020B0304030602030204" pitchFamily="34" charset="0"/>
                  <a:ea typeface="+mn-ea"/>
                  <a:cs typeface="+mn-cs"/>
                </a:rPr>
                <a:t>Level</a:t>
              </a:r>
              <a:r>
                <a:rPr kumimoji="0" lang="fr-FR" sz="1600" b="0"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 of solution </a:t>
              </a:r>
              <a:r>
                <a:rPr kumimoji="0" lang="en-US" sz="1600" b="0"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implementation</a:t>
              </a:r>
            </a:p>
          </p:txBody>
        </p:sp>
      </p:grpSp>
      <p:grpSp>
        <p:nvGrpSpPr>
          <p:cNvPr id="249" name="Groupe 150">
            <a:extLst>
              <a:ext uri="{FF2B5EF4-FFF2-40B4-BE49-F238E27FC236}">
                <a16:creationId xmlns:a16="http://schemas.microsoft.com/office/drawing/2014/main" id="{73FABAFC-46E7-4552-A043-988B457DA8A6}"/>
              </a:ext>
            </a:extLst>
          </p:cNvPr>
          <p:cNvGrpSpPr/>
          <p:nvPr/>
        </p:nvGrpSpPr>
        <p:grpSpPr>
          <a:xfrm>
            <a:off x="10650070" y="2422597"/>
            <a:ext cx="431944" cy="431936"/>
            <a:chOff x="5735625" y="3411538"/>
            <a:chExt cx="720738" cy="720725"/>
          </a:xfrm>
        </p:grpSpPr>
        <p:sp>
          <p:nvSpPr>
            <p:cNvPr id="250" name="CPTKHARA02f10l10s00">
              <a:extLst>
                <a:ext uri="{FF2B5EF4-FFF2-40B4-BE49-F238E27FC236}">
                  <a16:creationId xmlns:a16="http://schemas.microsoft.com/office/drawing/2014/main" id="{1CE116DE-F928-4877-9CCB-C0A852397AB4}"/>
                </a:ext>
              </a:extLst>
            </p:cNvPr>
            <p:cNvSpPr/>
            <p:nvPr/>
          </p:nvSpPr>
          <p:spPr>
            <a:xfrm>
              <a:off x="5735625" y="3411538"/>
              <a:ext cx="720736" cy="720724"/>
            </a:xfrm>
            <a:prstGeom prst="arc">
              <a:avLst>
                <a:gd name="adj1" fmla="val 16200000"/>
                <a:gd name="adj2" fmla="val 0"/>
              </a:avLst>
            </a:prstGeom>
            <a:solidFill>
              <a:srgbClr val="338091"/>
            </a:solidFill>
            <a:ln w="9525">
              <a:solidFill>
                <a:srgbClr val="338091"/>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251" name="CPTKHARO02l10s00f00">
              <a:extLst>
                <a:ext uri="{FF2B5EF4-FFF2-40B4-BE49-F238E27FC236}">
                  <a16:creationId xmlns:a16="http://schemas.microsoft.com/office/drawing/2014/main" id="{F2F09CB4-D935-4978-BA7B-B0FA7FC343D2}"/>
                </a:ext>
              </a:extLst>
            </p:cNvPr>
            <p:cNvSpPr/>
            <p:nvPr/>
          </p:nvSpPr>
          <p:spPr>
            <a:xfrm>
              <a:off x="5735638" y="3411538"/>
              <a:ext cx="720725" cy="720725"/>
            </a:xfrm>
            <a:prstGeom prst="ellipse">
              <a:avLst/>
            </a:prstGeom>
            <a:noFill/>
            <a:ln w="9525" cap="flat" cmpd="sng" algn="ctr">
              <a:solidFill>
                <a:srgbClr val="338091"/>
              </a:solid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grpSp>
        <p:nvGrpSpPr>
          <p:cNvPr id="252" name="Group 251">
            <a:extLst>
              <a:ext uri="{FF2B5EF4-FFF2-40B4-BE49-F238E27FC236}">
                <a16:creationId xmlns:a16="http://schemas.microsoft.com/office/drawing/2014/main" id="{5CB43A44-95B4-4709-ACC3-1E63E54B5ED2}"/>
              </a:ext>
            </a:extLst>
          </p:cNvPr>
          <p:cNvGrpSpPr/>
          <p:nvPr/>
        </p:nvGrpSpPr>
        <p:grpSpPr>
          <a:xfrm>
            <a:off x="4498690" y="1446403"/>
            <a:ext cx="351493" cy="573969"/>
            <a:chOff x="581387" y="1407382"/>
            <a:chExt cx="351493" cy="573969"/>
          </a:xfrm>
          <a:solidFill>
            <a:srgbClr val="007D74"/>
          </a:solidFill>
        </p:grpSpPr>
        <p:sp>
          <p:nvSpPr>
            <p:cNvPr id="253" name="Freeform 101">
              <a:extLst>
                <a:ext uri="{FF2B5EF4-FFF2-40B4-BE49-F238E27FC236}">
                  <a16:creationId xmlns:a16="http://schemas.microsoft.com/office/drawing/2014/main" id="{4A0B5799-F8FF-4CF1-8BC1-DA3BBD455122}"/>
                </a:ext>
              </a:extLst>
            </p:cNvPr>
            <p:cNvSpPr>
              <a:spLocks/>
            </p:cNvSpPr>
            <p:nvPr/>
          </p:nvSpPr>
          <p:spPr bwMode="auto">
            <a:xfrm>
              <a:off x="581387" y="1863216"/>
              <a:ext cx="75417" cy="118135"/>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w="12700">
              <a:solidFill>
                <a:srgbClr val="007D7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4" name="Freeform 102">
              <a:extLst>
                <a:ext uri="{FF2B5EF4-FFF2-40B4-BE49-F238E27FC236}">
                  <a16:creationId xmlns:a16="http://schemas.microsoft.com/office/drawing/2014/main" id="{B8050056-822A-4A4E-AA27-6C13996647F0}"/>
                </a:ext>
              </a:extLst>
            </p:cNvPr>
            <p:cNvSpPr>
              <a:spLocks/>
            </p:cNvSpPr>
            <p:nvPr/>
          </p:nvSpPr>
          <p:spPr bwMode="auto">
            <a:xfrm>
              <a:off x="717405" y="1817972"/>
              <a:ext cx="76763" cy="163379"/>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5" name="Freeform 103">
              <a:extLst>
                <a:ext uri="{FF2B5EF4-FFF2-40B4-BE49-F238E27FC236}">
                  <a16:creationId xmlns:a16="http://schemas.microsoft.com/office/drawing/2014/main" id="{3C8680DC-927E-4FF3-BF38-E391E989B54B}"/>
                </a:ext>
              </a:extLst>
            </p:cNvPr>
            <p:cNvSpPr>
              <a:spLocks/>
            </p:cNvSpPr>
            <p:nvPr/>
          </p:nvSpPr>
          <p:spPr bwMode="auto">
            <a:xfrm>
              <a:off x="853423" y="1773986"/>
              <a:ext cx="79457" cy="207365"/>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solidFill>
              <a:schemeClr val="bg1"/>
            </a:solidFill>
            <a:ln w="12700">
              <a:solidFill>
                <a:srgbClr val="007D74"/>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56" name="Group 3">
              <a:extLst>
                <a:ext uri="{FF2B5EF4-FFF2-40B4-BE49-F238E27FC236}">
                  <a16:creationId xmlns:a16="http://schemas.microsoft.com/office/drawing/2014/main" id="{C8525AAE-5811-40B4-A6B1-448712466588}"/>
                </a:ext>
              </a:extLst>
            </p:cNvPr>
            <p:cNvGrpSpPr/>
            <p:nvPr/>
          </p:nvGrpSpPr>
          <p:grpSpPr>
            <a:xfrm>
              <a:off x="595360" y="1407382"/>
              <a:ext cx="329944" cy="365417"/>
              <a:chOff x="5272716" y="1230536"/>
              <a:chExt cx="488813" cy="541365"/>
            </a:xfrm>
            <a:grpFill/>
          </p:grpSpPr>
          <p:sp>
            <p:nvSpPr>
              <p:cNvPr id="257" name="Freeform 105">
                <a:extLst>
                  <a:ext uri="{FF2B5EF4-FFF2-40B4-BE49-F238E27FC236}">
                    <a16:creationId xmlns:a16="http://schemas.microsoft.com/office/drawing/2014/main" id="{8071CE03-FA07-4A59-9436-780397086868}"/>
                  </a:ext>
                </a:extLst>
              </p:cNvPr>
              <p:cNvSpPr>
                <a:spLocks noChangeAspect="1" noEditPoints="1"/>
              </p:cNvSpPr>
              <p:nvPr/>
            </p:nvSpPr>
            <p:spPr bwMode="auto">
              <a:xfrm rot="371855">
                <a:off x="5312833" y="1341250"/>
                <a:ext cx="380536" cy="375923"/>
              </a:xfrm>
              <a:custGeom>
                <a:avLst/>
                <a:gdLst>
                  <a:gd name="T0" fmla="*/ 60 w 70"/>
                  <a:gd name="T1" fmla="*/ 27 h 69"/>
                  <a:gd name="T2" fmla="*/ 62 w 70"/>
                  <a:gd name="T3" fmla="*/ 13 h 69"/>
                  <a:gd name="T4" fmla="*/ 53 w 70"/>
                  <a:gd name="T5" fmla="*/ 15 h 69"/>
                  <a:gd name="T6" fmla="*/ 48 w 70"/>
                  <a:gd name="T7" fmla="*/ 11 h 69"/>
                  <a:gd name="T8" fmla="*/ 39 w 70"/>
                  <a:gd name="T9" fmla="*/ 0 h 69"/>
                  <a:gd name="T10" fmla="*/ 28 w 70"/>
                  <a:gd name="T11" fmla="*/ 9 h 69"/>
                  <a:gd name="T12" fmla="*/ 24 w 70"/>
                  <a:gd name="T13" fmla="*/ 4 h 69"/>
                  <a:gd name="T14" fmla="*/ 22 w 70"/>
                  <a:gd name="T15" fmla="*/ 2 h 69"/>
                  <a:gd name="T16" fmla="*/ 19 w 70"/>
                  <a:gd name="T17" fmla="*/ 3 h 69"/>
                  <a:gd name="T18" fmla="*/ 18 w 70"/>
                  <a:gd name="T19" fmla="*/ 4 h 69"/>
                  <a:gd name="T20" fmla="*/ 13 w 70"/>
                  <a:gd name="T21" fmla="*/ 7 h 69"/>
                  <a:gd name="T22" fmla="*/ 14 w 70"/>
                  <a:gd name="T23" fmla="*/ 9 h 69"/>
                  <a:gd name="T24" fmla="*/ 12 w 70"/>
                  <a:gd name="T25" fmla="*/ 22 h 69"/>
                  <a:gd name="T26" fmla="*/ 3 w 70"/>
                  <a:gd name="T27" fmla="*/ 21 h 69"/>
                  <a:gd name="T28" fmla="*/ 1 w 70"/>
                  <a:gd name="T29" fmla="*/ 29 h 69"/>
                  <a:gd name="T30" fmla="*/ 0 w 70"/>
                  <a:gd name="T31" fmla="*/ 31 h 69"/>
                  <a:gd name="T32" fmla="*/ 9 w 70"/>
                  <a:gd name="T33" fmla="*/ 34 h 69"/>
                  <a:gd name="T34" fmla="*/ 9 w 70"/>
                  <a:gd name="T35" fmla="*/ 38 h 69"/>
                  <a:gd name="T36" fmla="*/ 3 w 70"/>
                  <a:gd name="T37" fmla="*/ 48 h 69"/>
                  <a:gd name="T38" fmla="*/ 16 w 70"/>
                  <a:gd name="T39" fmla="*/ 53 h 69"/>
                  <a:gd name="T40" fmla="*/ 19 w 70"/>
                  <a:gd name="T41" fmla="*/ 56 h 69"/>
                  <a:gd name="T42" fmla="*/ 22 w 70"/>
                  <a:gd name="T43" fmla="*/ 58 h 69"/>
                  <a:gd name="T44" fmla="*/ 23 w 70"/>
                  <a:gd name="T45" fmla="*/ 59 h 69"/>
                  <a:gd name="T46" fmla="*/ 21 w 70"/>
                  <a:gd name="T47" fmla="*/ 67 h 69"/>
                  <a:gd name="T48" fmla="*/ 35 w 70"/>
                  <a:gd name="T49" fmla="*/ 61 h 69"/>
                  <a:gd name="T50" fmla="*/ 39 w 70"/>
                  <a:gd name="T51" fmla="*/ 61 h 69"/>
                  <a:gd name="T52" fmla="*/ 43 w 70"/>
                  <a:gd name="T53" fmla="*/ 60 h 69"/>
                  <a:gd name="T54" fmla="*/ 48 w 70"/>
                  <a:gd name="T55" fmla="*/ 67 h 69"/>
                  <a:gd name="T56" fmla="*/ 54 w 70"/>
                  <a:gd name="T57" fmla="*/ 53 h 69"/>
                  <a:gd name="T58" fmla="*/ 57 w 70"/>
                  <a:gd name="T59" fmla="*/ 49 h 69"/>
                  <a:gd name="T60" fmla="*/ 67 w 70"/>
                  <a:gd name="T61" fmla="*/ 49 h 69"/>
                  <a:gd name="T62" fmla="*/ 62 w 70"/>
                  <a:gd name="T63" fmla="*/ 35 h 69"/>
                  <a:gd name="T64" fmla="*/ 18 w 70"/>
                  <a:gd name="T65" fmla="*/ 38 h 69"/>
                  <a:gd name="T66" fmla="*/ 30 w 70"/>
                  <a:gd name="T67" fmla="*/ 17 h 69"/>
                  <a:gd name="T68" fmla="*/ 52 w 70"/>
                  <a:gd name="T6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69">
                    <a:moveTo>
                      <a:pt x="62" y="35"/>
                    </a:moveTo>
                    <a:cubicBezTo>
                      <a:pt x="62" y="32"/>
                      <a:pt x="61" y="30"/>
                      <a:pt x="60" y="27"/>
                    </a:cubicBezTo>
                    <a:cubicBezTo>
                      <a:pt x="63" y="25"/>
                      <a:pt x="65" y="23"/>
                      <a:pt x="68" y="22"/>
                    </a:cubicBezTo>
                    <a:cubicBezTo>
                      <a:pt x="67" y="18"/>
                      <a:pt x="65" y="15"/>
                      <a:pt x="62" y="13"/>
                    </a:cubicBezTo>
                    <a:cubicBezTo>
                      <a:pt x="60" y="14"/>
                      <a:pt x="57" y="15"/>
                      <a:pt x="54" y="16"/>
                    </a:cubicBezTo>
                    <a:cubicBezTo>
                      <a:pt x="54" y="16"/>
                      <a:pt x="54" y="16"/>
                      <a:pt x="53" y="15"/>
                    </a:cubicBezTo>
                    <a:cubicBezTo>
                      <a:pt x="52" y="14"/>
                      <a:pt x="51" y="13"/>
                      <a:pt x="50" y="12"/>
                    </a:cubicBezTo>
                    <a:cubicBezTo>
                      <a:pt x="49" y="12"/>
                      <a:pt x="49" y="12"/>
                      <a:pt x="48" y="11"/>
                    </a:cubicBezTo>
                    <a:cubicBezTo>
                      <a:pt x="48" y="8"/>
                      <a:pt x="49" y="5"/>
                      <a:pt x="49" y="2"/>
                    </a:cubicBezTo>
                    <a:cubicBezTo>
                      <a:pt x="46" y="1"/>
                      <a:pt x="43" y="0"/>
                      <a:pt x="39" y="0"/>
                    </a:cubicBezTo>
                    <a:cubicBezTo>
                      <a:pt x="38" y="2"/>
                      <a:pt x="37" y="5"/>
                      <a:pt x="36" y="8"/>
                    </a:cubicBezTo>
                    <a:cubicBezTo>
                      <a:pt x="33" y="8"/>
                      <a:pt x="30" y="8"/>
                      <a:pt x="28" y="9"/>
                    </a:cubicBezTo>
                    <a:cubicBezTo>
                      <a:pt x="28" y="9"/>
                      <a:pt x="28" y="9"/>
                      <a:pt x="27" y="9"/>
                    </a:cubicBezTo>
                    <a:cubicBezTo>
                      <a:pt x="26" y="7"/>
                      <a:pt x="25" y="6"/>
                      <a:pt x="24" y="4"/>
                    </a:cubicBezTo>
                    <a:cubicBezTo>
                      <a:pt x="24" y="4"/>
                      <a:pt x="23" y="3"/>
                      <a:pt x="23" y="2"/>
                    </a:cubicBezTo>
                    <a:cubicBezTo>
                      <a:pt x="22" y="2"/>
                      <a:pt x="22" y="2"/>
                      <a:pt x="22" y="2"/>
                    </a:cubicBezTo>
                    <a:cubicBezTo>
                      <a:pt x="22" y="2"/>
                      <a:pt x="22" y="2"/>
                      <a:pt x="22" y="2"/>
                    </a:cubicBezTo>
                    <a:cubicBezTo>
                      <a:pt x="21" y="2"/>
                      <a:pt x="19" y="3"/>
                      <a:pt x="19" y="3"/>
                    </a:cubicBezTo>
                    <a:cubicBezTo>
                      <a:pt x="19" y="3"/>
                      <a:pt x="19" y="3"/>
                      <a:pt x="19" y="3"/>
                    </a:cubicBezTo>
                    <a:cubicBezTo>
                      <a:pt x="18" y="3"/>
                      <a:pt x="18" y="4"/>
                      <a:pt x="18" y="4"/>
                    </a:cubicBezTo>
                    <a:cubicBezTo>
                      <a:pt x="17" y="5"/>
                      <a:pt x="16" y="6"/>
                      <a:pt x="14" y="7"/>
                    </a:cubicBezTo>
                    <a:cubicBezTo>
                      <a:pt x="14" y="7"/>
                      <a:pt x="14" y="7"/>
                      <a:pt x="13" y="7"/>
                    </a:cubicBezTo>
                    <a:cubicBezTo>
                      <a:pt x="13" y="7"/>
                      <a:pt x="13" y="7"/>
                      <a:pt x="13" y="7"/>
                    </a:cubicBezTo>
                    <a:cubicBezTo>
                      <a:pt x="13" y="8"/>
                      <a:pt x="14" y="9"/>
                      <a:pt x="14" y="9"/>
                    </a:cubicBezTo>
                    <a:cubicBezTo>
                      <a:pt x="15" y="11"/>
                      <a:pt x="16" y="13"/>
                      <a:pt x="17" y="15"/>
                    </a:cubicBezTo>
                    <a:cubicBezTo>
                      <a:pt x="15" y="17"/>
                      <a:pt x="13" y="19"/>
                      <a:pt x="12" y="22"/>
                    </a:cubicBezTo>
                    <a:cubicBezTo>
                      <a:pt x="9" y="21"/>
                      <a:pt x="6" y="21"/>
                      <a:pt x="3" y="20"/>
                    </a:cubicBezTo>
                    <a:cubicBezTo>
                      <a:pt x="3" y="21"/>
                      <a:pt x="3" y="21"/>
                      <a:pt x="3" y="21"/>
                    </a:cubicBezTo>
                    <a:cubicBezTo>
                      <a:pt x="2" y="22"/>
                      <a:pt x="2" y="23"/>
                      <a:pt x="1" y="24"/>
                    </a:cubicBezTo>
                    <a:cubicBezTo>
                      <a:pt x="1" y="26"/>
                      <a:pt x="1" y="28"/>
                      <a:pt x="1" y="29"/>
                    </a:cubicBezTo>
                    <a:cubicBezTo>
                      <a:pt x="1" y="30"/>
                      <a:pt x="0" y="30"/>
                      <a:pt x="0" y="30"/>
                    </a:cubicBezTo>
                    <a:cubicBezTo>
                      <a:pt x="0" y="31"/>
                      <a:pt x="0" y="31"/>
                      <a:pt x="0" y="31"/>
                    </a:cubicBezTo>
                    <a:cubicBezTo>
                      <a:pt x="0" y="31"/>
                      <a:pt x="0" y="31"/>
                      <a:pt x="1" y="31"/>
                    </a:cubicBezTo>
                    <a:cubicBezTo>
                      <a:pt x="3" y="32"/>
                      <a:pt x="6" y="33"/>
                      <a:pt x="9" y="34"/>
                    </a:cubicBezTo>
                    <a:cubicBezTo>
                      <a:pt x="9" y="34"/>
                      <a:pt x="9" y="34"/>
                      <a:pt x="9" y="34"/>
                    </a:cubicBezTo>
                    <a:cubicBezTo>
                      <a:pt x="9" y="35"/>
                      <a:pt x="9" y="37"/>
                      <a:pt x="9" y="38"/>
                    </a:cubicBezTo>
                    <a:cubicBezTo>
                      <a:pt x="9" y="40"/>
                      <a:pt x="9" y="41"/>
                      <a:pt x="10" y="42"/>
                    </a:cubicBezTo>
                    <a:cubicBezTo>
                      <a:pt x="8" y="44"/>
                      <a:pt x="5" y="46"/>
                      <a:pt x="3" y="48"/>
                    </a:cubicBezTo>
                    <a:cubicBezTo>
                      <a:pt x="4" y="51"/>
                      <a:pt x="6" y="54"/>
                      <a:pt x="8" y="57"/>
                    </a:cubicBezTo>
                    <a:cubicBezTo>
                      <a:pt x="11" y="55"/>
                      <a:pt x="13" y="54"/>
                      <a:pt x="16" y="53"/>
                    </a:cubicBezTo>
                    <a:cubicBezTo>
                      <a:pt x="16" y="53"/>
                      <a:pt x="16" y="53"/>
                      <a:pt x="17" y="53"/>
                    </a:cubicBezTo>
                    <a:cubicBezTo>
                      <a:pt x="17" y="54"/>
                      <a:pt x="18" y="55"/>
                      <a:pt x="19" y="56"/>
                    </a:cubicBezTo>
                    <a:cubicBezTo>
                      <a:pt x="20" y="56"/>
                      <a:pt x="21" y="56"/>
                      <a:pt x="21" y="57"/>
                    </a:cubicBezTo>
                    <a:cubicBezTo>
                      <a:pt x="22" y="57"/>
                      <a:pt x="22" y="57"/>
                      <a:pt x="22" y="58"/>
                    </a:cubicBezTo>
                    <a:cubicBezTo>
                      <a:pt x="23" y="58"/>
                      <a:pt x="23" y="58"/>
                      <a:pt x="23" y="58"/>
                    </a:cubicBezTo>
                    <a:cubicBezTo>
                      <a:pt x="23" y="59"/>
                      <a:pt x="23" y="59"/>
                      <a:pt x="23" y="59"/>
                    </a:cubicBezTo>
                    <a:cubicBezTo>
                      <a:pt x="22" y="61"/>
                      <a:pt x="22" y="63"/>
                      <a:pt x="22" y="66"/>
                    </a:cubicBezTo>
                    <a:cubicBezTo>
                      <a:pt x="21" y="66"/>
                      <a:pt x="21" y="66"/>
                      <a:pt x="21" y="67"/>
                    </a:cubicBezTo>
                    <a:cubicBezTo>
                      <a:pt x="25" y="68"/>
                      <a:pt x="28" y="69"/>
                      <a:pt x="31" y="69"/>
                    </a:cubicBezTo>
                    <a:cubicBezTo>
                      <a:pt x="33" y="67"/>
                      <a:pt x="34" y="64"/>
                      <a:pt x="35" y="61"/>
                    </a:cubicBezTo>
                    <a:cubicBezTo>
                      <a:pt x="35" y="61"/>
                      <a:pt x="36" y="61"/>
                      <a:pt x="36" y="61"/>
                    </a:cubicBezTo>
                    <a:cubicBezTo>
                      <a:pt x="37" y="61"/>
                      <a:pt x="38" y="61"/>
                      <a:pt x="39" y="61"/>
                    </a:cubicBezTo>
                    <a:cubicBezTo>
                      <a:pt x="40" y="61"/>
                      <a:pt x="41" y="60"/>
                      <a:pt x="43" y="60"/>
                    </a:cubicBezTo>
                    <a:cubicBezTo>
                      <a:pt x="43" y="60"/>
                      <a:pt x="43" y="60"/>
                      <a:pt x="43" y="60"/>
                    </a:cubicBezTo>
                    <a:cubicBezTo>
                      <a:pt x="45" y="62"/>
                      <a:pt x="46" y="65"/>
                      <a:pt x="48" y="67"/>
                    </a:cubicBezTo>
                    <a:cubicBezTo>
                      <a:pt x="48" y="67"/>
                      <a:pt x="48" y="67"/>
                      <a:pt x="48" y="67"/>
                    </a:cubicBezTo>
                    <a:cubicBezTo>
                      <a:pt x="52" y="66"/>
                      <a:pt x="55" y="64"/>
                      <a:pt x="57" y="62"/>
                    </a:cubicBezTo>
                    <a:cubicBezTo>
                      <a:pt x="56" y="59"/>
                      <a:pt x="55" y="56"/>
                      <a:pt x="54" y="53"/>
                    </a:cubicBezTo>
                    <a:cubicBezTo>
                      <a:pt x="54" y="53"/>
                      <a:pt x="55" y="52"/>
                      <a:pt x="55" y="51"/>
                    </a:cubicBezTo>
                    <a:cubicBezTo>
                      <a:pt x="56" y="51"/>
                      <a:pt x="56" y="50"/>
                      <a:pt x="57" y="49"/>
                    </a:cubicBezTo>
                    <a:cubicBezTo>
                      <a:pt x="57" y="49"/>
                      <a:pt x="58" y="48"/>
                      <a:pt x="58" y="47"/>
                    </a:cubicBezTo>
                    <a:cubicBezTo>
                      <a:pt x="61" y="48"/>
                      <a:pt x="64" y="48"/>
                      <a:pt x="67" y="49"/>
                    </a:cubicBezTo>
                    <a:cubicBezTo>
                      <a:pt x="69" y="45"/>
                      <a:pt x="70" y="42"/>
                      <a:pt x="70" y="38"/>
                    </a:cubicBezTo>
                    <a:cubicBezTo>
                      <a:pt x="67" y="37"/>
                      <a:pt x="64" y="36"/>
                      <a:pt x="62" y="35"/>
                    </a:cubicBezTo>
                    <a:close/>
                    <a:moveTo>
                      <a:pt x="40" y="52"/>
                    </a:moveTo>
                    <a:cubicBezTo>
                      <a:pt x="28" y="55"/>
                      <a:pt x="19" y="46"/>
                      <a:pt x="18" y="38"/>
                    </a:cubicBezTo>
                    <a:cubicBezTo>
                      <a:pt x="17" y="32"/>
                      <a:pt x="18" y="27"/>
                      <a:pt x="22" y="22"/>
                    </a:cubicBezTo>
                    <a:cubicBezTo>
                      <a:pt x="24" y="20"/>
                      <a:pt x="27" y="18"/>
                      <a:pt x="30" y="17"/>
                    </a:cubicBezTo>
                    <a:cubicBezTo>
                      <a:pt x="32" y="17"/>
                      <a:pt x="33" y="17"/>
                      <a:pt x="35" y="17"/>
                    </a:cubicBezTo>
                    <a:cubicBezTo>
                      <a:pt x="44" y="16"/>
                      <a:pt x="51" y="24"/>
                      <a:pt x="52" y="30"/>
                    </a:cubicBezTo>
                    <a:cubicBezTo>
                      <a:pt x="55" y="41"/>
                      <a:pt x="48" y="50"/>
                      <a:pt x="40" y="52"/>
                    </a:cubicBezTo>
                    <a:close/>
                  </a:path>
                </a:pathLst>
              </a:custGeom>
              <a:grpFill/>
              <a:ln w="635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8" name="Freeform 51">
                <a:extLst>
                  <a:ext uri="{FF2B5EF4-FFF2-40B4-BE49-F238E27FC236}">
                    <a16:creationId xmlns:a16="http://schemas.microsoft.com/office/drawing/2014/main" id="{5037326C-1720-42E3-91C7-70B240312E40}"/>
                  </a:ext>
                </a:extLst>
              </p:cNvPr>
              <p:cNvSpPr>
                <a:spLocks/>
              </p:cNvSpPr>
              <p:nvPr/>
            </p:nvSpPr>
            <p:spPr bwMode="auto">
              <a:xfrm>
                <a:off x="5272716" y="1230536"/>
                <a:ext cx="462386" cy="265660"/>
              </a:xfrm>
              <a:custGeom>
                <a:avLst/>
                <a:gdLst>
                  <a:gd name="T0" fmla="*/ 31 w 101"/>
                  <a:gd name="T1" fmla="*/ 64 h 67"/>
                  <a:gd name="T2" fmla="*/ 35 w 101"/>
                  <a:gd name="T3" fmla="*/ 67 h 67"/>
                  <a:gd name="T4" fmla="*/ 38 w 101"/>
                  <a:gd name="T5" fmla="*/ 64 h 67"/>
                  <a:gd name="T6" fmla="*/ 50 w 101"/>
                  <a:gd name="T7" fmla="*/ 55 h 67"/>
                  <a:gd name="T8" fmla="*/ 63 w 101"/>
                  <a:gd name="T9" fmla="*/ 64 h 67"/>
                  <a:gd name="T10" fmla="*/ 66 w 101"/>
                  <a:gd name="T11" fmla="*/ 67 h 67"/>
                  <a:gd name="T12" fmla="*/ 69 w 101"/>
                  <a:gd name="T13" fmla="*/ 64 h 67"/>
                  <a:gd name="T14" fmla="*/ 82 w 101"/>
                  <a:gd name="T15" fmla="*/ 55 h 67"/>
                  <a:gd name="T16" fmla="*/ 94 w 101"/>
                  <a:gd name="T17" fmla="*/ 63 h 67"/>
                  <a:gd name="T18" fmla="*/ 97 w 101"/>
                  <a:gd name="T19" fmla="*/ 67 h 67"/>
                  <a:gd name="T20" fmla="*/ 101 w 101"/>
                  <a:gd name="T21" fmla="*/ 63 h 67"/>
                  <a:gd name="T22" fmla="*/ 54 w 101"/>
                  <a:gd name="T23" fmla="*/ 10 h 67"/>
                  <a:gd name="T24" fmla="*/ 54 w 101"/>
                  <a:gd name="T25" fmla="*/ 3 h 67"/>
                  <a:gd name="T26" fmla="*/ 50 w 101"/>
                  <a:gd name="T27" fmla="*/ 0 h 67"/>
                  <a:gd name="T28" fmla="*/ 47 w 101"/>
                  <a:gd name="T29" fmla="*/ 3 h 67"/>
                  <a:gd name="T30" fmla="*/ 47 w 101"/>
                  <a:gd name="T31" fmla="*/ 10 h 67"/>
                  <a:gd name="T32" fmla="*/ 0 w 101"/>
                  <a:gd name="T33" fmla="*/ 63 h 67"/>
                  <a:gd name="T34" fmla="*/ 3 w 101"/>
                  <a:gd name="T35" fmla="*/ 67 h 67"/>
                  <a:gd name="T36" fmla="*/ 7 w 101"/>
                  <a:gd name="T37" fmla="*/ 63 h 67"/>
                  <a:gd name="T38" fmla="*/ 19 w 101"/>
                  <a:gd name="T39" fmla="*/ 55 h 67"/>
                  <a:gd name="T40" fmla="*/ 31 w 101"/>
                  <a:gd name="T4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 h="67">
                    <a:moveTo>
                      <a:pt x="31" y="64"/>
                    </a:moveTo>
                    <a:cubicBezTo>
                      <a:pt x="31" y="66"/>
                      <a:pt x="33" y="67"/>
                      <a:pt x="35" y="67"/>
                    </a:cubicBezTo>
                    <a:cubicBezTo>
                      <a:pt x="36" y="67"/>
                      <a:pt x="38" y="66"/>
                      <a:pt x="38" y="64"/>
                    </a:cubicBezTo>
                    <a:cubicBezTo>
                      <a:pt x="38" y="59"/>
                      <a:pt x="44" y="55"/>
                      <a:pt x="50" y="55"/>
                    </a:cubicBezTo>
                    <a:cubicBezTo>
                      <a:pt x="57" y="55"/>
                      <a:pt x="63" y="59"/>
                      <a:pt x="63" y="64"/>
                    </a:cubicBezTo>
                    <a:cubicBezTo>
                      <a:pt x="63" y="66"/>
                      <a:pt x="64" y="67"/>
                      <a:pt x="66" y="67"/>
                    </a:cubicBezTo>
                    <a:cubicBezTo>
                      <a:pt x="68" y="67"/>
                      <a:pt x="69" y="66"/>
                      <a:pt x="69" y="64"/>
                    </a:cubicBezTo>
                    <a:cubicBezTo>
                      <a:pt x="69" y="59"/>
                      <a:pt x="75" y="55"/>
                      <a:pt x="82" y="55"/>
                    </a:cubicBezTo>
                    <a:cubicBezTo>
                      <a:pt x="88" y="55"/>
                      <a:pt x="94" y="59"/>
                      <a:pt x="94" y="63"/>
                    </a:cubicBezTo>
                    <a:cubicBezTo>
                      <a:pt x="94" y="65"/>
                      <a:pt x="96" y="67"/>
                      <a:pt x="97" y="67"/>
                    </a:cubicBezTo>
                    <a:cubicBezTo>
                      <a:pt x="99" y="67"/>
                      <a:pt x="101" y="65"/>
                      <a:pt x="101" y="63"/>
                    </a:cubicBezTo>
                    <a:cubicBezTo>
                      <a:pt x="100" y="35"/>
                      <a:pt x="80" y="12"/>
                      <a:pt x="54" y="10"/>
                    </a:cubicBezTo>
                    <a:cubicBezTo>
                      <a:pt x="54" y="3"/>
                      <a:pt x="54" y="3"/>
                      <a:pt x="54" y="3"/>
                    </a:cubicBezTo>
                    <a:cubicBezTo>
                      <a:pt x="54" y="1"/>
                      <a:pt x="53" y="0"/>
                      <a:pt x="50" y="0"/>
                    </a:cubicBezTo>
                    <a:cubicBezTo>
                      <a:pt x="48" y="0"/>
                      <a:pt x="47" y="1"/>
                      <a:pt x="47" y="3"/>
                    </a:cubicBezTo>
                    <a:cubicBezTo>
                      <a:pt x="47" y="10"/>
                      <a:pt x="47" y="10"/>
                      <a:pt x="47" y="10"/>
                    </a:cubicBezTo>
                    <a:cubicBezTo>
                      <a:pt x="21" y="12"/>
                      <a:pt x="0" y="35"/>
                      <a:pt x="0" y="63"/>
                    </a:cubicBezTo>
                    <a:cubicBezTo>
                      <a:pt x="0" y="65"/>
                      <a:pt x="2" y="67"/>
                      <a:pt x="3" y="67"/>
                    </a:cubicBezTo>
                    <a:cubicBezTo>
                      <a:pt x="5" y="67"/>
                      <a:pt x="7" y="65"/>
                      <a:pt x="7" y="63"/>
                    </a:cubicBezTo>
                    <a:cubicBezTo>
                      <a:pt x="7" y="59"/>
                      <a:pt x="13" y="55"/>
                      <a:pt x="19" y="55"/>
                    </a:cubicBezTo>
                    <a:cubicBezTo>
                      <a:pt x="26" y="55"/>
                      <a:pt x="31" y="59"/>
                      <a:pt x="31" y="64"/>
                    </a:cubicBezTo>
                    <a:close/>
                  </a:path>
                </a:pathLst>
              </a:cu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9" name="Freeform 105">
                <a:extLst>
                  <a:ext uri="{FF2B5EF4-FFF2-40B4-BE49-F238E27FC236}">
                    <a16:creationId xmlns:a16="http://schemas.microsoft.com/office/drawing/2014/main" id="{F3F9F0E9-2AC2-4497-A0B5-2D5554B96C6E}"/>
                  </a:ext>
                </a:extLst>
              </p:cNvPr>
              <p:cNvSpPr>
                <a:spLocks noChangeAspect="1" noEditPoints="1"/>
              </p:cNvSpPr>
              <p:nvPr/>
            </p:nvSpPr>
            <p:spPr bwMode="auto">
              <a:xfrm>
                <a:off x="5606712" y="1618961"/>
                <a:ext cx="154817" cy="152940"/>
              </a:xfrm>
              <a:custGeom>
                <a:avLst/>
                <a:gdLst>
                  <a:gd name="T0" fmla="*/ 60 w 70"/>
                  <a:gd name="T1" fmla="*/ 27 h 69"/>
                  <a:gd name="T2" fmla="*/ 62 w 70"/>
                  <a:gd name="T3" fmla="*/ 13 h 69"/>
                  <a:gd name="T4" fmla="*/ 53 w 70"/>
                  <a:gd name="T5" fmla="*/ 15 h 69"/>
                  <a:gd name="T6" fmla="*/ 48 w 70"/>
                  <a:gd name="T7" fmla="*/ 11 h 69"/>
                  <a:gd name="T8" fmla="*/ 39 w 70"/>
                  <a:gd name="T9" fmla="*/ 0 h 69"/>
                  <a:gd name="T10" fmla="*/ 28 w 70"/>
                  <a:gd name="T11" fmla="*/ 9 h 69"/>
                  <a:gd name="T12" fmla="*/ 24 w 70"/>
                  <a:gd name="T13" fmla="*/ 4 h 69"/>
                  <a:gd name="T14" fmla="*/ 22 w 70"/>
                  <a:gd name="T15" fmla="*/ 2 h 69"/>
                  <a:gd name="T16" fmla="*/ 19 w 70"/>
                  <a:gd name="T17" fmla="*/ 3 h 69"/>
                  <a:gd name="T18" fmla="*/ 18 w 70"/>
                  <a:gd name="T19" fmla="*/ 4 h 69"/>
                  <a:gd name="T20" fmla="*/ 13 w 70"/>
                  <a:gd name="T21" fmla="*/ 7 h 69"/>
                  <a:gd name="T22" fmla="*/ 14 w 70"/>
                  <a:gd name="T23" fmla="*/ 9 h 69"/>
                  <a:gd name="T24" fmla="*/ 12 w 70"/>
                  <a:gd name="T25" fmla="*/ 22 h 69"/>
                  <a:gd name="T26" fmla="*/ 3 w 70"/>
                  <a:gd name="T27" fmla="*/ 21 h 69"/>
                  <a:gd name="T28" fmla="*/ 1 w 70"/>
                  <a:gd name="T29" fmla="*/ 29 h 69"/>
                  <a:gd name="T30" fmla="*/ 0 w 70"/>
                  <a:gd name="T31" fmla="*/ 31 h 69"/>
                  <a:gd name="T32" fmla="*/ 9 w 70"/>
                  <a:gd name="T33" fmla="*/ 34 h 69"/>
                  <a:gd name="T34" fmla="*/ 9 w 70"/>
                  <a:gd name="T35" fmla="*/ 38 h 69"/>
                  <a:gd name="T36" fmla="*/ 3 w 70"/>
                  <a:gd name="T37" fmla="*/ 48 h 69"/>
                  <a:gd name="T38" fmla="*/ 16 w 70"/>
                  <a:gd name="T39" fmla="*/ 53 h 69"/>
                  <a:gd name="T40" fmla="*/ 19 w 70"/>
                  <a:gd name="T41" fmla="*/ 56 h 69"/>
                  <a:gd name="T42" fmla="*/ 22 w 70"/>
                  <a:gd name="T43" fmla="*/ 58 h 69"/>
                  <a:gd name="T44" fmla="*/ 23 w 70"/>
                  <a:gd name="T45" fmla="*/ 59 h 69"/>
                  <a:gd name="T46" fmla="*/ 21 w 70"/>
                  <a:gd name="T47" fmla="*/ 67 h 69"/>
                  <a:gd name="T48" fmla="*/ 35 w 70"/>
                  <a:gd name="T49" fmla="*/ 61 h 69"/>
                  <a:gd name="T50" fmla="*/ 39 w 70"/>
                  <a:gd name="T51" fmla="*/ 61 h 69"/>
                  <a:gd name="T52" fmla="*/ 43 w 70"/>
                  <a:gd name="T53" fmla="*/ 60 h 69"/>
                  <a:gd name="T54" fmla="*/ 48 w 70"/>
                  <a:gd name="T55" fmla="*/ 67 h 69"/>
                  <a:gd name="T56" fmla="*/ 54 w 70"/>
                  <a:gd name="T57" fmla="*/ 53 h 69"/>
                  <a:gd name="T58" fmla="*/ 57 w 70"/>
                  <a:gd name="T59" fmla="*/ 49 h 69"/>
                  <a:gd name="T60" fmla="*/ 67 w 70"/>
                  <a:gd name="T61" fmla="*/ 49 h 69"/>
                  <a:gd name="T62" fmla="*/ 62 w 70"/>
                  <a:gd name="T63" fmla="*/ 35 h 69"/>
                  <a:gd name="T64" fmla="*/ 18 w 70"/>
                  <a:gd name="T65" fmla="*/ 38 h 69"/>
                  <a:gd name="T66" fmla="*/ 30 w 70"/>
                  <a:gd name="T67" fmla="*/ 17 h 69"/>
                  <a:gd name="T68" fmla="*/ 52 w 70"/>
                  <a:gd name="T6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69">
                    <a:moveTo>
                      <a:pt x="62" y="35"/>
                    </a:moveTo>
                    <a:cubicBezTo>
                      <a:pt x="62" y="32"/>
                      <a:pt x="61" y="30"/>
                      <a:pt x="60" y="27"/>
                    </a:cubicBezTo>
                    <a:cubicBezTo>
                      <a:pt x="63" y="25"/>
                      <a:pt x="65" y="23"/>
                      <a:pt x="68" y="22"/>
                    </a:cubicBezTo>
                    <a:cubicBezTo>
                      <a:pt x="67" y="18"/>
                      <a:pt x="65" y="15"/>
                      <a:pt x="62" y="13"/>
                    </a:cubicBezTo>
                    <a:cubicBezTo>
                      <a:pt x="60" y="14"/>
                      <a:pt x="57" y="15"/>
                      <a:pt x="54" y="16"/>
                    </a:cubicBezTo>
                    <a:cubicBezTo>
                      <a:pt x="54" y="16"/>
                      <a:pt x="54" y="16"/>
                      <a:pt x="53" y="15"/>
                    </a:cubicBezTo>
                    <a:cubicBezTo>
                      <a:pt x="52" y="14"/>
                      <a:pt x="51" y="13"/>
                      <a:pt x="50" y="12"/>
                    </a:cubicBezTo>
                    <a:cubicBezTo>
                      <a:pt x="49" y="12"/>
                      <a:pt x="49" y="12"/>
                      <a:pt x="48" y="11"/>
                    </a:cubicBezTo>
                    <a:cubicBezTo>
                      <a:pt x="48" y="8"/>
                      <a:pt x="49" y="5"/>
                      <a:pt x="49" y="2"/>
                    </a:cubicBezTo>
                    <a:cubicBezTo>
                      <a:pt x="46" y="1"/>
                      <a:pt x="43" y="0"/>
                      <a:pt x="39" y="0"/>
                    </a:cubicBezTo>
                    <a:cubicBezTo>
                      <a:pt x="38" y="2"/>
                      <a:pt x="37" y="5"/>
                      <a:pt x="36" y="8"/>
                    </a:cubicBezTo>
                    <a:cubicBezTo>
                      <a:pt x="33" y="8"/>
                      <a:pt x="30" y="8"/>
                      <a:pt x="28" y="9"/>
                    </a:cubicBezTo>
                    <a:cubicBezTo>
                      <a:pt x="28" y="9"/>
                      <a:pt x="28" y="9"/>
                      <a:pt x="27" y="9"/>
                    </a:cubicBezTo>
                    <a:cubicBezTo>
                      <a:pt x="26" y="7"/>
                      <a:pt x="25" y="6"/>
                      <a:pt x="24" y="4"/>
                    </a:cubicBezTo>
                    <a:cubicBezTo>
                      <a:pt x="24" y="4"/>
                      <a:pt x="23" y="3"/>
                      <a:pt x="23" y="2"/>
                    </a:cubicBezTo>
                    <a:cubicBezTo>
                      <a:pt x="22" y="2"/>
                      <a:pt x="22" y="2"/>
                      <a:pt x="22" y="2"/>
                    </a:cubicBezTo>
                    <a:cubicBezTo>
                      <a:pt x="22" y="2"/>
                      <a:pt x="22" y="2"/>
                      <a:pt x="22" y="2"/>
                    </a:cubicBezTo>
                    <a:cubicBezTo>
                      <a:pt x="21" y="2"/>
                      <a:pt x="19" y="3"/>
                      <a:pt x="19" y="3"/>
                    </a:cubicBezTo>
                    <a:cubicBezTo>
                      <a:pt x="19" y="3"/>
                      <a:pt x="19" y="3"/>
                      <a:pt x="19" y="3"/>
                    </a:cubicBezTo>
                    <a:cubicBezTo>
                      <a:pt x="18" y="3"/>
                      <a:pt x="18" y="4"/>
                      <a:pt x="18" y="4"/>
                    </a:cubicBezTo>
                    <a:cubicBezTo>
                      <a:pt x="17" y="5"/>
                      <a:pt x="16" y="6"/>
                      <a:pt x="14" y="7"/>
                    </a:cubicBezTo>
                    <a:cubicBezTo>
                      <a:pt x="14" y="7"/>
                      <a:pt x="14" y="7"/>
                      <a:pt x="13" y="7"/>
                    </a:cubicBezTo>
                    <a:cubicBezTo>
                      <a:pt x="13" y="7"/>
                      <a:pt x="13" y="7"/>
                      <a:pt x="13" y="7"/>
                    </a:cubicBezTo>
                    <a:cubicBezTo>
                      <a:pt x="13" y="8"/>
                      <a:pt x="14" y="9"/>
                      <a:pt x="14" y="9"/>
                    </a:cubicBezTo>
                    <a:cubicBezTo>
                      <a:pt x="15" y="11"/>
                      <a:pt x="16" y="13"/>
                      <a:pt x="17" y="15"/>
                    </a:cubicBezTo>
                    <a:cubicBezTo>
                      <a:pt x="15" y="17"/>
                      <a:pt x="13" y="19"/>
                      <a:pt x="12" y="22"/>
                    </a:cubicBezTo>
                    <a:cubicBezTo>
                      <a:pt x="9" y="21"/>
                      <a:pt x="6" y="21"/>
                      <a:pt x="3" y="20"/>
                    </a:cubicBezTo>
                    <a:cubicBezTo>
                      <a:pt x="3" y="21"/>
                      <a:pt x="3" y="21"/>
                      <a:pt x="3" y="21"/>
                    </a:cubicBezTo>
                    <a:cubicBezTo>
                      <a:pt x="2" y="22"/>
                      <a:pt x="2" y="23"/>
                      <a:pt x="1" y="24"/>
                    </a:cubicBezTo>
                    <a:cubicBezTo>
                      <a:pt x="1" y="26"/>
                      <a:pt x="1" y="28"/>
                      <a:pt x="1" y="29"/>
                    </a:cubicBezTo>
                    <a:cubicBezTo>
                      <a:pt x="1" y="30"/>
                      <a:pt x="0" y="30"/>
                      <a:pt x="0" y="30"/>
                    </a:cubicBezTo>
                    <a:cubicBezTo>
                      <a:pt x="0" y="31"/>
                      <a:pt x="0" y="31"/>
                      <a:pt x="0" y="31"/>
                    </a:cubicBezTo>
                    <a:cubicBezTo>
                      <a:pt x="0" y="31"/>
                      <a:pt x="0" y="31"/>
                      <a:pt x="1" y="31"/>
                    </a:cubicBezTo>
                    <a:cubicBezTo>
                      <a:pt x="3" y="32"/>
                      <a:pt x="6" y="33"/>
                      <a:pt x="9" y="34"/>
                    </a:cubicBezTo>
                    <a:cubicBezTo>
                      <a:pt x="9" y="34"/>
                      <a:pt x="9" y="34"/>
                      <a:pt x="9" y="34"/>
                    </a:cubicBezTo>
                    <a:cubicBezTo>
                      <a:pt x="9" y="35"/>
                      <a:pt x="9" y="37"/>
                      <a:pt x="9" y="38"/>
                    </a:cubicBezTo>
                    <a:cubicBezTo>
                      <a:pt x="9" y="40"/>
                      <a:pt x="9" y="41"/>
                      <a:pt x="10" y="42"/>
                    </a:cubicBezTo>
                    <a:cubicBezTo>
                      <a:pt x="8" y="44"/>
                      <a:pt x="5" y="46"/>
                      <a:pt x="3" y="48"/>
                    </a:cubicBezTo>
                    <a:cubicBezTo>
                      <a:pt x="4" y="51"/>
                      <a:pt x="6" y="54"/>
                      <a:pt x="8" y="57"/>
                    </a:cubicBezTo>
                    <a:cubicBezTo>
                      <a:pt x="11" y="55"/>
                      <a:pt x="13" y="54"/>
                      <a:pt x="16" y="53"/>
                    </a:cubicBezTo>
                    <a:cubicBezTo>
                      <a:pt x="16" y="53"/>
                      <a:pt x="16" y="53"/>
                      <a:pt x="17" y="53"/>
                    </a:cubicBezTo>
                    <a:cubicBezTo>
                      <a:pt x="17" y="54"/>
                      <a:pt x="18" y="55"/>
                      <a:pt x="19" y="56"/>
                    </a:cubicBezTo>
                    <a:cubicBezTo>
                      <a:pt x="20" y="56"/>
                      <a:pt x="21" y="56"/>
                      <a:pt x="21" y="57"/>
                    </a:cubicBezTo>
                    <a:cubicBezTo>
                      <a:pt x="22" y="57"/>
                      <a:pt x="22" y="57"/>
                      <a:pt x="22" y="58"/>
                    </a:cubicBezTo>
                    <a:cubicBezTo>
                      <a:pt x="23" y="58"/>
                      <a:pt x="23" y="58"/>
                      <a:pt x="23" y="58"/>
                    </a:cubicBezTo>
                    <a:cubicBezTo>
                      <a:pt x="23" y="59"/>
                      <a:pt x="23" y="59"/>
                      <a:pt x="23" y="59"/>
                    </a:cubicBezTo>
                    <a:cubicBezTo>
                      <a:pt x="22" y="61"/>
                      <a:pt x="22" y="63"/>
                      <a:pt x="22" y="66"/>
                    </a:cubicBezTo>
                    <a:cubicBezTo>
                      <a:pt x="21" y="66"/>
                      <a:pt x="21" y="66"/>
                      <a:pt x="21" y="67"/>
                    </a:cubicBezTo>
                    <a:cubicBezTo>
                      <a:pt x="25" y="68"/>
                      <a:pt x="28" y="69"/>
                      <a:pt x="31" y="69"/>
                    </a:cubicBezTo>
                    <a:cubicBezTo>
                      <a:pt x="33" y="67"/>
                      <a:pt x="34" y="64"/>
                      <a:pt x="35" y="61"/>
                    </a:cubicBezTo>
                    <a:cubicBezTo>
                      <a:pt x="35" y="61"/>
                      <a:pt x="36" y="61"/>
                      <a:pt x="36" y="61"/>
                    </a:cubicBezTo>
                    <a:cubicBezTo>
                      <a:pt x="37" y="61"/>
                      <a:pt x="38" y="61"/>
                      <a:pt x="39" y="61"/>
                    </a:cubicBezTo>
                    <a:cubicBezTo>
                      <a:pt x="40" y="61"/>
                      <a:pt x="41" y="60"/>
                      <a:pt x="43" y="60"/>
                    </a:cubicBezTo>
                    <a:cubicBezTo>
                      <a:pt x="43" y="60"/>
                      <a:pt x="43" y="60"/>
                      <a:pt x="43" y="60"/>
                    </a:cubicBezTo>
                    <a:cubicBezTo>
                      <a:pt x="45" y="62"/>
                      <a:pt x="46" y="65"/>
                      <a:pt x="48" y="67"/>
                    </a:cubicBezTo>
                    <a:cubicBezTo>
                      <a:pt x="48" y="67"/>
                      <a:pt x="48" y="67"/>
                      <a:pt x="48" y="67"/>
                    </a:cubicBezTo>
                    <a:cubicBezTo>
                      <a:pt x="52" y="66"/>
                      <a:pt x="55" y="64"/>
                      <a:pt x="57" y="62"/>
                    </a:cubicBezTo>
                    <a:cubicBezTo>
                      <a:pt x="56" y="59"/>
                      <a:pt x="55" y="56"/>
                      <a:pt x="54" y="53"/>
                    </a:cubicBezTo>
                    <a:cubicBezTo>
                      <a:pt x="54" y="53"/>
                      <a:pt x="55" y="52"/>
                      <a:pt x="55" y="51"/>
                    </a:cubicBezTo>
                    <a:cubicBezTo>
                      <a:pt x="56" y="51"/>
                      <a:pt x="56" y="50"/>
                      <a:pt x="57" y="49"/>
                    </a:cubicBezTo>
                    <a:cubicBezTo>
                      <a:pt x="57" y="49"/>
                      <a:pt x="58" y="48"/>
                      <a:pt x="58" y="47"/>
                    </a:cubicBezTo>
                    <a:cubicBezTo>
                      <a:pt x="61" y="48"/>
                      <a:pt x="64" y="48"/>
                      <a:pt x="67" y="49"/>
                    </a:cubicBezTo>
                    <a:cubicBezTo>
                      <a:pt x="69" y="45"/>
                      <a:pt x="70" y="42"/>
                      <a:pt x="70" y="38"/>
                    </a:cubicBezTo>
                    <a:cubicBezTo>
                      <a:pt x="67" y="37"/>
                      <a:pt x="64" y="36"/>
                      <a:pt x="62" y="35"/>
                    </a:cubicBezTo>
                    <a:close/>
                    <a:moveTo>
                      <a:pt x="40" y="52"/>
                    </a:moveTo>
                    <a:cubicBezTo>
                      <a:pt x="28" y="55"/>
                      <a:pt x="19" y="46"/>
                      <a:pt x="18" y="38"/>
                    </a:cubicBezTo>
                    <a:cubicBezTo>
                      <a:pt x="17" y="32"/>
                      <a:pt x="18" y="27"/>
                      <a:pt x="22" y="22"/>
                    </a:cubicBezTo>
                    <a:cubicBezTo>
                      <a:pt x="24" y="20"/>
                      <a:pt x="27" y="18"/>
                      <a:pt x="30" y="17"/>
                    </a:cubicBezTo>
                    <a:cubicBezTo>
                      <a:pt x="32" y="17"/>
                      <a:pt x="33" y="17"/>
                      <a:pt x="35" y="17"/>
                    </a:cubicBezTo>
                    <a:cubicBezTo>
                      <a:pt x="44" y="16"/>
                      <a:pt x="51" y="24"/>
                      <a:pt x="52" y="30"/>
                    </a:cubicBezTo>
                    <a:cubicBezTo>
                      <a:pt x="55" y="41"/>
                      <a:pt x="48" y="50"/>
                      <a:pt x="40" y="52"/>
                    </a:cubicBezTo>
                    <a:close/>
                  </a:path>
                </a:pathLst>
              </a:custGeom>
              <a:grpFill/>
              <a:ln w="635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4" name="Groupe 3">
            <a:extLst>
              <a:ext uri="{FF2B5EF4-FFF2-40B4-BE49-F238E27FC236}">
                <a16:creationId xmlns:a16="http://schemas.microsoft.com/office/drawing/2014/main" id="{DFDD99BA-E3C9-4999-A42E-AFC6C14E2045}"/>
              </a:ext>
            </a:extLst>
          </p:cNvPr>
          <p:cNvGrpSpPr/>
          <p:nvPr/>
        </p:nvGrpSpPr>
        <p:grpSpPr>
          <a:xfrm>
            <a:off x="8104907" y="1371281"/>
            <a:ext cx="851512" cy="792000"/>
            <a:chOff x="8104907" y="1371281"/>
            <a:chExt cx="851512" cy="792000"/>
          </a:xfrm>
        </p:grpSpPr>
        <p:sp>
          <p:nvSpPr>
            <p:cNvPr id="157" name="Freeform 31">
              <a:extLst>
                <a:ext uri="{FF2B5EF4-FFF2-40B4-BE49-F238E27FC236}">
                  <a16:creationId xmlns:a16="http://schemas.microsoft.com/office/drawing/2014/main" id="{E7260B8D-CAF4-4E63-A689-8EDE92524B7F}"/>
                </a:ext>
              </a:extLst>
            </p:cNvPr>
            <p:cNvSpPr>
              <a:spLocks noChangeAspect="1"/>
            </p:cNvSpPr>
            <p:nvPr/>
          </p:nvSpPr>
          <p:spPr bwMode="auto">
            <a:xfrm>
              <a:off x="8104907" y="1371281"/>
              <a:ext cx="851512" cy="792000"/>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60" name="Group 259">
              <a:extLst>
                <a:ext uri="{FF2B5EF4-FFF2-40B4-BE49-F238E27FC236}">
                  <a16:creationId xmlns:a16="http://schemas.microsoft.com/office/drawing/2014/main" id="{458485F9-93D7-4AE3-9B56-0DFA96BD1B39}"/>
                </a:ext>
              </a:extLst>
            </p:cNvPr>
            <p:cNvGrpSpPr/>
            <p:nvPr/>
          </p:nvGrpSpPr>
          <p:grpSpPr>
            <a:xfrm>
              <a:off x="8345655" y="1446403"/>
              <a:ext cx="351493" cy="573969"/>
              <a:chOff x="581387" y="1407382"/>
              <a:chExt cx="351493" cy="573969"/>
            </a:xfrm>
            <a:solidFill>
              <a:srgbClr val="0F6A72"/>
            </a:solidFill>
          </p:grpSpPr>
          <p:sp>
            <p:nvSpPr>
              <p:cNvPr id="261" name="Freeform 101">
                <a:extLst>
                  <a:ext uri="{FF2B5EF4-FFF2-40B4-BE49-F238E27FC236}">
                    <a16:creationId xmlns:a16="http://schemas.microsoft.com/office/drawing/2014/main" id="{FC7C5FFF-319E-4438-B431-87337CBFA272}"/>
                  </a:ext>
                </a:extLst>
              </p:cNvPr>
              <p:cNvSpPr>
                <a:spLocks/>
              </p:cNvSpPr>
              <p:nvPr/>
            </p:nvSpPr>
            <p:spPr bwMode="auto">
              <a:xfrm>
                <a:off x="581387" y="1863216"/>
                <a:ext cx="75417" cy="118135"/>
              </a:xfrm>
              <a:custGeom>
                <a:avLst/>
                <a:gdLst>
                  <a:gd name="T0" fmla="*/ 12 w 24"/>
                  <a:gd name="T1" fmla="*/ 40 h 40"/>
                  <a:gd name="T2" fmla="*/ 0 w 24"/>
                  <a:gd name="T3" fmla="*/ 28 h 40"/>
                  <a:gd name="T4" fmla="*/ 0 w 24"/>
                  <a:gd name="T5" fmla="*/ 13 h 40"/>
                  <a:gd name="T6" fmla="*/ 12 w 24"/>
                  <a:gd name="T7" fmla="*/ 0 h 40"/>
                  <a:gd name="T8" fmla="*/ 24 w 24"/>
                  <a:gd name="T9" fmla="*/ 13 h 40"/>
                  <a:gd name="T10" fmla="*/ 24 w 24"/>
                  <a:gd name="T11" fmla="*/ 28 h 40"/>
                  <a:gd name="T12" fmla="*/ 12 w 24"/>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4" h="40">
                    <a:moveTo>
                      <a:pt x="12" y="40"/>
                    </a:moveTo>
                    <a:cubicBezTo>
                      <a:pt x="5" y="40"/>
                      <a:pt x="0" y="35"/>
                      <a:pt x="0" y="28"/>
                    </a:cubicBezTo>
                    <a:cubicBezTo>
                      <a:pt x="0" y="13"/>
                      <a:pt x="0" y="13"/>
                      <a:pt x="0" y="13"/>
                    </a:cubicBezTo>
                    <a:cubicBezTo>
                      <a:pt x="0" y="6"/>
                      <a:pt x="5" y="0"/>
                      <a:pt x="12" y="0"/>
                    </a:cubicBezTo>
                    <a:cubicBezTo>
                      <a:pt x="18" y="0"/>
                      <a:pt x="24" y="6"/>
                      <a:pt x="24" y="13"/>
                    </a:cubicBezTo>
                    <a:cubicBezTo>
                      <a:pt x="24" y="28"/>
                      <a:pt x="24" y="28"/>
                      <a:pt x="24" y="28"/>
                    </a:cubicBezTo>
                    <a:cubicBezTo>
                      <a:pt x="24" y="35"/>
                      <a:pt x="18" y="40"/>
                      <a:pt x="12" y="40"/>
                    </a:cubicBezTo>
                    <a:close/>
                  </a:path>
                </a:pathLst>
              </a:custGeom>
              <a:solidFill>
                <a:schemeClr val="bg1"/>
              </a:solidFill>
              <a:ln w="12700">
                <a:solidFill>
                  <a:srgbClr val="0F6A7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2" name="Freeform 102">
                <a:extLst>
                  <a:ext uri="{FF2B5EF4-FFF2-40B4-BE49-F238E27FC236}">
                    <a16:creationId xmlns:a16="http://schemas.microsoft.com/office/drawing/2014/main" id="{3E430B30-EBF3-4676-AB81-5BCBA58E7A06}"/>
                  </a:ext>
                </a:extLst>
              </p:cNvPr>
              <p:cNvSpPr>
                <a:spLocks/>
              </p:cNvSpPr>
              <p:nvPr/>
            </p:nvSpPr>
            <p:spPr bwMode="auto">
              <a:xfrm>
                <a:off x="717405" y="1817972"/>
                <a:ext cx="76763" cy="163379"/>
              </a:xfrm>
              <a:custGeom>
                <a:avLst/>
                <a:gdLst>
                  <a:gd name="T0" fmla="*/ 12 w 24"/>
                  <a:gd name="T1" fmla="*/ 55 h 55"/>
                  <a:gd name="T2" fmla="*/ 0 w 24"/>
                  <a:gd name="T3" fmla="*/ 43 h 55"/>
                  <a:gd name="T4" fmla="*/ 0 w 24"/>
                  <a:gd name="T5" fmla="*/ 12 h 55"/>
                  <a:gd name="T6" fmla="*/ 12 w 24"/>
                  <a:gd name="T7" fmla="*/ 0 h 55"/>
                  <a:gd name="T8" fmla="*/ 24 w 24"/>
                  <a:gd name="T9" fmla="*/ 12 h 55"/>
                  <a:gd name="T10" fmla="*/ 24 w 24"/>
                  <a:gd name="T11" fmla="*/ 43 h 55"/>
                  <a:gd name="T12" fmla="*/ 12 w 24"/>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24" h="55">
                    <a:moveTo>
                      <a:pt x="12" y="55"/>
                    </a:moveTo>
                    <a:cubicBezTo>
                      <a:pt x="5" y="55"/>
                      <a:pt x="0" y="50"/>
                      <a:pt x="0" y="43"/>
                    </a:cubicBezTo>
                    <a:cubicBezTo>
                      <a:pt x="0" y="12"/>
                      <a:pt x="0" y="12"/>
                      <a:pt x="0" y="12"/>
                    </a:cubicBezTo>
                    <a:cubicBezTo>
                      <a:pt x="0" y="5"/>
                      <a:pt x="5" y="0"/>
                      <a:pt x="12" y="0"/>
                    </a:cubicBezTo>
                    <a:cubicBezTo>
                      <a:pt x="19" y="0"/>
                      <a:pt x="24" y="5"/>
                      <a:pt x="24" y="12"/>
                    </a:cubicBezTo>
                    <a:cubicBezTo>
                      <a:pt x="24" y="43"/>
                      <a:pt x="24" y="43"/>
                      <a:pt x="24" y="43"/>
                    </a:cubicBezTo>
                    <a:cubicBezTo>
                      <a:pt x="24" y="50"/>
                      <a:pt x="19" y="55"/>
                      <a:pt x="12" y="55"/>
                    </a:cubicBezTo>
                    <a:close/>
                  </a:path>
                </a:pathLst>
              </a:custGeom>
              <a:solidFill>
                <a:schemeClr val="bg1"/>
              </a:solidFill>
              <a:ln w="12700">
                <a:solidFill>
                  <a:srgbClr val="0F6A7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3" name="Freeform 103">
                <a:extLst>
                  <a:ext uri="{FF2B5EF4-FFF2-40B4-BE49-F238E27FC236}">
                    <a16:creationId xmlns:a16="http://schemas.microsoft.com/office/drawing/2014/main" id="{2592FB1F-7D27-4E8E-BF6E-EABA8DAA3578}"/>
                  </a:ext>
                </a:extLst>
              </p:cNvPr>
              <p:cNvSpPr>
                <a:spLocks/>
              </p:cNvSpPr>
              <p:nvPr/>
            </p:nvSpPr>
            <p:spPr bwMode="auto">
              <a:xfrm>
                <a:off x="853423" y="1773986"/>
                <a:ext cx="79457" cy="207365"/>
              </a:xfrm>
              <a:custGeom>
                <a:avLst/>
                <a:gdLst>
                  <a:gd name="T0" fmla="*/ 12 w 25"/>
                  <a:gd name="T1" fmla="*/ 70 h 70"/>
                  <a:gd name="T2" fmla="*/ 0 w 25"/>
                  <a:gd name="T3" fmla="*/ 58 h 70"/>
                  <a:gd name="T4" fmla="*/ 0 w 25"/>
                  <a:gd name="T5" fmla="*/ 12 h 70"/>
                  <a:gd name="T6" fmla="*/ 12 w 25"/>
                  <a:gd name="T7" fmla="*/ 0 h 70"/>
                  <a:gd name="T8" fmla="*/ 25 w 25"/>
                  <a:gd name="T9" fmla="*/ 12 h 70"/>
                  <a:gd name="T10" fmla="*/ 25 w 25"/>
                  <a:gd name="T11" fmla="*/ 58 h 70"/>
                  <a:gd name="T12" fmla="*/ 12 w 25"/>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25" h="70">
                    <a:moveTo>
                      <a:pt x="12" y="70"/>
                    </a:moveTo>
                    <a:cubicBezTo>
                      <a:pt x="6" y="70"/>
                      <a:pt x="0" y="65"/>
                      <a:pt x="0" y="58"/>
                    </a:cubicBezTo>
                    <a:cubicBezTo>
                      <a:pt x="0" y="12"/>
                      <a:pt x="0" y="12"/>
                      <a:pt x="0" y="12"/>
                    </a:cubicBezTo>
                    <a:cubicBezTo>
                      <a:pt x="0" y="6"/>
                      <a:pt x="6" y="0"/>
                      <a:pt x="12" y="0"/>
                    </a:cubicBezTo>
                    <a:cubicBezTo>
                      <a:pt x="19" y="0"/>
                      <a:pt x="25" y="6"/>
                      <a:pt x="25" y="12"/>
                    </a:cubicBezTo>
                    <a:cubicBezTo>
                      <a:pt x="25" y="58"/>
                      <a:pt x="25" y="58"/>
                      <a:pt x="25" y="58"/>
                    </a:cubicBezTo>
                    <a:cubicBezTo>
                      <a:pt x="25" y="65"/>
                      <a:pt x="19" y="70"/>
                      <a:pt x="12" y="70"/>
                    </a:cubicBezTo>
                    <a:close/>
                  </a:path>
                </a:pathLst>
              </a:custGeom>
              <a:grp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64" name="Group 3">
                <a:extLst>
                  <a:ext uri="{FF2B5EF4-FFF2-40B4-BE49-F238E27FC236}">
                    <a16:creationId xmlns:a16="http://schemas.microsoft.com/office/drawing/2014/main" id="{D7793C44-3F85-4F54-833A-64D5DA24A007}"/>
                  </a:ext>
                </a:extLst>
              </p:cNvPr>
              <p:cNvGrpSpPr/>
              <p:nvPr/>
            </p:nvGrpSpPr>
            <p:grpSpPr>
              <a:xfrm>
                <a:off x="595360" y="1407382"/>
                <a:ext cx="329944" cy="365417"/>
                <a:chOff x="5272716" y="1230536"/>
                <a:chExt cx="488813" cy="541365"/>
              </a:xfrm>
              <a:grpFill/>
            </p:grpSpPr>
            <p:sp>
              <p:nvSpPr>
                <p:cNvPr id="265" name="Freeform 105">
                  <a:extLst>
                    <a:ext uri="{FF2B5EF4-FFF2-40B4-BE49-F238E27FC236}">
                      <a16:creationId xmlns:a16="http://schemas.microsoft.com/office/drawing/2014/main" id="{E3B4521F-CFB6-4C6B-A1A6-81C2A0CC185F}"/>
                    </a:ext>
                  </a:extLst>
                </p:cNvPr>
                <p:cNvSpPr>
                  <a:spLocks noChangeAspect="1" noEditPoints="1"/>
                </p:cNvSpPr>
                <p:nvPr/>
              </p:nvSpPr>
              <p:spPr bwMode="auto">
                <a:xfrm rot="371855">
                  <a:off x="5312833" y="1341250"/>
                  <a:ext cx="380536" cy="375923"/>
                </a:xfrm>
                <a:custGeom>
                  <a:avLst/>
                  <a:gdLst>
                    <a:gd name="T0" fmla="*/ 60 w 70"/>
                    <a:gd name="T1" fmla="*/ 27 h 69"/>
                    <a:gd name="T2" fmla="*/ 62 w 70"/>
                    <a:gd name="T3" fmla="*/ 13 h 69"/>
                    <a:gd name="T4" fmla="*/ 53 w 70"/>
                    <a:gd name="T5" fmla="*/ 15 h 69"/>
                    <a:gd name="T6" fmla="*/ 48 w 70"/>
                    <a:gd name="T7" fmla="*/ 11 h 69"/>
                    <a:gd name="T8" fmla="*/ 39 w 70"/>
                    <a:gd name="T9" fmla="*/ 0 h 69"/>
                    <a:gd name="T10" fmla="*/ 28 w 70"/>
                    <a:gd name="T11" fmla="*/ 9 h 69"/>
                    <a:gd name="T12" fmla="*/ 24 w 70"/>
                    <a:gd name="T13" fmla="*/ 4 h 69"/>
                    <a:gd name="T14" fmla="*/ 22 w 70"/>
                    <a:gd name="T15" fmla="*/ 2 h 69"/>
                    <a:gd name="T16" fmla="*/ 19 w 70"/>
                    <a:gd name="T17" fmla="*/ 3 h 69"/>
                    <a:gd name="T18" fmla="*/ 18 w 70"/>
                    <a:gd name="T19" fmla="*/ 4 h 69"/>
                    <a:gd name="T20" fmla="*/ 13 w 70"/>
                    <a:gd name="T21" fmla="*/ 7 h 69"/>
                    <a:gd name="T22" fmla="*/ 14 w 70"/>
                    <a:gd name="T23" fmla="*/ 9 h 69"/>
                    <a:gd name="T24" fmla="*/ 12 w 70"/>
                    <a:gd name="T25" fmla="*/ 22 h 69"/>
                    <a:gd name="T26" fmla="*/ 3 w 70"/>
                    <a:gd name="T27" fmla="*/ 21 h 69"/>
                    <a:gd name="T28" fmla="*/ 1 w 70"/>
                    <a:gd name="T29" fmla="*/ 29 h 69"/>
                    <a:gd name="T30" fmla="*/ 0 w 70"/>
                    <a:gd name="T31" fmla="*/ 31 h 69"/>
                    <a:gd name="T32" fmla="*/ 9 w 70"/>
                    <a:gd name="T33" fmla="*/ 34 h 69"/>
                    <a:gd name="T34" fmla="*/ 9 w 70"/>
                    <a:gd name="T35" fmla="*/ 38 h 69"/>
                    <a:gd name="T36" fmla="*/ 3 w 70"/>
                    <a:gd name="T37" fmla="*/ 48 h 69"/>
                    <a:gd name="T38" fmla="*/ 16 w 70"/>
                    <a:gd name="T39" fmla="*/ 53 h 69"/>
                    <a:gd name="T40" fmla="*/ 19 w 70"/>
                    <a:gd name="T41" fmla="*/ 56 h 69"/>
                    <a:gd name="T42" fmla="*/ 22 w 70"/>
                    <a:gd name="T43" fmla="*/ 58 h 69"/>
                    <a:gd name="T44" fmla="*/ 23 w 70"/>
                    <a:gd name="T45" fmla="*/ 59 h 69"/>
                    <a:gd name="T46" fmla="*/ 21 w 70"/>
                    <a:gd name="T47" fmla="*/ 67 h 69"/>
                    <a:gd name="T48" fmla="*/ 35 w 70"/>
                    <a:gd name="T49" fmla="*/ 61 h 69"/>
                    <a:gd name="T50" fmla="*/ 39 w 70"/>
                    <a:gd name="T51" fmla="*/ 61 h 69"/>
                    <a:gd name="T52" fmla="*/ 43 w 70"/>
                    <a:gd name="T53" fmla="*/ 60 h 69"/>
                    <a:gd name="T54" fmla="*/ 48 w 70"/>
                    <a:gd name="T55" fmla="*/ 67 h 69"/>
                    <a:gd name="T56" fmla="*/ 54 w 70"/>
                    <a:gd name="T57" fmla="*/ 53 h 69"/>
                    <a:gd name="T58" fmla="*/ 57 w 70"/>
                    <a:gd name="T59" fmla="*/ 49 h 69"/>
                    <a:gd name="T60" fmla="*/ 67 w 70"/>
                    <a:gd name="T61" fmla="*/ 49 h 69"/>
                    <a:gd name="T62" fmla="*/ 62 w 70"/>
                    <a:gd name="T63" fmla="*/ 35 h 69"/>
                    <a:gd name="T64" fmla="*/ 18 w 70"/>
                    <a:gd name="T65" fmla="*/ 38 h 69"/>
                    <a:gd name="T66" fmla="*/ 30 w 70"/>
                    <a:gd name="T67" fmla="*/ 17 h 69"/>
                    <a:gd name="T68" fmla="*/ 52 w 70"/>
                    <a:gd name="T6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69">
                      <a:moveTo>
                        <a:pt x="62" y="35"/>
                      </a:moveTo>
                      <a:cubicBezTo>
                        <a:pt x="62" y="32"/>
                        <a:pt x="61" y="30"/>
                        <a:pt x="60" y="27"/>
                      </a:cubicBezTo>
                      <a:cubicBezTo>
                        <a:pt x="63" y="25"/>
                        <a:pt x="65" y="23"/>
                        <a:pt x="68" y="22"/>
                      </a:cubicBezTo>
                      <a:cubicBezTo>
                        <a:pt x="67" y="18"/>
                        <a:pt x="65" y="15"/>
                        <a:pt x="62" y="13"/>
                      </a:cubicBezTo>
                      <a:cubicBezTo>
                        <a:pt x="60" y="14"/>
                        <a:pt x="57" y="15"/>
                        <a:pt x="54" y="16"/>
                      </a:cubicBezTo>
                      <a:cubicBezTo>
                        <a:pt x="54" y="16"/>
                        <a:pt x="54" y="16"/>
                        <a:pt x="53" y="15"/>
                      </a:cubicBezTo>
                      <a:cubicBezTo>
                        <a:pt x="52" y="14"/>
                        <a:pt x="51" y="13"/>
                        <a:pt x="50" y="12"/>
                      </a:cubicBezTo>
                      <a:cubicBezTo>
                        <a:pt x="49" y="12"/>
                        <a:pt x="49" y="12"/>
                        <a:pt x="48" y="11"/>
                      </a:cubicBezTo>
                      <a:cubicBezTo>
                        <a:pt x="48" y="8"/>
                        <a:pt x="49" y="5"/>
                        <a:pt x="49" y="2"/>
                      </a:cubicBezTo>
                      <a:cubicBezTo>
                        <a:pt x="46" y="1"/>
                        <a:pt x="43" y="0"/>
                        <a:pt x="39" y="0"/>
                      </a:cubicBezTo>
                      <a:cubicBezTo>
                        <a:pt x="38" y="2"/>
                        <a:pt x="37" y="5"/>
                        <a:pt x="36" y="8"/>
                      </a:cubicBezTo>
                      <a:cubicBezTo>
                        <a:pt x="33" y="8"/>
                        <a:pt x="30" y="8"/>
                        <a:pt x="28" y="9"/>
                      </a:cubicBezTo>
                      <a:cubicBezTo>
                        <a:pt x="28" y="9"/>
                        <a:pt x="28" y="9"/>
                        <a:pt x="27" y="9"/>
                      </a:cubicBezTo>
                      <a:cubicBezTo>
                        <a:pt x="26" y="7"/>
                        <a:pt x="25" y="6"/>
                        <a:pt x="24" y="4"/>
                      </a:cubicBezTo>
                      <a:cubicBezTo>
                        <a:pt x="24" y="4"/>
                        <a:pt x="23" y="3"/>
                        <a:pt x="23" y="2"/>
                      </a:cubicBezTo>
                      <a:cubicBezTo>
                        <a:pt x="22" y="2"/>
                        <a:pt x="22" y="2"/>
                        <a:pt x="22" y="2"/>
                      </a:cubicBezTo>
                      <a:cubicBezTo>
                        <a:pt x="22" y="2"/>
                        <a:pt x="22" y="2"/>
                        <a:pt x="22" y="2"/>
                      </a:cubicBezTo>
                      <a:cubicBezTo>
                        <a:pt x="21" y="2"/>
                        <a:pt x="19" y="3"/>
                        <a:pt x="19" y="3"/>
                      </a:cubicBezTo>
                      <a:cubicBezTo>
                        <a:pt x="19" y="3"/>
                        <a:pt x="19" y="3"/>
                        <a:pt x="19" y="3"/>
                      </a:cubicBezTo>
                      <a:cubicBezTo>
                        <a:pt x="18" y="3"/>
                        <a:pt x="18" y="4"/>
                        <a:pt x="18" y="4"/>
                      </a:cubicBezTo>
                      <a:cubicBezTo>
                        <a:pt x="17" y="5"/>
                        <a:pt x="16" y="6"/>
                        <a:pt x="14" y="7"/>
                      </a:cubicBezTo>
                      <a:cubicBezTo>
                        <a:pt x="14" y="7"/>
                        <a:pt x="14" y="7"/>
                        <a:pt x="13" y="7"/>
                      </a:cubicBezTo>
                      <a:cubicBezTo>
                        <a:pt x="13" y="7"/>
                        <a:pt x="13" y="7"/>
                        <a:pt x="13" y="7"/>
                      </a:cubicBezTo>
                      <a:cubicBezTo>
                        <a:pt x="13" y="8"/>
                        <a:pt x="14" y="9"/>
                        <a:pt x="14" y="9"/>
                      </a:cubicBezTo>
                      <a:cubicBezTo>
                        <a:pt x="15" y="11"/>
                        <a:pt x="16" y="13"/>
                        <a:pt x="17" y="15"/>
                      </a:cubicBezTo>
                      <a:cubicBezTo>
                        <a:pt x="15" y="17"/>
                        <a:pt x="13" y="19"/>
                        <a:pt x="12" y="22"/>
                      </a:cubicBezTo>
                      <a:cubicBezTo>
                        <a:pt x="9" y="21"/>
                        <a:pt x="6" y="21"/>
                        <a:pt x="3" y="20"/>
                      </a:cubicBezTo>
                      <a:cubicBezTo>
                        <a:pt x="3" y="21"/>
                        <a:pt x="3" y="21"/>
                        <a:pt x="3" y="21"/>
                      </a:cubicBezTo>
                      <a:cubicBezTo>
                        <a:pt x="2" y="22"/>
                        <a:pt x="2" y="23"/>
                        <a:pt x="1" y="24"/>
                      </a:cubicBezTo>
                      <a:cubicBezTo>
                        <a:pt x="1" y="26"/>
                        <a:pt x="1" y="28"/>
                        <a:pt x="1" y="29"/>
                      </a:cubicBezTo>
                      <a:cubicBezTo>
                        <a:pt x="1" y="30"/>
                        <a:pt x="0" y="30"/>
                        <a:pt x="0" y="30"/>
                      </a:cubicBezTo>
                      <a:cubicBezTo>
                        <a:pt x="0" y="31"/>
                        <a:pt x="0" y="31"/>
                        <a:pt x="0" y="31"/>
                      </a:cubicBezTo>
                      <a:cubicBezTo>
                        <a:pt x="0" y="31"/>
                        <a:pt x="0" y="31"/>
                        <a:pt x="1" y="31"/>
                      </a:cubicBezTo>
                      <a:cubicBezTo>
                        <a:pt x="3" y="32"/>
                        <a:pt x="6" y="33"/>
                        <a:pt x="9" y="34"/>
                      </a:cubicBezTo>
                      <a:cubicBezTo>
                        <a:pt x="9" y="34"/>
                        <a:pt x="9" y="34"/>
                        <a:pt x="9" y="34"/>
                      </a:cubicBezTo>
                      <a:cubicBezTo>
                        <a:pt x="9" y="35"/>
                        <a:pt x="9" y="37"/>
                        <a:pt x="9" y="38"/>
                      </a:cubicBezTo>
                      <a:cubicBezTo>
                        <a:pt x="9" y="40"/>
                        <a:pt x="9" y="41"/>
                        <a:pt x="10" y="42"/>
                      </a:cubicBezTo>
                      <a:cubicBezTo>
                        <a:pt x="8" y="44"/>
                        <a:pt x="5" y="46"/>
                        <a:pt x="3" y="48"/>
                      </a:cubicBezTo>
                      <a:cubicBezTo>
                        <a:pt x="4" y="51"/>
                        <a:pt x="6" y="54"/>
                        <a:pt x="8" y="57"/>
                      </a:cubicBezTo>
                      <a:cubicBezTo>
                        <a:pt x="11" y="55"/>
                        <a:pt x="13" y="54"/>
                        <a:pt x="16" y="53"/>
                      </a:cubicBezTo>
                      <a:cubicBezTo>
                        <a:pt x="16" y="53"/>
                        <a:pt x="16" y="53"/>
                        <a:pt x="17" y="53"/>
                      </a:cubicBezTo>
                      <a:cubicBezTo>
                        <a:pt x="17" y="54"/>
                        <a:pt x="18" y="55"/>
                        <a:pt x="19" y="56"/>
                      </a:cubicBezTo>
                      <a:cubicBezTo>
                        <a:pt x="20" y="56"/>
                        <a:pt x="21" y="56"/>
                        <a:pt x="21" y="57"/>
                      </a:cubicBezTo>
                      <a:cubicBezTo>
                        <a:pt x="22" y="57"/>
                        <a:pt x="22" y="57"/>
                        <a:pt x="22" y="58"/>
                      </a:cubicBezTo>
                      <a:cubicBezTo>
                        <a:pt x="23" y="58"/>
                        <a:pt x="23" y="58"/>
                        <a:pt x="23" y="58"/>
                      </a:cubicBezTo>
                      <a:cubicBezTo>
                        <a:pt x="23" y="59"/>
                        <a:pt x="23" y="59"/>
                        <a:pt x="23" y="59"/>
                      </a:cubicBezTo>
                      <a:cubicBezTo>
                        <a:pt x="22" y="61"/>
                        <a:pt x="22" y="63"/>
                        <a:pt x="22" y="66"/>
                      </a:cubicBezTo>
                      <a:cubicBezTo>
                        <a:pt x="21" y="66"/>
                        <a:pt x="21" y="66"/>
                        <a:pt x="21" y="67"/>
                      </a:cubicBezTo>
                      <a:cubicBezTo>
                        <a:pt x="25" y="68"/>
                        <a:pt x="28" y="69"/>
                        <a:pt x="31" y="69"/>
                      </a:cubicBezTo>
                      <a:cubicBezTo>
                        <a:pt x="33" y="67"/>
                        <a:pt x="34" y="64"/>
                        <a:pt x="35" y="61"/>
                      </a:cubicBezTo>
                      <a:cubicBezTo>
                        <a:pt x="35" y="61"/>
                        <a:pt x="36" y="61"/>
                        <a:pt x="36" y="61"/>
                      </a:cubicBezTo>
                      <a:cubicBezTo>
                        <a:pt x="37" y="61"/>
                        <a:pt x="38" y="61"/>
                        <a:pt x="39" y="61"/>
                      </a:cubicBezTo>
                      <a:cubicBezTo>
                        <a:pt x="40" y="61"/>
                        <a:pt x="41" y="60"/>
                        <a:pt x="43" y="60"/>
                      </a:cubicBezTo>
                      <a:cubicBezTo>
                        <a:pt x="43" y="60"/>
                        <a:pt x="43" y="60"/>
                        <a:pt x="43" y="60"/>
                      </a:cubicBezTo>
                      <a:cubicBezTo>
                        <a:pt x="45" y="62"/>
                        <a:pt x="46" y="65"/>
                        <a:pt x="48" y="67"/>
                      </a:cubicBezTo>
                      <a:cubicBezTo>
                        <a:pt x="48" y="67"/>
                        <a:pt x="48" y="67"/>
                        <a:pt x="48" y="67"/>
                      </a:cubicBezTo>
                      <a:cubicBezTo>
                        <a:pt x="52" y="66"/>
                        <a:pt x="55" y="64"/>
                        <a:pt x="57" y="62"/>
                      </a:cubicBezTo>
                      <a:cubicBezTo>
                        <a:pt x="56" y="59"/>
                        <a:pt x="55" y="56"/>
                        <a:pt x="54" y="53"/>
                      </a:cubicBezTo>
                      <a:cubicBezTo>
                        <a:pt x="54" y="53"/>
                        <a:pt x="55" y="52"/>
                        <a:pt x="55" y="51"/>
                      </a:cubicBezTo>
                      <a:cubicBezTo>
                        <a:pt x="56" y="51"/>
                        <a:pt x="56" y="50"/>
                        <a:pt x="57" y="49"/>
                      </a:cubicBezTo>
                      <a:cubicBezTo>
                        <a:pt x="57" y="49"/>
                        <a:pt x="58" y="48"/>
                        <a:pt x="58" y="47"/>
                      </a:cubicBezTo>
                      <a:cubicBezTo>
                        <a:pt x="61" y="48"/>
                        <a:pt x="64" y="48"/>
                        <a:pt x="67" y="49"/>
                      </a:cubicBezTo>
                      <a:cubicBezTo>
                        <a:pt x="69" y="45"/>
                        <a:pt x="70" y="42"/>
                        <a:pt x="70" y="38"/>
                      </a:cubicBezTo>
                      <a:cubicBezTo>
                        <a:pt x="67" y="37"/>
                        <a:pt x="64" y="36"/>
                        <a:pt x="62" y="35"/>
                      </a:cubicBezTo>
                      <a:close/>
                      <a:moveTo>
                        <a:pt x="40" y="52"/>
                      </a:moveTo>
                      <a:cubicBezTo>
                        <a:pt x="28" y="55"/>
                        <a:pt x="19" y="46"/>
                        <a:pt x="18" y="38"/>
                      </a:cubicBezTo>
                      <a:cubicBezTo>
                        <a:pt x="17" y="32"/>
                        <a:pt x="18" y="27"/>
                        <a:pt x="22" y="22"/>
                      </a:cubicBezTo>
                      <a:cubicBezTo>
                        <a:pt x="24" y="20"/>
                        <a:pt x="27" y="18"/>
                        <a:pt x="30" y="17"/>
                      </a:cubicBezTo>
                      <a:cubicBezTo>
                        <a:pt x="32" y="17"/>
                        <a:pt x="33" y="17"/>
                        <a:pt x="35" y="17"/>
                      </a:cubicBezTo>
                      <a:cubicBezTo>
                        <a:pt x="44" y="16"/>
                        <a:pt x="51" y="24"/>
                        <a:pt x="52" y="30"/>
                      </a:cubicBezTo>
                      <a:cubicBezTo>
                        <a:pt x="55" y="41"/>
                        <a:pt x="48" y="50"/>
                        <a:pt x="40" y="52"/>
                      </a:cubicBezTo>
                      <a:close/>
                    </a:path>
                  </a:pathLst>
                </a:custGeom>
                <a:grpFill/>
                <a:ln w="635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6" name="Freeform 51">
                  <a:extLst>
                    <a:ext uri="{FF2B5EF4-FFF2-40B4-BE49-F238E27FC236}">
                      <a16:creationId xmlns:a16="http://schemas.microsoft.com/office/drawing/2014/main" id="{BA3D9F30-5500-4268-BCE1-71F48DB666F6}"/>
                    </a:ext>
                  </a:extLst>
                </p:cNvPr>
                <p:cNvSpPr>
                  <a:spLocks/>
                </p:cNvSpPr>
                <p:nvPr/>
              </p:nvSpPr>
              <p:spPr bwMode="auto">
                <a:xfrm>
                  <a:off x="5272716" y="1230536"/>
                  <a:ext cx="462386" cy="265660"/>
                </a:xfrm>
                <a:custGeom>
                  <a:avLst/>
                  <a:gdLst>
                    <a:gd name="T0" fmla="*/ 31 w 101"/>
                    <a:gd name="T1" fmla="*/ 64 h 67"/>
                    <a:gd name="T2" fmla="*/ 35 w 101"/>
                    <a:gd name="T3" fmla="*/ 67 h 67"/>
                    <a:gd name="T4" fmla="*/ 38 w 101"/>
                    <a:gd name="T5" fmla="*/ 64 h 67"/>
                    <a:gd name="T6" fmla="*/ 50 w 101"/>
                    <a:gd name="T7" fmla="*/ 55 h 67"/>
                    <a:gd name="T8" fmla="*/ 63 w 101"/>
                    <a:gd name="T9" fmla="*/ 64 h 67"/>
                    <a:gd name="T10" fmla="*/ 66 w 101"/>
                    <a:gd name="T11" fmla="*/ 67 h 67"/>
                    <a:gd name="T12" fmla="*/ 69 w 101"/>
                    <a:gd name="T13" fmla="*/ 64 h 67"/>
                    <a:gd name="T14" fmla="*/ 82 w 101"/>
                    <a:gd name="T15" fmla="*/ 55 h 67"/>
                    <a:gd name="T16" fmla="*/ 94 w 101"/>
                    <a:gd name="T17" fmla="*/ 63 h 67"/>
                    <a:gd name="T18" fmla="*/ 97 w 101"/>
                    <a:gd name="T19" fmla="*/ 67 h 67"/>
                    <a:gd name="T20" fmla="*/ 101 w 101"/>
                    <a:gd name="T21" fmla="*/ 63 h 67"/>
                    <a:gd name="T22" fmla="*/ 54 w 101"/>
                    <a:gd name="T23" fmla="*/ 10 h 67"/>
                    <a:gd name="T24" fmla="*/ 54 w 101"/>
                    <a:gd name="T25" fmla="*/ 3 h 67"/>
                    <a:gd name="T26" fmla="*/ 50 w 101"/>
                    <a:gd name="T27" fmla="*/ 0 h 67"/>
                    <a:gd name="T28" fmla="*/ 47 w 101"/>
                    <a:gd name="T29" fmla="*/ 3 h 67"/>
                    <a:gd name="T30" fmla="*/ 47 w 101"/>
                    <a:gd name="T31" fmla="*/ 10 h 67"/>
                    <a:gd name="T32" fmla="*/ 0 w 101"/>
                    <a:gd name="T33" fmla="*/ 63 h 67"/>
                    <a:gd name="T34" fmla="*/ 3 w 101"/>
                    <a:gd name="T35" fmla="*/ 67 h 67"/>
                    <a:gd name="T36" fmla="*/ 7 w 101"/>
                    <a:gd name="T37" fmla="*/ 63 h 67"/>
                    <a:gd name="T38" fmla="*/ 19 w 101"/>
                    <a:gd name="T39" fmla="*/ 55 h 67"/>
                    <a:gd name="T40" fmla="*/ 31 w 101"/>
                    <a:gd name="T41"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 h="67">
                      <a:moveTo>
                        <a:pt x="31" y="64"/>
                      </a:moveTo>
                      <a:cubicBezTo>
                        <a:pt x="31" y="66"/>
                        <a:pt x="33" y="67"/>
                        <a:pt x="35" y="67"/>
                      </a:cubicBezTo>
                      <a:cubicBezTo>
                        <a:pt x="36" y="67"/>
                        <a:pt x="38" y="66"/>
                        <a:pt x="38" y="64"/>
                      </a:cubicBezTo>
                      <a:cubicBezTo>
                        <a:pt x="38" y="59"/>
                        <a:pt x="44" y="55"/>
                        <a:pt x="50" y="55"/>
                      </a:cubicBezTo>
                      <a:cubicBezTo>
                        <a:pt x="57" y="55"/>
                        <a:pt x="63" y="59"/>
                        <a:pt x="63" y="64"/>
                      </a:cubicBezTo>
                      <a:cubicBezTo>
                        <a:pt x="63" y="66"/>
                        <a:pt x="64" y="67"/>
                        <a:pt x="66" y="67"/>
                      </a:cubicBezTo>
                      <a:cubicBezTo>
                        <a:pt x="68" y="67"/>
                        <a:pt x="69" y="66"/>
                        <a:pt x="69" y="64"/>
                      </a:cubicBezTo>
                      <a:cubicBezTo>
                        <a:pt x="69" y="59"/>
                        <a:pt x="75" y="55"/>
                        <a:pt x="82" y="55"/>
                      </a:cubicBezTo>
                      <a:cubicBezTo>
                        <a:pt x="88" y="55"/>
                        <a:pt x="94" y="59"/>
                        <a:pt x="94" y="63"/>
                      </a:cubicBezTo>
                      <a:cubicBezTo>
                        <a:pt x="94" y="65"/>
                        <a:pt x="96" y="67"/>
                        <a:pt x="97" y="67"/>
                      </a:cubicBezTo>
                      <a:cubicBezTo>
                        <a:pt x="99" y="67"/>
                        <a:pt x="101" y="65"/>
                        <a:pt x="101" y="63"/>
                      </a:cubicBezTo>
                      <a:cubicBezTo>
                        <a:pt x="100" y="35"/>
                        <a:pt x="80" y="12"/>
                        <a:pt x="54" y="10"/>
                      </a:cubicBezTo>
                      <a:cubicBezTo>
                        <a:pt x="54" y="3"/>
                        <a:pt x="54" y="3"/>
                        <a:pt x="54" y="3"/>
                      </a:cubicBezTo>
                      <a:cubicBezTo>
                        <a:pt x="54" y="1"/>
                        <a:pt x="53" y="0"/>
                        <a:pt x="50" y="0"/>
                      </a:cubicBezTo>
                      <a:cubicBezTo>
                        <a:pt x="48" y="0"/>
                        <a:pt x="47" y="1"/>
                        <a:pt x="47" y="3"/>
                      </a:cubicBezTo>
                      <a:cubicBezTo>
                        <a:pt x="47" y="10"/>
                        <a:pt x="47" y="10"/>
                        <a:pt x="47" y="10"/>
                      </a:cubicBezTo>
                      <a:cubicBezTo>
                        <a:pt x="21" y="12"/>
                        <a:pt x="0" y="35"/>
                        <a:pt x="0" y="63"/>
                      </a:cubicBezTo>
                      <a:cubicBezTo>
                        <a:pt x="0" y="65"/>
                        <a:pt x="2" y="67"/>
                        <a:pt x="3" y="67"/>
                      </a:cubicBezTo>
                      <a:cubicBezTo>
                        <a:pt x="5" y="67"/>
                        <a:pt x="7" y="65"/>
                        <a:pt x="7" y="63"/>
                      </a:cubicBezTo>
                      <a:cubicBezTo>
                        <a:pt x="7" y="59"/>
                        <a:pt x="13" y="55"/>
                        <a:pt x="19" y="55"/>
                      </a:cubicBezTo>
                      <a:cubicBezTo>
                        <a:pt x="26" y="55"/>
                        <a:pt x="31" y="59"/>
                        <a:pt x="31" y="64"/>
                      </a:cubicBezTo>
                      <a:close/>
                    </a:path>
                  </a:pathLst>
                </a:custGeom>
                <a:grpFill/>
                <a:ln w="1270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7" name="Freeform 105">
                  <a:extLst>
                    <a:ext uri="{FF2B5EF4-FFF2-40B4-BE49-F238E27FC236}">
                      <a16:creationId xmlns:a16="http://schemas.microsoft.com/office/drawing/2014/main" id="{A8EBF782-5536-4CD3-A2AC-001CA6FDCD09}"/>
                    </a:ext>
                  </a:extLst>
                </p:cNvPr>
                <p:cNvSpPr>
                  <a:spLocks noChangeAspect="1" noEditPoints="1"/>
                </p:cNvSpPr>
                <p:nvPr/>
              </p:nvSpPr>
              <p:spPr bwMode="auto">
                <a:xfrm>
                  <a:off x="5606712" y="1618961"/>
                  <a:ext cx="154817" cy="152940"/>
                </a:xfrm>
                <a:custGeom>
                  <a:avLst/>
                  <a:gdLst>
                    <a:gd name="T0" fmla="*/ 60 w 70"/>
                    <a:gd name="T1" fmla="*/ 27 h 69"/>
                    <a:gd name="T2" fmla="*/ 62 w 70"/>
                    <a:gd name="T3" fmla="*/ 13 h 69"/>
                    <a:gd name="T4" fmla="*/ 53 w 70"/>
                    <a:gd name="T5" fmla="*/ 15 h 69"/>
                    <a:gd name="T6" fmla="*/ 48 w 70"/>
                    <a:gd name="T7" fmla="*/ 11 h 69"/>
                    <a:gd name="T8" fmla="*/ 39 w 70"/>
                    <a:gd name="T9" fmla="*/ 0 h 69"/>
                    <a:gd name="T10" fmla="*/ 28 w 70"/>
                    <a:gd name="T11" fmla="*/ 9 h 69"/>
                    <a:gd name="T12" fmla="*/ 24 w 70"/>
                    <a:gd name="T13" fmla="*/ 4 h 69"/>
                    <a:gd name="T14" fmla="*/ 22 w 70"/>
                    <a:gd name="T15" fmla="*/ 2 h 69"/>
                    <a:gd name="T16" fmla="*/ 19 w 70"/>
                    <a:gd name="T17" fmla="*/ 3 h 69"/>
                    <a:gd name="T18" fmla="*/ 18 w 70"/>
                    <a:gd name="T19" fmla="*/ 4 h 69"/>
                    <a:gd name="T20" fmla="*/ 13 w 70"/>
                    <a:gd name="T21" fmla="*/ 7 h 69"/>
                    <a:gd name="T22" fmla="*/ 14 w 70"/>
                    <a:gd name="T23" fmla="*/ 9 h 69"/>
                    <a:gd name="T24" fmla="*/ 12 w 70"/>
                    <a:gd name="T25" fmla="*/ 22 h 69"/>
                    <a:gd name="T26" fmla="*/ 3 w 70"/>
                    <a:gd name="T27" fmla="*/ 21 h 69"/>
                    <a:gd name="T28" fmla="*/ 1 w 70"/>
                    <a:gd name="T29" fmla="*/ 29 h 69"/>
                    <a:gd name="T30" fmla="*/ 0 w 70"/>
                    <a:gd name="T31" fmla="*/ 31 h 69"/>
                    <a:gd name="T32" fmla="*/ 9 w 70"/>
                    <a:gd name="T33" fmla="*/ 34 h 69"/>
                    <a:gd name="T34" fmla="*/ 9 w 70"/>
                    <a:gd name="T35" fmla="*/ 38 h 69"/>
                    <a:gd name="T36" fmla="*/ 3 w 70"/>
                    <a:gd name="T37" fmla="*/ 48 h 69"/>
                    <a:gd name="T38" fmla="*/ 16 w 70"/>
                    <a:gd name="T39" fmla="*/ 53 h 69"/>
                    <a:gd name="T40" fmla="*/ 19 w 70"/>
                    <a:gd name="T41" fmla="*/ 56 h 69"/>
                    <a:gd name="T42" fmla="*/ 22 w 70"/>
                    <a:gd name="T43" fmla="*/ 58 h 69"/>
                    <a:gd name="T44" fmla="*/ 23 w 70"/>
                    <a:gd name="T45" fmla="*/ 59 h 69"/>
                    <a:gd name="T46" fmla="*/ 21 w 70"/>
                    <a:gd name="T47" fmla="*/ 67 h 69"/>
                    <a:gd name="T48" fmla="*/ 35 w 70"/>
                    <a:gd name="T49" fmla="*/ 61 h 69"/>
                    <a:gd name="T50" fmla="*/ 39 w 70"/>
                    <a:gd name="T51" fmla="*/ 61 h 69"/>
                    <a:gd name="T52" fmla="*/ 43 w 70"/>
                    <a:gd name="T53" fmla="*/ 60 h 69"/>
                    <a:gd name="T54" fmla="*/ 48 w 70"/>
                    <a:gd name="T55" fmla="*/ 67 h 69"/>
                    <a:gd name="T56" fmla="*/ 54 w 70"/>
                    <a:gd name="T57" fmla="*/ 53 h 69"/>
                    <a:gd name="T58" fmla="*/ 57 w 70"/>
                    <a:gd name="T59" fmla="*/ 49 h 69"/>
                    <a:gd name="T60" fmla="*/ 67 w 70"/>
                    <a:gd name="T61" fmla="*/ 49 h 69"/>
                    <a:gd name="T62" fmla="*/ 62 w 70"/>
                    <a:gd name="T63" fmla="*/ 35 h 69"/>
                    <a:gd name="T64" fmla="*/ 18 w 70"/>
                    <a:gd name="T65" fmla="*/ 38 h 69"/>
                    <a:gd name="T66" fmla="*/ 30 w 70"/>
                    <a:gd name="T67" fmla="*/ 17 h 69"/>
                    <a:gd name="T68" fmla="*/ 52 w 70"/>
                    <a:gd name="T6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69">
                      <a:moveTo>
                        <a:pt x="62" y="35"/>
                      </a:moveTo>
                      <a:cubicBezTo>
                        <a:pt x="62" y="32"/>
                        <a:pt x="61" y="30"/>
                        <a:pt x="60" y="27"/>
                      </a:cubicBezTo>
                      <a:cubicBezTo>
                        <a:pt x="63" y="25"/>
                        <a:pt x="65" y="23"/>
                        <a:pt x="68" y="22"/>
                      </a:cubicBezTo>
                      <a:cubicBezTo>
                        <a:pt x="67" y="18"/>
                        <a:pt x="65" y="15"/>
                        <a:pt x="62" y="13"/>
                      </a:cubicBezTo>
                      <a:cubicBezTo>
                        <a:pt x="60" y="14"/>
                        <a:pt x="57" y="15"/>
                        <a:pt x="54" y="16"/>
                      </a:cubicBezTo>
                      <a:cubicBezTo>
                        <a:pt x="54" y="16"/>
                        <a:pt x="54" y="16"/>
                        <a:pt x="53" y="15"/>
                      </a:cubicBezTo>
                      <a:cubicBezTo>
                        <a:pt x="52" y="14"/>
                        <a:pt x="51" y="13"/>
                        <a:pt x="50" y="12"/>
                      </a:cubicBezTo>
                      <a:cubicBezTo>
                        <a:pt x="49" y="12"/>
                        <a:pt x="49" y="12"/>
                        <a:pt x="48" y="11"/>
                      </a:cubicBezTo>
                      <a:cubicBezTo>
                        <a:pt x="48" y="8"/>
                        <a:pt x="49" y="5"/>
                        <a:pt x="49" y="2"/>
                      </a:cubicBezTo>
                      <a:cubicBezTo>
                        <a:pt x="46" y="1"/>
                        <a:pt x="43" y="0"/>
                        <a:pt x="39" y="0"/>
                      </a:cubicBezTo>
                      <a:cubicBezTo>
                        <a:pt x="38" y="2"/>
                        <a:pt x="37" y="5"/>
                        <a:pt x="36" y="8"/>
                      </a:cubicBezTo>
                      <a:cubicBezTo>
                        <a:pt x="33" y="8"/>
                        <a:pt x="30" y="8"/>
                        <a:pt x="28" y="9"/>
                      </a:cubicBezTo>
                      <a:cubicBezTo>
                        <a:pt x="28" y="9"/>
                        <a:pt x="28" y="9"/>
                        <a:pt x="27" y="9"/>
                      </a:cubicBezTo>
                      <a:cubicBezTo>
                        <a:pt x="26" y="7"/>
                        <a:pt x="25" y="6"/>
                        <a:pt x="24" y="4"/>
                      </a:cubicBezTo>
                      <a:cubicBezTo>
                        <a:pt x="24" y="4"/>
                        <a:pt x="23" y="3"/>
                        <a:pt x="23" y="2"/>
                      </a:cubicBezTo>
                      <a:cubicBezTo>
                        <a:pt x="22" y="2"/>
                        <a:pt x="22" y="2"/>
                        <a:pt x="22" y="2"/>
                      </a:cubicBezTo>
                      <a:cubicBezTo>
                        <a:pt x="22" y="2"/>
                        <a:pt x="22" y="2"/>
                        <a:pt x="22" y="2"/>
                      </a:cubicBezTo>
                      <a:cubicBezTo>
                        <a:pt x="21" y="2"/>
                        <a:pt x="19" y="3"/>
                        <a:pt x="19" y="3"/>
                      </a:cubicBezTo>
                      <a:cubicBezTo>
                        <a:pt x="19" y="3"/>
                        <a:pt x="19" y="3"/>
                        <a:pt x="19" y="3"/>
                      </a:cubicBezTo>
                      <a:cubicBezTo>
                        <a:pt x="18" y="3"/>
                        <a:pt x="18" y="4"/>
                        <a:pt x="18" y="4"/>
                      </a:cubicBezTo>
                      <a:cubicBezTo>
                        <a:pt x="17" y="5"/>
                        <a:pt x="16" y="6"/>
                        <a:pt x="14" y="7"/>
                      </a:cubicBezTo>
                      <a:cubicBezTo>
                        <a:pt x="14" y="7"/>
                        <a:pt x="14" y="7"/>
                        <a:pt x="13" y="7"/>
                      </a:cubicBezTo>
                      <a:cubicBezTo>
                        <a:pt x="13" y="7"/>
                        <a:pt x="13" y="7"/>
                        <a:pt x="13" y="7"/>
                      </a:cubicBezTo>
                      <a:cubicBezTo>
                        <a:pt x="13" y="8"/>
                        <a:pt x="14" y="9"/>
                        <a:pt x="14" y="9"/>
                      </a:cubicBezTo>
                      <a:cubicBezTo>
                        <a:pt x="15" y="11"/>
                        <a:pt x="16" y="13"/>
                        <a:pt x="17" y="15"/>
                      </a:cubicBezTo>
                      <a:cubicBezTo>
                        <a:pt x="15" y="17"/>
                        <a:pt x="13" y="19"/>
                        <a:pt x="12" y="22"/>
                      </a:cubicBezTo>
                      <a:cubicBezTo>
                        <a:pt x="9" y="21"/>
                        <a:pt x="6" y="21"/>
                        <a:pt x="3" y="20"/>
                      </a:cubicBezTo>
                      <a:cubicBezTo>
                        <a:pt x="3" y="21"/>
                        <a:pt x="3" y="21"/>
                        <a:pt x="3" y="21"/>
                      </a:cubicBezTo>
                      <a:cubicBezTo>
                        <a:pt x="2" y="22"/>
                        <a:pt x="2" y="23"/>
                        <a:pt x="1" y="24"/>
                      </a:cubicBezTo>
                      <a:cubicBezTo>
                        <a:pt x="1" y="26"/>
                        <a:pt x="1" y="28"/>
                        <a:pt x="1" y="29"/>
                      </a:cubicBezTo>
                      <a:cubicBezTo>
                        <a:pt x="1" y="30"/>
                        <a:pt x="0" y="30"/>
                        <a:pt x="0" y="30"/>
                      </a:cubicBezTo>
                      <a:cubicBezTo>
                        <a:pt x="0" y="31"/>
                        <a:pt x="0" y="31"/>
                        <a:pt x="0" y="31"/>
                      </a:cubicBezTo>
                      <a:cubicBezTo>
                        <a:pt x="0" y="31"/>
                        <a:pt x="0" y="31"/>
                        <a:pt x="1" y="31"/>
                      </a:cubicBezTo>
                      <a:cubicBezTo>
                        <a:pt x="3" y="32"/>
                        <a:pt x="6" y="33"/>
                        <a:pt x="9" y="34"/>
                      </a:cubicBezTo>
                      <a:cubicBezTo>
                        <a:pt x="9" y="34"/>
                        <a:pt x="9" y="34"/>
                        <a:pt x="9" y="34"/>
                      </a:cubicBezTo>
                      <a:cubicBezTo>
                        <a:pt x="9" y="35"/>
                        <a:pt x="9" y="37"/>
                        <a:pt x="9" y="38"/>
                      </a:cubicBezTo>
                      <a:cubicBezTo>
                        <a:pt x="9" y="40"/>
                        <a:pt x="9" y="41"/>
                        <a:pt x="10" y="42"/>
                      </a:cubicBezTo>
                      <a:cubicBezTo>
                        <a:pt x="8" y="44"/>
                        <a:pt x="5" y="46"/>
                        <a:pt x="3" y="48"/>
                      </a:cubicBezTo>
                      <a:cubicBezTo>
                        <a:pt x="4" y="51"/>
                        <a:pt x="6" y="54"/>
                        <a:pt x="8" y="57"/>
                      </a:cubicBezTo>
                      <a:cubicBezTo>
                        <a:pt x="11" y="55"/>
                        <a:pt x="13" y="54"/>
                        <a:pt x="16" y="53"/>
                      </a:cubicBezTo>
                      <a:cubicBezTo>
                        <a:pt x="16" y="53"/>
                        <a:pt x="16" y="53"/>
                        <a:pt x="17" y="53"/>
                      </a:cubicBezTo>
                      <a:cubicBezTo>
                        <a:pt x="17" y="54"/>
                        <a:pt x="18" y="55"/>
                        <a:pt x="19" y="56"/>
                      </a:cubicBezTo>
                      <a:cubicBezTo>
                        <a:pt x="20" y="56"/>
                        <a:pt x="21" y="56"/>
                        <a:pt x="21" y="57"/>
                      </a:cubicBezTo>
                      <a:cubicBezTo>
                        <a:pt x="22" y="57"/>
                        <a:pt x="22" y="57"/>
                        <a:pt x="22" y="58"/>
                      </a:cubicBezTo>
                      <a:cubicBezTo>
                        <a:pt x="23" y="58"/>
                        <a:pt x="23" y="58"/>
                        <a:pt x="23" y="58"/>
                      </a:cubicBezTo>
                      <a:cubicBezTo>
                        <a:pt x="23" y="59"/>
                        <a:pt x="23" y="59"/>
                        <a:pt x="23" y="59"/>
                      </a:cubicBezTo>
                      <a:cubicBezTo>
                        <a:pt x="22" y="61"/>
                        <a:pt x="22" y="63"/>
                        <a:pt x="22" y="66"/>
                      </a:cubicBezTo>
                      <a:cubicBezTo>
                        <a:pt x="21" y="66"/>
                        <a:pt x="21" y="66"/>
                        <a:pt x="21" y="67"/>
                      </a:cubicBezTo>
                      <a:cubicBezTo>
                        <a:pt x="25" y="68"/>
                        <a:pt x="28" y="69"/>
                        <a:pt x="31" y="69"/>
                      </a:cubicBezTo>
                      <a:cubicBezTo>
                        <a:pt x="33" y="67"/>
                        <a:pt x="34" y="64"/>
                        <a:pt x="35" y="61"/>
                      </a:cubicBezTo>
                      <a:cubicBezTo>
                        <a:pt x="35" y="61"/>
                        <a:pt x="36" y="61"/>
                        <a:pt x="36" y="61"/>
                      </a:cubicBezTo>
                      <a:cubicBezTo>
                        <a:pt x="37" y="61"/>
                        <a:pt x="38" y="61"/>
                        <a:pt x="39" y="61"/>
                      </a:cubicBezTo>
                      <a:cubicBezTo>
                        <a:pt x="40" y="61"/>
                        <a:pt x="41" y="60"/>
                        <a:pt x="43" y="60"/>
                      </a:cubicBezTo>
                      <a:cubicBezTo>
                        <a:pt x="43" y="60"/>
                        <a:pt x="43" y="60"/>
                        <a:pt x="43" y="60"/>
                      </a:cubicBezTo>
                      <a:cubicBezTo>
                        <a:pt x="45" y="62"/>
                        <a:pt x="46" y="65"/>
                        <a:pt x="48" y="67"/>
                      </a:cubicBezTo>
                      <a:cubicBezTo>
                        <a:pt x="48" y="67"/>
                        <a:pt x="48" y="67"/>
                        <a:pt x="48" y="67"/>
                      </a:cubicBezTo>
                      <a:cubicBezTo>
                        <a:pt x="52" y="66"/>
                        <a:pt x="55" y="64"/>
                        <a:pt x="57" y="62"/>
                      </a:cubicBezTo>
                      <a:cubicBezTo>
                        <a:pt x="56" y="59"/>
                        <a:pt x="55" y="56"/>
                        <a:pt x="54" y="53"/>
                      </a:cubicBezTo>
                      <a:cubicBezTo>
                        <a:pt x="54" y="53"/>
                        <a:pt x="55" y="52"/>
                        <a:pt x="55" y="51"/>
                      </a:cubicBezTo>
                      <a:cubicBezTo>
                        <a:pt x="56" y="51"/>
                        <a:pt x="56" y="50"/>
                        <a:pt x="57" y="49"/>
                      </a:cubicBezTo>
                      <a:cubicBezTo>
                        <a:pt x="57" y="49"/>
                        <a:pt x="58" y="48"/>
                        <a:pt x="58" y="47"/>
                      </a:cubicBezTo>
                      <a:cubicBezTo>
                        <a:pt x="61" y="48"/>
                        <a:pt x="64" y="48"/>
                        <a:pt x="67" y="49"/>
                      </a:cubicBezTo>
                      <a:cubicBezTo>
                        <a:pt x="69" y="45"/>
                        <a:pt x="70" y="42"/>
                        <a:pt x="70" y="38"/>
                      </a:cubicBezTo>
                      <a:cubicBezTo>
                        <a:pt x="67" y="37"/>
                        <a:pt x="64" y="36"/>
                        <a:pt x="62" y="35"/>
                      </a:cubicBezTo>
                      <a:close/>
                      <a:moveTo>
                        <a:pt x="40" y="52"/>
                      </a:moveTo>
                      <a:cubicBezTo>
                        <a:pt x="28" y="55"/>
                        <a:pt x="19" y="46"/>
                        <a:pt x="18" y="38"/>
                      </a:cubicBezTo>
                      <a:cubicBezTo>
                        <a:pt x="17" y="32"/>
                        <a:pt x="18" y="27"/>
                        <a:pt x="22" y="22"/>
                      </a:cubicBezTo>
                      <a:cubicBezTo>
                        <a:pt x="24" y="20"/>
                        <a:pt x="27" y="18"/>
                        <a:pt x="30" y="17"/>
                      </a:cubicBezTo>
                      <a:cubicBezTo>
                        <a:pt x="32" y="17"/>
                        <a:pt x="33" y="17"/>
                        <a:pt x="35" y="17"/>
                      </a:cubicBezTo>
                      <a:cubicBezTo>
                        <a:pt x="44" y="16"/>
                        <a:pt x="51" y="24"/>
                        <a:pt x="52" y="30"/>
                      </a:cubicBezTo>
                      <a:cubicBezTo>
                        <a:pt x="55" y="41"/>
                        <a:pt x="48" y="50"/>
                        <a:pt x="40" y="52"/>
                      </a:cubicBezTo>
                      <a:close/>
                    </a:path>
                  </a:pathLst>
                </a:custGeom>
                <a:grpFill/>
                <a:ln w="635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sp>
        <p:nvSpPr>
          <p:cNvPr id="111" name="Ellipse 110">
            <a:extLst>
              <a:ext uri="{FF2B5EF4-FFF2-40B4-BE49-F238E27FC236}">
                <a16:creationId xmlns:a16="http://schemas.microsoft.com/office/drawing/2014/main" id="{590AD3C0-05AB-4538-8883-80F03A562BC4}"/>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9" name="Rectangle 8">
            <a:extLst>
              <a:ext uri="{FF2B5EF4-FFF2-40B4-BE49-F238E27FC236}">
                <a16:creationId xmlns:a16="http://schemas.microsoft.com/office/drawing/2014/main" id="{577030B3-6326-4B7D-8438-1B83A68C62EF}"/>
              </a:ext>
            </a:extLst>
          </p:cNvPr>
          <p:cNvSpPr/>
          <p:nvPr/>
        </p:nvSpPr>
        <p:spPr>
          <a:xfrm>
            <a:off x="3860108" y="6115263"/>
            <a:ext cx="4334763" cy="696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6933865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a:xfrm>
            <a:off x="404813" y="388188"/>
            <a:ext cx="7547132" cy="808564"/>
          </a:xfrm>
        </p:spPr>
        <p:txBody>
          <a:bodyPr/>
          <a:lstStyle/>
          <a:p>
            <a:r>
              <a:rPr lang="en-IN" sz="2400"/>
              <a:t>Retail market consolidation as many retailers </a:t>
            </a:r>
            <a:r>
              <a:rPr lang="en-IN" sz="2400">
                <a:solidFill>
                  <a:schemeClr val="tx1"/>
                </a:solidFill>
              </a:rPr>
              <a:t>have gone bankrupt </a:t>
            </a:r>
          </a:p>
        </p:txBody>
      </p:sp>
      <p:graphicFrame>
        <p:nvGraphicFramePr>
          <p:cNvPr id="6" name="Graphique 5">
            <a:extLst>
              <a:ext uri="{FF2B5EF4-FFF2-40B4-BE49-F238E27FC236}">
                <a16:creationId xmlns:a16="http://schemas.microsoft.com/office/drawing/2014/main" id="{0987A232-A508-45CB-B6C6-F916D97781AF}"/>
              </a:ext>
            </a:extLst>
          </p:cNvPr>
          <p:cNvGraphicFramePr/>
          <p:nvPr/>
        </p:nvGraphicFramePr>
        <p:xfrm>
          <a:off x="796853" y="1606697"/>
          <a:ext cx="6677451" cy="4229888"/>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5">
            <a:extLst>
              <a:ext uri="{FF2B5EF4-FFF2-40B4-BE49-F238E27FC236}">
                <a16:creationId xmlns:a16="http://schemas.microsoft.com/office/drawing/2014/main" id="{000D8A13-6B62-4F7E-B452-12150AB3351A}"/>
              </a:ext>
            </a:extLst>
          </p:cNvPr>
          <p:cNvSpPr txBox="1"/>
          <p:nvPr/>
        </p:nvSpPr>
        <p:spPr>
          <a:xfrm>
            <a:off x="296642" y="6103424"/>
            <a:ext cx="269547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67171"/>
                </a:solidFill>
                <a:effectLst/>
                <a:uLnTx/>
                <a:uFillTx/>
                <a:latin typeface="Verdana" panose="020B0604030504040204" pitchFamily="34" charset="0"/>
                <a:ea typeface="Verdana" panose="020B0604030504040204" pitchFamily="34" charset="0"/>
                <a:cs typeface="+mn-cs"/>
              </a:rPr>
              <a:t>Source: Arthur D. Little and Energy Outlook: European utilities driven by higher tariffs and investment, ING</a:t>
            </a:r>
            <a:endParaRPr kumimoji="0" lang="en-US" sz="900" b="0" i="0" u="none" strike="noStrike" kern="1200" cap="none" spc="0" normalizeH="0" baseline="30000" noProof="0">
              <a:ln>
                <a:noFill/>
              </a:ln>
              <a:solidFill>
                <a:srgbClr val="767171"/>
              </a:solidFill>
              <a:effectLst/>
              <a:uLnTx/>
              <a:uFillTx/>
              <a:latin typeface="Verdana" panose="020B0604030504040204" pitchFamily="34" charset="0"/>
              <a:ea typeface="Verdana" panose="020B0604030504040204" pitchFamily="34" charset="0"/>
              <a:cs typeface="+mn-cs"/>
            </a:endParaRPr>
          </a:p>
        </p:txBody>
      </p:sp>
      <p:sp>
        <p:nvSpPr>
          <p:cNvPr id="7" name="ZoneTexte 6">
            <a:extLst>
              <a:ext uri="{FF2B5EF4-FFF2-40B4-BE49-F238E27FC236}">
                <a16:creationId xmlns:a16="http://schemas.microsoft.com/office/drawing/2014/main" id="{B120FABE-2C81-49EA-A14F-13EFA8F081A1}"/>
              </a:ext>
            </a:extLst>
          </p:cNvPr>
          <p:cNvSpPr txBox="1"/>
          <p:nvPr/>
        </p:nvSpPr>
        <p:spPr>
          <a:xfrm>
            <a:off x="1089223" y="1196752"/>
            <a:ext cx="63850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Ubuntu"/>
                <a:ea typeface="+mn-ea"/>
                <a:cs typeface="+mn-cs"/>
              </a:rPr>
              <a:t>Departures and bankruptcies of energy retailers (End 2021)</a:t>
            </a:r>
          </a:p>
        </p:txBody>
      </p:sp>
      <p:sp>
        <p:nvSpPr>
          <p:cNvPr id="14" name="Text Placeholder 7">
            <a:extLst>
              <a:ext uri="{FF2B5EF4-FFF2-40B4-BE49-F238E27FC236}">
                <a16:creationId xmlns:a16="http://schemas.microsoft.com/office/drawing/2014/main" id="{4FBB90C5-CBF6-4726-8A64-AFB8EBC9FBE4}"/>
              </a:ext>
            </a:extLst>
          </p:cNvPr>
          <p:cNvSpPr txBox="1">
            <a:spLocks/>
          </p:cNvSpPr>
          <p:nvPr/>
        </p:nvSpPr>
        <p:spPr>
          <a:xfrm>
            <a:off x="8428943" y="1375968"/>
            <a:ext cx="3358243" cy="4460617"/>
          </a:xfrm>
          <a:prstGeom prst="rect">
            <a:avLst/>
          </a:prstGeom>
          <a:noFill/>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6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0" indent="-177800"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To gain market share, some retailers agreed to low gas or electricity prices,</a:t>
            </a:r>
          </a:p>
          <a:p>
            <a:pPr marL="177800" marR="0" lvl="0" indent="-177800"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With no anticipated supplies they had to buy at very high prices to resell at low prices</a:t>
            </a:r>
          </a:p>
          <a:p>
            <a:pPr marL="177800" marR="0" lvl="0" indent="-177800"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Incumbents are the suppliers of last resort</a:t>
            </a:r>
          </a:p>
        </p:txBody>
      </p:sp>
      <p:sp>
        <p:nvSpPr>
          <p:cNvPr id="16" name="ZoneTexte 15">
            <a:extLst>
              <a:ext uri="{FF2B5EF4-FFF2-40B4-BE49-F238E27FC236}">
                <a16:creationId xmlns:a16="http://schemas.microsoft.com/office/drawing/2014/main" id="{0EC06E33-3429-4500-9676-F99B8E54F293}"/>
              </a:ext>
            </a:extLst>
          </p:cNvPr>
          <p:cNvSpPr txBox="1"/>
          <p:nvPr/>
        </p:nvSpPr>
        <p:spPr>
          <a:xfrm flipH="1">
            <a:off x="2992120" y="5953574"/>
            <a:ext cx="3086706" cy="657681"/>
          </a:xfrm>
          <a:prstGeom prst="rect">
            <a:avLst/>
          </a:prstGeom>
          <a:solidFill>
            <a:srgbClr val="00929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a:ln>
                  <a:noFill/>
                </a:ln>
                <a:solidFill>
                  <a:srgbClr val="FFFFFF"/>
                </a:solidFill>
                <a:effectLst/>
                <a:uLnTx/>
                <a:uFillTx/>
                <a:latin typeface="Ubuntu"/>
                <a:ea typeface="+mn-ea"/>
                <a:cs typeface="+mn-cs"/>
              </a:rPr>
              <a:t>Bankruptcies </a:t>
            </a:r>
            <a:r>
              <a:rPr kumimoji="0" lang="en-GB" sz="1800" b="0" i="0" u="none" strike="noStrike" kern="1200" cap="none" spc="0" normalizeH="0" baseline="0" dirty="0">
                <a:ln>
                  <a:noFill/>
                </a:ln>
                <a:solidFill>
                  <a:srgbClr val="FFFFFF"/>
                </a:solidFill>
                <a:effectLst/>
                <a:uLnTx/>
                <a:uFillTx/>
                <a:latin typeface="Ubuntu"/>
                <a:ea typeface="+mn-ea"/>
                <a:cs typeface="+mn-cs"/>
              </a:rPr>
              <a:t>are continuing notably in France</a:t>
            </a:r>
          </a:p>
        </p:txBody>
      </p:sp>
    </p:spTree>
    <p:extLst>
      <p:ext uri="{BB962C8B-B14F-4D97-AF65-F5344CB8AC3E}">
        <p14:creationId xmlns:p14="http://schemas.microsoft.com/office/powerpoint/2010/main" val="3987774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9053816-DEF7-4407-ADE3-28027463F7D6}"/>
              </a:ext>
            </a:extLst>
          </p:cNvPr>
          <p:cNvSpPr>
            <a:spLocks noGrp="1"/>
          </p:cNvSpPr>
          <p:nvPr>
            <p:ph type="ctrTitle"/>
          </p:nvPr>
        </p:nvSpPr>
        <p:spPr>
          <a:xfrm>
            <a:off x="420053" y="5441454"/>
            <a:ext cx="5585460" cy="498598"/>
          </a:xfrm>
        </p:spPr>
        <p:txBody>
          <a:bodyPr/>
          <a:lstStyle/>
          <a:p>
            <a:r>
              <a:rPr lang="en-US"/>
              <a:t>Technologies update</a:t>
            </a:r>
            <a:endParaRPr lang="en-IN"/>
          </a:p>
        </p:txBody>
      </p:sp>
      <p:sp>
        <p:nvSpPr>
          <p:cNvPr id="4" name="Ellipse 1">
            <a:extLst>
              <a:ext uri="{FF2B5EF4-FFF2-40B4-BE49-F238E27FC236}">
                <a16:creationId xmlns:a16="http://schemas.microsoft.com/office/drawing/2014/main" id="{06842FC7-F5FB-496E-8408-B33B9B40EEF0}"/>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22033968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55A0867-DE1C-3F5D-BFB1-3533F13E1EB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27915" t="-352" r="20384" b="352"/>
          <a:stretch/>
        </p:blipFill>
        <p:spPr>
          <a:xfrm>
            <a:off x="4786325" y="3817007"/>
            <a:ext cx="2696217" cy="2652805"/>
          </a:xfrm>
          <a:prstGeom prst="rect">
            <a:avLst/>
          </a:prstGeom>
        </p:spPr>
      </p:pic>
      <p:pic>
        <p:nvPicPr>
          <p:cNvPr id="20" name="Picture 19">
            <a:extLst>
              <a:ext uri="{FF2B5EF4-FFF2-40B4-BE49-F238E27FC236}">
                <a16:creationId xmlns:a16="http://schemas.microsoft.com/office/drawing/2014/main" id="{2B70E9A1-AC5C-B591-80FA-E60A8AEFF0E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5281" r="50669" b="2426"/>
          <a:stretch/>
        </p:blipFill>
        <p:spPr>
          <a:xfrm>
            <a:off x="1863498" y="1125537"/>
            <a:ext cx="2696217" cy="2634147"/>
          </a:xfrm>
          <a:prstGeom prst="rect">
            <a:avLst/>
          </a:prstGeom>
        </p:spPr>
      </p:pic>
      <p:pic>
        <p:nvPicPr>
          <p:cNvPr id="22" name="Picture 21">
            <a:extLst>
              <a:ext uri="{FF2B5EF4-FFF2-40B4-BE49-F238E27FC236}">
                <a16:creationId xmlns:a16="http://schemas.microsoft.com/office/drawing/2014/main" id="{A1A3D267-8ACC-BF26-AFEC-B7528A09D16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9538" t="61" r="22959" b="-61"/>
          <a:stretch/>
        </p:blipFill>
        <p:spPr>
          <a:xfrm>
            <a:off x="7643161" y="1127149"/>
            <a:ext cx="2696219" cy="2632535"/>
          </a:xfrm>
          <a:prstGeom prst="rect">
            <a:avLst/>
          </a:prstGeom>
        </p:spPr>
      </p:pic>
      <p:pic>
        <p:nvPicPr>
          <p:cNvPr id="26" name="Picture 25">
            <a:extLst>
              <a:ext uri="{FF2B5EF4-FFF2-40B4-BE49-F238E27FC236}">
                <a16:creationId xmlns:a16="http://schemas.microsoft.com/office/drawing/2014/main" id="{28709A0D-DD00-AC8A-3806-2ECF86DF663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50000" t="2" r="6732" b="36590"/>
          <a:stretch/>
        </p:blipFill>
        <p:spPr>
          <a:xfrm>
            <a:off x="4740741" y="1125538"/>
            <a:ext cx="2696220" cy="2634146"/>
          </a:xfrm>
          <a:prstGeom prst="rect">
            <a:avLst/>
          </a:prstGeom>
        </p:spPr>
      </p:pic>
      <p:pic>
        <p:nvPicPr>
          <p:cNvPr id="28" name="Picture 27">
            <a:extLst>
              <a:ext uri="{FF2B5EF4-FFF2-40B4-BE49-F238E27FC236}">
                <a16:creationId xmlns:a16="http://schemas.microsoft.com/office/drawing/2014/main" id="{A38C037A-6A19-8E2B-7B28-2D911A83187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8273" t="6786" r="38064"/>
          <a:stretch/>
        </p:blipFill>
        <p:spPr>
          <a:xfrm>
            <a:off x="1849645" y="3874328"/>
            <a:ext cx="2696218" cy="2634148"/>
          </a:xfrm>
          <a:prstGeom prst="rect">
            <a:avLst/>
          </a:prstGeom>
        </p:spPr>
      </p:pic>
      <p:pic>
        <p:nvPicPr>
          <p:cNvPr id="32" name="Picture 31">
            <a:extLst>
              <a:ext uri="{FF2B5EF4-FFF2-40B4-BE49-F238E27FC236}">
                <a16:creationId xmlns:a16="http://schemas.microsoft.com/office/drawing/2014/main" id="{6CF0AA79-29CC-5FAF-DE11-F8163717EB95}"/>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56900" t="33686" r="1481" b="5560"/>
          <a:stretch/>
        </p:blipFill>
        <p:spPr>
          <a:xfrm>
            <a:off x="7722998" y="3844376"/>
            <a:ext cx="2696223" cy="2625436"/>
          </a:xfrm>
          <a:prstGeom prst="rect">
            <a:avLst/>
          </a:prstGeom>
        </p:spPr>
      </p:pic>
      <p:sp>
        <p:nvSpPr>
          <p:cNvPr id="2" name="Rectangle 1">
            <a:extLst>
              <a:ext uri="{FF2B5EF4-FFF2-40B4-BE49-F238E27FC236}">
                <a16:creationId xmlns:a16="http://schemas.microsoft.com/office/drawing/2014/main" id="{57066462-F0F6-9F23-07DA-2914105D0DF7}"/>
              </a:ext>
            </a:extLst>
          </p:cNvPr>
          <p:cNvSpPr/>
          <p:nvPr/>
        </p:nvSpPr>
        <p:spPr>
          <a:xfrm>
            <a:off x="1863499" y="1125538"/>
            <a:ext cx="2696218" cy="263414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latin typeface="+mj-lt"/>
              </a:rPr>
              <a:t>SOLAR</a:t>
            </a:r>
          </a:p>
        </p:txBody>
      </p:sp>
      <p:sp>
        <p:nvSpPr>
          <p:cNvPr id="5" name="Rectangle 4">
            <a:extLst>
              <a:ext uri="{FF2B5EF4-FFF2-40B4-BE49-F238E27FC236}">
                <a16:creationId xmlns:a16="http://schemas.microsoft.com/office/drawing/2014/main" id="{5DBD2796-8838-54ED-C5AF-B96A1AE3215E}"/>
              </a:ext>
            </a:extLst>
          </p:cNvPr>
          <p:cNvSpPr/>
          <p:nvPr/>
        </p:nvSpPr>
        <p:spPr>
          <a:xfrm>
            <a:off x="4740742" y="1125538"/>
            <a:ext cx="2696218" cy="263414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latin typeface="+mj-lt"/>
              </a:rPr>
              <a:t>WIND</a:t>
            </a:r>
          </a:p>
        </p:txBody>
      </p:sp>
      <p:sp>
        <p:nvSpPr>
          <p:cNvPr id="7" name="Rectangle 6">
            <a:extLst>
              <a:ext uri="{FF2B5EF4-FFF2-40B4-BE49-F238E27FC236}">
                <a16:creationId xmlns:a16="http://schemas.microsoft.com/office/drawing/2014/main" id="{DC73C654-65CD-068A-AE8B-F73C02FCF847}"/>
              </a:ext>
            </a:extLst>
          </p:cNvPr>
          <p:cNvSpPr/>
          <p:nvPr/>
        </p:nvSpPr>
        <p:spPr>
          <a:xfrm>
            <a:off x="7643163" y="1125538"/>
            <a:ext cx="2696218" cy="2634147"/>
          </a:xfrm>
          <a:prstGeom prst="rect">
            <a:avLst/>
          </a:prstGeom>
          <a:solidFill>
            <a:schemeClr val="tx1">
              <a:alpha val="4974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latin typeface="+mj-lt"/>
              </a:rPr>
              <a:t>NUCLEAR</a:t>
            </a:r>
          </a:p>
        </p:txBody>
      </p:sp>
      <p:sp>
        <p:nvSpPr>
          <p:cNvPr id="8" name="Rectangle 7">
            <a:extLst>
              <a:ext uri="{FF2B5EF4-FFF2-40B4-BE49-F238E27FC236}">
                <a16:creationId xmlns:a16="http://schemas.microsoft.com/office/drawing/2014/main" id="{DF5C7F16-2D82-4EE4-47C6-188BDF5F27B1}"/>
              </a:ext>
            </a:extLst>
          </p:cNvPr>
          <p:cNvSpPr/>
          <p:nvPr/>
        </p:nvSpPr>
        <p:spPr>
          <a:xfrm>
            <a:off x="1849651" y="3817007"/>
            <a:ext cx="2696218" cy="263414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latin typeface="+mj-lt"/>
              </a:rPr>
              <a:t>BATTERIES / GIGAFACTORIES</a:t>
            </a:r>
          </a:p>
        </p:txBody>
      </p:sp>
      <p:sp>
        <p:nvSpPr>
          <p:cNvPr id="9" name="Rectangle 8">
            <a:extLst>
              <a:ext uri="{FF2B5EF4-FFF2-40B4-BE49-F238E27FC236}">
                <a16:creationId xmlns:a16="http://schemas.microsoft.com/office/drawing/2014/main" id="{470E7BFE-126A-300D-C7B5-CD4546E4BC43}"/>
              </a:ext>
            </a:extLst>
          </p:cNvPr>
          <p:cNvSpPr/>
          <p:nvPr/>
        </p:nvSpPr>
        <p:spPr>
          <a:xfrm>
            <a:off x="4786330" y="3856302"/>
            <a:ext cx="2696218" cy="263414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mj-lt"/>
              </a:rPr>
              <a:t>HYDROGEN</a:t>
            </a:r>
          </a:p>
        </p:txBody>
      </p:sp>
      <p:sp>
        <p:nvSpPr>
          <p:cNvPr id="10" name="Rectangle 9">
            <a:extLst>
              <a:ext uri="{FF2B5EF4-FFF2-40B4-BE49-F238E27FC236}">
                <a16:creationId xmlns:a16="http://schemas.microsoft.com/office/drawing/2014/main" id="{28F201F5-0142-4323-E9A5-E363C7B04D71}"/>
              </a:ext>
            </a:extLst>
          </p:cNvPr>
          <p:cNvSpPr/>
          <p:nvPr/>
        </p:nvSpPr>
        <p:spPr>
          <a:xfrm>
            <a:off x="7643162" y="3844375"/>
            <a:ext cx="2696218" cy="263414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latin typeface="+mj-lt"/>
              </a:rPr>
              <a:t>CCUS</a:t>
            </a:r>
          </a:p>
        </p:txBody>
      </p:sp>
      <p:sp>
        <p:nvSpPr>
          <p:cNvPr id="14" name="Titre 2">
            <a:extLst>
              <a:ext uri="{FF2B5EF4-FFF2-40B4-BE49-F238E27FC236}">
                <a16:creationId xmlns:a16="http://schemas.microsoft.com/office/drawing/2014/main" id="{2A87CB64-28B7-AF70-1F59-E0FE55DCFEE5}"/>
              </a:ext>
            </a:extLst>
          </p:cNvPr>
          <p:cNvSpPr>
            <a:spLocks noGrp="1"/>
          </p:cNvSpPr>
          <p:nvPr>
            <p:ph type="title"/>
          </p:nvPr>
        </p:nvSpPr>
        <p:spPr>
          <a:xfrm>
            <a:off x="404813" y="388188"/>
            <a:ext cx="10947772" cy="716711"/>
          </a:xfrm>
        </p:spPr>
        <p:txBody>
          <a:bodyPr/>
          <a:lstStyle/>
          <a:p>
            <a:r>
              <a:rPr lang="en-US"/>
              <a:t>Progress in Low Carbon Technologies</a:t>
            </a:r>
            <a:endParaRPr lang="fr-FR"/>
          </a:p>
        </p:txBody>
      </p:sp>
      <p:sp>
        <p:nvSpPr>
          <p:cNvPr id="21" name="Ellipse 110">
            <a:extLst>
              <a:ext uri="{FF2B5EF4-FFF2-40B4-BE49-F238E27FC236}">
                <a16:creationId xmlns:a16="http://schemas.microsoft.com/office/drawing/2014/main" id="{8150E4A1-59B0-4108-9E1D-C98B7B9E95F0}"/>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40723059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9B0CDE5-59E7-45DB-AFCA-0F62424A15AD}"/>
              </a:ext>
            </a:extLst>
          </p:cNvPr>
          <p:cNvPicPr>
            <a:picLocks noChangeAspect="1"/>
          </p:cNvPicPr>
          <p:nvPr/>
        </p:nvPicPr>
        <p:blipFill rotWithShape="1">
          <a:blip r:embed="rId3"/>
          <a:srcRect l="4366" t="20618" b="12232"/>
          <a:stretch/>
        </p:blipFill>
        <p:spPr>
          <a:xfrm>
            <a:off x="104090" y="1693393"/>
            <a:ext cx="9880582" cy="4227613"/>
          </a:xfrm>
          <a:prstGeom prst="rect">
            <a:avLst/>
          </a:prstGeom>
        </p:spPr>
      </p:pic>
      <p:sp>
        <p:nvSpPr>
          <p:cNvPr id="5" name="Title 2">
            <a:extLst>
              <a:ext uri="{FF2B5EF4-FFF2-40B4-BE49-F238E27FC236}">
                <a16:creationId xmlns:a16="http://schemas.microsoft.com/office/drawing/2014/main" id="{5D52063A-2490-4E62-979C-C50303DD6CD5}"/>
              </a:ext>
            </a:extLst>
          </p:cNvPr>
          <p:cNvSpPr>
            <a:spLocks noGrp="1"/>
          </p:cNvSpPr>
          <p:nvPr>
            <p:ph type="title"/>
          </p:nvPr>
        </p:nvSpPr>
        <p:spPr>
          <a:xfrm>
            <a:off x="404813" y="388188"/>
            <a:ext cx="10669587" cy="716711"/>
          </a:xfrm>
        </p:spPr>
        <p:txBody>
          <a:bodyPr/>
          <a:lstStyle/>
          <a:p>
            <a:r>
              <a:rPr lang="en-US" dirty="0"/>
              <a:t>Power sector INVESTMENTS: investment in grids is critical for energy transition</a:t>
            </a:r>
            <a:endParaRPr lang="en-IN" dirty="0"/>
          </a:p>
        </p:txBody>
      </p:sp>
      <p:sp>
        <p:nvSpPr>
          <p:cNvPr id="6" name="Text Placeholder 5">
            <a:extLst>
              <a:ext uri="{FF2B5EF4-FFF2-40B4-BE49-F238E27FC236}">
                <a16:creationId xmlns:a16="http://schemas.microsoft.com/office/drawing/2014/main" id="{D8E72F51-B2F7-438F-98A7-D070958CC063}"/>
              </a:ext>
            </a:extLst>
          </p:cNvPr>
          <p:cNvSpPr txBox="1">
            <a:spLocks/>
          </p:cNvSpPr>
          <p:nvPr/>
        </p:nvSpPr>
        <p:spPr>
          <a:xfrm>
            <a:off x="416187" y="1298476"/>
            <a:ext cx="10218774" cy="215444"/>
          </a:xfrm>
          <a:prstGeom prst="rect">
            <a:avLst/>
          </a:prstGeom>
          <a:solidFill>
            <a:schemeClr val="bg1"/>
          </a:solidFill>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Global annual investment in the power sector by technology, 2019-2022E</a:t>
            </a:r>
          </a:p>
        </p:txBody>
      </p:sp>
      <p:sp>
        <p:nvSpPr>
          <p:cNvPr id="7" name="TextBox 8">
            <a:extLst>
              <a:ext uri="{FF2B5EF4-FFF2-40B4-BE49-F238E27FC236}">
                <a16:creationId xmlns:a16="http://schemas.microsoft.com/office/drawing/2014/main" id="{18B1661F-9F01-4D74-AB1E-258AB3BA0772}"/>
              </a:ext>
            </a:extLst>
          </p:cNvPr>
          <p:cNvSpPr txBox="1"/>
          <p:nvPr/>
        </p:nvSpPr>
        <p:spPr>
          <a:xfrm>
            <a:off x="376122" y="6100480"/>
            <a:ext cx="988058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Notes: Gas-fired generation investment includes both large-scale plants and small-scale generating sets and engines; hydropower includes pumped-hydro stor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Source: </a:t>
            </a:r>
            <a:r>
              <a:rPr kumimoji="0" lang="en-US" sz="900" b="0" i="0" u="none" strike="noStrike" kern="1200" cap="none" spc="0" normalizeH="0">
                <a:ln>
                  <a:noFill/>
                </a:ln>
                <a:solidFill>
                  <a:schemeClr val="bg2">
                    <a:lumMod val="50000"/>
                  </a:schemeClr>
                </a:solidFill>
                <a:effectLst/>
                <a:uLnTx/>
                <a:uFillTx/>
                <a:latin typeface="Verdana"/>
                <a:ea typeface="+mn-ea"/>
                <a:cs typeface="+mn-cs"/>
              </a:rPr>
              <a:t>IEA analysis based on calculations from IRENA (2022) and Platts (2022)</a:t>
            </a:r>
          </a:p>
        </p:txBody>
      </p:sp>
      <p:sp>
        <p:nvSpPr>
          <p:cNvPr id="10" name="ZoneTexte 9">
            <a:extLst>
              <a:ext uri="{FF2B5EF4-FFF2-40B4-BE49-F238E27FC236}">
                <a16:creationId xmlns:a16="http://schemas.microsoft.com/office/drawing/2014/main" id="{965EB5B1-5864-4C31-A144-B035825EC9DE}"/>
              </a:ext>
            </a:extLst>
          </p:cNvPr>
          <p:cNvSpPr txBox="1"/>
          <p:nvPr/>
        </p:nvSpPr>
        <p:spPr>
          <a:xfrm>
            <a:off x="9928976" y="3152456"/>
            <a:ext cx="2074863" cy="1309487"/>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indent="0" algn="ctr">
              <a:lnSpc>
                <a:spcPct val="107000"/>
              </a:lnSpc>
              <a:buFontTx/>
              <a:buNone/>
              <a:defRPr baseline="0">
                <a:solidFill>
                  <a:srgbClr val="FFFFFF"/>
                </a:solidFill>
                <a:latin typeface="Ubuntu Light" panose="020B0304030602030204" pitchFamily="34" charset="0"/>
                <a:ea typeface="Calibri" panose="020F050202020403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Investments in coal and gas almost equal to those in nuclear</a:t>
            </a:r>
            <a:endParaRPr lang="fr-FR"/>
          </a:p>
        </p:txBody>
      </p:sp>
      <p:sp>
        <p:nvSpPr>
          <p:cNvPr id="11" name="Flèche : bas 23">
            <a:extLst>
              <a:ext uri="{FF2B5EF4-FFF2-40B4-BE49-F238E27FC236}">
                <a16:creationId xmlns:a16="http://schemas.microsoft.com/office/drawing/2014/main" id="{5A11BEFB-F75E-4DD7-BCFB-DD826FA9FCA2}"/>
              </a:ext>
            </a:extLst>
          </p:cNvPr>
          <p:cNvSpPr/>
          <p:nvPr/>
        </p:nvSpPr>
        <p:spPr>
          <a:xfrm rot="16200000">
            <a:off x="9279044" y="3600297"/>
            <a:ext cx="476037" cy="413803"/>
          </a:xfrm>
          <a:prstGeom prst="downArrow">
            <a:avLst>
              <a:gd name="adj1" fmla="val 51413"/>
              <a:gd name="adj2" fmla="val 43702"/>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186347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US"/>
              <a:t>Renewables investments have</a:t>
            </a:r>
            <a:br>
              <a:rPr lang="en-US"/>
            </a:br>
            <a:r>
              <a:rPr lang="en-US"/>
              <a:t>increased but are Below objectives</a:t>
            </a:r>
            <a:endParaRPr lang="en-IN"/>
          </a:p>
        </p:txBody>
      </p:sp>
      <p:sp>
        <p:nvSpPr>
          <p:cNvPr id="8" name="Text Placeholder 8">
            <a:extLst>
              <a:ext uri="{FF2B5EF4-FFF2-40B4-BE49-F238E27FC236}">
                <a16:creationId xmlns:a16="http://schemas.microsoft.com/office/drawing/2014/main" id="{CCC5FC9A-E779-47F2-8328-572A1A713E8D}"/>
              </a:ext>
            </a:extLst>
          </p:cNvPr>
          <p:cNvSpPr txBox="1">
            <a:spLocks/>
          </p:cNvSpPr>
          <p:nvPr/>
        </p:nvSpPr>
        <p:spPr>
          <a:xfrm>
            <a:off x="8639503" y="1755648"/>
            <a:ext cx="3130398" cy="2369880"/>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Clr>
                <a:srgbClr val="12ABDB"/>
              </a:buClr>
              <a:buFont typeface="Wingdings" panose="05000000000000000000" pitchFamily="2" charset="2"/>
              <a:buChar char="§"/>
              <a:defRPr/>
            </a:pPr>
            <a:r>
              <a:rPr lang="en-US" sz="1600" dirty="0">
                <a:solidFill>
                  <a:srgbClr val="FFFFFF"/>
                </a:solidFill>
                <a:latin typeface="Ubuntu Light" panose="020B0304030602030204" pitchFamily="34" charset="0"/>
              </a:rPr>
              <a:t>Solar energy investments are growing faster than wind energy investments and have reached parity by 2021</a:t>
            </a:r>
          </a:p>
          <a:p>
            <a:pPr marL="285750" indent="-285750">
              <a:lnSpc>
                <a:spcPct val="100000"/>
              </a:lnSpc>
              <a:buClr>
                <a:srgbClr val="12ABDB"/>
              </a:buClr>
              <a:buFont typeface="Wingdings" panose="05000000000000000000" pitchFamily="2" charset="2"/>
              <a:buChar char="§"/>
              <a:defRPr/>
            </a:pPr>
            <a:r>
              <a:rPr lang="en-US" sz="1600" dirty="0">
                <a:solidFill>
                  <a:srgbClr val="FFFFFF"/>
                </a:solidFill>
                <a:latin typeface="Ubuntu Light" panose="020B0304030602030204" pitchFamily="34" charset="0"/>
              </a:rPr>
              <a:t>In 2021, China implemented more renewable capacities than Europe + USA</a:t>
            </a:r>
          </a:p>
          <a:p>
            <a:pPr marL="285750" indent="-285750">
              <a:lnSpc>
                <a:spcPct val="100000"/>
              </a:lnSpc>
              <a:buClr>
                <a:srgbClr val="12ABDB"/>
              </a:buClr>
              <a:buFont typeface="Wingdings" panose="05000000000000000000" pitchFamily="2" charset="2"/>
              <a:buChar char="§"/>
              <a:defRPr/>
            </a:pPr>
            <a:r>
              <a:rPr lang="en-US" sz="1600" dirty="0">
                <a:solidFill>
                  <a:srgbClr val="FFFFFF"/>
                </a:solidFill>
                <a:latin typeface="Ubuntu Light" panose="020B0304030602030204" pitchFamily="34" charset="0"/>
              </a:rPr>
              <a:t>Offshore wind growth is higher than onshore wind growth</a:t>
            </a:r>
            <a:endParaRPr lang="en-IN" sz="1600" dirty="0">
              <a:solidFill>
                <a:srgbClr val="FFFFFF"/>
              </a:solidFill>
              <a:latin typeface="Ubuntu Light" panose="020B0304030602030204" pitchFamily="34" charset="0"/>
            </a:endParaRPr>
          </a:p>
        </p:txBody>
      </p:sp>
      <p:pic>
        <p:nvPicPr>
          <p:cNvPr id="12" name="Image 11">
            <a:extLst>
              <a:ext uri="{FF2B5EF4-FFF2-40B4-BE49-F238E27FC236}">
                <a16:creationId xmlns:a16="http://schemas.microsoft.com/office/drawing/2014/main" id="{5FB676F8-44F4-4E1E-9FB0-8B6AA8EA28F9}"/>
              </a:ext>
            </a:extLst>
          </p:cNvPr>
          <p:cNvPicPr>
            <a:picLocks noChangeAspect="1"/>
          </p:cNvPicPr>
          <p:nvPr/>
        </p:nvPicPr>
        <p:blipFill rotWithShape="1">
          <a:blip r:embed="rId3"/>
          <a:srcRect l="3223" t="7372" r="4525" b="11281"/>
          <a:stretch/>
        </p:blipFill>
        <p:spPr>
          <a:xfrm>
            <a:off x="105878" y="1703012"/>
            <a:ext cx="8197971" cy="4103923"/>
          </a:xfrm>
          <a:prstGeom prst="rect">
            <a:avLst/>
          </a:prstGeom>
        </p:spPr>
      </p:pic>
      <p:sp>
        <p:nvSpPr>
          <p:cNvPr id="9" name="ZoneTexte 8">
            <a:extLst>
              <a:ext uri="{FF2B5EF4-FFF2-40B4-BE49-F238E27FC236}">
                <a16:creationId xmlns:a16="http://schemas.microsoft.com/office/drawing/2014/main" id="{6ABAD59D-7BF6-494E-86AE-92704AAA64DB}"/>
              </a:ext>
            </a:extLst>
          </p:cNvPr>
          <p:cNvSpPr txBox="1"/>
          <p:nvPr/>
        </p:nvSpPr>
        <p:spPr>
          <a:xfrm>
            <a:off x="310848" y="1250067"/>
            <a:ext cx="7993001" cy="307777"/>
          </a:xfrm>
          <a:prstGeom prst="rect">
            <a:avLst/>
          </a:prstGeom>
          <a:noFill/>
        </p:spPr>
        <p:txBody>
          <a:bodyPr wrap="square" rtlCol="0">
            <a:spAutoFit/>
          </a:bodyPr>
          <a:lstStyle/>
          <a:p>
            <a:pPr>
              <a:spcAft>
                <a:spcPts val="600"/>
              </a:spcAft>
              <a:defRPr/>
            </a:pPr>
            <a:r>
              <a:rPr lang="en-US" sz="1400" b="1">
                <a:solidFill>
                  <a:srgbClr val="12ABDB"/>
                </a:solidFill>
                <a:latin typeface="Ubuntu" panose="020B0504030602030204" pitchFamily="34" charset="0"/>
              </a:rPr>
              <a:t>FIDs for utility-scale renewables hit new records in 2021, with a large jump in solar projects</a:t>
            </a:r>
          </a:p>
        </p:txBody>
      </p:sp>
      <p:sp>
        <p:nvSpPr>
          <p:cNvPr id="10" name="TextBox 8">
            <a:extLst>
              <a:ext uri="{FF2B5EF4-FFF2-40B4-BE49-F238E27FC236}">
                <a16:creationId xmlns:a16="http://schemas.microsoft.com/office/drawing/2014/main" id="{CA92D895-C344-4E39-A1C3-BE3DB7ED4F63}"/>
              </a:ext>
            </a:extLst>
          </p:cNvPr>
          <p:cNvSpPr txBox="1"/>
          <p:nvPr/>
        </p:nvSpPr>
        <p:spPr>
          <a:xfrm>
            <a:off x="400102" y="6192813"/>
            <a:ext cx="669253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Notes: Excludes large hydropower. Other includes biomass, waste-to-energy, geothermal, small hydro and mari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a:solidFill>
                  <a:srgbClr val="ECECEC">
                    <a:lumMod val="50000"/>
                  </a:srgbClr>
                </a:solidFill>
                <a:latin typeface="Verdana"/>
              </a:rPr>
              <a:t>Source: IEA calculations based on Clean Energy Pipeline (2022)</a:t>
            </a:r>
            <a:endPar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endParaRPr>
          </a:p>
        </p:txBody>
      </p:sp>
    </p:spTree>
    <p:extLst>
      <p:ext uri="{BB962C8B-B14F-4D97-AF65-F5344CB8AC3E}">
        <p14:creationId xmlns:p14="http://schemas.microsoft.com/office/powerpoint/2010/main" val="462778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Graphique 13">
            <a:extLst>
              <a:ext uri="{FF2B5EF4-FFF2-40B4-BE49-F238E27FC236}">
                <a16:creationId xmlns:a16="http://schemas.microsoft.com/office/drawing/2014/main" id="{394EAA2E-4D07-44A4-ABD1-86D6A7068410}"/>
              </a:ext>
            </a:extLst>
          </p:cNvPr>
          <p:cNvGraphicFramePr/>
          <p:nvPr/>
        </p:nvGraphicFramePr>
        <p:xfrm>
          <a:off x="-27817" y="1828900"/>
          <a:ext cx="11473872" cy="4640912"/>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US"/>
              <a:t>93 GW of wind and 133 GW of solar installed in 2021 despite a decline in Chinese wind</a:t>
            </a:r>
            <a:endParaRPr lang="en-IN"/>
          </a:p>
        </p:txBody>
      </p:sp>
      <p:sp>
        <p:nvSpPr>
          <p:cNvPr id="8" name="TextBox 7">
            <a:extLst>
              <a:ext uri="{FF2B5EF4-FFF2-40B4-BE49-F238E27FC236}">
                <a16:creationId xmlns:a16="http://schemas.microsoft.com/office/drawing/2014/main" id="{70D992DF-70A0-47BF-97CF-AB26B922F7AD}"/>
              </a:ext>
            </a:extLst>
          </p:cNvPr>
          <p:cNvSpPr txBox="1"/>
          <p:nvPr/>
        </p:nvSpPr>
        <p:spPr>
          <a:xfrm>
            <a:off x="404812" y="1340768"/>
            <a:ext cx="5386388" cy="307777"/>
          </a:xfrm>
          <a:prstGeom prst="rect">
            <a:avLst/>
          </a:prstGeom>
          <a:noFill/>
        </p:spPr>
        <p:txBody>
          <a:bodyPr wrap="square" rtlCol="0">
            <a:spAutoFit/>
          </a:bodyPr>
          <a:lstStyle/>
          <a:p>
            <a:pPr>
              <a:spcAft>
                <a:spcPts val="600"/>
              </a:spcAft>
              <a:defRPr/>
            </a:pPr>
            <a:r>
              <a:rPr lang="en-US" sz="1400" b="1">
                <a:solidFill>
                  <a:srgbClr val="12ABDB"/>
                </a:solidFill>
                <a:latin typeface="Ubuntu" panose="020B0504030602030204" pitchFamily="34" charset="0"/>
              </a:rPr>
              <a:t>Global added renewables capacity in 2020 and 2021</a:t>
            </a:r>
          </a:p>
        </p:txBody>
      </p:sp>
      <p:cxnSp>
        <p:nvCxnSpPr>
          <p:cNvPr id="16" name="Connecteur droit avec flèche 15">
            <a:extLst>
              <a:ext uri="{FF2B5EF4-FFF2-40B4-BE49-F238E27FC236}">
                <a16:creationId xmlns:a16="http://schemas.microsoft.com/office/drawing/2014/main" id="{431D57AB-5687-441C-B7AC-3C7814FBFA7B}"/>
              </a:ext>
            </a:extLst>
          </p:cNvPr>
          <p:cNvCxnSpPr>
            <a:cxnSpLocks/>
          </p:cNvCxnSpPr>
          <p:nvPr/>
        </p:nvCxnSpPr>
        <p:spPr>
          <a:xfrm flipV="1">
            <a:off x="3402957" y="4793546"/>
            <a:ext cx="1313422" cy="42334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5427AC3D-3383-45C5-A976-6E79374BC8D1}"/>
              </a:ext>
            </a:extLst>
          </p:cNvPr>
          <p:cNvCxnSpPr>
            <a:cxnSpLocks/>
          </p:cNvCxnSpPr>
          <p:nvPr/>
        </p:nvCxnSpPr>
        <p:spPr>
          <a:xfrm>
            <a:off x="1343472" y="2564904"/>
            <a:ext cx="504056" cy="38033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150DBBE8-FAB1-4710-A757-D8B03781B676}"/>
              </a:ext>
            </a:extLst>
          </p:cNvPr>
          <p:cNvSpPr txBox="1"/>
          <p:nvPr/>
        </p:nvSpPr>
        <p:spPr>
          <a:xfrm>
            <a:off x="1309530" y="2326497"/>
            <a:ext cx="712054" cy="369332"/>
          </a:xfrm>
          <a:prstGeom prst="rect">
            <a:avLst/>
          </a:prstGeom>
          <a:noFill/>
        </p:spPr>
        <p:txBody>
          <a:bodyPr wrap="none" rtlCol="0">
            <a:spAutoFit/>
          </a:bodyPr>
          <a:lstStyle/>
          <a:p>
            <a:r>
              <a:rPr lang="fr-FR"/>
              <a:t>-16%</a:t>
            </a:r>
          </a:p>
        </p:txBody>
      </p:sp>
      <p:cxnSp>
        <p:nvCxnSpPr>
          <p:cNvPr id="21" name="Connecteur droit avec flèche 20">
            <a:extLst>
              <a:ext uri="{FF2B5EF4-FFF2-40B4-BE49-F238E27FC236}">
                <a16:creationId xmlns:a16="http://schemas.microsoft.com/office/drawing/2014/main" id="{CD08FC6E-A865-4C5E-B2FB-461B3C2DED79}"/>
              </a:ext>
            </a:extLst>
          </p:cNvPr>
          <p:cNvCxnSpPr>
            <a:cxnSpLocks/>
          </p:cNvCxnSpPr>
          <p:nvPr/>
        </p:nvCxnSpPr>
        <p:spPr>
          <a:xfrm flipV="1">
            <a:off x="2021584" y="2046422"/>
            <a:ext cx="499851" cy="26868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5CB0A9A7-2D56-4AB7-8FE7-55AF08A2A95C}"/>
              </a:ext>
            </a:extLst>
          </p:cNvPr>
          <p:cNvSpPr txBox="1"/>
          <p:nvPr/>
        </p:nvSpPr>
        <p:spPr>
          <a:xfrm>
            <a:off x="1841021" y="1826529"/>
            <a:ext cx="643125" cy="369332"/>
          </a:xfrm>
          <a:prstGeom prst="rect">
            <a:avLst/>
          </a:prstGeom>
          <a:noFill/>
        </p:spPr>
        <p:txBody>
          <a:bodyPr wrap="none" rtlCol="0">
            <a:spAutoFit/>
          </a:bodyPr>
          <a:lstStyle/>
          <a:p>
            <a:r>
              <a:rPr lang="fr-FR"/>
              <a:t>+6%</a:t>
            </a:r>
          </a:p>
        </p:txBody>
      </p:sp>
      <p:cxnSp>
        <p:nvCxnSpPr>
          <p:cNvPr id="26" name="Connecteur droit avec flèche 25">
            <a:extLst>
              <a:ext uri="{FF2B5EF4-FFF2-40B4-BE49-F238E27FC236}">
                <a16:creationId xmlns:a16="http://schemas.microsoft.com/office/drawing/2014/main" id="{316280A3-CA95-4399-AD04-0B9E52BEE077}"/>
              </a:ext>
            </a:extLst>
          </p:cNvPr>
          <p:cNvCxnSpPr>
            <a:cxnSpLocks/>
          </p:cNvCxnSpPr>
          <p:nvPr/>
        </p:nvCxnSpPr>
        <p:spPr>
          <a:xfrm>
            <a:off x="7606241" y="3540323"/>
            <a:ext cx="433975" cy="5529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ZoneTexte 29">
            <a:extLst>
              <a:ext uri="{FF2B5EF4-FFF2-40B4-BE49-F238E27FC236}">
                <a16:creationId xmlns:a16="http://schemas.microsoft.com/office/drawing/2014/main" id="{F5506FF2-EAB1-43AF-ADEF-63ACA5763D2F}"/>
              </a:ext>
            </a:extLst>
          </p:cNvPr>
          <p:cNvSpPr txBox="1"/>
          <p:nvPr/>
        </p:nvSpPr>
        <p:spPr>
          <a:xfrm>
            <a:off x="7703396" y="3447471"/>
            <a:ext cx="712054" cy="369332"/>
          </a:xfrm>
          <a:prstGeom prst="rect">
            <a:avLst/>
          </a:prstGeom>
          <a:noFill/>
        </p:spPr>
        <p:txBody>
          <a:bodyPr wrap="none" rtlCol="0">
            <a:spAutoFit/>
          </a:bodyPr>
          <a:lstStyle/>
          <a:p>
            <a:r>
              <a:rPr lang="fr-FR"/>
              <a:t>-35%</a:t>
            </a:r>
          </a:p>
        </p:txBody>
      </p:sp>
      <p:sp>
        <p:nvSpPr>
          <p:cNvPr id="35" name="ZoneTexte 34">
            <a:extLst>
              <a:ext uri="{FF2B5EF4-FFF2-40B4-BE49-F238E27FC236}">
                <a16:creationId xmlns:a16="http://schemas.microsoft.com/office/drawing/2014/main" id="{D22FE4D3-CBF2-4F15-91FC-3CDFA075C8D9}"/>
              </a:ext>
            </a:extLst>
          </p:cNvPr>
          <p:cNvSpPr txBox="1"/>
          <p:nvPr/>
        </p:nvSpPr>
        <p:spPr>
          <a:xfrm>
            <a:off x="3537711" y="4635887"/>
            <a:ext cx="772969" cy="369332"/>
          </a:xfrm>
          <a:prstGeom prst="rect">
            <a:avLst/>
          </a:prstGeom>
          <a:noFill/>
        </p:spPr>
        <p:txBody>
          <a:bodyPr wrap="none" rtlCol="0">
            <a:spAutoFit/>
          </a:bodyPr>
          <a:lstStyle/>
          <a:p>
            <a:r>
              <a:rPr lang="fr-FR"/>
              <a:t>+18%</a:t>
            </a:r>
          </a:p>
        </p:txBody>
      </p:sp>
      <p:sp>
        <p:nvSpPr>
          <p:cNvPr id="37" name="TextBox 8">
            <a:extLst>
              <a:ext uri="{FF2B5EF4-FFF2-40B4-BE49-F238E27FC236}">
                <a16:creationId xmlns:a16="http://schemas.microsoft.com/office/drawing/2014/main" id="{8E1247BD-F8C4-4F43-A8BC-6DC1D91D52C8}"/>
              </a:ext>
            </a:extLst>
          </p:cNvPr>
          <p:cNvSpPr txBox="1"/>
          <p:nvPr/>
        </p:nvSpPr>
        <p:spPr>
          <a:xfrm>
            <a:off x="1487488" y="6510536"/>
            <a:ext cx="698477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Source: </a:t>
            </a:r>
            <a:r>
              <a:rPr kumimoji="0" lang="en-US" sz="900" b="0" i="0" u="none" strike="noStrike" kern="1200" cap="none" spc="0" normalizeH="0">
                <a:ln>
                  <a:noFill/>
                </a:ln>
                <a:solidFill>
                  <a:schemeClr val="bg2">
                    <a:lumMod val="50000"/>
                  </a:schemeClr>
                </a:solidFill>
                <a:effectLst/>
                <a:uLnTx/>
                <a:uFillTx/>
                <a:latin typeface="Verdana"/>
                <a:ea typeface="+mn-ea"/>
                <a:cs typeface="+mn-cs"/>
              </a:rPr>
              <a:t>IRENA (2022), Renewable Energy Statistics 2022, The International Renewable Energy Agency, Abu Dhabi</a:t>
            </a:r>
          </a:p>
        </p:txBody>
      </p:sp>
      <p:cxnSp>
        <p:nvCxnSpPr>
          <p:cNvPr id="19" name="Connecteur droit avec flèche 18">
            <a:extLst>
              <a:ext uri="{FF2B5EF4-FFF2-40B4-BE49-F238E27FC236}">
                <a16:creationId xmlns:a16="http://schemas.microsoft.com/office/drawing/2014/main" id="{7A3707BA-DECA-41BA-9D46-5EA86C6E0CCE}"/>
              </a:ext>
            </a:extLst>
          </p:cNvPr>
          <p:cNvCxnSpPr>
            <a:cxnSpLocks/>
          </p:cNvCxnSpPr>
          <p:nvPr/>
        </p:nvCxnSpPr>
        <p:spPr>
          <a:xfrm flipV="1">
            <a:off x="5543398" y="5005219"/>
            <a:ext cx="1181493" cy="21167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A0F6AF4A-C477-40FA-A098-8CED2CE46B9D}"/>
              </a:ext>
            </a:extLst>
          </p:cNvPr>
          <p:cNvSpPr txBox="1"/>
          <p:nvPr/>
        </p:nvSpPr>
        <p:spPr>
          <a:xfrm>
            <a:off x="5659132" y="4741724"/>
            <a:ext cx="772969" cy="369332"/>
          </a:xfrm>
          <a:prstGeom prst="rect">
            <a:avLst/>
          </a:prstGeom>
          <a:noFill/>
        </p:spPr>
        <p:txBody>
          <a:bodyPr wrap="none" rtlCol="0">
            <a:spAutoFit/>
          </a:bodyPr>
          <a:lstStyle/>
          <a:p>
            <a:r>
              <a:rPr lang="fr-FR"/>
              <a:t>+16%</a:t>
            </a:r>
          </a:p>
        </p:txBody>
      </p:sp>
      <p:sp>
        <p:nvSpPr>
          <p:cNvPr id="18" name="Ellipse 17">
            <a:extLst>
              <a:ext uri="{FF2B5EF4-FFF2-40B4-BE49-F238E27FC236}">
                <a16:creationId xmlns:a16="http://schemas.microsoft.com/office/drawing/2014/main" id="{2A2DCAC2-08D6-4E13-8BC8-831B1F136339}"/>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10772123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B6761CF5-BC9B-61AB-0156-59C8B9DC45D0}"/>
              </a:ext>
            </a:extLst>
          </p:cNvPr>
          <p:cNvSpPr>
            <a:spLocks noGrp="1"/>
          </p:cNvSpPr>
          <p:nvPr>
            <p:ph type="title"/>
          </p:nvPr>
        </p:nvSpPr>
        <p:spPr/>
        <p:txBody>
          <a:bodyPr/>
          <a:lstStyle/>
          <a:p>
            <a:r>
              <a:rPr lang="en-US" sz="2600"/>
              <a:t>Advances in wind technologies</a:t>
            </a:r>
            <a:endParaRPr lang="en-IN" sz="2600"/>
          </a:p>
        </p:txBody>
      </p:sp>
      <p:sp>
        <p:nvSpPr>
          <p:cNvPr id="17" name="ZoneTexte 88">
            <a:extLst>
              <a:ext uri="{FF2B5EF4-FFF2-40B4-BE49-F238E27FC236}">
                <a16:creationId xmlns:a16="http://schemas.microsoft.com/office/drawing/2014/main" id="{A6CBB7EC-3F15-64E3-D8F2-B0F1C72429D4}"/>
              </a:ext>
            </a:extLst>
          </p:cNvPr>
          <p:cNvSpPr txBox="1"/>
          <p:nvPr/>
        </p:nvSpPr>
        <p:spPr>
          <a:xfrm>
            <a:off x="2148499" y="1325938"/>
            <a:ext cx="3242863" cy="6235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Increase in turbine capac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up to 14 MW per turbine)</a:t>
            </a:r>
          </a:p>
        </p:txBody>
      </p:sp>
      <p:sp>
        <p:nvSpPr>
          <p:cNvPr id="26" name="ZoneTexte 90">
            <a:extLst>
              <a:ext uri="{FF2B5EF4-FFF2-40B4-BE49-F238E27FC236}">
                <a16:creationId xmlns:a16="http://schemas.microsoft.com/office/drawing/2014/main" id="{1DF53BB5-29A5-6149-8CAE-6E3A2C43F39A}"/>
              </a:ext>
            </a:extLst>
          </p:cNvPr>
          <p:cNvSpPr txBox="1"/>
          <p:nvPr/>
        </p:nvSpPr>
        <p:spPr>
          <a:xfrm>
            <a:off x="5302621" y="2613606"/>
            <a:ext cx="153153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Improvements in blade design</a:t>
            </a:r>
          </a:p>
        </p:txBody>
      </p:sp>
      <p:sp>
        <p:nvSpPr>
          <p:cNvPr id="35" name="ZoneTexte 92">
            <a:extLst>
              <a:ext uri="{FF2B5EF4-FFF2-40B4-BE49-F238E27FC236}">
                <a16:creationId xmlns:a16="http://schemas.microsoft.com/office/drawing/2014/main" id="{5FEA2192-10AD-945E-FC38-376F96AB4295}"/>
              </a:ext>
            </a:extLst>
          </p:cNvPr>
          <p:cNvSpPr txBox="1"/>
          <p:nvPr/>
        </p:nvSpPr>
        <p:spPr>
          <a:xfrm>
            <a:off x="984674" y="2674563"/>
            <a:ext cx="1286914"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Noise reduction</a:t>
            </a:r>
          </a:p>
        </p:txBody>
      </p:sp>
      <p:sp>
        <p:nvSpPr>
          <p:cNvPr id="47" name="ZoneTexte 94">
            <a:extLst>
              <a:ext uri="{FF2B5EF4-FFF2-40B4-BE49-F238E27FC236}">
                <a16:creationId xmlns:a16="http://schemas.microsoft.com/office/drawing/2014/main" id="{CA4599D0-B624-BAC3-8B34-4F03BEDC87E7}"/>
              </a:ext>
            </a:extLst>
          </p:cNvPr>
          <p:cNvSpPr txBox="1"/>
          <p:nvPr/>
        </p:nvSpPr>
        <p:spPr>
          <a:xfrm>
            <a:off x="2903617" y="5354099"/>
            <a:ext cx="1637376" cy="8860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Better monitoring thanks to AI </a:t>
            </a:r>
          </a:p>
        </p:txBody>
      </p:sp>
      <p:sp>
        <p:nvSpPr>
          <p:cNvPr id="59" name="ZoneTexte 96">
            <a:extLst>
              <a:ext uri="{FF2B5EF4-FFF2-40B4-BE49-F238E27FC236}">
                <a16:creationId xmlns:a16="http://schemas.microsoft.com/office/drawing/2014/main" id="{0BE56497-2D7E-9C69-01DE-A0E41617C158}"/>
              </a:ext>
            </a:extLst>
          </p:cNvPr>
          <p:cNvSpPr txBox="1"/>
          <p:nvPr/>
        </p:nvSpPr>
        <p:spPr>
          <a:xfrm>
            <a:off x="5223994" y="4158137"/>
            <a:ext cx="153153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Improvements in recycling</a:t>
            </a:r>
          </a:p>
        </p:txBody>
      </p:sp>
      <p:sp>
        <p:nvSpPr>
          <p:cNvPr id="75" name="ZoneTexte 98">
            <a:extLst>
              <a:ext uri="{FF2B5EF4-FFF2-40B4-BE49-F238E27FC236}">
                <a16:creationId xmlns:a16="http://schemas.microsoft.com/office/drawing/2014/main" id="{D1612EEA-D042-ECAF-920C-C8BD0C2FE276}"/>
              </a:ext>
            </a:extLst>
          </p:cNvPr>
          <p:cNvSpPr txBox="1"/>
          <p:nvPr/>
        </p:nvSpPr>
        <p:spPr>
          <a:xfrm>
            <a:off x="367961" y="4103557"/>
            <a:ext cx="2013768" cy="1077218"/>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Floating offshore wind: currently 84MW, a prediction of 264 GW by 2050</a:t>
            </a:r>
            <a:r>
              <a:rPr kumimoji="0" lang="en-US" sz="1600" b="0" i="0" u="none" strike="noStrike" kern="1200" cap="none" spc="0" normalizeH="0" baseline="30000" noProof="0">
                <a:ln>
                  <a:noFill/>
                </a:ln>
                <a:solidFill>
                  <a:prstClr val="black"/>
                </a:solidFill>
                <a:effectLst/>
                <a:uLnTx/>
                <a:uFillTx/>
                <a:latin typeface="Ubuntu"/>
                <a:ea typeface="+mn-ea"/>
                <a:cs typeface="+mn-cs"/>
              </a:rPr>
              <a:t>1</a:t>
            </a:r>
            <a:endParaRPr kumimoji="0" lang="en-US" sz="1600" b="0" i="0" u="none" strike="noStrike" kern="1200" cap="none" spc="0" normalizeH="0" baseline="0" noProof="0">
              <a:ln>
                <a:noFill/>
              </a:ln>
              <a:solidFill>
                <a:prstClr val="black"/>
              </a:solidFill>
              <a:effectLst/>
              <a:uLnTx/>
              <a:uFillTx/>
              <a:latin typeface="Ubuntu"/>
              <a:ea typeface="+mn-ea"/>
              <a:cs typeface="+mn-cs"/>
            </a:endParaRPr>
          </a:p>
        </p:txBody>
      </p:sp>
      <p:grpSp>
        <p:nvGrpSpPr>
          <p:cNvPr id="2" name="Group 1">
            <a:extLst>
              <a:ext uri="{FF2B5EF4-FFF2-40B4-BE49-F238E27FC236}">
                <a16:creationId xmlns:a16="http://schemas.microsoft.com/office/drawing/2014/main" id="{8789DDAD-42DB-4467-9C22-7A7BC713739E}"/>
              </a:ext>
            </a:extLst>
          </p:cNvPr>
          <p:cNvGrpSpPr/>
          <p:nvPr/>
        </p:nvGrpSpPr>
        <p:grpSpPr>
          <a:xfrm>
            <a:off x="2312300" y="2037183"/>
            <a:ext cx="2993337" cy="3263737"/>
            <a:chOff x="2312300" y="2037183"/>
            <a:chExt cx="2993337" cy="3263737"/>
          </a:xfrm>
        </p:grpSpPr>
        <p:grpSp>
          <p:nvGrpSpPr>
            <p:cNvPr id="9" name="Groupe 86">
              <a:extLst>
                <a:ext uri="{FF2B5EF4-FFF2-40B4-BE49-F238E27FC236}">
                  <a16:creationId xmlns:a16="http://schemas.microsoft.com/office/drawing/2014/main" id="{95952A2F-62DE-FF2E-ED8C-45425FD723E5}"/>
                </a:ext>
              </a:extLst>
            </p:cNvPr>
            <p:cNvGrpSpPr/>
            <p:nvPr/>
          </p:nvGrpSpPr>
          <p:grpSpPr>
            <a:xfrm>
              <a:off x="2312300" y="2229829"/>
              <a:ext cx="2853948" cy="2853948"/>
              <a:chOff x="1236941" y="2136590"/>
              <a:chExt cx="3672408" cy="3672408"/>
            </a:xfrm>
          </p:grpSpPr>
          <p:sp>
            <p:nvSpPr>
              <p:cNvPr id="10" name="Ellipse 151">
                <a:extLst>
                  <a:ext uri="{FF2B5EF4-FFF2-40B4-BE49-F238E27FC236}">
                    <a16:creationId xmlns:a16="http://schemas.microsoft.com/office/drawing/2014/main" id="{E568F43C-CF62-4196-3927-F1114AA10CC7}"/>
                  </a:ext>
                </a:extLst>
              </p:cNvPr>
              <p:cNvSpPr/>
              <p:nvPr/>
            </p:nvSpPr>
            <p:spPr>
              <a:xfrm>
                <a:off x="1236941" y="2136590"/>
                <a:ext cx="3672408" cy="3672408"/>
              </a:xfrm>
              <a:prstGeom prst="ellipse">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sp>
            <p:nvSpPr>
              <p:cNvPr id="11" name="Ellipse 152">
                <a:extLst>
                  <a:ext uri="{FF2B5EF4-FFF2-40B4-BE49-F238E27FC236}">
                    <a16:creationId xmlns:a16="http://schemas.microsoft.com/office/drawing/2014/main" id="{DA157EB5-9DA7-DFC6-B229-4BC37CC603F5}"/>
                  </a:ext>
                </a:extLst>
              </p:cNvPr>
              <p:cNvSpPr/>
              <p:nvPr/>
            </p:nvSpPr>
            <p:spPr>
              <a:xfrm>
                <a:off x="1632985" y="2532634"/>
                <a:ext cx="2880320" cy="288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grpSp>
        <p:grpSp>
          <p:nvGrpSpPr>
            <p:cNvPr id="12" name="Groupe 87">
              <a:extLst>
                <a:ext uri="{FF2B5EF4-FFF2-40B4-BE49-F238E27FC236}">
                  <a16:creationId xmlns:a16="http://schemas.microsoft.com/office/drawing/2014/main" id="{3B50799A-23D7-FBE1-3C47-01E4C14CBE38}"/>
                </a:ext>
              </a:extLst>
            </p:cNvPr>
            <p:cNvGrpSpPr/>
            <p:nvPr/>
          </p:nvGrpSpPr>
          <p:grpSpPr>
            <a:xfrm>
              <a:off x="3405638" y="2037183"/>
              <a:ext cx="640933" cy="596139"/>
              <a:chOff x="-2040904" y="1300425"/>
              <a:chExt cx="851512" cy="792000"/>
            </a:xfrm>
          </p:grpSpPr>
          <p:sp>
            <p:nvSpPr>
              <p:cNvPr id="13" name="Freeform 23">
                <a:extLst>
                  <a:ext uri="{FF2B5EF4-FFF2-40B4-BE49-F238E27FC236}">
                    <a16:creationId xmlns:a16="http://schemas.microsoft.com/office/drawing/2014/main" id="{601835E4-BAB5-840C-56A1-2DE2658B3453}"/>
                  </a:ext>
                </a:extLst>
              </p:cNvPr>
              <p:cNvSpPr>
                <a:spLocks noChangeAspect="1"/>
              </p:cNvSpPr>
              <p:nvPr/>
            </p:nvSpPr>
            <p:spPr bwMode="auto">
              <a:xfrm>
                <a:off x="-2040904" y="1300425"/>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07D7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 name="Freeform 178">
                <a:extLst>
                  <a:ext uri="{FF2B5EF4-FFF2-40B4-BE49-F238E27FC236}">
                    <a16:creationId xmlns:a16="http://schemas.microsoft.com/office/drawing/2014/main" id="{75A5D999-5EA6-A627-9428-DC042C27FD98}"/>
                  </a:ext>
                </a:extLst>
              </p:cNvPr>
              <p:cNvSpPr>
                <a:spLocks/>
              </p:cNvSpPr>
              <p:nvPr/>
            </p:nvSpPr>
            <p:spPr bwMode="auto">
              <a:xfrm>
                <a:off x="-1738504" y="1524180"/>
                <a:ext cx="248615" cy="340144"/>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 name="Freeform 179">
                <a:extLst>
                  <a:ext uri="{FF2B5EF4-FFF2-40B4-BE49-F238E27FC236}">
                    <a16:creationId xmlns:a16="http://schemas.microsoft.com/office/drawing/2014/main" id="{5F9436CB-7B4F-A56B-C7C6-CB2033E4A1C0}"/>
                  </a:ext>
                </a:extLst>
              </p:cNvPr>
              <p:cNvSpPr>
                <a:spLocks/>
              </p:cNvSpPr>
              <p:nvPr/>
            </p:nvSpPr>
            <p:spPr bwMode="auto">
              <a:xfrm>
                <a:off x="-1768189" y="1539023"/>
                <a:ext cx="132348" cy="293142"/>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 name="Freeform 180">
                <a:extLst>
                  <a:ext uri="{FF2B5EF4-FFF2-40B4-BE49-F238E27FC236}">
                    <a16:creationId xmlns:a16="http://schemas.microsoft.com/office/drawing/2014/main" id="{66378452-74B5-7123-E29F-D2A18E4760E5}"/>
                  </a:ext>
                </a:extLst>
              </p:cNvPr>
              <p:cNvSpPr>
                <a:spLocks/>
              </p:cNvSpPr>
              <p:nvPr/>
            </p:nvSpPr>
            <p:spPr bwMode="auto">
              <a:xfrm>
                <a:off x="-1588839" y="1553865"/>
                <a:ext cx="131110" cy="290668"/>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8" name="Groupe 89">
              <a:extLst>
                <a:ext uri="{FF2B5EF4-FFF2-40B4-BE49-F238E27FC236}">
                  <a16:creationId xmlns:a16="http://schemas.microsoft.com/office/drawing/2014/main" id="{77D3EA36-C181-9BB2-C00D-267D11087D28}"/>
                </a:ext>
              </a:extLst>
            </p:cNvPr>
            <p:cNvGrpSpPr/>
            <p:nvPr/>
          </p:nvGrpSpPr>
          <p:grpSpPr>
            <a:xfrm>
              <a:off x="4664704" y="2778866"/>
              <a:ext cx="640933" cy="596139"/>
              <a:chOff x="-1161078" y="1808312"/>
              <a:chExt cx="851512" cy="792000"/>
            </a:xfrm>
          </p:grpSpPr>
          <p:sp>
            <p:nvSpPr>
              <p:cNvPr id="19" name="Freeform 23">
                <a:extLst>
                  <a:ext uri="{FF2B5EF4-FFF2-40B4-BE49-F238E27FC236}">
                    <a16:creationId xmlns:a16="http://schemas.microsoft.com/office/drawing/2014/main" id="{3F3B29C5-0028-4CAB-3D8D-43250F40B7A6}"/>
                  </a:ext>
                </a:extLst>
              </p:cNvPr>
              <p:cNvSpPr>
                <a:spLocks noChangeAspect="1"/>
              </p:cNvSpPr>
              <p:nvPr/>
            </p:nvSpPr>
            <p:spPr bwMode="auto">
              <a:xfrm>
                <a:off x="-1161078" y="1808312"/>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07D7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0AD">
                      <a:lumMod val="75000"/>
                    </a:srgbClr>
                  </a:solidFill>
                  <a:effectLst/>
                  <a:uLnTx/>
                  <a:uFillTx/>
                  <a:latin typeface="Ubuntu"/>
                  <a:ea typeface="+mn-ea"/>
                  <a:cs typeface="+mn-cs"/>
                </a:endParaRPr>
              </a:p>
            </p:txBody>
          </p:sp>
          <p:grpSp>
            <p:nvGrpSpPr>
              <p:cNvPr id="20" name="Group 860">
                <a:extLst>
                  <a:ext uri="{FF2B5EF4-FFF2-40B4-BE49-F238E27FC236}">
                    <a16:creationId xmlns:a16="http://schemas.microsoft.com/office/drawing/2014/main" id="{9CAB156B-DD0C-0DAB-CF2A-BDD103DC64D5}"/>
                  </a:ext>
                </a:extLst>
              </p:cNvPr>
              <p:cNvGrpSpPr/>
              <p:nvPr/>
            </p:nvGrpSpPr>
            <p:grpSpPr>
              <a:xfrm>
                <a:off x="-968333" y="1985629"/>
                <a:ext cx="468021" cy="410421"/>
                <a:chOff x="6555028" y="3500429"/>
                <a:chExt cx="1130988" cy="991797"/>
              </a:xfrm>
            </p:grpSpPr>
            <p:grpSp>
              <p:nvGrpSpPr>
                <p:cNvPr id="21" name="Group 861">
                  <a:extLst>
                    <a:ext uri="{FF2B5EF4-FFF2-40B4-BE49-F238E27FC236}">
                      <a16:creationId xmlns:a16="http://schemas.microsoft.com/office/drawing/2014/main" id="{B0B21252-E80E-3436-5654-061D3E286015}"/>
                    </a:ext>
                  </a:extLst>
                </p:cNvPr>
                <p:cNvGrpSpPr/>
                <p:nvPr/>
              </p:nvGrpSpPr>
              <p:grpSpPr>
                <a:xfrm>
                  <a:off x="6991055" y="3500429"/>
                  <a:ext cx="694961" cy="694960"/>
                  <a:chOff x="6287903" y="4146579"/>
                  <a:chExt cx="429534" cy="429534"/>
                </a:xfrm>
              </p:grpSpPr>
              <p:sp>
                <p:nvSpPr>
                  <p:cNvPr id="23" name="Freeform 114">
                    <a:extLst>
                      <a:ext uri="{FF2B5EF4-FFF2-40B4-BE49-F238E27FC236}">
                        <a16:creationId xmlns:a16="http://schemas.microsoft.com/office/drawing/2014/main" id="{E8AF9815-1AE1-D774-AA24-A3CCA3B89442}"/>
                      </a:ext>
                    </a:extLst>
                  </p:cNvPr>
                  <p:cNvSpPr>
                    <a:spLocks/>
                  </p:cNvSpPr>
                  <p:nvPr/>
                </p:nvSpPr>
                <p:spPr bwMode="auto">
                  <a:xfrm>
                    <a:off x="6575207" y="4146579"/>
                    <a:ext cx="142230" cy="135117"/>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 name="Freeform 115">
                    <a:extLst>
                      <a:ext uri="{FF2B5EF4-FFF2-40B4-BE49-F238E27FC236}">
                        <a16:creationId xmlns:a16="http://schemas.microsoft.com/office/drawing/2014/main" id="{F039ACF8-4229-88D8-2079-2F96B0DFAA0F}"/>
                      </a:ext>
                    </a:extLst>
                  </p:cNvPr>
                  <p:cNvSpPr>
                    <a:spLocks/>
                  </p:cNvSpPr>
                  <p:nvPr/>
                </p:nvSpPr>
                <p:spPr bwMode="auto">
                  <a:xfrm>
                    <a:off x="6287903" y="4465174"/>
                    <a:ext cx="109518" cy="110939"/>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 name="Freeform 116">
                    <a:extLst>
                      <a:ext uri="{FF2B5EF4-FFF2-40B4-BE49-F238E27FC236}">
                        <a16:creationId xmlns:a16="http://schemas.microsoft.com/office/drawing/2014/main" id="{EA5A2C4F-C162-229A-A0F1-BD4E21D65A01}"/>
                      </a:ext>
                    </a:extLst>
                  </p:cNvPr>
                  <p:cNvSpPr>
                    <a:spLocks/>
                  </p:cNvSpPr>
                  <p:nvPr/>
                </p:nvSpPr>
                <p:spPr bwMode="auto">
                  <a:xfrm>
                    <a:off x="6339106" y="4217694"/>
                    <a:ext cx="300105" cy="302949"/>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2" name="Freeform: Shape 862">
                  <a:extLst>
                    <a:ext uri="{FF2B5EF4-FFF2-40B4-BE49-F238E27FC236}">
                      <a16:creationId xmlns:a16="http://schemas.microsoft.com/office/drawing/2014/main" id="{FF750BF6-455F-D68F-3329-AB49636D2481}"/>
                    </a:ext>
                  </a:extLst>
                </p:cNvPr>
                <p:cNvSpPr/>
                <p:nvPr/>
              </p:nvSpPr>
              <p:spPr>
                <a:xfrm>
                  <a:off x="6555028" y="4195764"/>
                  <a:ext cx="393460" cy="296462"/>
                </a:xfrm>
                <a:custGeom>
                  <a:avLst/>
                  <a:gdLst>
                    <a:gd name="connsiteX0" fmla="*/ 393460 w 393460"/>
                    <a:gd name="connsiteY0" fmla="*/ 0 h 371475"/>
                    <a:gd name="connsiteX1" fmla="*/ 2935 w 393460"/>
                    <a:gd name="connsiteY1" fmla="*/ 176212 h 371475"/>
                    <a:gd name="connsiteX2" fmla="*/ 207722 w 393460"/>
                    <a:gd name="connsiteY2" fmla="*/ 280987 h 371475"/>
                    <a:gd name="connsiteX3" fmla="*/ 74372 w 393460"/>
                    <a:gd name="connsiteY3" fmla="*/ 371475 h 371475"/>
                  </a:gdLst>
                  <a:ahLst/>
                  <a:cxnLst>
                    <a:cxn ang="0">
                      <a:pos x="connsiteX0" y="connsiteY0"/>
                    </a:cxn>
                    <a:cxn ang="0">
                      <a:pos x="connsiteX1" y="connsiteY1"/>
                    </a:cxn>
                    <a:cxn ang="0">
                      <a:pos x="connsiteX2" y="connsiteY2"/>
                    </a:cxn>
                    <a:cxn ang="0">
                      <a:pos x="connsiteX3" y="connsiteY3"/>
                    </a:cxn>
                  </a:cxnLst>
                  <a:rect l="l" t="t" r="r" b="b"/>
                  <a:pathLst>
                    <a:path w="393460" h="371475">
                      <a:moveTo>
                        <a:pt x="393460" y="0"/>
                      </a:moveTo>
                      <a:cubicBezTo>
                        <a:pt x="213675" y="64690"/>
                        <a:pt x="33891" y="129381"/>
                        <a:pt x="2935" y="176212"/>
                      </a:cubicBezTo>
                      <a:cubicBezTo>
                        <a:pt x="-28021" y="223043"/>
                        <a:pt x="195816" y="248443"/>
                        <a:pt x="207722" y="280987"/>
                      </a:cubicBezTo>
                      <a:cubicBezTo>
                        <a:pt x="219628" y="313531"/>
                        <a:pt x="147000" y="342503"/>
                        <a:pt x="74372" y="371475"/>
                      </a:cubicBezTo>
                    </a:path>
                  </a:pathLst>
                </a:custGeom>
                <a:noFill/>
                <a:ln w="19050" cap="rnd">
                  <a:solidFill>
                    <a:srgbClr val="007D7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grpSp>
        </p:grpSp>
        <p:grpSp>
          <p:nvGrpSpPr>
            <p:cNvPr id="27" name="Groupe 91">
              <a:extLst>
                <a:ext uri="{FF2B5EF4-FFF2-40B4-BE49-F238E27FC236}">
                  <a16:creationId xmlns:a16="http://schemas.microsoft.com/office/drawing/2014/main" id="{674007A4-4397-5703-56FE-4C3A67495D1B}"/>
                </a:ext>
              </a:extLst>
            </p:cNvPr>
            <p:cNvGrpSpPr/>
            <p:nvPr/>
          </p:nvGrpSpPr>
          <p:grpSpPr>
            <a:xfrm>
              <a:off x="2322192" y="2778284"/>
              <a:ext cx="640933" cy="596139"/>
              <a:chOff x="-3062969" y="1396087"/>
              <a:chExt cx="851512" cy="792000"/>
            </a:xfrm>
          </p:grpSpPr>
          <p:sp>
            <p:nvSpPr>
              <p:cNvPr id="28" name="Freeform 23">
                <a:extLst>
                  <a:ext uri="{FF2B5EF4-FFF2-40B4-BE49-F238E27FC236}">
                    <a16:creationId xmlns:a16="http://schemas.microsoft.com/office/drawing/2014/main" id="{9C01167F-4FD8-6C48-6BD9-050D7092426E}"/>
                  </a:ext>
                </a:extLst>
              </p:cNvPr>
              <p:cNvSpPr>
                <a:spLocks noChangeAspect="1"/>
              </p:cNvSpPr>
              <p:nvPr/>
            </p:nvSpPr>
            <p:spPr bwMode="auto">
              <a:xfrm>
                <a:off x="-3062969" y="1396087"/>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07D7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9" name="Group 197">
                <a:extLst>
                  <a:ext uri="{FF2B5EF4-FFF2-40B4-BE49-F238E27FC236}">
                    <a16:creationId xmlns:a16="http://schemas.microsoft.com/office/drawing/2014/main" id="{555037B7-FB78-CE6E-4DAB-84D01ED44BD2}"/>
                  </a:ext>
                </a:extLst>
              </p:cNvPr>
              <p:cNvGrpSpPr/>
              <p:nvPr/>
            </p:nvGrpSpPr>
            <p:grpSpPr>
              <a:xfrm flipH="1">
                <a:off x="-2785992" y="1598742"/>
                <a:ext cx="306877" cy="342832"/>
                <a:chOff x="697434" y="5564478"/>
                <a:chExt cx="324069" cy="362035"/>
              </a:xfrm>
              <a:solidFill>
                <a:schemeClr val="accent1">
                  <a:lumMod val="75000"/>
                </a:schemeClr>
              </a:solidFill>
            </p:grpSpPr>
            <p:sp>
              <p:nvSpPr>
                <p:cNvPr id="30" name="Freeform 126">
                  <a:extLst>
                    <a:ext uri="{FF2B5EF4-FFF2-40B4-BE49-F238E27FC236}">
                      <a16:creationId xmlns:a16="http://schemas.microsoft.com/office/drawing/2014/main" id="{9F8BACA0-895B-C4CC-F50A-178D3966C78B}"/>
                    </a:ext>
                  </a:extLst>
                </p:cNvPr>
                <p:cNvSpPr>
                  <a:spLocks/>
                </p:cNvSpPr>
                <p:nvPr/>
              </p:nvSpPr>
              <p:spPr bwMode="auto">
                <a:xfrm>
                  <a:off x="965909" y="5637699"/>
                  <a:ext cx="55594" cy="28881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1" name="Freeform 127">
                  <a:extLst>
                    <a:ext uri="{FF2B5EF4-FFF2-40B4-BE49-F238E27FC236}">
                      <a16:creationId xmlns:a16="http://schemas.microsoft.com/office/drawing/2014/main" id="{014B1B69-8752-5EEE-0284-B639A183B83C}"/>
                    </a:ext>
                  </a:extLst>
                </p:cNvPr>
                <p:cNvSpPr>
                  <a:spLocks/>
                </p:cNvSpPr>
                <p:nvPr/>
              </p:nvSpPr>
              <p:spPr bwMode="auto">
                <a:xfrm>
                  <a:off x="885909" y="5719055"/>
                  <a:ext cx="51525" cy="20745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2" name="Freeform 128">
                  <a:extLst>
                    <a:ext uri="{FF2B5EF4-FFF2-40B4-BE49-F238E27FC236}">
                      <a16:creationId xmlns:a16="http://schemas.microsoft.com/office/drawing/2014/main" id="{353272D3-AE61-42BE-CF8E-CADB715D9124}"/>
                    </a:ext>
                  </a:extLst>
                </p:cNvPr>
                <p:cNvSpPr>
                  <a:spLocks/>
                </p:cNvSpPr>
                <p:nvPr/>
              </p:nvSpPr>
              <p:spPr bwMode="auto">
                <a:xfrm>
                  <a:off x="805909" y="5763801"/>
                  <a:ext cx="51525" cy="162712"/>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3" name="Freeform 129">
                  <a:extLst>
                    <a:ext uri="{FF2B5EF4-FFF2-40B4-BE49-F238E27FC236}">
                      <a16:creationId xmlns:a16="http://schemas.microsoft.com/office/drawing/2014/main" id="{6E66CD95-CB3B-DC0E-88E9-9A7AEE7D0BC4}"/>
                    </a:ext>
                  </a:extLst>
                </p:cNvPr>
                <p:cNvSpPr>
                  <a:spLocks/>
                </p:cNvSpPr>
                <p:nvPr/>
              </p:nvSpPr>
              <p:spPr bwMode="auto">
                <a:xfrm>
                  <a:off x="725909" y="5811258"/>
                  <a:ext cx="51525" cy="11525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 name="Freeform 130">
                  <a:extLst>
                    <a:ext uri="{FF2B5EF4-FFF2-40B4-BE49-F238E27FC236}">
                      <a16:creationId xmlns:a16="http://schemas.microsoft.com/office/drawing/2014/main" id="{78699797-C329-BED8-CDD8-7B6DCBEAF12A}"/>
                    </a:ext>
                  </a:extLst>
                </p:cNvPr>
                <p:cNvSpPr>
                  <a:spLocks/>
                </p:cNvSpPr>
                <p:nvPr/>
              </p:nvSpPr>
              <p:spPr bwMode="auto">
                <a:xfrm rot="10800000">
                  <a:off x="697434" y="5564478"/>
                  <a:ext cx="275255" cy="21830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37" name="Freeform 23">
              <a:extLst>
                <a:ext uri="{FF2B5EF4-FFF2-40B4-BE49-F238E27FC236}">
                  <a16:creationId xmlns:a16="http://schemas.microsoft.com/office/drawing/2014/main" id="{3E2E03A6-8973-80C5-0338-BA0A42139B49}"/>
                </a:ext>
              </a:extLst>
            </p:cNvPr>
            <p:cNvSpPr>
              <a:spLocks noChangeAspect="1"/>
            </p:cNvSpPr>
            <p:nvPr/>
          </p:nvSpPr>
          <p:spPr bwMode="auto">
            <a:xfrm>
              <a:off x="3405638" y="4704781"/>
              <a:ext cx="640933" cy="596139"/>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07D7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Verdana"/>
                <a:ea typeface="+mn-ea"/>
                <a:cs typeface="+mn-cs"/>
              </a:endParaRPr>
            </a:p>
          </p:txBody>
        </p:sp>
        <p:grpSp>
          <p:nvGrpSpPr>
            <p:cNvPr id="81" name="Group 80">
              <a:extLst>
                <a:ext uri="{FF2B5EF4-FFF2-40B4-BE49-F238E27FC236}">
                  <a16:creationId xmlns:a16="http://schemas.microsoft.com/office/drawing/2014/main" id="{5E880C28-1D53-069C-C321-9E5D51EEB3CA}"/>
                </a:ext>
              </a:extLst>
            </p:cNvPr>
            <p:cNvGrpSpPr/>
            <p:nvPr/>
          </p:nvGrpSpPr>
          <p:grpSpPr>
            <a:xfrm>
              <a:off x="3459793" y="4875090"/>
              <a:ext cx="519852" cy="253718"/>
              <a:chOff x="3459793" y="4875090"/>
              <a:chExt cx="519852" cy="253718"/>
            </a:xfrm>
          </p:grpSpPr>
          <p:sp>
            <p:nvSpPr>
              <p:cNvPr id="38" name="Freeform 115">
                <a:extLst>
                  <a:ext uri="{FF2B5EF4-FFF2-40B4-BE49-F238E27FC236}">
                    <a16:creationId xmlns:a16="http://schemas.microsoft.com/office/drawing/2014/main" id="{7F7C1987-8006-1805-0EA4-B451949131B8}"/>
                  </a:ext>
                </a:extLst>
              </p:cNvPr>
              <p:cNvSpPr>
                <a:spLocks/>
              </p:cNvSpPr>
              <p:nvPr/>
            </p:nvSpPr>
            <p:spPr bwMode="auto">
              <a:xfrm>
                <a:off x="3705684" y="5117552"/>
                <a:ext cx="38770" cy="11256"/>
              </a:xfrm>
              <a:custGeom>
                <a:avLst/>
                <a:gdLst>
                  <a:gd name="T0" fmla="*/ 0 w 29"/>
                  <a:gd name="T1" fmla="*/ 0 h 8"/>
                  <a:gd name="T2" fmla="*/ 9 w 29"/>
                  <a:gd name="T3" fmla="*/ 8 h 8"/>
                  <a:gd name="T4" fmla="*/ 29 w 29"/>
                  <a:gd name="T5" fmla="*/ 0 h 8"/>
                  <a:gd name="T6" fmla="*/ 0 w 29"/>
                  <a:gd name="T7" fmla="*/ 0 h 8"/>
                  <a:gd name="T8" fmla="*/ 0 w 29"/>
                  <a:gd name="T9" fmla="*/ 0 h 8"/>
                </a:gdLst>
                <a:ahLst/>
                <a:cxnLst>
                  <a:cxn ang="0">
                    <a:pos x="T0" y="T1"/>
                  </a:cxn>
                  <a:cxn ang="0">
                    <a:pos x="T2" y="T3"/>
                  </a:cxn>
                  <a:cxn ang="0">
                    <a:pos x="T4" y="T5"/>
                  </a:cxn>
                  <a:cxn ang="0">
                    <a:pos x="T6" y="T7"/>
                  </a:cxn>
                  <a:cxn ang="0">
                    <a:pos x="T8" y="T9"/>
                  </a:cxn>
                </a:cxnLst>
                <a:rect l="0" t="0" r="r" b="b"/>
                <a:pathLst>
                  <a:path w="29" h="8">
                    <a:moveTo>
                      <a:pt x="0" y="0"/>
                    </a:moveTo>
                    <a:cubicBezTo>
                      <a:pt x="5" y="4"/>
                      <a:pt x="9" y="8"/>
                      <a:pt x="9" y="8"/>
                    </a:cubicBezTo>
                    <a:cubicBezTo>
                      <a:pt x="17" y="8"/>
                      <a:pt x="24" y="4"/>
                      <a:pt x="29" y="0"/>
                    </a:cubicBezTo>
                    <a:cubicBezTo>
                      <a:pt x="0" y="0"/>
                      <a:pt x="0" y="0"/>
                      <a:pt x="0" y="0"/>
                    </a:cubicBezTo>
                    <a:cubicBezTo>
                      <a:pt x="0" y="0"/>
                      <a:pt x="0" y="0"/>
                      <a:pt x="0" y="0"/>
                    </a:cubicBez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39" name="Freeform 116">
                <a:extLst>
                  <a:ext uri="{FF2B5EF4-FFF2-40B4-BE49-F238E27FC236}">
                    <a16:creationId xmlns:a16="http://schemas.microsoft.com/office/drawing/2014/main" id="{76388058-64AF-1A80-82B3-CC0B28C79BD6}"/>
                  </a:ext>
                </a:extLst>
              </p:cNvPr>
              <p:cNvSpPr>
                <a:spLocks/>
              </p:cNvSpPr>
              <p:nvPr/>
            </p:nvSpPr>
            <p:spPr bwMode="auto">
              <a:xfrm>
                <a:off x="3684422" y="5066902"/>
                <a:ext cx="66284" cy="11881"/>
              </a:xfrm>
              <a:custGeom>
                <a:avLst/>
                <a:gdLst>
                  <a:gd name="T0" fmla="*/ 50 w 50"/>
                  <a:gd name="T1" fmla="*/ 5 h 9"/>
                  <a:gd name="T2" fmla="*/ 46 w 50"/>
                  <a:gd name="T3" fmla="*/ 9 h 9"/>
                  <a:gd name="T4" fmla="*/ 3 w 50"/>
                  <a:gd name="T5" fmla="*/ 9 h 9"/>
                  <a:gd name="T6" fmla="*/ 0 w 50"/>
                  <a:gd name="T7" fmla="*/ 5 h 9"/>
                  <a:gd name="T8" fmla="*/ 0 w 50"/>
                  <a:gd name="T9" fmla="*/ 3 h 9"/>
                  <a:gd name="T10" fmla="*/ 3 w 50"/>
                  <a:gd name="T11" fmla="*/ 0 h 9"/>
                  <a:gd name="T12" fmla="*/ 46 w 50"/>
                  <a:gd name="T13" fmla="*/ 0 h 9"/>
                  <a:gd name="T14" fmla="*/ 50 w 50"/>
                  <a:gd name="T15" fmla="*/ 3 h 9"/>
                  <a:gd name="T16" fmla="*/ 50 w 50"/>
                  <a:gd name="T17" fmla="*/ 5 h 9"/>
                  <a:gd name="T18" fmla="*/ 50 w 50"/>
                  <a:gd name="T1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9">
                    <a:moveTo>
                      <a:pt x="50" y="5"/>
                    </a:moveTo>
                    <a:cubicBezTo>
                      <a:pt x="50" y="7"/>
                      <a:pt x="49" y="9"/>
                      <a:pt x="46" y="9"/>
                    </a:cubicBezTo>
                    <a:cubicBezTo>
                      <a:pt x="3" y="9"/>
                      <a:pt x="3" y="9"/>
                      <a:pt x="3" y="9"/>
                    </a:cubicBezTo>
                    <a:cubicBezTo>
                      <a:pt x="1" y="9"/>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0" name="Freeform 117">
                <a:extLst>
                  <a:ext uri="{FF2B5EF4-FFF2-40B4-BE49-F238E27FC236}">
                    <a16:creationId xmlns:a16="http://schemas.microsoft.com/office/drawing/2014/main" id="{3A5FEBE7-D837-0572-B966-9955A9AE5278}"/>
                  </a:ext>
                </a:extLst>
              </p:cNvPr>
              <p:cNvSpPr>
                <a:spLocks/>
              </p:cNvSpPr>
              <p:nvPr/>
            </p:nvSpPr>
            <p:spPr bwMode="auto">
              <a:xfrm>
                <a:off x="3684422" y="5084410"/>
                <a:ext cx="66284" cy="10630"/>
              </a:xfrm>
              <a:custGeom>
                <a:avLst/>
                <a:gdLst>
                  <a:gd name="T0" fmla="*/ 50 w 50"/>
                  <a:gd name="T1" fmla="*/ 5 h 8"/>
                  <a:gd name="T2" fmla="*/ 46 w 50"/>
                  <a:gd name="T3" fmla="*/ 8 h 8"/>
                  <a:gd name="T4" fmla="*/ 3 w 50"/>
                  <a:gd name="T5" fmla="*/ 8 h 8"/>
                  <a:gd name="T6" fmla="*/ 0 w 50"/>
                  <a:gd name="T7" fmla="*/ 5 h 8"/>
                  <a:gd name="T8" fmla="*/ 0 w 50"/>
                  <a:gd name="T9" fmla="*/ 3 h 8"/>
                  <a:gd name="T10" fmla="*/ 3 w 50"/>
                  <a:gd name="T11" fmla="*/ 0 h 8"/>
                  <a:gd name="T12" fmla="*/ 46 w 50"/>
                  <a:gd name="T13" fmla="*/ 0 h 8"/>
                  <a:gd name="T14" fmla="*/ 50 w 50"/>
                  <a:gd name="T15" fmla="*/ 3 h 8"/>
                  <a:gd name="T16" fmla="*/ 50 w 50"/>
                  <a:gd name="T17" fmla="*/ 5 h 8"/>
                  <a:gd name="T18" fmla="*/ 50 w 50"/>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8">
                    <a:moveTo>
                      <a:pt x="50" y="5"/>
                    </a:moveTo>
                    <a:cubicBezTo>
                      <a:pt x="50" y="7"/>
                      <a:pt x="49" y="8"/>
                      <a:pt x="46" y="8"/>
                    </a:cubicBezTo>
                    <a:cubicBezTo>
                      <a:pt x="3" y="8"/>
                      <a:pt x="3" y="8"/>
                      <a:pt x="3" y="8"/>
                    </a:cubicBezTo>
                    <a:cubicBezTo>
                      <a:pt x="1" y="8"/>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1" name="Freeform 118">
                <a:extLst>
                  <a:ext uri="{FF2B5EF4-FFF2-40B4-BE49-F238E27FC236}">
                    <a16:creationId xmlns:a16="http://schemas.microsoft.com/office/drawing/2014/main" id="{4C39DF47-2E2E-53AA-4107-8D979AB89978}"/>
                  </a:ext>
                </a:extLst>
              </p:cNvPr>
              <p:cNvSpPr>
                <a:spLocks/>
              </p:cNvSpPr>
              <p:nvPr/>
            </p:nvSpPr>
            <p:spPr bwMode="auto">
              <a:xfrm>
                <a:off x="3684422" y="5098793"/>
                <a:ext cx="66284" cy="13757"/>
              </a:xfrm>
              <a:custGeom>
                <a:avLst/>
                <a:gdLst>
                  <a:gd name="T0" fmla="*/ 50 w 50"/>
                  <a:gd name="T1" fmla="*/ 7 h 10"/>
                  <a:gd name="T2" fmla="*/ 46 w 50"/>
                  <a:gd name="T3" fmla="*/ 10 h 10"/>
                  <a:gd name="T4" fmla="*/ 3 w 50"/>
                  <a:gd name="T5" fmla="*/ 10 h 10"/>
                  <a:gd name="T6" fmla="*/ 0 w 50"/>
                  <a:gd name="T7" fmla="*/ 7 h 10"/>
                  <a:gd name="T8" fmla="*/ 0 w 50"/>
                  <a:gd name="T9" fmla="*/ 5 h 10"/>
                  <a:gd name="T10" fmla="*/ 3 w 50"/>
                  <a:gd name="T11" fmla="*/ 0 h 10"/>
                  <a:gd name="T12" fmla="*/ 46 w 50"/>
                  <a:gd name="T13" fmla="*/ 0 h 10"/>
                  <a:gd name="T14" fmla="*/ 50 w 50"/>
                  <a:gd name="T15" fmla="*/ 5 h 10"/>
                  <a:gd name="T16" fmla="*/ 50 w 50"/>
                  <a:gd name="T17" fmla="*/ 7 h 10"/>
                  <a:gd name="T18" fmla="*/ 50 w 50"/>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
                    <a:moveTo>
                      <a:pt x="50" y="7"/>
                    </a:moveTo>
                    <a:cubicBezTo>
                      <a:pt x="50" y="9"/>
                      <a:pt x="49" y="10"/>
                      <a:pt x="46" y="10"/>
                    </a:cubicBezTo>
                    <a:cubicBezTo>
                      <a:pt x="3" y="10"/>
                      <a:pt x="3" y="10"/>
                      <a:pt x="3" y="10"/>
                    </a:cubicBezTo>
                    <a:cubicBezTo>
                      <a:pt x="1" y="10"/>
                      <a:pt x="0" y="9"/>
                      <a:pt x="0" y="7"/>
                    </a:cubicBezTo>
                    <a:cubicBezTo>
                      <a:pt x="0" y="5"/>
                      <a:pt x="0" y="5"/>
                      <a:pt x="0" y="5"/>
                    </a:cubicBezTo>
                    <a:cubicBezTo>
                      <a:pt x="0" y="3"/>
                      <a:pt x="1" y="0"/>
                      <a:pt x="3" y="0"/>
                    </a:cubicBezTo>
                    <a:cubicBezTo>
                      <a:pt x="46" y="0"/>
                      <a:pt x="46" y="0"/>
                      <a:pt x="46" y="0"/>
                    </a:cubicBezTo>
                    <a:cubicBezTo>
                      <a:pt x="49" y="0"/>
                      <a:pt x="50" y="3"/>
                      <a:pt x="50" y="5"/>
                    </a:cubicBezTo>
                    <a:cubicBezTo>
                      <a:pt x="50" y="7"/>
                      <a:pt x="50" y="7"/>
                      <a:pt x="50" y="7"/>
                    </a:cubicBezTo>
                    <a:cubicBezTo>
                      <a:pt x="50" y="7"/>
                      <a:pt x="50" y="7"/>
                      <a:pt x="50" y="7"/>
                    </a:cubicBez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2" name="Freeform 119">
                <a:extLst>
                  <a:ext uri="{FF2B5EF4-FFF2-40B4-BE49-F238E27FC236}">
                    <a16:creationId xmlns:a16="http://schemas.microsoft.com/office/drawing/2014/main" id="{4A8E71DD-BAD8-3217-FA99-4750BD0FD1E2}"/>
                  </a:ext>
                </a:extLst>
              </p:cNvPr>
              <p:cNvSpPr>
                <a:spLocks/>
              </p:cNvSpPr>
              <p:nvPr/>
            </p:nvSpPr>
            <p:spPr bwMode="auto">
              <a:xfrm>
                <a:off x="3636273" y="4876803"/>
                <a:ext cx="162583" cy="177591"/>
              </a:xfrm>
              <a:custGeom>
                <a:avLst/>
                <a:gdLst>
                  <a:gd name="T0" fmla="*/ 121 w 122"/>
                  <a:gd name="T1" fmla="*/ 60 h 132"/>
                  <a:gd name="T2" fmla="*/ 121 w 122"/>
                  <a:gd name="T3" fmla="*/ 60 h 132"/>
                  <a:gd name="T4" fmla="*/ 61 w 122"/>
                  <a:gd name="T5" fmla="*/ 0 h 132"/>
                  <a:gd name="T6" fmla="*/ 1 w 122"/>
                  <a:gd name="T7" fmla="*/ 60 h 132"/>
                  <a:gd name="T8" fmla="*/ 18 w 122"/>
                  <a:gd name="T9" fmla="*/ 104 h 132"/>
                  <a:gd name="T10" fmla="*/ 36 w 122"/>
                  <a:gd name="T11" fmla="*/ 132 h 132"/>
                  <a:gd name="T12" fmla="*/ 61 w 122"/>
                  <a:gd name="T13" fmla="*/ 132 h 132"/>
                  <a:gd name="T14" fmla="*/ 86 w 122"/>
                  <a:gd name="T15" fmla="*/ 132 h 132"/>
                  <a:gd name="T16" fmla="*/ 104 w 122"/>
                  <a:gd name="T17" fmla="*/ 104 h 132"/>
                  <a:gd name="T18" fmla="*/ 121 w 122"/>
                  <a:gd name="T19" fmla="*/ 6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2">
                    <a:moveTo>
                      <a:pt x="121" y="60"/>
                    </a:moveTo>
                    <a:cubicBezTo>
                      <a:pt x="121" y="60"/>
                      <a:pt x="121" y="60"/>
                      <a:pt x="121" y="60"/>
                    </a:cubicBezTo>
                    <a:cubicBezTo>
                      <a:pt x="121" y="27"/>
                      <a:pt x="94" y="0"/>
                      <a:pt x="61" y="0"/>
                    </a:cubicBezTo>
                    <a:cubicBezTo>
                      <a:pt x="28" y="0"/>
                      <a:pt x="1" y="27"/>
                      <a:pt x="1" y="60"/>
                    </a:cubicBezTo>
                    <a:cubicBezTo>
                      <a:pt x="1" y="60"/>
                      <a:pt x="0" y="85"/>
                      <a:pt x="18" y="104"/>
                    </a:cubicBezTo>
                    <a:cubicBezTo>
                      <a:pt x="37" y="122"/>
                      <a:pt x="36" y="132"/>
                      <a:pt x="36" y="132"/>
                    </a:cubicBezTo>
                    <a:cubicBezTo>
                      <a:pt x="61" y="132"/>
                      <a:pt x="61" y="132"/>
                      <a:pt x="61" y="132"/>
                    </a:cubicBezTo>
                    <a:cubicBezTo>
                      <a:pt x="86" y="132"/>
                      <a:pt x="86" y="132"/>
                      <a:pt x="86" y="132"/>
                    </a:cubicBezTo>
                    <a:cubicBezTo>
                      <a:pt x="86" y="132"/>
                      <a:pt x="86" y="122"/>
                      <a:pt x="104" y="104"/>
                    </a:cubicBezTo>
                    <a:cubicBezTo>
                      <a:pt x="122" y="85"/>
                      <a:pt x="121" y="60"/>
                      <a:pt x="121" y="60"/>
                    </a:cubicBez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3" name="Line 120">
                <a:extLst>
                  <a:ext uri="{FF2B5EF4-FFF2-40B4-BE49-F238E27FC236}">
                    <a16:creationId xmlns:a16="http://schemas.microsoft.com/office/drawing/2014/main" id="{E621150C-BEDC-034E-AE27-08FEDD5E541C}"/>
                  </a:ext>
                </a:extLst>
              </p:cNvPr>
              <p:cNvSpPr>
                <a:spLocks noChangeShapeType="1"/>
              </p:cNvSpPr>
              <p:nvPr/>
            </p:nvSpPr>
            <p:spPr bwMode="auto">
              <a:xfrm>
                <a:off x="3717564" y="5055646"/>
                <a:ext cx="0" cy="0"/>
              </a:xfrm>
              <a:prstGeom prst="line">
                <a:avLst/>
              </a:prstGeom>
              <a:noFill/>
              <a:ln w="3175"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121">
                <a:extLst>
                  <a:ext uri="{FF2B5EF4-FFF2-40B4-BE49-F238E27FC236}">
                    <a16:creationId xmlns:a16="http://schemas.microsoft.com/office/drawing/2014/main" id="{58CC22A7-FCBE-C0CB-90E1-70A36D10C083}"/>
                  </a:ext>
                </a:extLst>
              </p:cNvPr>
              <p:cNvSpPr>
                <a:spLocks noEditPoints="1"/>
              </p:cNvSpPr>
              <p:nvPr/>
            </p:nvSpPr>
            <p:spPr bwMode="auto">
              <a:xfrm>
                <a:off x="3676293" y="4964348"/>
                <a:ext cx="82543" cy="90046"/>
              </a:xfrm>
              <a:custGeom>
                <a:avLst/>
                <a:gdLst>
                  <a:gd name="T0" fmla="*/ 48 w 62"/>
                  <a:gd name="T1" fmla="*/ 0 h 67"/>
                  <a:gd name="T2" fmla="*/ 31 w 62"/>
                  <a:gd name="T3" fmla="*/ 10 h 67"/>
                  <a:gd name="T4" fmla="*/ 13 w 62"/>
                  <a:gd name="T5" fmla="*/ 0 h 67"/>
                  <a:gd name="T6" fmla="*/ 0 w 62"/>
                  <a:gd name="T7" fmla="*/ 14 h 67"/>
                  <a:gd name="T8" fmla="*/ 13 w 62"/>
                  <a:gd name="T9" fmla="*/ 28 h 67"/>
                  <a:gd name="T10" fmla="*/ 13 w 62"/>
                  <a:gd name="T11" fmla="*/ 28 h 67"/>
                  <a:gd name="T12" fmla="*/ 21 w 62"/>
                  <a:gd name="T13" fmla="*/ 26 h 67"/>
                  <a:gd name="T14" fmla="*/ 21 w 62"/>
                  <a:gd name="T15" fmla="*/ 67 h 67"/>
                  <a:gd name="T16" fmla="*/ 26 w 62"/>
                  <a:gd name="T17" fmla="*/ 67 h 67"/>
                  <a:gd name="T18" fmla="*/ 26 w 62"/>
                  <a:gd name="T19" fmla="*/ 23 h 67"/>
                  <a:gd name="T20" fmla="*/ 31 w 62"/>
                  <a:gd name="T21" fmla="*/ 18 h 67"/>
                  <a:gd name="T22" fmla="*/ 36 w 62"/>
                  <a:gd name="T23" fmla="*/ 23 h 67"/>
                  <a:gd name="T24" fmla="*/ 36 w 62"/>
                  <a:gd name="T25" fmla="*/ 67 h 67"/>
                  <a:gd name="T26" fmla="*/ 41 w 62"/>
                  <a:gd name="T27" fmla="*/ 67 h 67"/>
                  <a:gd name="T28" fmla="*/ 41 w 62"/>
                  <a:gd name="T29" fmla="*/ 26 h 67"/>
                  <a:gd name="T30" fmla="*/ 48 w 62"/>
                  <a:gd name="T31" fmla="*/ 28 h 67"/>
                  <a:gd name="T32" fmla="*/ 49 w 62"/>
                  <a:gd name="T33" fmla="*/ 28 h 67"/>
                  <a:gd name="T34" fmla="*/ 58 w 62"/>
                  <a:gd name="T35" fmla="*/ 24 h 67"/>
                  <a:gd name="T36" fmla="*/ 62 w 62"/>
                  <a:gd name="T37" fmla="*/ 14 h 67"/>
                  <a:gd name="T38" fmla="*/ 48 w 62"/>
                  <a:gd name="T39" fmla="*/ 0 h 67"/>
                  <a:gd name="T40" fmla="*/ 13 w 62"/>
                  <a:gd name="T41" fmla="*/ 23 h 67"/>
                  <a:gd name="T42" fmla="*/ 13 w 62"/>
                  <a:gd name="T43" fmla="*/ 23 h 67"/>
                  <a:gd name="T44" fmla="*/ 4 w 62"/>
                  <a:gd name="T45" fmla="*/ 14 h 67"/>
                  <a:gd name="T46" fmla="*/ 13 w 62"/>
                  <a:gd name="T47" fmla="*/ 6 h 67"/>
                  <a:gd name="T48" fmla="*/ 28 w 62"/>
                  <a:gd name="T49" fmla="*/ 14 h 67"/>
                  <a:gd name="T50" fmla="*/ 13 w 62"/>
                  <a:gd name="T51" fmla="*/ 23 h 67"/>
                  <a:gd name="T52" fmla="*/ 54 w 62"/>
                  <a:gd name="T53" fmla="*/ 20 h 67"/>
                  <a:gd name="T54" fmla="*/ 49 w 62"/>
                  <a:gd name="T55" fmla="*/ 23 h 67"/>
                  <a:gd name="T56" fmla="*/ 48 w 62"/>
                  <a:gd name="T57" fmla="*/ 23 h 67"/>
                  <a:gd name="T58" fmla="*/ 34 w 62"/>
                  <a:gd name="T59" fmla="*/ 14 h 67"/>
                  <a:gd name="T60" fmla="*/ 48 w 62"/>
                  <a:gd name="T61" fmla="*/ 6 h 67"/>
                  <a:gd name="T62" fmla="*/ 57 w 62"/>
                  <a:gd name="T63" fmla="*/ 14 h 67"/>
                  <a:gd name="T64" fmla="*/ 54 w 62"/>
                  <a:gd name="T65"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7">
                    <a:moveTo>
                      <a:pt x="48" y="0"/>
                    </a:moveTo>
                    <a:cubicBezTo>
                      <a:pt x="48" y="0"/>
                      <a:pt x="39" y="0"/>
                      <a:pt x="31" y="10"/>
                    </a:cubicBezTo>
                    <a:cubicBezTo>
                      <a:pt x="22" y="0"/>
                      <a:pt x="14" y="0"/>
                      <a:pt x="13" y="0"/>
                    </a:cubicBezTo>
                    <a:cubicBezTo>
                      <a:pt x="6" y="0"/>
                      <a:pt x="0" y="7"/>
                      <a:pt x="0" y="14"/>
                    </a:cubicBezTo>
                    <a:cubicBezTo>
                      <a:pt x="0" y="22"/>
                      <a:pt x="6" y="28"/>
                      <a:pt x="13" y="28"/>
                    </a:cubicBezTo>
                    <a:cubicBezTo>
                      <a:pt x="13" y="28"/>
                      <a:pt x="13" y="28"/>
                      <a:pt x="13" y="28"/>
                    </a:cubicBezTo>
                    <a:cubicBezTo>
                      <a:pt x="16" y="28"/>
                      <a:pt x="19" y="28"/>
                      <a:pt x="21" y="26"/>
                    </a:cubicBezTo>
                    <a:cubicBezTo>
                      <a:pt x="21" y="67"/>
                      <a:pt x="21" y="67"/>
                      <a:pt x="21" y="67"/>
                    </a:cubicBezTo>
                    <a:cubicBezTo>
                      <a:pt x="26" y="67"/>
                      <a:pt x="26" y="67"/>
                      <a:pt x="26" y="67"/>
                    </a:cubicBezTo>
                    <a:cubicBezTo>
                      <a:pt x="26" y="23"/>
                      <a:pt x="26" y="23"/>
                      <a:pt x="26" y="23"/>
                    </a:cubicBezTo>
                    <a:cubicBezTo>
                      <a:pt x="28" y="22"/>
                      <a:pt x="30" y="20"/>
                      <a:pt x="31" y="18"/>
                    </a:cubicBezTo>
                    <a:cubicBezTo>
                      <a:pt x="32" y="20"/>
                      <a:pt x="34" y="22"/>
                      <a:pt x="36" y="23"/>
                    </a:cubicBezTo>
                    <a:cubicBezTo>
                      <a:pt x="36" y="67"/>
                      <a:pt x="36" y="67"/>
                      <a:pt x="36" y="67"/>
                    </a:cubicBezTo>
                    <a:cubicBezTo>
                      <a:pt x="41" y="67"/>
                      <a:pt x="41" y="67"/>
                      <a:pt x="41" y="67"/>
                    </a:cubicBezTo>
                    <a:cubicBezTo>
                      <a:pt x="41" y="26"/>
                      <a:pt x="41" y="26"/>
                      <a:pt x="41" y="26"/>
                    </a:cubicBezTo>
                    <a:cubicBezTo>
                      <a:pt x="43" y="28"/>
                      <a:pt x="45" y="28"/>
                      <a:pt x="48" y="28"/>
                    </a:cubicBezTo>
                    <a:cubicBezTo>
                      <a:pt x="49" y="28"/>
                      <a:pt x="49" y="28"/>
                      <a:pt x="49" y="28"/>
                    </a:cubicBezTo>
                    <a:cubicBezTo>
                      <a:pt x="52" y="28"/>
                      <a:pt x="56" y="27"/>
                      <a:pt x="58" y="24"/>
                    </a:cubicBezTo>
                    <a:cubicBezTo>
                      <a:pt x="61" y="22"/>
                      <a:pt x="62" y="18"/>
                      <a:pt x="62" y="14"/>
                    </a:cubicBezTo>
                    <a:cubicBezTo>
                      <a:pt x="62" y="7"/>
                      <a:pt x="56" y="0"/>
                      <a:pt x="48" y="0"/>
                    </a:cubicBezTo>
                    <a:close/>
                    <a:moveTo>
                      <a:pt x="13" y="23"/>
                    </a:moveTo>
                    <a:cubicBezTo>
                      <a:pt x="13" y="23"/>
                      <a:pt x="13" y="23"/>
                      <a:pt x="13" y="23"/>
                    </a:cubicBezTo>
                    <a:cubicBezTo>
                      <a:pt x="9" y="23"/>
                      <a:pt x="4" y="19"/>
                      <a:pt x="4" y="14"/>
                    </a:cubicBezTo>
                    <a:cubicBezTo>
                      <a:pt x="4" y="9"/>
                      <a:pt x="9" y="6"/>
                      <a:pt x="13" y="6"/>
                    </a:cubicBezTo>
                    <a:cubicBezTo>
                      <a:pt x="14" y="6"/>
                      <a:pt x="21" y="6"/>
                      <a:pt x="28" y="14"/>
                    </a:cubicBezTo>
                    <a:cubicBezTo>
                      <a:pt x="26" y="17"/>
                      <a:pt x="20" y="23"/>
                      <a:pt x="13" y="23"/>
                    </a:cubicBezTo>
                    <a:close/>
                    <a:moveTo>
                      <a:pt x="54" y="20"/>
                    </a:moveTo>
                    <a:cubicBezTo>
                      <a:pt x="53" y="22"/>
                      <a:pt x="51" y="23"/>
                      <a:pt x="49" y="23"/>
                    </a:cubicBezTo>
                    <a:cubicBezTo>
                      <a:pt x="48" y="23"/>
                      <a:pt x="48" y="23"/>
                      <a:pt x="48" y="23"/>
                    </a:cubicBezTo>
                    <a:cubicBezTo>
                      <a:pt x="42" y="23"/>
                      <a:pt x="36" y="17"/>
                      <a:pt x="34" y="14"/>
                    </a:cubicBezTo>
                    <a:cubicBezTo>
                      <a:pt x="41" y="6"/>
                      <a:pt x="48" y="6"/>
                      <a:pt x="48" y="6"/>
                    </a:cubicBezTo>
                    <a:cubicBezTo>
                      <a:pt x="53" y="6"/>
                      <a:pt x="57" y="9"/>
                      <a:pt x="57" y="14"/>
                    </a:cubicBezTo>
                    <a:cubicBezTo>
                      <a:pt x="57" y="17"/>
                      <a:pt x="56" y="19"/>
                      <a:pt x="54"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217">
                <a:extLst>
                  <a:ext uri="{FF2B5EF4-FFF2-40B4-BE49-F238E27FC236}">
                    <a16:creationId xmlns:a16="http://schemas.microsoft.com/office/drawing/2014/main" id="{B296CB38-25B9-1614-B8C6-6E3E560CF5A8}"/>
                  </a:ext>
                </a:extLst>
              </p:cNvPr>
              <p:cNvSpPr>
                <a:spLocks noChangeAspect="1"/>
              </p:cNvSpPr>
              <p:nvPr/>
            </p:nvSpPr>
            <p:spPr bwMode="auto">
              <a:xfrm rot="8273721">
                <a:off x="3765011" y="4914785"/>
                <a:ext cx="214634" cy="207079"/>
              </a:xfrm>
              <a:custGeom>
                <a:avLst/>
                <a:gdLst>
                  <a:gd name="T0" fmla="*/ 160 w 162"/>
                  <a:gd name="T1" fmla="*/ 31 h 142"/>
                  <a:gd name="T2" fmla="*/ 109 w 162"/>
                  <a:gd name="T3" fmla="*/ 1 h 142"/>
                  <a:gd name="T4" fmla="*/ 106 w 162"/>
                  <a:gd name="T5" fmla="*/ 3 h 142"/>
                  <a:gd name="T6" fmla="*/ 106 w 162"/>
                  <a:gd name="T7" fmla="*/ 17 h 142"/>
                  <a:gd name="T8" fmla="*/ 103 w 162"/>
                  <a:gd name="T9" fmla="*/ 20 h 142"/>
                  <a:gd name="T10" fmla="*/ 0 w 162"/>
                  <a:gd name="T11" fmla="*/ 125 h 142"/>
                  <a:gd name="T12" fmla="*/ 0 w 162"/>
                  <a:gd name="T13" fmla="*/ 139 h 142"/>
                  <a:gd name="T14" fmla="*/ 3 w 162"/>
                  <a:gd name="T15" fmla="*/ 142 h 142"/>
                  <a:gd name="T16" fmla="*/ 26 w 162"/>
                  <a:gd name="T17" fmla="*/ 125 h 142"/>
                  <a:gd name="T18" fmla="*/ 103 w 162"/>
                  <a:gd name="T19" fmla="*/ 46 h 142"/>
                  <a:gd name="T20" fmla="*/ 106 w 162"/>
                  <a:gd name="T21" fmla="*/ 48 h 142"/>
                  <a:gd name="T22" fmla="*/ 106 w 162"/>
                  <a:gd name="T23" fmla="*/ 62 h 142"/>
                  <a:gd name="T24" fmla="*/ 109 w 162"/>
                  <a:gd name="T25" fmla="*/ 64 h 142"/>
                  <a:gd name="T26" fmla="*/ 160 w 162"/>
                  <a:gd name="T27" fmla="*/ 35 h 142"/>
                  <a:gd name="T28" fmla="*/ 160 w 162"/>
                  <a:gd name="T29" fmla="*/ 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
                    <a:moveTo>
                      <a:pt x="160" y="31"/>
                    </a:moveTo>
                    <a:cubicBezTo>
                      <a:pt x="109" y="1"/>
                      <a:pt x="109" y="1"/>
                      <a:pt x="109" y="1"/>
                    </a:cubicBezTo>
                    <a:cubicBezTo>
                      <a:pt x="108" y="0"/>
                      <a:pt x="106" y="2"/>
                      <a:pt x="106" y="3"/>
                    </a:cubicBezTo>
                    <a:cubicBezTo>
                      <a:pt x="106" y="17"/>
                      <a:pt x="106" y="17"/>
                      <a:pt x="106" y="17"/>
                    </a:cubicBezTo>
                    <a:cubicBezTo>
                      <a:pt x="106" y="19"/>
                      <a:pt x="105" y="20"/>
                      <a:pt x="103" y="20"/>
                    </a:cubicBezTo>
                    <a:cubicBezTo>
                      <a:pt x="46" y="21"/>
                      <a:pt x="0" y="68"/>
                      <a:pt x="0" y="125"/>
                    </a:cubicBezTo>
                    <a:cubicBezTo>
                      <a:pt x="0" y="139"/>
                      <a:pt x="0" y="139"/>
                      <a:pt x="0" y="139"/>
                    </a:cubicBezTo>
                    <a:cubicBezTo>
                      <a:pt x="0" y="141"/>
                      <a:pt x="1" y="142"/>
                      <a:pt x="3" y="142"/>
                    </a:cubicBezTo>
                    <a:cubicBezTo>
                      <a:pt x="26" y="141"/>
                      <a:pt x="26" y="125"/>
                      <a:pt x="26" y="125"/>
                    </a:cubicBezTo>
                    <a:cubicBezTo>
                      <a:pt x="26" y="82"/>
                      <a:pt x="60" y="47"/>
                      <a:pt x="103" y="46"/>
                    </a:cubicBezTo>
                    <a:cubicBezTo>
                      <a:pt x="105" y="46"/>
                      <a:pt x="106" y="47"/>
                      <a:pt x="106" y="48"/>
                    </a:cubicBezTo>
                    <a:cubicBezTo>
                      <a:pt x="106" y="62"/>
                      <a:pt x="106" y="62"/>
                      <a:pt x="106" y="62"/>
                    </a:cubicBezTo>
                    <a:cubicBezTo>
                      <a:pt x="106" y="64"/>
                      <a:pt x="108" y="65"/>
                      <a:pt x="109" y="64"/>
                    </a:cubicBezTo>
                    <a:cubicBezTo>
                      <a:pt x="160" y="35"/>
                      <a:pt x="160" y="35"/>
                      <a:pt x="160" y="35"/>
                    </a:cubicBezTo>
                    <a:cubicBezTo>
                      <a:pt x="162" y="34"/>
                      <a:pt x="162" y="32"/>
                      <a:pt x="160" y="31"/>
                    </a:cubicBez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46" name="Freeform 217">
                <a:extLst>
                  <a:ext uri="{FF2B5EF4-FFF2-40B4-BE49-F238E27FC236}">
                    <a16:creationId xmlns:a16="http://schemas.microsoft.com/office/drawing/2014/main" id="{A3A5A0AC-BAEA-5EDC-3F68-1F08992D3C5B}"/>
                  </a:ext>
                </a:extLst>
              </p:cNvPr>
              <p:cNvSpPr>
                <a:spLocks noChangeAspect="1"/>
              </p:cNvSpPr>
              <p:nvPr/>
            </p:nvSpPr>
            <p:spPr bwMode="auto">
              <a:xfrm rot="18810742">
                <a:off x="3456016" y="4878867"/>
                <a:ext cx="214634" cy="207079"/>
              </a:xfrm>
              <a:custGeom>
                <a:avLst/>
                <a:gdLst>
                  <a:gd name="T0" fmla="*/ 160 w 162"/>
                  <a:gd name="T1" fmla="*/ 31 h 142"/>
                  <a:gd name="T2" fmla="*/ 109 w 162"/>
                  <a:gd name="T3" fmla="*/ 1 h 142"/>
                  <a:gd name="T4" fmla="*/ 106 w 162"/>
                  <a:gd name="T5" fmla="*/ 3 h 142"/>
                  <a:gd name="T6" fmla="*/ 106 w 162"/>
                  <a:gd name="T7" fmla="*/ 17 h 142"/>
                  <a:gd name="T8" fmla="*/ 103 w 162"/>
                  <a:gd name="T9" fmla="*/ 20 h 142"/>
                  <a:gd name="T10" fmla="*/ 0 w 162"/>
                  <a:gd name="T11" fmla="*/ 125 h 142"/>
                  <a:gd name="T12" fmla="*/ 0 w 162"/>
                  <a:gd name="T13" fmla="*/ 139 h 142"/>
                  <a:gd name="T14" fmla="*/ 3 w 162"/>
                  <a:gd name="T15" fmla="*/ 142 h 142"/>
                  <a:gd name="T16" fmla="*/ 26 w 162"/>
                  <a:gd name="T17" fmla="*/ 125 h 142"/>
                  <a:gd name="T18" fmla="*/ 103 w 162"/>
                  <a:gd name="T19" fmla="*/ 46 h 142"/>
                  <a:gd name="T20" fmla="*/ 106 w 162"/>
                  <a:gd name="T21" fmla="*/ 48 h 142"/>
                  <a:gd name="T22" fmla="*/ 106 w 162"/>
                  <a:gd name="T23" fmla="*/ 62 h 142"/>
                  <a:gd name="T24" fmla="*/ 109 w 162"/>
                  <a:gd name="T25" fmla="*/ 64 h 142"/>
                  <a:gd name="T26" fmla="*/ 160 w 162"/>
                  <a:gd name="T27" fmla="*/ 35 h 142"/>
                  <a:gd name="T28" fmla="*/ 160 w 162"/>
                  <a:gd name="T29" fmla="*/ 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
                    <a:moveTo>
                      <a:pt x="160" y="31"/>
                    </a:moveTo>
                    <a:cubicBezTo>
                      <a:pt x="109" y="1"/>
                      <a:pt x="109" y="1"/>
                      <a:pt x="109" y="1"/>
                    </a:cubicBezTo>
                    <a:cubicBezTo>
                      <a:pt x="108" y="0"/>
                      <a:pt x="106" y="2"/>
                      <a:pt x="106" y="3"/>
                    </a:cubicBezTo>
                    <a:cubicBezTo>
                      <a:pt x="106" y="17"/>
                      <a:pt x="106" y="17"/>
                      <a:pt x="106" y="17"/>
                    </a:cubicBezTo>
                    <a:cubicBezTo>
                      <a:pt x="106" y="19"/>
                      <a:pt x="105" y="20"/>
                      <a:pt x="103" y="20"/>
                    </a:cubicBezTo>
                    <a:cubicBezTo>
                      <a:pt x="46" y="21"/>
                      <a:pt x="0" y="68"/>
                      <a:pt x="0" y="125"/>
                    </a:cubicBezTo>
                    <a:cubicBezTo>
                      <a:pt x="0" y="139"/>
                      <a:pt x="0" y="139"/>
                      <a:pt x="0" y="139"/>
                    </a:cubicBezTo>
                    <a:cubicBezTo>
                      <a:pt x="0" y="141"/>
                      <a:pt x="1" y="142"/>
                      <a:pt x="3" y="142"/>
                    </a:cubicBezTo>
                    <a:cubicBezTo>
                      <a:pt x="26" y="141"/>
                      <a:pt x="26" y="125"/>
                      <a:pt x="26" y="125"/>
                    </a:cubicBezTo>
                    <a:cubicBezTo>
                      <a:pt x="26" y="82"/>
                      <a:pt x="60" y="47"/>
                      <a:pt x="103" y="46"/>
                    </a:cubicBezTo>
                    <a:cubicBezTo>
                      <a:pt x="105" y="46"/>
                      <a:pt x="106" y="47"/>
                      <a:pt x="106" y="48"/>
                    </a:cubicBezTo>
                    <a:cubicBezTo>
                      <a:pt x="106" y="62"/>
                      <a:pt x="106" y="62"/>
                      <a:pt x="106" y="62"/>
                    </a:cubicBezTo>
                    <a:cubicBezTo>
                      <a:pt x="106" y="64"/>
                      <a:pt x="108" y="65"/>
                      <a:pt x="109" y="64"/>
                    </a:cubicBezTo>
                    <a:cubicBezTo>
                      <a:pt x="160" y="35"/>
                      <a:pt x="160" y="35"/>
                      <a:pt x="160" y="35"/>
                    </a:cubicBezTo>
                    <a:cubicBezTo>
                      <a:pt x="162" y="34"/>
                      <a:pt x="162" y="32"/>
                      <a:pt x="160" y="31"/>
                    </a:cubicBezTo>
                    <a:close/>
                  </a:path>
                </a:pathLst>
              </a:custGeom>
              <a:solidFill>
                <a:srgbClr val="00929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48" name="Group 293">
              <a:extLst>
                <a:ext uri="{FF2B5EF4-FFF2-40B4-BE49-F238E27FC236}">
                  <a16:creationId xmlns:a16="http://schemas.microsoft.com/office/drawing/2014/main" id="{E98B0CBF-D8C5-87A3-F4D4-8214EC93D426}"/>
                </a:ext>
              </a:extLst>
            </p:cNvPr>
            <p:cNvGrpSpPr/>
            <p:nvPr/>
          </p:nvGrpSpPr>
          <p:grpSpPr>
            <a:xfrm>
              <a:off x="4459158" y="4102222"/>
              <a:ext cx="640933" cy="596139"/>
              <a:chOff x="7492619" y="4470024"/>
              <a:chExt cx="851512" cy="792000"/>
            </a:xfrm>
          </p:grpSpPr>
          <p:sp>
            <p:nvSpPr>
              <p:cNvPr id="49" name="Freeform 23">
                <a:extLst>
                  <a:ext uri="{FF2B5EF4-FFF2-40B4-BE49-F238E27FC236}">
                    <a16:creationId xmlns:a16="http://schemas.microsoft.com/office/drawing/2014/main" id="{2F5C87A0-C6F3-325F-CD21-ED0B5249DCAB}"/>
                  </a:ext>
                </a:extLst>
              </p:cNvPr>
              <p:cNvSpPr>
                <a:spLocks noChangeAspect="1"/>
              </p:cNvSpPr>
              <p:nvPr/>
            </p:nvSpPr>
            <p:spPr bwMode="auto">
              <a:xfrm>
                <a:off x="7492619" y="4470024"/>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07D7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50" name="Groupe 1024">
                <a:extLst>
                  <a:ext uri="{FF2B5EF4-FFF2-40B4-BE49-F238E27FC236}">
                    <a16:creationId xmlns:a16="http://schemas.microsoft.com/office/drawing/2014/main" id="{5FE03929-45D3-3855-538C-E4E4E2D30C2F}"/>
                  </a:ext>
                </a:extLst>
              </p:cNvPr>
              <p:cNvGrpSpPr/>
              <p:nvPr/>
            </p:nvGrpSpPr>
            <p:grpSpPr>
              <a:xfrm>
                <a:off x="7696057" y="4668303"/>
                <a:ext cx="418882" cy="409937"/>
                <a:chOff x="4192589" y="3787775"/>
                <a:chExt cx="446087" cy="436563"/>
              </a:xfrm>
            </p:grpSpPr>
            <p:sp>
              <p:nvSpPr>
                <p:cNvPr id="51" name="Freeform 240">
                  <a:extLst>
                    <a:ext uri="{FF2B5EF4-FFF2-40B4-BE49-F238E27FC236}">
                      <a16:creationId xmlns:a16="http://schemas.microsoft.com/office/drawing/2014/main" id="{A49E9299-9FD7-957C-3B9D-01ECFE17D03B}"/>
                    </a:ext>
                  </a:extLst>
                </p:cNvPr>
                <p:cNvSpPr>
                  <a:spLocks/>
                </p:cNvSpPr>
                <p:nvPr/>
              </p:nvSpPr>
              <p:spPr bwMode="auto">
                <a:xfrm>
                  <a:off x="4286251" y="3795712"/>
                  <a:ext cx="138113" cy="142875"/>
                </a:xfrm>
                <a:custGeom>
                  <a:avLst/>
                  <a:gdLst>
                    <a:gd name="T0" fmla="*/ 22 w 37"/>
                    <a:gd name="T1" fmla="*/ 38 h 38"/>
                    <a:gd name="T2" fmla="*/ 0 w 37"/>
                    <a:gd name="T3" fmla="*/ 25 h 38"/>
                    <a:gd name="T4" fmla="*/ 17 w 37"/>
                    <a:gd name="T5" fmla="*/ 2 h 38"/>
                    <a:gd name="T6" fmla="*/ 20 w 37"/>
                    <a:gd name="T7" fmla="*/ 0 h 38"/>
                    <a:gd name="T8" fmla="*/ 22 w 37"/>
                    <a:gd name="T9" fmla="*/ 0 h 38"/>
                    <a:gd name="T10" fmla="*/ 23 w 37"/>
                    <a:gd name="T11" fmla="*/ 1 h 38"/>
                    <a:gd name="T12" fmla="*/ 33 w 37"/>
                    <a:gd name="T13" fmla="*/ 9 h 38"/>
                    <a:gd name="T14" fmla="*/ 37 w 37"/>
                    <a:gd name="T15" fmla="*/ 17 h 38"/>
                    <a:gd name="T16" fmla="*/ 22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22" y="38"/>
                      </a:moveTo>
                      <a:cubicBezTo>
                        <a:pt x="15" y="34"/>
                        <a:pt x="7" y="30"/>
                        <a:pt x="0" y="25"/>
                      </a:cubicBezTo>
                      <a:cubicBezTo>
                        <a:pt x="4" y="18"/>
                        <a:pt x="9" y="10"/>
                        <a:pt x="17" y="2"/>
                      </a:cubicBezTo>
                      <a:cubicBezTo>
                        <a:pt x="18" y="1"/>
                        <a:pt x="19" y="1"/>
                        <a:pt x="20" y="0"/>
                      </a:cubicBezTo>
                      <a:cubicBezTo>
                        <a:pt x="22" y="0"/>
                        <a:pt x="22" y="0"/>
                        <a:pt x="22" y="0"/>
                      </a:cubicBezTo>
                      <a:cubicBezTo>
                        <a:pt x="23" y="1"/>
                        <a:pt x="23" y="1"/>
                        <a:pt x="23" y="1"/>
                      </a:cubicBezTo>
                      <a:cubicBezTo>
                        <a:pt x="27" y="1"/>
                        <a:pt x="31" y="6"/>
                        <a:pt x="33" y="9"/>
                      </a:cubicBezTo>
                      <a:cubicBezTo>
                        <a:pt x="34" y="12"/>
                        <a:pt x="36" y="14"/>
                        <a:pt x="37" y="17"/>
                      </a:cubicBezTo>
                      <a:lnTo>
                        <a:pt x="22" y="38"/>
                      </a:ln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2" name="Freeform 241">
                  <a:extLst>
                    <a:ext uri="{FF2B5EF4-FFF2-40B4-BE49-F238E27FC236}">
                      <a16:creationId xmlns:a16="http://schemas.microsoft.com/office/drawing/2014/main" id="{B54AE342-99B6-C468-AF91-5D499649D026}"/>
                    </a:ext>
                  </a:extLst>
                </p:cNvPr>
                <p:cNvSpPr>
                  <a:spLocks/>
                </p:cNvSpPr>
                <p:nvPr/>
              </p:nvSpPr>
              <p:spPr bwMode="auto">
                <a:xfrm>
                  <a:off x="4368801" y="3787775"/>
                  <a:ext cx="217488" cy="146050"/>
                </a:xfrm>
                <a:custGeom>
                  <a:avLst/>
                  <a:gdLst>
                    <a:gd name="T0" fmla="*/ 12 w 58"/>
                    <a:gd name="T1" fmla="*/ 10 h 39"/>
                    <a:gd name="T2" fmla="*/ 22 w 58"/>
                    <a:gd name="T3" fmla="*/ 29 h 39"/>
                    <a:gd name="T4" fmla="*/ 11 w 58"/>
                    <a:gd name="T5" fmla="*/ 36 h 39"/>
                    <a:gd name="T6" fmla="*/ 44 w 58"/>
                    <a:gd name="T7" fmla="*/ 39 h 39"/>
                    <a:gd name="T8" fmla="*/ 58 w 58"/>
                    <a:gd name="T9" fmla="*/ 8 h 39"/>
                    <a:gd name="T10" fmla="*/ 47 w 58"/>
                    <a:gd name="T11" fmla="*/ 15 h 39"/>
                    <a:gd name="T12" fmla="*/ 33 w 58"/>
                    <a:gd name="T13" fmla="*/ 0 h 39"/>
                    <a:gd name="T14" fmla="*/ 0 w 58"/>
                    <a:gd name="T15" fmla="*/ 0 h 39"/>
                    <a:gd name="T16" fmla="*/ 12 w 58"/>
                    <a:gd name="T17"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12" y="10"/>
                      </a:moveTo>
                      <a:cubicBezTo>
                        <a:pt x="16" y="16"/>
                        <a:pt x="19" y="22"/>
                        <a:pt x="22" y="29"/>
                      </a:cubicBezTo>
                      <a:cubicBezTo>
                        <a:pt x="11" y="36"/>
                        <a:pt x="11" y="36"/>
                        <a:pt x="11" y="36"/>
                      </a:cubicBezTo>
                      <a:cubicBezTo>
                        <a:pt x="44" y="39"/>
                        <a:pt x="44" y="39"/>
                        <a:pt x="44" y="39"/>
                      </a:cubicBezTo>
                      <a:cubicBezTo>
                        <a:pt x="58" y="8"/>
                        <a:pt x="58" y="8"/>
                        <a:pt x="58" y="8"/>
                      </a:cubicBezTo>
                      <a:cubicBezTo>
                        <a:pt x="47" y="15"/>
                        <a:pt x="47" y="15"/>
                        <a:pt x="47" y="15"/>
                      </a:cubicBezTo>
                      <a:cubicBezTo>
                        <a:pt x="43" y="8"/>
                        <a:pt x="39" y="3"/>
                        <a:pt x="33" y="0"/>
                      </a:cubicBezTo>
                      <a:cubicBezTo>
                        <a:pt x="22" y="0"/>
                        <a:pt x="11" y="0"/>
                        <a:pt x="0" y="0"/>
                      </a:cubicBezTo>
                      <a:cubicBezTo>
                        <a:pt x="4" y="0"/>
                        <a:pt x="9" y="4"/>
                        <a:pt x="12" y="10"/>
                      </a:cubicBez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3" name="Freeform 242">
                  <a:extLst>
                    <a:ext uri="{FF2B5EF4-FFF2-40B4-BE49-F238E27FC236}">
                      <a16:creationId xmlns:a16="http://schemas.microsoft.com/office/drawing/2014/main" id="{01B6AB0B-C3B5-7674-9D90-6559C51E109B}"/>
                    </a:ext>
                  </a:extLst>
                </p:cNvPr>
                <p:cNvSpPr>
                  <a:spLocks/>
                </p:cNvSpPr>
                <p:nvPr/>
              </p:nvSpPr>
              <p:spPr bwMode="auto">
                <a:xfrm>
                  <a:off x="4506914" y="3933825"/>
                  <a:ext cx="128588" cy="128588"/>
                </a:xfrm>
                <a:custGeom>
                  <a:avLst/>
                  <a:gdLst>
                    <a:gd name="T0" fmla="*/ 1 w 34"/>
                    <a:gd name="T1" fmla="*/ 15 h 34"/>
                    <a:gd name="T2" fmla="*/ 1 w 34"/>
                    <a:gd name="T3" fmla="*/ 15 h 34"/>
                    <a:gd name="T4" fmla="*/ 1 w 34"/>
                    <a:gd name="T5" fmla="*/ 15 h 34"/>
                    <a:gd name="T6" fmla="*/ 10 w 34"/>
                    <a:gd name="T7" fmla="*/ 33 h 34"/>
                    <a:gd name="T8" fmla="*/ 20 w 34"/>
                    <a:gd name="T9" fmla="*/ 34 h 34"/>
                    <a:gd name="T10" fmla="*/ 33 w 34"/>
                    <a:gd name="T11" fmla="*/ 29 h 34"/>
                    <a:gd name="T12" fmla="*/ 33 w 34"/>
                    <a:gd name="T13" fmla="*/ 29 h 34"/>
                    <a:gd name="T14" fmla="*/ 34 w 34"/>
                    <a:gd name="T15" fmla="*/ 27 h 34"/>
                    <a:gd name="T16" fmla="*/ 34 w 34"/>
                    <a:gd name="T17" fmla="*/ 25 h 34"/>
                    <a:gd name="T18" fmla="*/ 22 w 34"/>
                    <a:gd name="T19" fmla="*/ 0 h 34"/>
                    <a:gd name="T20" fmla="*/ 0 w 34"/>
                    <a:gd name="T21" fmla="*/ 12 h 34"/>
                    <a:gd name="T22" fmla="*/ 1 w 34"/>
                    <a:gd name="T2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 y="15"/>
                      </a:moveTo>
                      <a:cubicBezTo>
                        <a:pt x="1" y="15"/>
                        <a:pt x="1" y="15"/>
                        <a:pt x="1" y="15"/>
                      </a:cubicBezTo>
                      <a:cubicBezTo>
                        <a:pt x="1" y="15"/>
                        <a:pt x="1" y="15"/>
                        <a:pt x="1" y="15"/>
                      </a:cubicBezTo>
                      <a:cubicBezTo>
                        <a:pt x="10" y="33"/>
                        <a:pt x="10" y="33"/>
                        <a:pt x="10" y="33"/>
                      </a:cubicBezTo>
                      <a:cubicBezTo>
                        <a:pt x="13" y="34"/>
                        <a:pt x="17" y="34"/>
                        <a:pt x="20" y="34"/>
                      </a:cubicBezTo>
                      <a:cubicBezTo>
                        <a:pt x="24" y="33"/>
                        <a:pt x="31" y="32"/>
                        <a:pt x="33" y="29"/>
                      </a:cubicBezTo>
                      <a:cubicBezTo>
                        <a:pt x="33" y="29"/>
                        <a:pt x="33" y="29"/>
                        <a:pt x="33" y="29"/>
                      </a:cubicBezTo>
                      <a:cubicBezTo>
                        <a:pt x="34" y="27"/>
                        <a:pt x="34" y="27"/>
                        <a:pt x="34" y="27"/>
                      </a:cubicBezTo>
                      <a:cubicBezTo>
                        <a:pt x="34" y="26"/>
                        <a:pt x="34" y="26"/>
                        <a:pt x="34" y="25"/>
                      </a:cubicBezTo>
                      <a:cubicBezTo>
                        <a:pt x="31" y="15"/>
                        <a:pt x="27" y="7"/>
                        <a:pt x="22" y="0"/>
                      </a:cubicBezTo>
                      <a:cubicBezTo>
                        <a:pt x="15" y="4"/>
                        <a:pt x="7" y="8"/>
                        <a:pt x="0" y="12"/>
                      </a:cubicBezTo>
                      <a:lnTo>
                        <a:pt x="1" y="15"/>
                      </a:ln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4" name="Freeform 243">
                  <a:extLst>
                    <a:ext uri="{FF2B5EF4-FFF2-40B4-BE49-F238E27FC236}">
                      <a16:creationId xmlns:a16="http://schemas.microsoft.com/office/drawing/2014/main" id="{8B7DA0F5-E02F-B375-8F0E-14E3422D6891}"/>
                    </a:ext>
                  </a:extLst>
                </p:cNvPr>
                <p:cNvSpPr>
                  <a:spLocks/>
                </p:cNvSpPr>
                <p:nvPr/>
              </p:nvSpPr>
              <p:spPr bwMode="auto">
                <a:xfrm>
                  <a:off x="4432301" y="4016375"/>
                  <a:ext cx="206375" cy="207963"/>
                </a:xfrm>
                <a:custGeom>
                  <a:avLst/>
                  <a:gdLst>
                    <a:gd name="T0" fmla="*/ 41 w 55"/>
                    <a:gd name="T1" fmla="*/ 14 h 55"/>
                    <a:gd name="T2" fmla="*/ 19 w 55"/>
                    <a:gd name="T3" fmla="*/ 13 h 55"/>
                    <a:gd name="T4" fmla="*/ 19 w 55"/>
                    <a:gd name="T5" fmla="*/ 0 h 55"/>
                    <a:gd name="T6" fmla="*/ 0 w 55"/>
                    <a:gd name="T7" fmla="*/ 27 h 55"/>
                    <a:gd name="T8" fmla="*/ 20 w 55"/>
                    <a:gd name="T9" fmla="*/ 55 h 55"/>
                    <a:gd name="T10" fmla="*/ 20 w 55"/>
                    <a:gd name="T11" fmla="*/ 41 h 55"/>
                    <a:gd name="T12" fmla="*/ 39 w 55"/>
                    <a:gd name="T13" fmla="*/ 37 h 55"/>
                    <a:gd name="T14" fmla="*/ 55 w 55"/>
                    <a:gd name="T15" fmla="*/ 8 h 55"/>
                    <a:gd name="T16" fmla="*/ 41 w 55"/>
                    <a:gd name="T17"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41" y="14"/>
                      </a:moveTo>
                      <a:cubicBezTo>
                        <a:pt x="34" y="14"/>
                        <a:pt x="27" y="14"/>
                        <a:pt x="19" y="13"/>
                      </a:cubicBezTo>
                      <a:cubicBezTo>
                        <a:pt x="19" y="0"/>
                        <a:pt x="19" y="0"/>
                        <a:pt x="19" y="0"/>
                      </a:cubicBezTo>
                      <a:cubicBezTo>
                        <a:pt x="0" y="27"/>
                        <a:pt x="0" y="27"/>
                        <a:pt x="0" y="27"/>
                      </a:cubicBezTo>
                      <a:cubicBezTo>
                        <a:pt x="20" y="55"/>
                        <a:pt x="20" y="55"/>
                        <a:pt x="20" y="55"/>
                      </a:cubicBezTo>
                      <a:cubicBezTo>
                        <a:pt x="20" y="41"/>
                        <a:pt x="20" y="41"/>
                        <a:pt x="20" y="41"/>
                      </a:cubicBezTo>
                      <a:cubicBezTo>
                        <a:pt x="27" y="42"/>
                        <a:pt x="34" y="41"/>
                        <a:pt x="39" y="37"/>
                      </a:cubicBezTo>
                      <a:cubicBezTo>
                        <a:pt x="44" y="27"/>
                        <a:pt x="50" y="17"/>
                        <a:pt x="55" y="8"/>
                      </a:cubicBezTo>
                      <a:cubicBezTo>
                        <a:pt x="53" y="12"/>
                        <a:pt x="48" y="13"/>
                        <a:pt x="41" y="14"/>
                      </a:cubicBez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5" name="Freeform 244">
                  <a:extLst>
                    <a:ext uri="{FF2B5EF4-FFF2-40B4-BE49-F238E27FC236}">
                      <a16:creationId xmlns:a16="http://schemas.microsoft.com/office/drawing/2014/main" id="{47C7C685-B3C4-CD95-5B15-194015411C30}"/>
                    </a:ext>
                  </a:extLst>
                </p:cNvPr>
                <p:cNvSpPr>
                  <a:spLocks/>
                </p:cNvSpPr>
                <p:nvPr/>
              </p:nvSpPr>
              <p:spPr bwMode="auto">
                <a:xfrm>
                  <a:off x="4289426" y="4076700"/>
                  <a:ext cx="131763" cy="101600"/>
                </a:xfrm>
                <a:custGeom>
                  <a:avLst/>
                  <a:gdLst>
                    <a:gd name="T0" fmla="*/ 8 w 35"/>
                    <a:gd name="T1" fmla="*/ 0 h 27"/>
                    <a:gd name="T2" fmla="*/ 4 w 35"/>
                    <a:gd name="T3" fmla="*/ 9 h 27"/>
                    <a:gd name="T4" fmla="*/ 3 w 35"/>
                    <a:gd name="T5" fmla="*/ 22 h 27"/>
                    <a:gd name="T6" fmla="*/ 3 w 35"/>
                    <a:gd name="T7" fmla="*/ 22 h 27"/>
                    <a:gd name="T8" fmla="*/ 4 w 35"/>
                    <a:gd name="T9" fmla="*/ 24 h 27"/>
                    <a:gd name="T10" fmla="*/ 7 w 35"/>
                    <a:gd name="T11" fmla="*/ 25 h 27"/>
                    <a:gd name="T12" fmla="*/ 35 w 35"/>
                    <a:gd name="T13" fmla="*/ 25 h 27"/>
                    <a:gd name="T14" fmla="*/ 33 w 35"/>
                    <a:gd name="T15" fmla="*/ 0 h 27"/>
                    <a:gd name="T16" fmla="*/ 8 w 3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8" y="0"/>
                      </a:moveTo>
                      <a:cubicBezTo>
                        <a:pt x="7" y="3"/>
                        <a:pt x="5" y="6"/>
                        <a:pt x="4" y="9"/>
                      </a:cubicBezTo>
                      <a:cubicBezTo>
                        <a:pt x="3" y="12"/>
                        <a:pt x="0" y="18"/>
                        <a:pt x="3" y="22"/>
                      </a:cubicBezTo>
                      <a:cubicBezTo>
                        <a:pt x="3" y="22"/>
                        <a:pt x="3" y="22"/>
                        <a:pt x="3" y="22"/>
                      </a:cubicBezTo>
                      <a:cubicBezTo>
                        <a:pt x="4" y="24"/>
                        <a:pt x="4" y="24"/>
                        <a:pt x="4" y="24"/>
                      </a:cubicBezTo>
                      <a:cubicBezTo>
                        <a:pt x="5" y="24"/>
                        <a:pt x="6" y="25"/>
                        <a:pt x="7" y="25"/>
                      </a:cubicBezTo>
                      <a:cubicBezTo>
                        <a:pt x="17" y="27"/>
                        <a:pt x="26" y="26"/>
                        <a:pt x="35" y="25"/>
                      </a:cubicBezTo>
                      <a:cubicBezTo>
                        <a:pt x="34" y="17"/>
                        <a:pt x="33" y="8"/>
                        <a:pt x="33" y="0"/>
                      </a:cubicBezTo>
                      <a:lnTo>
                        <a:pt x="8" y="0"/>
                      </a:ln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6" name="Freeform 245">
                  <a:extLst>
                    <a:ext uri="{FF2B5EF4-FFF2-40B4-BE49-F238E27FC236}">
                      <a16:creationId xmlns:a16="http://schemas.microsoft.com/office/drawing/2014/main" id="{2F03729C-ABC4-D483-A782-3D6F9015C1C1}"/>
                    </a:ext>
                  </a:extLst>
                </p:cNvPr>
                <p:cNvSpPr>
                  <a:spLocks/>
                </p:cNvSpPr>
                <p:nvPr/>
              </p:nvSpPr>
              <p:spPr bwMode="auto">
                <a:xfrm>
                  <a:off x="4192589" y="3944937"/>
                  <a:ext cx="187325" cy="219075"/>
                </a:xfrm>
                <a:custGeom>
                  <a:avLst/>
                  <a:gdLst>
                    <a:gd name="T0" fmla="*/ 28 w 50"/>
                    <a:gd name="T1" fmla="*/ 43 h 58"/>
                    <a:gd name="T2" fmla="*/ 38 w 50"/>
                    <a:gd name="T3" fmla="*/ 24 h 58"/>
                    <a:gd name="T4" fmla="*/ 50 w 50"/>
                    <a:gd name="T5" fmla="*/ 30 h 58"/>
                    <a:gd name="T6" fmla="*/ 33 w 50"/>
                    <a:gd name="T7" fmla="*/ 0 h 58"/>
                    <a:gd name="T8" fmla="*/ 0 w 50"/>
                    <a:gd name="T9" fmla="*/ 6 h 58"/>
                    <a:gd name="T10" fmla="*/ 12 w 50"/>
                    <a:gd name="T11" fmla="*/ 12 h 58"/>
                    <a:gd name="T12" fmla="*/ 8 w 50"/>
                    <a:gd name="T13" fmla="*/ 31 h 58"/>
                    <a:gd name="T14" fmla="*/ 27 w 50"/>
                    <a:gd name="T15" fmla="*/ 58 h 58"/>
                    <a:gd name="T16" fmla="*/ 28 w 50"/>
                    <a:gd name="T1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28" y="43"/>
                      </a:moveTo>
                      <a:cubicBezTo>
                        <a:pt x="31" y="36"/>
                        <a:pt x="34" y="30"/>
                        <a:pt x="38" y="24"/>
                      </a:cubicBezTo>
                      <a:cubicBezTo>
                        <a:pt x="50" y="30"/>
                        <a:pt x="50" y="30"/>
                        <a:pt x="50" y="30"/>
                      </a:cubicBezTo>
                      <a:cubicBezTo>
                        <a:pt x="33" y="0"/>
                        <a:pt x="33" y="0"/>
                        <a:pt x="33" y="0"/>
                      </a:cubicBezTo>
                      <a:cubicBezTo>
                        <a:pt x="0" y="6"/>
                        <a:pt x="0" y="6"/>
                        <a:pt x="0" y="6"/>
                      </a:cubicBezTo>
                      <a:cubicBezTo>
                        <a:pt x="12" y="12"/>
                        <a:pt x="12" y="12"/>
                        <a:pt x="12" y="12"/>
                      </a:cubicBezTo>
                      <a:cubicBezTo>
                        <a:pt x="9" y="18"/>
                        <a:pt x="7" y="25"/>
                        <a:pt x="8" y="31"/>
                      </a:cubicBezTo>
                      <a:cubicBezTo>
                        <a:pt x="14" y="40"/>
                        <a:pt x="21" y="49"/>
                        <a:pt x="27" y="58"/>
                      </a:cubicBezTo>
                      <a:cubicBezTo>
                        <a:pt x="24" y="55"/>
                        <a:pt x="25" y="49"/>
                        <a:pt x="28" y="43"/>
                      </a:cubicBezTo>
                      <a:close/>
                    </a:path>
                  </a:pathLst>
                </a:custGeom>
                <a:solidFill>
                  <a:srgbClr val="0092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7" name="Line 246">
                  <a:extLst>
                    <a:ext uri="{FF2B5EF4-FFF2-40B4-BE49-F238E27FC236}">
                      <a16:creationId xmlns:a16="http://schemas.microsoft.com/office/drawing/2014/main" id="{5746D4EA-D998-F37A-AEA9-21DC3065D368}"/>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8" name="Line 247">
                  <a:extLst>
                    <a:ext uri="{FF2B5EF4-FFF2-40B4-BE49-F238E27FC236}">
                      <a16:creationId xmlns:a16="http://schemas.microsoft.com/office/drawing/2014/main" id="{94515232-D4DB-2904-40F0-9B46B60CFD1E}"/>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61" name="Freeform 23">
              <a:extLst>
                <a:ext uri="{FF2B5EF4-FFF2-40B4-BE49-F238E27FC236}">
                  <a16:creationId xmlns:a16="http://schemas.microsoft.com/office/drawing/2014/main" id="{B4EFEC94-9C4A-262A-1803-443E9694CC4B}"/>
                </a:ext>
              </a:extLst>
            </p:cNvPr>
            <p:cNvSpPr>
              <a:spLocks noChangeAspect="1"/>
            </p:cNvSpPr>
            <p:nvPr/>
          </p:nvSpPr>
          <p:spPr bwMode="auto">
            <a:xfrm>
              <a:off x="2362060" y="4102222"/>
              <a:ext cx="640933" cy="596139"/>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07D74"/>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62" name="Groupe 100">
              <a:extLst>
                <a:ext uri="{FF2B5EF4-FFF2-40B4-BE49-F238E27FC236}">
                  <a16:creationId xmlns:a16="http://schemas.microsoft.com/office/drawing/2014/main" id="{F79A557E-E9DB-AD7D-9FD1-F9C0ED7147A4}"/>
                </a:ext>
              </a:extLst>
            </p:cNvPr>
            <p:cNvGrpSpPr/>
            <p:nvPr/>
          </p:nvGrpSpPr>
          <p:grpSpPr>
            <a:xfrm>
              <a:off x="2500227" y="4235724"/>
              <a:ext cx="368410" cy="329602"/>
              <a:chOff x="8611137" y="3642681"/>
              <a:chExt cx="560730" cy="501708"/>
            </a:xfrm>
            <a:solidFill>
              <a:srgbClr val="00929B"/>
            </a:solidFill>
          </p:grpSpPr>
          <p:grpSp>
            <p:nvGrpSpPr>
              <p:cNvPr id="63" name="Groupe 101">
                <a:extLst>
                  <a:ext uri="{FF2B5EF4-FFF2-40B4-BE49-F238E27FC236}">
                    <a16:creationId xmlns:a16="http://schemas.microsoft.com/office/drawing/2014/main" id="{3EEBC427-DD44-87DA-58BF-507146EFFD24}"/>
                  </a:ext>
                </a:extLst>
              </p:cNvPr>
              <p:cNvGrpSpPr/>
              <p:nvPr/>
            </p:nvGrpSpPr>
            <p:grpSpPr>
              <a:xfrm>
                <a:off x="8611137" y="3743701"/>
                <a:ext cx="323287" cy="400688"/>
                <a:chOff x="-5101682" y="4335928"/>
                <a:chExt cx="593273" cy="735203"/>
              </a:xfrm>
              <a:grpFill/>
            </p:grpSpPr>
            <p:grpSp>
              <p:nvGrpSpPr>
                <p:cNvPr id="70" name="Groupe 877">
                  <a:extLst>
                    <a:ext uri="{FF2B5EF4-FFF2-40B4-BE49-F238E27FC236}">
                      <a16:creationId xmlns:a16="http://schemas.microsoft.com/office/drawing/2014/main" id="{6E9071B1-5FB3-D9D2-467B-EFA8E589EB0D}"/>
                    </a:ext>
                  </a:extLst>
                </p:cNvPr>
                <p:cNvGrpSpPr/>
                <p:nvPr/>
              </p:nvGrpSpPr>
              <p:grpSpPr>
                <a:xfrm rot="5400000">
                  <a:off x="-4897724" y="4681816"/>
                  <a:ext cx="185357" cy="593273"/>
                  <a:chOff x="10053638" y="4013200"/>
                  <a:chExt cx="153987" cy="285750"/>
                </a:xfrm>
                <a:grpFill/>
              </p:grpSpPr>
              <p:sp>
                <p:nvSpPr>
                  <p:cNvPr id="72" name="Freeform 249">
                    <a:extLst>
                      <a:ext uri="{FF2B5EF4-FFF2-40B4-BE49-F238E27FC236}">
                        <a16:creationId xmlns:a16="http://schemas.microsoft.com/office/drawing/2014/main" id="{AD341A3A-516D-514B-C605-16E17956F136}"/>
                      </a:ext>
                    </a:extLst>
                  </p:cNvPr>
                  <p:cNvSpPr>
                    <a:spLocks/>
                  </p:cNvSpPr>
                  <p:nvPr/>
                </p:nvSpPr>
                <p:spPr bwMode="auto">
                  <a:xfrm>
                    <a:off x="10053638" y="4087813"/>
                    <a:ext cx="63500" cy="203200"/>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3" name="Freeform 250">
                    <a:extLst>
                      <a:ext uri="{FF2B5EF4-FFF2-40B4-BE49-F238E27FC236}">
                        <a16:creationId xmlns:a16="http://schemas.microsoft.com/office/drawing/2014/main" id="{8454CE2E-376B-B3DA-B33C-1A4DEA57E4E1}"/>
                      </a:ext>
                    </a:extLst>
                  </p:cNvPr>
                  <p:cNvSpPr>
                    <a:spLocks/>
                  </p:cNvSpPr>
                  <p:nvPr/>
                </p:nvSpPr>
                <p:spPr bwMode="auto">
                  <a:xfrm>
                    <a:off x="10140950" y="4046538"/>
                    <a:ext cx="66675" cy="203200"/>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4" name="Freeform 251">
                    <a:extLst>
                      <a:ext uri="{FF2B5EF4-FFF2-40B4-BE49-F238E27FC236}">
                        <a16:creationId xmlns:a16="http://schemas.microsoft.com/office/drawing/2014/main" id="{A16638C3-157B-CC33-2D9C-EE9E2F341B4E}"/>
                      </a:ext>
                    </a:extLst>
                  </p:cNvPr>
                  <p:cNvSpPr>
                    <a:spLocks/>
                  </p:cNvSpPr>
                  <p:nvPr/>
                </p:nvSpPr>
                <p:spPr bwMode="auto">
                  <a:xfrm>
                    <a:off x="10094913" y="4013200"/>
                    <a:ext cx="74613" cy="285750"/>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71" name="Freeform 31">
                  <a:extLst>
                    <a:ext uri="{FF2B5EF4-FFF2-40B4-BE49-F238E27FC236}">
                      <a16:creationId xmlns:a16="http://schemas.microsoft.com/office/drawing/2014/main" id="{9560B591-1F0D-B33B-D27D-F47A46C5C7BF}"/>
                    </a:ext>
                  </a:extLst>
                </p:cNvPr>
                <p:cNvSpPr>
                  <a:spLocks noEditPoints="1"/>
                </p:cNvSpPr>
                <p:nvPr/>
              </p:nvSpPr>
              <p:spPr bwMode="auto">
                <a:xfrm>
                  <a:off x="-4983242" y="4335928"/>
                  <a:ext cx="429239" cy="655153"/>
                </a:xfrm>
                <a:custGeom>
                  <a:avLst/>
                  <a:gdLst>
                    <a:gd name="T0" fmla="*/ 30 w 119"/>
                    <a:gd name="T1" fmla="*/ 62 h 186"/>
                    <a:gd name="T2" fmla="*/ 37 w 119"/>
                    <a:gd name="T3" fmla="*/ 56 h 186"/>
                    <a:gd name="T4" fmla="*/ 43 w 119"/>
                    <a:gd name="T5" fmla="*/ 56 h 186"/>
                    <a:gd name="T6" fmla="*/ 4 w 119"/>
                    <a:gd name="T7" fmla="*/ 1 h 186"/>
                    <a:gd name="T8" fmla="*/ 1 w 119"/>
                    <a:gd name="T9" fmla="*/ 1 h 186"/>
                    <a:gd name="T10" fmla="*/ 1 w 119"/>
                    <a:gd name="T11" fmla="*/ 1 h 186"/>
                    <a:gd name="T12" fmla="*/ 0 w 119"/>
                    <a:gd name="T13" fmla="*/ 4 h 186"/>
                    <a:gd name="T14" fmla="*/ 30 w 119"/>
                    <a:gd name="T15" fmla="*/ 62 h 186"/>
                    <a:gd name="T16" fmla="*/ 39 w 119"/>
                    <a:gd name="T17" fmla="*/ 60 h 186"/>
                    <a:gd name="T18" fmla="*/ 35 w 119"/>
                    <a:gd name="T19" fmla="*/ 68 h 186"/>
                    <a:gd name="T20" fmla="*/ 42 w 119"/>
                    <a:gd name="T21" fmla="*/ 72 h 186"/>
                    <a:gd name="T22" fmla="*/ 46 w 119"/>
                    <a:gd name="T23" fmla="*/ 65 h 186"/>
                    <a:gd name="T24" fmla="*/ 39 w 119"/>
                    <a:gd name="T25" fmla="*/ 60 h 186"/>
                    <a:gd name="T26" fmla="*/ 119 w 119"/>
                    <a:gd name="T27" fmla="*/ 63 h 186"/>
                    <a:gd name="T28" fmla="*/ 117 w 119"/>
                    <a:gd name="T29" fmla="*/ 60 h 186"/>
                    <a:gd name="T30" fmla="*/ 48 w 119"/>
                    <a:gd name="T31" fmla="*/ 59 h 186"/>
                    <a:gd name="T32" fmla="*/ 51 w 119"/>
                    <a:gd name="T33" fmla="*/ 63 h 186"/>
                    <a:gd name="T34" fmla="*/ 49 w 119"/>
                    <a:gd name="T35" fmla="*/ 72 h 186"/>
                    <a:gd name="T36" fmla="*/ 117 w 119"/>
                    <a:gd name="T37" fmla="*/ 66 h 186"/>
                    <a:gd name="T38" fmla="*/ 119 w 119"/>
                    <a:gd name="T39" fmla="*/ 63 h 186"/>
                    <a:gd name="T40" fmla="*/ 31 w 119"/>
                    <a:gd name="T41" fmla="*/ 71 h 186"/>
                    <a:gd name="T42" fmla="*/ 3 w 119"/>
                    <a:gd name="T43" fmla="*/ 132 h 186"/>
                    <a:gd name="T44" fmla="*/ 4 w 119"/>
                    <a:gd name="T45" fmla="*/ 135 h 186"/>
                    <a:gd name="T46" fmla="*/ 4 w 119"/>
                    <a:gd name="T47" fmla="*/ 135 h 186"/>
                    <a:gd name="T48" fmla="*/ 8 w 119"/>
                    <a:gd name="T49" fmla="*/ 134 h 186"/>
                    <a:gd name="T50" fmla="*/ 34 w 119"/>
                    <a:gd name="T51" fmla="*/ 101 h 186"/>
                    <a:gd name="T52" fmla="*/ 31 w 119"/>
                    <a:gd name="T53" fmla="*/ 186 h 186"/>
                    <a:gd name="T54" fmla="*/ 31 w 119"/>
                    <a:gd name="T55" fmla="*/ 186 h 186"/>
                    <a:gd name="T56" fmla="*/ 48 w 119"/>
                    <a:gd name="T57" fmla="*/ 186 h 186"/>
                    <a:gd name="T58" fmla="*/ 48 w 119"/>
                    <a:gd name="T59" fmla="*/ 186 h 186"/>
                    <a:gd name="T60" fmla="*/ 43 w 119"/>
                    <a:gd name="T61" fmla="*/ 77 h 186"/>
                    <a:gd name="T62" fmla="*/ 31 w 119"/>
                    <a:gd name="T63"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86">
                      <a:moveTo>
                        <a:pt x="30" y="62"/>
                      </a:moveTo>
                      <a:cubicBezTo>
                        <a:pt x="32" y="59"/>
                        <a:pt x="34" y="57"/>
                        <a:pt x="37" y="56"/>
                      </a:cubicBezTo>
                      <a:cubicBezTo>
                        <a:pt x="39" y="55"/>
                        <a:pt x="41" y="55"/>
                        <a:pt x="43" y="56"/>
                      </a:cubicBezTo>
                      <a:cubicBezTo>
                        <a:pt x="4" y="1"/>
                        <a:pt x="4" y="1"/>
                        <a:pt x="4" y="1"/>
                      </a:cubicBezTo>
                      <a:cubicBezTo>
                        <a:pt x="4" y="0"/>
                        <a:pt x="2" y="0"/>
                        <a:pt x="1" y="1"/>
                      </a:cubicBezTo>
                      <a:cubicBezTo>
                        <a:pt x="1" y="1"/>
                        <a:pt x="1" y="1"/>
                        <a:pt x="1" y="1"/>
                      </a:cubicBezTo>
                      <a:cubicBezTo>
                        <a:pt x="0" y="2"/>
                        <a:pt x="0" y="3"/>
                        <a:pt x="0" y="4"/>
                      </a:cubicBezTo>
                      <a:cubicBezTo>
                        <a:pt x="0" y="4"/>
                        <a:pt x="8" y="43"/>
                        <a:pt x="30" y="62"/>
                      </a:cubicBezTo>
                      <a:close/>
                      <a:moveTo>
                        <a:pt x="39" y="60"/>
                      </a:moveTo>
                      <a:cubicBezTo>
                        <a:pt x="36" y="61"/>
                        <a:pt x="34" y="65"/>
                        <a:pt x="35" y="68"/>
                      </a:cubicBezTo>
                      <a:cubicBezTo>
                        <a:pt x="35" y="71"/>
                        <a:pt x="39" y="73"/>
                        <a:pt x="42" y="72"/>
                      </a:cubicBezTo>
                      <a:cubicBezTo>
                        <a:pt x="45" y="71"/>
                        <a:pt x="47" y="68"/>
                        <a:pt x="46" y="65"/>
                      </a:cubicBezTo>
                      <a:cubicBezTo>
                        <a:pt x="45" y="61"/>
                        <a:pt x="42" y="60"/>
                        <a:pt x="39" y="60"/>
                      </a:cubicBezTo>
                      <a:close/>
                      <a:moveTo>
                        <a:pt x="119" y="63"/>
                      </a:moveTo>
                      <a:cubicBezTo>
                        <a:pt x="119" y="62"/>
                        <a:pt x="118" y="61"/>
                        <a:pt x="117" y="60"/>
                      </a:cubicBezTo>
                      <a:cubicBezTo>
                        <a:pt x="117" y="60"/>
                        <a:pt x="76" y="46"/>
                        <a:pt x="48" y="59"/>
                      </a:cubicBezTo>
                      <a:cubicBezTo>
                        <a:pt x="49" y="60"/>
                        <a:pt x="50" y="62"/>
                        <a:pt x="51" y="63"/>
                      </a:cubicBezTo>
                      <a:cubicBezTo>
                        <a:pt x="51" y="66"/>
                        <a:pt x="51" y="69"/>
                        <a:pt x="49" y="72"/>
                      </a:cubicBezTo>
                      <a:cubicBezTo>
                        <a:pt x="117" y="66"/>
                        <a:pt x="117" y="66"/>
                        <a:pt x="117" y="66"/>
                      </a:cubicBezTo>
                      <a:cubicBezTo>
                        <a:pt x="118" y="66"/>
                        <a:pt x="119" y="65"/>
                        <a:pt x="119" y="63"/>
                      </a:cubicBezTo>
                      <a:close/>
                      <a:moveTo>
                        <a:pt x="31" y="71"/>
                      </a:moveTo>
                      <a:cubicBezTo>
                        <a:pt x="3" y="132"/>
                        <a:pt x="3" y="132"/>
                        <a:pt x="3" y="132"/>
                      </a:cubicBezTo>
                      <a:cubicBezTo>
                        <a:pt x="2" y="133"/>
                        <a:pt x="3" y="134"/>
                        <a:pt x="4" y="135"/>
                      </a:cubicBezTo>
                      <a:cubicBezTo>
                        <a:pt x="4" y="135"/>
                        <a:pt x="4" y="135"/>
                        <a:pt x="4" y="135"/>
                      </a:cubicBezTo>
                      <a:cubicBezTo>
                        <a:pt x="5" y="135"/>
                        <a:pt x="7" y="135"/>
                        <a:pt x="8" y="134"/>
                      </a:cubicBezTo>
                      <a:cubicBezTo>
                        <a:pt x="8" y="134"/>
                        <a:pt x="24" y="120"/>
                        <a:pt x="34" y="101"/>
                      </a:cubicBezTo>
                      <a:cubicBezTo>
                        <a:pt x="31" y="186"/>
                        <a:pt x="31" y="186"/>
                        <a:pt x="31" y="186"/>
                      </a:cubicBezTo>
                      <a:cubicBezTo>
                        <a:pt x="31" y="186"/>
                        <a:pt x="31" y="186"/>
                        <a:pt x="31" y="186"/>
                      </a:cubicBezTo>
                      <a:cubicBezTo>
                        <a:pt x="48" y="186"/>
                        <a:pt x="48" y="186"/>
                        <a:pt x="48" y="186"/>
                      </a:cubicBezTo>
                      <a:cubicBezTo>
                        <a:pt x="48" y="186"/>
                        <a:pt x="48" y="186"/>
                        <a:pt x="48" y="186"/>
                      </a:cubicBezTo>
                      <a:cubicBezTo>
                        <a:pt x="43" y="77"/>
                        <a:pt x="43" y="77"/>
                        <a:pt x="43" y="77"/>
                      </a:cubicBezTo>
                      <a:cubicBezTo>
                        <a:pt x="38" y="78"/>
                        <a:pt x="33" y="75"/>
                        <a:pt x="31" y="7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64" name="Groupe 102">
                <a:extLst>
                  <a:ext uri="{FF2B5EF4-FFF2-40B4-BE49-F238E27FC236}">
                    <a16:creationId xmlns:a16="http://schemas.microsoft.com/office/drawing/2014/main" id="{5E6554AF-D6F8-5E02-36EB-0DE1285E915B}"/>
                  </a:ext>
                </a:extLst>
              </p:cNvPr>
              <p:cNvGrpSpPr/>
              <p:nvPr/>
            </p:nvGrpSpPr>
            <p:grpSpPr>
              <a:xfrm>
                <a:off x="8848580" y="3642681"/>
                <a:ext cx="323287" cy="400688"/>
                <a:chOff x="-5101682" y="4335928"/>
                <a:chExt cx="593273" cy="735203"/>
              </a:xfrm>
              <a:grpFill/>
            </p:grpSpPr>
            <p:grpSp>
              <p:nvGrpSpPr>
                <p:cNvPr id="65" name="Groupe 877">
                  <a:extLst>
                    <a:ext uri="{FF2B5EF4-FFF2-40B4-BE49-F238E27FC236}">
                      <a16:creationId xmlns:a16="http://schemas.microsoft.com/office/drawing/2014/main" id="{96360D95-5019-5A00-46B5-A661ED7575E9}"/>
                    </a:ext>
                  </a:extLst>
                </p:cNvPr>
                <p:cNvGrpSpPr/>
                <p:nvPr/>
              </p:nvGrpSpPr>
              <p:grpSpPr>
                <a:xfrm rot="5400000">
                  <a:off x="-4897724" y="4681816"/>
                  <a:ext cx="185357" cy="593273"/>
                  <a:chOff x="10053638" y="4013200"/>
                  <a:chExt cx="153987" cy="285750"/>
                </a:xfrm>
                <a:grpFill/>
              </p:grpSpPr>
              <p:sp>
                <p:nvSpPr>
                  <p:cNvPr id="67" name="Freeform 249">
                    <a:extLst>
                      <a:ext uri="{FF2B5EF4-FFF2-40B4-BE49-F238E27FC236}">
                        <a16:creationId xmlns:a16="http://schemas.microsoft.com/office/drawing/2014/main" id="{785D775F-4D0E-91BC-F8A1-6DBAA010481A}"/>
                      </a:ext>
                    </a:extLst>
                  </p:cNvPr>
                  <p:cNvSpPr>
                    <a:spLocks/>
                  </p:cNvSpPr>
                  <p:nvPr/>
                </p:nvSpPr>
                <p:spPr bwMode="auto">
                  <a:xfrm>
                    <a:off x="10053638" y="4087813"/>
                    <a:ext cx="63500" cy="203200"/>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8" name="Freeform 250">
                    <a:extLst>
                      <a:ext uri="{FF2B5EF4-FFF2-40B4-BE49-F238E27FC236}">
                        <a16:creationId xmlns:a16="http://schemas.microsoft.com/office/drawing/2014/main" id="{37F85689-AB2B-3EE2-1DBD-8FABE3F4847C}"/>
                      </a:ext>
                    </a:extLst>
                  </p:cNvPr>
                  <p:cNvSpPr>
                    <a:spLocks/>
                  </p:cNvSpPr>
                  <p:nvPr/>
                </p:nvSpPr>
                <p:spPr bwMode="auto">
                  <a:xfrm>
                    <a:off x="10140950" y="4046538"/>
                    <a:ext cx="66675" cy="203200"/>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9" name="Freeform 251">
                    <a:extLst>
                      <a:ext uri="{FF2B5EF4-FFF2-40B4-BE49-F238E27FC236}">
                        <a16:creationId xmlns:a16="http://schemas.microsoft.com/office/drawing/2014/main" id="{11A0AC0E-090A-925E-113F-C80652F07A2D}"/>
                      </a:ext>
                    </a:extLst>
                  </p:cNvPr>
                  <p:cNvSpPr>
                    <a:spLocks/>
                  </p:cNvSpPr>
                  <p:nvPr/>
                </p:nvSpPr>
                <p:spPr bwMode="auto">
                  <a:xfrm>
                    <a:off x="10094913" y="4013200"/>
                    <a:ext cx="74613" cy="285750"/>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66" name="Freeform 31">
                  <a:extLst>
                    <a:ext uri="{FF2B5EF4-FFF2-40B4-BE49-F238E27FC236}">
                      <a16:creationId xmlns:a16="http://schemas.microsoft.com/office/drawing/2014/main" id="{9435FE2F-7586-F65E-CA21-14B091E9B2BC}"/>
                    </a:ext>
                  </a:extLst>
                </p:cNvPr>
                <p:cNvSpPr>
                  <a:spLocks noEditPoints="1"/>
                </p:cNvSpPr>
                <p:nvPr/>
              </p:nvSpPr>
              <p:spPr bwMode="auto">
                <a:xfrm>
                  <a:off x="-4983242" y="4335928"/>
                  <a:ext cx="429239" cy="655153"/>
                </a:xfrm>
                <a:custGeom>
                  <a:avLst/>
                  <a:gdLst>
                    <a:gd name="T0" fmla="*/ 30 w 119"/>
                    <a:gd name="T1" fmla="*/ 62 h 186"/>
                    <a:gd name="T2" fmla="*/ 37 w 119"/>
                    <a:gd name="T3" fmla="*/ 56 h 186"/>
                    <a:gd name="T4" fmla="*/ 43 w 119"/>
                    <a:gd name="T5" fmla="*/ 56 h 186"/>
                    <a:gd name="T6" fmla="*/ 4 w 119"/>
                    <a:gd name="T7" fmla="*/ 1 h 186"/>
                    <a:gd name="T8" fmla="*/ 1 w 119"/>
                    <a:gd name="T9" fmla="*/ 1 h 186"/>
                    <a:gd name="T10" fmla="*/ 1 w 119"/>
                    <a:gd name="T11" fmla="*/ 1 h 186"/>
                    <a:gd name="T12" fmla="*/ 0 w 119"/>
                    <a:gd name="T13" fmla="*/ 4 h 186"/>
                    <a:gd name="T14" fmla="*/ 30 w 119"/>
                    <a:gd name="T15" fmla="*/ 62 h 186"/>
                    <a:gd name="T16" fmla="*/ 39 w 119"/>
                    <a:gd name="T17" fmla="*/ 60 h 186"/>
                    <a:gd name="T18" fmla="*/ 35 w 119"/>
                    <a:gd name="T19" fmla="*/ 68 h 186"/>
                    <a:gd name="T20" fmla="*/ 42 w 119"/>
                    <a:gd name="T21" fmla="*/ 72 h 186"/>
                    <a:gd name="T22" fmla="*/ 46 w 119"/>
                    <a:gd name="T23" fmla="*/ 65 h 186"/>
                    <a:gd name="T24" fmla="*/ 39 w 119"/>
                    <a:gd name="T25" fmla="*/ 60 h 186"/>
                    <a:gd name="T26" fmla="*/ 119 w 119"/>
                    <a:gd name="T27" fmla="*/ 63 h 186"/>
                    <a:gd name="T28" fmla="*/ 117 w 119"/>
                    <a:gd name="T29" fmla="*/ 60 h 186"/>
                    <a:gd name="T30" fmla="*/ 48 w 119"/>
                    <a:gd name="T31" fmla="*/ 59 h 186"/>
                    <a:gd name="T32" fmla="*/ 51 w 119"/>
                    <a:gd name="T33" fmla="*/ 63 h 186"/>
                    <a:gd name="T34" fmla="*/ 49 w 119"/>
                    <a:gd name="T35" fmla="*/ 72 h 186"/>
                    <a:gd name="T36" fmla="*/ 117 w 119"/>
                    <a:gd name="T37" fmla="*/ 66 h 186"/>
                    <a:gd name="T38" fmla="*/ 119 w 119"/>
                    <a:gd name="T39" fmla="*/ 63 h 186"/>
                    <a:gd name="T40" fmla="*/ 31 w 119"/>
                    <a:gd name="T41" fmla="*/ 71 h 186"/>
                    <a:gd name="T42" fmla="*/ 3 w 119"/>
                    <a:gd name="T43" fmla="*/ 132 h 186"/>
                    <a:gd name="T44" fmla="*/ 4 w 119"/>
                    <a:gd name="T45" fmla="*/ 135 h 186"/>
                    <a:gd name="T46" fmla="*/ 4 w 119"/>
                    <a:gd name="T47" fmla="*/ 135 h 186"/>
                    <a:gd name="T48" fmla="*/ 8 w 119"/>
                    <a:gd name="T49" fmla="*/ 134 h 186"/>
                    <a:gd name="T50" fmla="*/ 34 w 119"/>
                    <a:gd name="T51" fmla="*/ 101 h 186"/>
                    <a:gd name="T52" fmla="*/ 31 w 119"/>
                    <a:gd name="T53" fmla="*/ 186 h 186"/>
                    <a:gd name="T54" fmla="*/ 31 w 119"/>
                    <a:gd name="T55" fmla="*/ 186 h 186"/>
                    <a:gd name="T56" fmla="*/ 48 w 119"/>
                    <a:gd name="T57" fmla="*/ 186 h 186"/>
                    <a:gd name="T58" fmla="*/ 48 w 119"/>
                    <a:gd name="T59" fmla="*/ 186 h 186"/>
                    <a:gd name="T60" fmla="*/ 43 w 119"/>
                    <a:gd name="T61" fmla="*/ 77 h 186"/>
                    <a:gd name="T62" fmla="*/ 31 w 119"/>
                    <a:gd name="T63"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86">
                      <a:moveTo>
                        <a:pt x="30" y="62"/>
                      </a:moveTo>
                      <a:cubicBezTo>
                        <a:pt x="32" y="59"/>
                        <a:pt x="34" y="57"/>
                        <a:pt x="37" y="56"/>
                      </a:cubicBezTo>
                      <a:cubicBezTo>
                        <a:pt x="39" y="55"/>
                        <a:pt x="41" y="55"/>
                        <a:pt x="43" y="56"/>
                      </a:cubicBezTo>
                      <a:cubicBezTo>
                        <a:pt x="4" y="1"/>
                        <a:pt x="4" y="1"/>
                        <a:pt x="4" y="1"/>
                      </a:cubicBezTo>
                      <a:cubicBezTo>
                        <a:pt x="4" y="0"/>
                        <a:pt x="2" y="0"/>
                        <a:pt x="1" y="1"/>
                      </a:cubicBezTo>
                      <a:cubicBezTo>
                        <a:pt x="1" y="1"/>
                        <a:pt x="1" y="1"/>
                        <a:pt x="1" y="1"/>
                      </a:cubicBezTo>
                      <a:cubicBezTo>
                        <a:pt x="0" y="2"/>
                        <a:pt x="0" y="3"/>
                        <a:pt x="0" y="4"/>
                      </a:cubicBezTo>
                      <a:cubicBezTo>
                        <a:pt x="0" y="4"/>
                        <a:pt x="8" y="43"/>
                        <a:pt x="30" y="62"/>
                      </a:cubicBezTo>
                      <a:close/>
                      <a:moveTo>
                        <a:pt x="39" y="60"/>
                      </a:moveTo>
                      <a:cubicBezTo>
                        <a:pt x="36" y="61"/>
                        <a:pt x="34" y="65"/>
                        <a:pt x="35" y="68"/>
                      </a:cubicBezTo>
                      <a:cubicBezTo>
                        <a:pt x="35" y="71"/>
                        <a:pt x="39" y="73"/>
                        <a:pt x="42" y="72"/>
                      </a:cubicBezTo>
                      <a:cubicBezTo>
                        <a:pt x="45" y="71"/>
                        <a:pt x="47" y="68"/>
                        <a:pt x="46" y="65"/>
                      </a:cubicBezTo>
                      <a:cubicBezTo>
                        <a:pt x="45" y="61"/>
                        <a:pt x="42" y="60"/>
                        <a:pt x="39" y="60"/>
                      </a:cubicBezTo>
                      <a:close/>
                      <a:moveTo>
                        <a:pt x="119" y="63"/>
                      </a:moveTo>
                      <a:cubicBezTo>
                        <a:pt x="119" y="62"/>
                        <a:pt x="118" y="61"/>
                        <a:pt x="117" y="60"/>
                      </a:cubicBezTo>
                      <a:cubicBezTo>
                        <a:pt x="117" y="60"/>
                        <a:pt x="76" y="46"/>
                        <a:pt x="48" y="59"/>
                      </a:cubicBezTo>
                      <a:cubicBezTo>
                        <a:pt x="49" y="60"/>
                        <a:pt x="50" y="62"/>
                        <a:pt x="51" y="63"/>
                      </a:cubicBezTo>
                      <a:cubicBezTo>
                        <a:pt x="51" y="66"/>
                        <a:pt x="51" y="69"/>
                        <a:pt x="49" y="72"/>
                      </a:cubicBezTo>
                      <a:cubicBezTo>
                        <a:pt x="117" y="66"/>
                        <a:pt x="117" y="66"/>
                        <a:pt x="117" y="66"/>
                      </a:cubicBezTo>
                      <a:cubicBezTo>
                        <a:pt x="118" y="66"/>
                        <a:pt x="119" y="65"/>
                        <a:pt x="119" y="63"/>
                      </a:cubicBezTo>
                      <a:close/>
                      <a:moveTo>
                        <a:pt x="31" y="71"/>
                      </a:moveTo>
                      <a:cubicBezTo>
                        <a:pt x="3" y="132"/>
                        <a:pt x="3" y="132"/>
                        <a:pt x="3" y="132"/>
                      </a:cubicBezTo>
                      <a:cubicBezTo>
                        <a:pt x="2" y="133"/>
                        <a:pt x="3" y="134"/>
                        <a:pt x="4" y="135"/>
                      </a:cubicBezTo>
                      <a:cubicBezTo>
                        <a:pt x="4" y="135"/>
                        <a:pt x="4" y="135"/>
                        <a:pt x="4" y="135"/>
                      </a:cubicBezTo>
                      <a:cubicBezTo>
                        <a:pt x="5" y="135"/>
                        <a:pt x="7" y="135"/>
                        <a:pt x="8" y="134"/>
                      </a:cubicBezTo>
                      <a:cubicBezTo>
                        <a:pt x="8" y="134"/>
                        <a:pt x="24" y="120"/>
                        <a:pt x="34" y="101"/>
                      </a:cubicBezTo>
                      <a:cubicBezTo>
                        <a:pt x="31" y="186"/>
                        <a:pt x="31" y="186"/>
                        <a:pt x="31" y="186"/>
                      </a:cubicBezTo>
                      <a:cubicBezTo>
                        <a:pt x="31" y="186"/>
                        <a:pt x="31" y="186"/>
                        <a:pt x="31" y="186"/>
                      </a:cubicBezTo>
                      <a:cubicBezTo>
                        <a:pt x="48" y="186"/>
                        <a:pt x="48" y="186"/>
                        <a:pt x="48" y="186"/>
                      </a:cubicBezTo>
                      <a:cubicBezTo>
                        <a:pt x="48" y="186"/>
                        <a:pt x="48" y="186"/>
                        <a:pt x="48" y="186"/>
                      </a:cubicBezTo>
                      <a:cubicBezTo>
                        <a:pt x="43" y="77"/>
                        <a:pt x="43" y="77"/>
                        <a:pt x="43" y="77"/>
                      </a:cubicBezTo>
                      <a:cubicBezTo>
                        <a:pt x="38" y="78"/>
                        <a:pt x="33" y="75"/>
                        <a:pt x="31" y="7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76" name="ZoneTexte 157">
              <a:extLst>
                <a:ext uri="{FF2B5EF4-FFF2-40B4-BE49-F238E27FC236}">
                  <a16:creationId xmlns:a16="http://schemas.microsoft.com/office/drawing/2014/main" id="{42DE1EC5-1A00-8B82-9246-F146F727CEE0}"/>
                </a:ext>
              </a:extLst>
            </p:cNvPr>
            <p:cNvSpPr txBox="1"/>
            <p:nvPr/>
          </p:nvSpPr>
          <p:spPr>
            <a:xfrm>
              <a:off x="3098609" y="3010472"/>
              <a:ext cx="1281331"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prstClr val="black"/>
                  </a:solidFill>
                  <a:latin typeface="Ubuntu"/>
                </a:rPr>
                <a:t>Total capac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Ubuntu"/>
                  <a:ea typeface="+mn-ea"/>
                  <a:cs typeface="+mn-cs"/>
                </a:rPr>
                <a:t>825 GW </a:t>
              </a:r>
              <a:r>
                <a:rPr kumimoji="0" lang="en-US" sz="1800" b="0" i="0" u="none" strike="noStrike" kern="1200" cap="none" spc="0" normalizeH="0" baseline="0" noProof="0">
                  <a:ln>
                    <a:noFill/>
                  </a:ln>
                  <a:solidFill>
                    <a:prstClr val="black"/>
                  </a:solidFill>
                  <a:effectLst/>
                  <a:uLnTx/>
                  <a:uFillTx/>
                  <a:latin typeface="Ubuntu"/>
                  <a:ea typeface="+mn-ea"/>
                  <a:cs typeface="+mn-cs"/>
                </a:rPr>
                <a:t>in 2021</a:t>
              </a:r>
            </a:p>
          </p:txBody>
        </p:sp>
      </p:grpSp>
      <p:sp>
        <p:nvSpPr>
          <p:cNvPr id="77" name="TextBox 8">
            <a:extLst>
              <a:ext uri="{FF2B5EF4-FFF2-40B4-BE49-F238E27FC236}">
                <a16:creationId xmlns:a16="http://schemas.microsoft.com/office/drawing/2014/main" id="{701CBE0B-4A9C-E4B0-C6DB-11E203714820}"/>
              </a:ext>
            </a:extLst>
          </p:cNvPr>
          <p:cNvSpPr txBox="1"/>
          <p:nvPr/>
        </p:nvSpPr>
        <p:spPr>
          <a:xfrm>
            <a:off x="329861" y="6299768"/>
            <a:ext cx="5388056" cy="1629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 </a:t>
            </a:r>
            <a:r>
              <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rPr>
              <a:t>1</a:t>
            </a: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Floating offshore wind: the next five years, DNV</a:t>
            </a:r>
          </a:p>
        </p:txBody>
      </p:sp>
      <p:sp>
        <p:nvSpPr>
          <p:cNvPr id="78" name="Ellipse 1">
            <a:extLst>
              <a:ext uri="{FF2B5EF4-FFF2-40B4-BE49-F238E27FC236}">
                <a16:creationId xmlns:a16="http://schemas.microsoft.com/office/drawing/2014/main" id="{5C8769A5-AFC8-46FD-8574-B0FF71CC72F2}"/>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012864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EAFC5B8-58D1-4E34-3664-69060CE7B824}"/>
              </a:ext>
            </a:extLst>
          </p:cNvPr>
          <p:cNvSpPr/>
          <p:nvPr/>
        </p:nvSpPr>
        <p:spPr>
          <a:xfrm>
            <a:off x="3048" y="5805377"/>
            <a:ext cx="12188952" cy="1052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3" name="ZoneTexte 10">
            <a:extLst>
              <a:ext uri="{FF2B5EF4-FFF2-40B4-BE49-F238E27FC236}">
                <a16:creationId xmlns:a16="http://schemas.microsoft.com/office/drawing/2014/main" id="{F998A425-82A4-1C96-5B47-8E791ED8861A}"/>
              </a:ext>
            </a:extLst>
          </p:cNvPr>
          <p:cNvSpPr txBox="1"/>
          <p:nvPr/>
        </p:nvSpPr>
        <p:spPr>
          <a:xfrm>
            <a:off x="2354990" y="1481333"/>
            <a:ext cx="1691489" cy="369332"/>
          </a:xfrm>
          <a:prstGeom prst="rect">
            <a:avLst/>
          </a:prstGeom>
          <a:noFill/>
          <a:ln>
            <a:solidFill>
              <a:schemeClr val="tx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Ubuntu"/>
                <a:ea typeface="+mn-ea"/>
                <a:cs typeface="+mn-cs"/>
              </a:rPr>
              <a:t>Offshore </a:t>
            </a:r>
            <a:r>
              <a:rPr kumimoji="0" lang="fr-FR" sz="1800" b="0" i="0" u="none" strike="noStrike" kern="1200" cap="none" spc="0" normalizeH="0" baseline="0" noProof="0" err="1">
                <a:ln>
                  <a:noFill/>
                </a:ln>
                <a:solidFill>
                  <a:prstClr val="black"/>
                </a:solidFill>
                <a:effectLst/>
                <a:uLnTx/>
                <a:uFillTx/>
                <a:latin typeface="Ubuntu"/>
                <a:ea typeface="+mn-ea"/>
                <a:cs typeface="+mn-cs"/>
              </a:rPr>
              <a:t>wind</a:t>
            </a: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4" name="ZoneTexte 11">
            <a:extLst>
              <a:ext uri="{FF2B5EF4-FFF2-40B4-BE49-F238E27FC236}">
                <a16:creationId xmlns:a16="http://schemas.microsoft.com/office/drawing/2014/main" id="{E6548704-DAAD-0C18-DD13-F393A3C5A491}"/>
              </a:ext>
            </a:extLst>
          </p:cNvPr>
          <p:cNvSpPr txBox="1"/>
          <p:nvPr/>
        </p:nvSpPr>
        <p:spPr>
          <a:xfrm>
            <a:off x="8397450" y="1481333"/>
            <a:ext cx="1645002" cy="369332"/>
          </a:xfrm>
          <a:prstGeom prst="rect">
            <a:avLst/>
          </a:prstGeom>
          <a:noFill/>
          <a:ln>
            <a:solidFill>
              <a:schemeClr val="tx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Ubuntu"/>
                <a:ea typeface="+mn-ea"/>
                <a:cs typeface="+mn-cs"/>
              </a:rPr>
              <a:t>Onshore </a:t>
            </a:r>
            <a:r>
              <a:rPr kumimoji="0" lang="fr-FR" sz="1800" b="0" i="0" u="none" strike="noStrike" kern="1200" cap="none" spc="0" normalizeH="0" baseline="0" noProof="0" err="1">
                <a:ln>
                  <a:noFill/>
                </a:ln>
                <a:solidFill>
                  <a:prstClr val="black"/>
                </a:solidFill>
                <a:effectLst/>
                <a:uLnTx/>
                <a:uFillTx/>
                <a:latin typeface="Ubuntu"/>
                <a:ea typeface="+mn-ea"/>
                <a:cs typeface="+mn-cs"/>
              </a:rPr>
              <a:t>wind</a:t>
            </a: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5" name="TextBox 8">
            <a:extLst>
              <a:ext uri="{FF2B5EF4-FFF2-40B4-BE49-F238E27FC236}">
                <a16:creationId xmlns:a16="http://schemas.microsoft.com/office/drawing/2014/main" id="{EA94A6E9-B10E-984C-F996-C924E7947106}"/>
              </a:ext>
            </a:extLst>
          </p:cNvPr>
          <p:cNvSpPr txBox="1"/>
          <p:nvPr/>
        </p:nvSpPr>
        <p:spPr>
          <a:xfrm>
            <a:off x="324991" y="6146240"/>
            <a:ext cx="50702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 </a:t>
            </a:r>
            <a:r>
              <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rPr>
              <a:t>1</a:t>
            </a: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Global Wind Offshore Energy Council (GWEC) report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rPr>
              <a:t>2</a:t>
            </a: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Global Energy Review 2021: IEA</a:t>
            </a:r>
          </a:p>
        </p:txBody>
      </p:sp>
      <p:sp>
        <p:nvSpPr>
          <p:cNvPr id="6" name="Text Placeholder 5">
            <a:extLst>
              <a:ext uri="{FF2B5EF4-FFF2-40B4-BE49-F238E27FC236}">
                <a16:creationId xmlns:a16="http://schemas.microsoft.com/office/drawing/2014/main" id="{84C1F521-F137-9623-F3E3-CFF81BCDE976}"/>
              </a:ext>
            </a:extLst>
          </p:cNvPr>
          <p:cNvSpPr txBox="1">
            <a:spLocks/>
          </p:cNvSpPr>
          <p:nvPr/>
        </p:nvSpPr>
        <p:spPr>
          <a:xfrm>
            <a:off x="4439144" y="1471307"/>
            <a:ext cx="3586064" cy="369332"/>
          </a:xfrm>
          <a:prstGeom prst="rect">
            <a:avLst/>
          </a:prstGeom>
          <a:noFill/>
          <a:ln>
            <a:solidFill>
              <a:srgbClr val="14596B"/>
            </a:solidFill>
          </a:ln>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14596B"/>
                </a:solidFill>
                <a:effectLst/>
                <a:uLnTx/>
                <a:uFillTx/>
                <a:latin typeface="Ubuntu" panose="020B0504030602030204" pitchFamily="34" charset="0"/>
                <a:ea typeface="+mn-ea"/>
                <a:cs typeface="+mn-cs"/>
              </a:rPr>
              <a:t>New wind Installations in 2021</a:t>
            </a:r>
          </a:p>
        </p:txBody>
      </p:sp>
      <p:pic>
        <p:nvPicPr>
          <p:cNvPr id="8" name="Image 23">
            <a:extLst>
              <a:ext uri="{FF2B5EF4-FFF2-40B4-BE49-F238E27FC236}">
                <a16:creationId xmlns:a16="http://schemas.microsoft.com/office/drawing/2014/main" id="{9D24D448-BC53-0A63-58B0-6CBCF6F95D20}"/>
              </a:ext>
            </a:extLst>
          </p:cNvPr>
          <p:cNvPicPr>
            <a:picLocks noChangeAspect="1"/>
          </p:cNvPicPr>
          <p:nvPr/>
        </p:nvPicPr>
        <p:blipFill>
          <a:blip r:embed="rId3"/>
          <a:stretch>
            <a:fillRect/>
          </a:stretch>
        </p:blipFill>
        <p:spPr>
          <a:xfrm>
            <a:off x="-16469" y="1902745"/>
            <a:ext cx="6634111" cy="4424400"/>
          </a:xfrm>
          <a:prstGeom prst="rect">
            <a:avLst/>
          </a:prstGeom>
        </p:spPr>
      </p:pic>
      <p:pic>
        <p:nvPicPr>
          <p:cNvPr id="9" name="Image 30">
            <a:extLst>
              <a:ext uri="{FF2B5EF4-FFF2-40B4-BE49-F238E27FC236}">
                <a16:creationId xmlns:a16="http://schemas.microsoft.com/office/drawing/2014/main" id="{C0814EEE-D86C-72FB-9062-F0AEB87815F6}"/>
              </a:ext>
            </a:extLst>
          </p:cNvPr>
          <p:cNvPicPr>
            <a:picLocks noChangeAspect="1"/>
          </p:cNvPicPr>
          <p:nvPr/>
        </p:nvPicPr>
        <p:blipFill>
          <a:blip r:embed="rId4"/>
          <a:stretch>
            <a:fillRect/>
          </a:stretch>
        </p:blipFill>
        <p:spPr>
          <a:xfrm>
            <a:off x="5898527" y="1714867"/>
            <a:ext cx="6642847" cy="4571314"/>
          </a:xfrm>
          <a:prstGeom prst="rect">
            <a:avLst/>
          </a:prstGeom>
        </p:spPr>
      </p:pic>
      <p:sp>
        <p:nvSpPr>
          <p:cNvPr id="7" name="Title 6">
            <a:extLst>
              <a:ext uri="{FF2B5EF4-FFF2-40B4-BE49-F238E27FC236}">
                <a16:creationId xmlns:a16="http://schemas.microsoft.com/office/drawing/2014/main" id="{41E39988-2440-4017-8659-F3E991CC1B8E}"/>
              </a:ext>
            </a:extLst>
          </p:cNvPr>
          <p:cNvSpPr>
            <a:spLocks noGrp="1"/>
          </p:cNvSpPr>
          <p:nvPr>
            <p:ph type="title"/>
          </p:nvPr>
        </p:nvSpPr>
        <p:spPr/>
        <p:txBody>
          <a:bodyPr/>
          <a:lstStyle/>
          <a:p>
            <a:r>
              <a:rPr lang="en-US"/>
              <a:t>a slowdown in onshore installations but a significant increase in offshore installations</a:t>
            </a:r>
          </a:p>
        </p:txBody>
      </p:sp>
      <p:sp>
        <p:nvSpPr>
          <p:cNvPr id="11" name="Ellipse 1">
            <a:extLst>
              <a:ext uri="{FF2B5EF4-FFF2-40B4-BE49-F238E27FC236}">
                <a16:creationId xmlns:a16="http://schemas.microsoft.com/office/drawing/2014/main" id="{A44FE0D4-0F56-4C0D-89B1-136D088D1816}"/>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4274427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ZoneTexte 158">
            <a:extLst>
              <a:ext uri="{FF2B5EF4-FFF2-40B4-BE49-F238E27FC236}">
                <a16:creationId xmlns:a16="http://schemas.microsoft.com/office/drawing/2014/main" id="{D292C8BC-489C-EE1B-6DCE-715D6FE2FDA3}"/>
              </a:ext>
            </a:extLst>
          </p:cNvPr>
          <p:cNvSpPr txBox="1"/>
          <p:nvPr/>
        </p:nvSpPr>
        <p:spPr>
          <a:xfrm>
            <a:off x="6005513" y="1775573"/>
            <a:ext cx="1183859"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Ubuntu"/>
                <a:ea typeface="+mn-ea"/>
                <a:cs typeface="+mn-cs"/>
              </a:rPr>
              <a:t>Commercial PV cells</a:t>
            </a:r>
            <a:endParaRPr kumimoji="0" lang="fr-FR" sz="1200" b="0" i="0" u="none" strike="noStrike" kern="1200" cap="none" spc="0" normalizeH="0" baseline="0" noProof="0">
              <a:ln>
                <a:noFill/>
              </a:ln>
              <a:solidFill>
                <a:prstClr val="black"/>
              </a:solidFill>
              <a:effectLst/>
              <a:uLnTx/>
              <a:uFillTx/>
              <a:latin typeface="Ubuntu"/>
              <a:ea typeface="+mn-ea"/>
              <a:cs typeface="+mn-cs"/>
            </a:endParaRPr>
          </a:p>
        </p:txBody>
      </p:sp>
      <p:sp>
        <p:nvSpPr>
          <p:cNvPr id="153" name="ZoneTexte 159">
            <a:extLst>
              <a:ext uri="{FF2B5EF4-FFF2-40B4-BE49-F238E27FC236}">
                <a16:creationId xmlns:a16="http://schemas.microsoft.com/office/drawing/2014/main" id="{ED3FF417-1970-286C-5070-2CC5FD0D0BFD}"/>
              </a:ext>
            </a:extLst>
          </p:cNvPr>
          <p:cNvSpPr txBox="1"/>
          <p:nvPr/>
        </p:nvSpPr>
        <p:spPr>
          <a:xfrm>
            <a:off x="6207240" y="1404461"/>
            <a:ext cx="91242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14596B"/>
                </a:solidFill>
                <a:effectLst/>
                <a:uLnTx/>
                <a:uFillTx/>
                <a:latin typeface="Ubuntu"/>
                <a:ea typeface="+mn-ea"/>
                <a:cs typeface="+mn-cs"/>
              </a:rPr>
              <a:t>15-20%</a:t>
            </a:r>
          </a:p>
        </p:txBody>
      </p:sp>
      <p:cxnSp>
        <p:nvCxnSpPr>
          <p:cNvPr id="154" name="Connecteur droit 160">
            <a:extLst>
              <a:ext uri="{FF2B5EF4-FFF2-40B4-BE49-F238E27FC236}">
                <a16:creationId xmlns:a16="http://schemas.microsoft.com/office/drawing/2014/main" id="{34AB43EA-CCB7-5B32-4DA2-7F77A41C7575}"/>
              </a:ext>
            </a:extLst>
          </p:cNvPr>
          <p:cNvCxnSpPr>
            <a:cxnSpLocks/>
          </p:cNvCxnSpPr>
          <p:nvPr/>
        </p:nvCxnSpPr>
        <p:spPr>
          <a:xfrm>
            <a:off x="6429995" y="1778311"/>
            <a:ext cx="347304" cy="0"/>
          </a:xfrm>
          <a:prstGeom prst="line">
            <a:avLst/>
          </a:prstGeom>
          <a:ln w="19050">
            <a:solidFill>
              <a:srgbClr val="14596B"/>
            </a:solidFill>
          </a:ln>
        </p:spPr>
        <p:style>
          <a:lnRef idx="1">
            <a:schemeClr val="accent1"/>
          </a:lnRef>
          <a:fillRef idx="0">
            <a:schemeClr val="accent1"/>
          </a:fillRef>
          <a:effectRef idx="0">
            <a:schemeClr val="accent1"/>
          </a:effectRef>
          <a:fontRef idx="minor">
            <a:schemeClr val="tx1"/>
          </a:fontRef>
        </p:style>
      </p:cxnSp>
      <p:sp>
        <p:nvSpPr>
          <p:cNvPr id="157" name="ZoneTexte 50">
            <a:extLst>
              <a:ext uri="{FF2B5EF4-FFF2-40B4-BE49-F238E27FC236}">
                <a16:creationId xmlns:a16="http://schemas.microsoft.com/office/drawing/2014/main" id="{69C1119F-5A14-445A-4CB7-4058A0D57D0F}"/>
              </a:ext>
            </a:extLst>
          </p:cNvPr>
          <p:cNvSpPr txBox="1"/>
          <p:nvPr/>
        </p:nvSpPr>
        <p:spPr>
          <a:xfrm>
            <a:off x="1922284" y="1262531"/>
            <a:ext cx="246024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Research on new materials with higher </a:t>
            </a:r>
            <a:r>
              <a:rPr kumimoji="0" lang="en-US" sz="1600" b="1" i="0" u="none" strike="noStrike" kern="1200" cap="none" spc="0" normalizeH="0" baseline="0" noProof="0">
                <a:ln>
                  <a:noFill/>
                </a:ln>
                <a:solidFill>
                  <a:srgbClr val="14596B"/>
                </a:solidFill>
                <a:effectLst/>
                <a:uLnTx/>
                <a:uFillTx/>
                <a:latin typeface="Ubuntu"/>
                <a:ea typeface="+mn-ea"/>
                <a:cs typeface="+mn-cs"/>
              </a:rPr>
              <a:t>conversion efficiencies</a:t>
            </a:r>
          </a:p>
        </p:txBody>
      </p:sp>
      <p:sp>
        <p:nvSpPr>
          <p:cNvPr id="159" name="ZoneTexte 54">
            <a:extLst>
              <a:ext uri="{FF2B5EF4-FFF2-40B4-BE49-F238E27FC236}">
                <a16:creationId xmlns:a16="http://schemas.microsoft.com/office/drawing/2014/main" id="{A7084808-BB00-4B09-7620-643359C6DEB9}"/>
              </a:ext>
            </a:extLst>
          </p:cNvPr>
          <p:cNvSpPr txBox="1"/>
          <p:nvPr/>
        </p:nvSpPr>
        <p:spPr>
          <a:xfrm>
            <a:off x="357187" y="2902195"/>
            <a:ext cx="1888163" cy="24622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Bifacial cells</a:t>
            </a:r>
          </a:p>
        </p:txBody>
      </p:sp>
      <p:sp>
        <p:nvSpPr>
          <p:cNvPr id="161" name="ZoneTexte 56">
            <a:extLst>
              <a:ext uri="{FF2B5EF4-FFF2-40B4-BE49-F238E27FC236}">
                <a16:creationId xmlns:a16="http://schemas.microsoft.com/office/drawing/2014/main" id="{CEBDC5AB-617A-2242-7E27-7C9B4691C7A6}"/>
              </a:ext>
            </a:extLst>
          </p:cNvPr>
          <p:cNvSpPr txBox="1"/>
          <p:nvPr/>
        </p:nvSpPr>
        <p:spPr>
          <a:xfrm>
            <a:off x="5297071" y="2696753"/>
            <a:ext cx="1729326"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Sun trackers to increase the 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at least +20%)</a:t>
            </a:r>
          </a:p>
        </p:txBody>
      </p:sp>
      <p:sp>
        <p:nvSpPr>
          <p:cNvPr id="163" name="ZoneTexte 59">
            <a:extLst>
              <a:ext uri="{FF2B5EF4-FFF2-40B4-BE49-F238E27FC236}">
                <a16:creationId xmlns:a16="http://schemas.microsoft.com/office/drawing/2014/main" id="{DC205833-5A06-924D-2C67-7113D49AEA66}"/>
              </a:ext>
            </a:extLst>
          </p:cNvPr>
          <p:cNvSpPr txBox="1"/>
          <p:nvPr/>
        </p:nvSpPr>
        <p:spPr>
          <a:xfrm>
            <a:off x="5181633" y="4269564"/>
            <a:ext cx="1805216"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Solar cell recycling technologies to recover silicon are progressing</a:t>
            </a:r>
          </a:p>
        </p:txBody>
      </p:sp>
      <p:sp>
        <p:nvSpPr>
          <p:cNvPr id="165" name="ZoneTexte 63">
            <a:extLst>
              <a:ext uri="{FF2B5EF4-FFF2-40B4-BE49-F238E27FC236}">
                <a16:creationId xmlns:a16="http://schemas.microsoft.com/office/drawing/2014/main" id="{00363297-7503-0727-9C70-3D7FEDC4F11B}"/>
              </a:ext>
            </a:extLst>
          </p:cNvPr>
          <p:cNvSpPr txBox="1"/>
          <p:nvPr/>
        </p:nvSpPr>
        <p:spPr>
          <a:xfrm>
            <a:off x="338137" y="4128719"/>
            <a:ext cx="1975183" cy="984885"/>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Floating solar: 2 GW capacity by the end of 2019, estimated 62GW by 2030</a:t>
            </a:r>
          </a:p>
        </p:txBody>
      </p:sp>
      <p:grpSp>
        <p:nvGrpSpPr>
          <p:cNvPr id="4" name="Groupe 3">
            <a:extLst>
              <a:ext uri="{FF2B5EF4-FFF2-40B4-BE49-F238E27FC236}">
                <a16:creationId xmlns:a16="http://schemas.microsoft.com/office/drawing/2014/main" id="{EF630607-4E5B-44F2-9CFF-E67FB809961D}"/>
              </a:ext>
            </a:extLst>
          </p:cNvPr>
          <p:cNvGrpSpPr/>
          <p:nvPr/>
        </p:nvGrpSpPr>
        <p:grpSpPr>
          <a:xfrm>
            <a:off x="4481189" y="1387566"/>
            <a:ext cx="1353820" cy="832777"/>
            <a:chOff x="4481189" y="1387566"/>
            <a:chExt cx="1353820" cy="832777"/>
          </a:xfrm>
        </p:grpSpPr>
        <p:sp>
          <p:nvSpPr>
            <p:cNvPr id="192" name="ZoneTexte 157">
              <a:extLst>
                <a:ext uri="{FF2B5EF4-FFF2-40B4-BE49-F238E27FC236}">
                  <a16:creationId xmlns:a16="http://schemas.microsoft.com/office/drawing/2014/main" id="{B1087FB3-0727-9966-673D-E00DA1935B19}"/>
                </a:ext>
              </a:extLst>
            </p:cNvPr>
            <p:cNvSpPr txBox="1"/>
            <p:nvPr/>
          </p:nvSpPr>
          <p:spPr>
            <a:xfrm>
              <a:off x="4481189" y="1758678"/>
              <a:ext cx="135382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Ubuntu"/>
                  <a:ea typeface="+mn-ea"/>
                  <a:cs typeface="+mn-cs"/>
                </a:rPr>
                <a:t>Halide perovskites</a:t>
              </a:r>
              <a:endParaRPr kumimoji="0" lang="fr-FR" sz="1200" b="0" i="0" u="none" strike="noStrike" kern="1200" cap="none" spc="0" normalizeH="0" baseline="0" noProof="0">
                <a:ln>
                  <a:noFill/>
                </a:ln>
                <a:solidFill>
                  <a:prstClr val="black"/>
                </a:solidFill>
                <a:effectLst/>
                <a:uLnTx/>
                <a:uFillTx/>
                <a:latin typeface="Ubuntu"/>
                <a:ea typeface="+mn-ea"/>
                <a:cs typeface="+mn-cs"/>
              </a:endParaRPr>
            </a:p>
          </p:txBody>
        </p:sp>
        <p:sp>
          <p:nvSpPr>
            <p:cNvPr id="193" name="ZoneTexte 7">
              <a:extLst>
                <a:ext uri="{FF2B5EF4-FFF2-40B4-BE49-F238E27FC236}">
                  <a16:creationId xmlns:a16="http://schemas.microsoft.com/office/drawing/2014/main" id="{B044617D-1E46-457B-6DD9-58F2758BA765}"/>
                </a:ext>
              </a:extLst>
            </p:cNvPr>
            <p:cNvSpPr txBox="1"/>
            <p:nvPr/>
          </p:nvSpPr>
          <p:spPr>
            <a:xfrm>
              <a:off x="4631801" y="1387566"/>
              <a:ext cx="105259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Over</a:t>
              </a:r>
              <a:r>
                <a:rPr kumimoji="0" lang="fr-FR" sz="1600" b="0" i="0" u="none" strike="noStrike" kern="1200" cap="none" spc="0" normalizeH="0" baseline="0" noProof="0">
                  <a:ln>
                    <a:noFill/>
                  </a:ln>
                  <a:solidFill>
                    <a:prstClr val="black"/>
                  </a:solidFill>
                  <a:effectLst/>
                  <a:uLnTx/>
                  <a:uFillTx/>
                  <a:latin typeface="Ubuntu"/>
                  <a:ea typeface="+mn-ea"/>
                  <a:cs typeface="+mn-cs"/>
                </a:rPr>
                <a:t> </a:t>
              </a:r>
              <a:r>
                <a:rPr kumimoji="0" lang="fr-FR" sz="1600" b="1" i="0" u="none" strike="noStrike" kern="1200" cap="none" spc="0" normalizeH="0" baseline="0" noProof="0">
                  <a:ln>
                    <a:noFill/>
                  </a:ln>
                  <a:solidFill>
                    <a:srgbClr val="14596B"/>
                  </a:solidFill>
                  <a:effectLst/>
                  <a:uLnTx/>
                  <a:uFillTx/>
                  <a:latin typeface="Ubuntu"/>
                  <a:ea typeface="+mn-ea"/>
                  <a:cs typeface="+mn-cs"/>
                </a:rPr>
                <a:t>25%</a:t>
              </a:r>
            </a:p>
          </p:txBody>
        </p:sp>
        <p:cxnSp>
          <p:nvCxnSpPr>
            <p:cNvPr id="194" name="Connecteur droit 9">
              <a:extLst>
                <a:ext uri="{FF2B5EF4-FFF2-40B4-BE49-F238E27FC236}">
                  <a16:creationId xmlns:a16="http://schemas.microsoft.com/office/drawing/2014/main" id="{0CBAA24B-DD4A-B87B-D923-520F2F95AC6D}"/>
                </a:ext>
              </a:extLst>
            </p:cNvPr>
            <p:cNvCxnSpPr>
              <a:cxnSpLocks/>
            </p:cNvCxnSpPr>
            <p:nvPr/>
          </p:nvCxnSpPr>
          <p:spPr>
            <a:xfrm>
              <a:off x="4984447" y="1749489"/>
              <a:ext cx="347304" cy="0"/>
            </a:xfrm>
            <a:prstGeom prst="line">
              <a:avLst/>
            </a:prstGeom>
            <a:ln w="19050">
              <a:solidFill>
                <a:srgbClr val="14596B"/>
              </a:solidFill>
            </a:ln>
          </p:spPr>
          <p:style>
            <a:lnRef idx="1">
              <a:schemeClr val="accent1"/>
            </a:lnRef>
            <a:fillRef idx="0">
              <a:schemeClr val="accent1"/>
            </a:fillRef>
            <a:effectRef idx="0">
              <a:schemeClr val="accent1"/>
            </a:effectRef>
            <a:fontRef idx="minor">
              <a:schemeClr val="tx1"/>
            </a:fontRef>
          </p:style>
        </p:cxnSp>
      </p:grpSp>
      <p:sp>
        <p:nvSpPr>
          <p:cNvPr id="168" name="Flèche : droite 14">
            <a:extLst>
              <a:ext uri="{FF2B5EF4-FFF2-40B4-BE49-F238E27FC236}">
                <a16:creationId xmlns:a16="http://schemas.microsoft.com/office/drawing/2014/main" id="{11C05CED-97B0-59F8-F15F-B0FAFF3D9083}"/>
              </a:ext>
            </a:extLst>
          </p:cNvPr>
          <p:cNvSpPr/>
          <p:nvPr/>
        </p:nvSpPr>
        <p:spPr>
          <a:xfrm>
            <a:off x="4240929" y="1505834"/>
            <a:ext cx="343736" cy="419480"/>
          </a:xfrm>
          <a:prstGeom prst="rightArrow">
            <a:avLst/>
          </a:prstGeom>
          <a:solidFill>
            <a:srgbClr val="0F6A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69" name="Rectangle 168">
            <a:extLst>
              <a:ext uri="{FF2B5EF4-FFF2-40B4-BE49-F238E27FC236}">
                <a16:creationId xmlns:a16="http://schemas.microsoft.com/office/drawing/2014/main" id="{A60B75C9-D144-A759-06DD-6692F21D911C}"/>
              </a:ext>
            </a:extLst>
          </p:cNvPr>
          <p:cNvSpPr/>
          <p:nvPr/>
        </p:nvSpPr>
        <p:spPr>
          <a:xfrm>
            <a:off x="4616760" y="1333585"/>
            <a:ext cx="2502910" cy="1004720"/>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71" name="ZoneTexte 178">
            <a:extLst>
              <a:ext uri="{FF2B5EF4-FFF2-40B4-BE49-F238E27FC236}">
                <a16:creationId xmlns:a16="http://schemas.microsoft.com/office/drawing/2014/main" id="{C7A3BE5F-0334-100F-B773-EFC101C9F3EE}"/>
              </a:ext>
            </a:extLst>
          </p:cNvPr>
          <p:cNvSpPr txBox="1"/>
          <p:nvPr/>
        </p:nvSpPr>
        <p:spPr>
          <a:xfrm>
            <a:off x="2287223" y="5354099"/>
            <a:ext cx="284443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Development of reverse solar panels, that can generate electricity at night</a:t>
            </a:r>
          </a:p>
        </p:txBody>
      </p:sp>
      <p:sp>
        <p:nvSpPr>
          <p:cNvPr id="178" name="ZoneTexte 3">
            <a:extLst>
              <a:ext uri="{FF2B5EF4-FFF2-40B4-BE49-F238E27FC236}">
                <a16:creationId xmlns:a16="http://schemas.microsoft.com/office/drawing/2014/main" id="{50D1B27A-CD10-6F0A-6361-3BF8EF924C4E}"/>
              </a:ext>
            </a:extLst>
          </p:cNvPr>
          <p:cNvSpPr txBox="1"/>
          <p:nvPr/>
        </p:nvSpPr>
        <p:spPr>
          <a:xfrm>
            <a:off x="5278610" y="1647095"/>
            <a:ext cx="103426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a:ln>
                  <a:noFill/>
                </a:ln>
                <a:solidFill>
                  <a:prstClr val="black"/>
                </a:solidFill>
                <a:effectLst/>
                <a:uLnTx/>
                <a:uFillTx/>
                <a:latin typeface="Ubuntu"/>
                <a:ea typeface="+mn-ea"/>
                <a:cs typeface="+mn-cs"/>
              </a:rPr>
              <a:t>compared to</a:t>
            </a:r>
          </a:p>
        </p:txBody>
      </p:sp>
      <p:grpSp>
        <p:nvGrpSpPr>
          <p:cNvPr id="155" name="Groupe 48">
            <a:extLst>
              <a:ext uri="{FF2B5EF4-FFF2-40B4-BE49-F238E27FC236}">
                <a16:creationId xmlns:a16="http://schemas.microsoft.com/office/drawing/2014/main" id="{0D8B57C8-5EE1-75A4-CE72-522A86939082}"/>
              </a:ext>
            </a:extLst>
          </p:cNvPr>
          <p:cNvGrpSpPr/>
          <p:nvPr/>
        </p:nvGrpSpPr>
        <p:grpSpPr>
          <a:xfrm>
            <a:off x="2313432" y="2228893"/>
            <a:ext cx="2811519" cy="2811519"/>
            <a:chOff x="1236941" y="2136590"/>
            <a:chExt cx="3672408" cy="3672408"/>
          </a:xfrm>
        </p:grpSpPr>
        <p:sp>
          <p:nvSpPr>
            <p:cNvPr id="222" name="Ellipse 154">
              <a:extLst>
                <a:ext uri="{FF2B5EF4-FFF2-40B4-BE49-F238E27FC236}">
                  <a16:creationId xmlns:a16="http://schemas.microsoft.com/office/drawing/2014/main" id="{76F76885-F8F8-48D9-A5E7-158CFD8BD176}"/>
                </a:ext>
              </a:extLst>
            </p:cNvPr>
            <p:cNvSpPr/>
            <p:nvPr/>
          </p:nvSpPr>
          <p:spPr>
            <a:xfrm>
              <a:off x="1236941" y="2136590"/>
              <a:ext cx="3672408" cy="3672408"/>
            </a:xfrm>
            <a:prstGeom prst="ellipse">
              <a:avLst/>
            </a:prstGeom>
            <a:solidFill>
              <a:srgbClr val="0F6A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23" name="Ellipse 155">
              <a:extLst>
                <a:ext uri="{FF2B5EF4-FFF2-40B4-BE49-F238E27FC236}">
                  <a16:creationId xmlns:a16="http://schemas.microsoft.com/office/drawing/2014/main" id="{9E3D74C0-7AE2-9718-A1C3-64E1B6181392}"/>
                </a:ext>
              </a:extLst>
            </p:cNvPr>
            <p:cNvSpPr/>
            <p:nvPr/>
          </p:nvSpPr>
          <p:spPr>
            <a:xfrm>
              <a:off x="1632985" y="2532634"/>
              <a:ext cx="2880320" cy="2880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156" name="Freeform 23">
            <a:extLst>
              <a:ext uri="{FF2B5EF4-FFF2-40B4-BE49-F238E27FC236}">
                <a16:creationId xmlns:a16="http://schemas.microsoft.com/office/drawing/2014/main" id="{1C905AAC-D2A6-67B0-C5C1-D2DD0EE717BF}"/>
              </a:ext>
            </a:extLst>
          </p:cNvPr>
          <p:cNvSpPr>
            <a:spLocks noChangeAspect="1"/>
          </p:cNvSpPr>
          <p:nvPr/>
        </p:nvSpPr>
        <p:spPr bwMode="auto">
          <a:xfrm>
            <a:off x="3390516" y="2039112"/>
            <a:ext cx="631404" cy="587276"/>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F6A7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15" name="Freeform 23">
            <a:extLst>
              <a:ext uri="{FF2B5EF4-FFF2-40B4-BE49-F238E27FC236}">
                <a16:creationId xmlns:a16="http://schemas.microsoft.com/office/drawing/2014/main" id="{945C0449-1A48-092F-B002-714AC70874BC}"/>
              </a:ext>
            </a:extLst>
          </p:cNvPr>
          <p:cNvSpPr>
            <a:spLocks noChangeAspect="1"/>
          </p:cNvSpPr>
          <p:nvPr/>
        </p:nvSpPr>
        <p:spPr bwMode="auto">
          <a:xfrm>
            <a:off x="2323178" y="2769195"/>
            <a:ext cx="631404" cy="587276"/>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F6A7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5" name="Freeform 23">
            <a:extLst>
              <a:ext uri="{FF2B5EF4-FFF2-40B4-BE49-F238E27FC236}">
                <a16:creationId xmlns:a16="http://schemas.microsoft.com/office/drawing/2014/main" id="{A3C19802-006D-FDB4-9AB1-40492E298976}"/>
              </a:ext>
            </a:extLst>
          </p:cNvPr>
          <p:cNvSpPr>
            <a:spLocks noChangeAspect="1"/>
          </p:cNvSpPr>
          <p:nvPr/>
        </p:nvSpPr>
        <p:spPr bwMode="auto">
          <a:xfrm>
            <a:off x="4576740" y="2769195"/>
            <a:ext cx="631404" cy="587276"/>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F6A7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Verdana"/>
              <a:ea typeface="+mn-ea"/>
              <a:cs typeface="+mn-cs"/>
            </a:endParaRPr>
          </a:p>
        </p:txBody>
      </p:sp>
      <p:grpSp>
        <p:nvGrpSpPr>
          <p:cNvPr id="248" name="Group 247">
            <a:extLst>
              <a:ext uri="{FF2B5EF4-FFF2-40B4-BE49-F238E27FC236}">
                <a16:creationId xmlns:a16="http://schemas.microsoft.com/office/drawing/2014/main" id="{F7EE5C33-796B-F6FF-0FD4-50E0CF01ED2B}"/>
              </a:ext>
            </a:extLst>
          </p:cNvPr>
          <p:cNvGrpSpPr/>
          <p:nvPr/>
        </p:nvGrpSpPr>
        <p:grpSpPr>
          <a:xfrm>
            <a:off x="4630091" y="2936971"/>
            <a:ext cx="512122" cy="249947"/>
            <a:chOff x="4406424" y="3176803"/>
            <a:chExt cx="512122" cy="249947"/>
          </a:xfrm>
        </p:grpSpPr>
        <p:sp>
          <p:nvSpPr>
            <p:cNvPr id="206" name="Freeform 115">
              <a:extLst>
                <a:ext uri="{FF2B5EF4-FFF2-40B4-BE49-F238E27FC236}">
                  <a16:creationId xmlns:a16="http://schemas.microsoft.com/office/drawing/2014/main" id="{C1A2C173-596E-BBB0-FE87-F29F9B4EEA0D}"/>
                </a:ext>
              </a:extLst>
            </p:cNvPr>
            <p:cNvSpPr>
              <a:spLocks/>
            </p:cNvSpPr>
            <p:nvPr/>
          </p:nvSpPr>
          <p:spPr bwMode="auto">
            <a:xfrm>
              <a:off x="4648658" y="3415661"/>
              <a:ext cx="38194" cy="11089"/>
            </a:xfrm>
            <a:custGeom>
              <a:avLst/>
              <a:gdLst>
                <a:gd name="T0" fmla="*/ 0 w 29"/>
                <a:gd name="T1" fmla="*/ 0 h 8"/>
                <a:gd name="T2" fmla="*/ 9 w 29"/>
                <a:gd name="T3" fmla="*/ 8 h 8"/>
                <a:gd name="T4" fmla="*/ 29 w 29"/>
                <a:gd name="T5" fmla="*/ 0 h 8"/>
                <a:gd name="T6" fmla="*/ 0 w 29"/>
                <a:gd name="T7" fmla="*/ 0 h 8"/>
                <a:gd name="T8" fmla="*/ 0 w 29"/>
                <a:gd name="T9" fmla="*/ 0 h 8"/>
              </a:gdLst>
              <a:ahLst/>
              <a:cxnLst>
                <a:cxn ang="0">
                  <a:pos x="T0" y="T1"/>
                </a:cxn>
                <a:cxn ang="0">
                  <a:pos x="T2" y="T3"/>
                </a:cxn>
                <a:cxn ang="0">
                  <a:pos x="T4" y="T5"/>
                </a:cxn>
                <a:cxn ang="0">
                  <a:pos x="T6" y="T7"/>
                </a:cxn>
                <a:cxn ang="0">
                  <a:pos x="T8" y="T9"/>
                </a:cxn>
              </a:cxnLst>
              <a:rect l="0" t="0" r="r" b="b"/>
              <a:pathLst>
                <a:path w="29" h="8">
                  <a:moveTo>
                    <a:pt x="0" y="0"/>
                  </a:moveTo>
                  <a:cubicBezTo>
                    <a:pt x="5" y="4"/>
                    <a:pt x="9" y="8"/>
                    <a:pt x="9" y="8"/>
                  </a:cubicBezTo>
                  <a:cubicBezTo>
                    <a:pt x="17" y="8"/>
                    <a:pt x="24" y="4"/>
                    <a:pt x="29" y="0"/>
                  </a:cubicBezTo>
                  <a:cubicBezTo>
                    <a:pt x="0" y="0"/>
                    <a:pt x="0" y="0"/>
                    <a:pt x="0" y="0"/>
                  </a:cubicBezTo>
                  <a:cubicBezTo>
                    <a:pt x="0" y="0"/>
                    <a:pt x="0" y="0"/>
                    <a:pt x="0" y="0"/>
                  </a:cubicBez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7" name="Freeform 116">
              <a:extLst>
                <a:ext uri="{FF2B5EF4-FFF2-40B4-BE49-F238E27FC236}">
                  <a16:creationId xmlns:a16="http://schemas.microsoft.com/office/drawing/2014/main" id="{4C5AA7BC-D266-B97D-6FD5-BC30B131725B}"/>
                </a:ext>
              </a:extLst>
            </p:cNvPr>
            <p:cNvSpPr>
              <a:spLocks/>
            </p:cNvSpPr>
            <p:nvPr/>
          </p:nvSpPr>
          <p:spPr bwMode="auto">
            <a:xfrm>
              <a:off x="4627712" y="3365764"/>
              <a:ext cx="65299" cy="11705"/>
            </a:xfrm>
            <a:custGeom>
              <a:avLst/>
              <a:gdLst>
                <a:gd name="T0" fmla="*/ 50 w 50"/>
                <a:gd name="T1" fmla="*/ 5 h 9"/>
                <a:gd name="T2" fmla="*/ 46 w 50"/>
                <a:gd name="T3" fmla="*/ 9 h 9"/>
                <a:gd name="T4" fmla="*/ 3 w 50"/>
                <a:gd name="T5" fmla="*/ 9 h 9"/>
                <a:gd name="T6" fmla="*/ 0 w 50"/>
                <a:gd name="T7" fmla="*/ 5 h 9"/>
                <a:gd name="T8" fmla="*/ 0 w 50"/>
                <a:gd name="T9" fmla="*/ 3 h 9"/>
                <a:gd name="T10" fmla="*/ 3 w 50"/>
                <a:gd name="T11" fmla="*/ 0 h 9"/>
                <a:gd name="T12" fmla="*/ 46 w 50"/>
                <a:gd name="T13" fmla="*/ 0 h 9"/>
                <a:gd name="T14" fmla="*/ 50 w 50"/>
                <a:gd name="T15" fmla="*/ 3 h 9"/>
                <a:gd name="T16" fmla="*/ 50 w 50"/>
                <a:gd name="T17" fmla="*/ 5 h 9"/>
                <a:gd name="T18" fmla="*/ 50 w 50"/>
                <a:gd name="T1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9">
                  <a:moveTo>
                    <a:pt x="50" y="5"/>
                  </a:moveTo>
                  <a:cubicBezTo>
                    <a:pt x="50" y="7"/>
                    <a:pt x="49" y="9"/>
                    <a:pt x="46" y="9"/>
                  </a:cubicBezTo>
                  <a:cubicBezTo>
                    <a:pt x="3" y="9"/>
                    <a:pt x="3" y="9"/>
                    <a:pt x="3" y="9"/>
                  </a:cubicBezTo>
                  <a:cubicBezTo>
                    <a:pt x="1" y="9"/>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8" name="Freeform 117">
              <a:extLst>
                <a:ext uri="{FF2B5EF4-FFF2-40B4-BE49-F238E27FC236}">
                  <a16:creationId xmlns:a16="http://schemas.microsoft.com/office/drawing/2014/main" id="{BB62D8A3-D312-D6B0-F68A-2CC1FE433047}"/>
                </a:ext>
              </a:extLst>
            </p:cNvPr>
            <p:cNvSpPr>
              <a:spLocks/>
            </p:cNvSpPr>
            <p:nvPr/>
          </p:nvSpPr>
          <p:spPr bwMode="auto">
            <a:xfrm>
              <a:off x="4627712" y="3383012"/>
              <a:ext cx="65299" cy="10472"/>
            </a:xfrm>
            <a:custGeom>
              <a:avLst/>
              <a:gdLst>
                <a:gd name="T0" fmla="*/ 50 w 50"/>
                <a:gd name="T1" fmla="*/ 5 h 8"/>
                <a:gd name="T2" fmla="*/ 46 w 50"/>
                <a:gd name="T3" fmla="*/ 8 h 8"/>
                <a:gd name="T4" fmla="*/ 3 w 50"/>
                <a:gd name="T5" fmla="*/ 8 h 8"/>
                <a:gd name="T6" fmla="*/ 0 w 50"/>
                <a:gd name="T7" fmla="*/ 5 h 8"/>
                <a:gd name="T8" fmla="*/ 0 w 50"/>
                <a:gd name="T9" fmla="*/ 3 h 8"/>
                <a:gd name="T10" fmla="*/ 3 w 50"/>
                <a:gd name="T11" fmla="*/ 0 h 8"/>
                <a:gd name="T12" fmla="*/ 46 w 50"/>
                <a:gd name="T13" fmla="*/ 0 h 8"/>
                <a:gd name="T14" fmla="*/ 50 w 50"/>
                <a:gd name="T15" fmla="*/ 3 h 8"/>
                <a:gd name="T16" fmla="*/ 50 w 50"/>
                <a:gd name="T17" fmla="*/ 5 h 8"/>
                <a:gd name="T18" fmla="*/ 50 w 50"/>
                <a:gd name="T19"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8">
                  <a:moveTo>
                    <a:pt x="50" y="5"/>
                  </a:moveTo>
                  <a:cubicBezTo>
                    <a:pt x="50" y="7"/>
                    <a:pt x="49" y="8"/>
                    <a:pt x="46" y="8"/>
                  </a:cubicBezTo>
                  <a:cubicBezTo>
                    <a:pt x="3" y="8"/>
                    <a:pt x="3" y="8"/>
                    <a:pt x="3" y="8"/>
                  </a:cubicBezTo>
                  <a:cubicBezTo>
                    <a:pt x="1" y="8"/>
                    <a:pt x="0" y="7"/>
                    <a:pt x="0" y="5"/>
                  </a:cubicBezTo>
                  <a:cubicBezTo>
                    <a:pt x="0" y="3"/>
                    <a:pt x="0" y="3"/>
                    <a:pt x="0" y="3"/>
                  </a:cubicBezTo>
                  <a:cubicBezTo>
                    <a:pt x="0" y="1"/>
                    <a:pt x="1" y="0"/>
                    <a:pt x="3" y="0"/>
                  </a:cubicBezTo>
                  <a:cubicBezTo>
                    <a:pt x="46" y="0"/>
                    <a:pt x="46" y="0"/>
                    <a:pt x="46" y="0"/>
                  </a:cubicBezTo>
                  <a:cubicBezTo>
                    <a:pt x="49" y="0"/>
                    <a:pt x="50" y="1"/>
                    <a:pt x="50" y="3"/>
                  </a:cubicBezTo>
                  <a:cubicBezTo>
                    <a:pt x="50" y="5"/>
                    <a:pt x="50" y="5"/>
                    <a:pt x="50" y="5"/>
                  </a:cubicBezTo>
                  <a:cubicBezTo>
                    <a:pt x="50" y="5"/>
                    <a:pt x="50" y="5"/>
                    <a:pt x="50" y="5"/>
                  </a:cubicBez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09" name="Freeform 118">
              <a:extLst>
                <a:ext uri="{FF2B5EF4-FFF2-40B4-BE49-F238E27FC236}">
                  <a16:creationId xmlns:a16="http://schemas.microsoft.com/office/drawing/2014/main" id="{4BDC9167-DEB5-98BA-F62B-005B3BB758F7}"/>
                </a:ext>
              </a:extLst>
            </p:cNvPr>
            <p:cNvSpPr>
              <a:spLocks/>
            </p:cNvSpPr>
            <p:nvPr/>
          </p:nvSpPr>
          <p:spPr bwMode="auto">
            <a:xfrm>
              <a:off x="4627712" y="3397181"/>
              <a:ext cx="65299" cy="13553"/>
            </a:xfrm>
            <a:custGeom>
              <a:avLst/>
              <a:gdLst>
                <a:gd name="T0" fmla="*/ 50 w 50"/>
                <a:gd name="T1" fmla="*/ 7 h 10"/>
                <a:gd name="T2" fmla="*/ 46 w 50"/>
                <a:gd name="T3" fmla="*/ 10 h 10"/>
                <a:gd name="T4" fmla="*/ 3 w 50"/>
                <a:gd name="T5" fmla="*/ 10 h 10"/>
                <a:gd name="T6" fmla="*/ 0 w 50"/>
                <a:gd name="T7" fmla="*/ 7 h 10"/>
                <a:gd name="T8" fmla="*/ 0 w 50"/>
                <a:gd name="T9" fmla="*/ 5 h 10"/>
                <a:gd name="T10" fmla="*/ 3 w 50"/>
                <a:gd name="T11" fmla="*/ 0 h 10"/>
                <a:gd name="T12" fmla="*/ 46 w 50"/>
                <a:gd name="T13" fmla="*/ 0 h 10"/>
                <a:gd name="T14" fmla="*/ 50 w 50"/>
                <a:gd name="T15" fmla="*/ 5 h 10"/>
                <a:gd name="T16" fmla="*/ 50 w 50"/>
                <a:gd name="T17" fmla="*/ 7 h 10"/>
                <a:gd name="T18" fmla="*/ 50 w 50"/>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0">
                  <a:moveTo>
                    <a:pt x="50" y="7"/>
                  </a:moveTo>
                  <a:cubicBezTo>
                    <a:pt x="50" y="9"/>
                    <a:pt x="49" y="10"/>
                    <a:pt x="46" y="10"/>
                  </a:cubicBezTo>
                  <a:cubicBezTo>
                    <a:pt x="3" y="10"/>
                    <a:pt x="3" y="10"/>
                    <a:pt x="3" y="10"/>
                  </a:cubicBezTo>
                  <a:cubicBezTo>
                    <a:pt x="1" y="10"/>
                    <a:pt x="0" y="9"/>
                    <a:pt x="0" y="7"/>
                  </a:cubicBezTo>
                  <a:cubicBezTo>
                    <a:pt x="0" y="5"/>
                    <a:pt x="0" y="5"/>
                    <a:pt x="0" y="5"/>
                  </a:cubicBezTo>
                  <a:cubicBezTo>
                    <a:pt x="0" y="3"/>
                    <a:pt x="1" y="0"/>
                    <a:pt x="3" y="0"/>
                  </a:cubicBezTo>
                  <a:cubicBezTo>
                    <a:pt x="46" y="0"/>
                    <a:pt x="46" y="0"/>
                    <a:pt x="46" y="0"/>
                  </a:cubicBezTo>
                  <a:cubicBezTo>
                    <a:pt x="49" y="0"/>
                    <a:pt x="50" y="3"/>
                    <a:pt x="50" y="5"/>
                  </a:cubicBezTo>
                  <a:cubicBezTo>
                    <a:pt x="50" y="7"/>
                    <a:pt x="50" y="7"/>
                    <a:pt x="50" y="7"/>
                  </a:cubicBezTo>
                  <a:cubicBezTo>
                    <a:pt x="50" y="7"/>
                    <a:pt x="50" y="7"/>
                    <a:pt x="50" y="7"/>
                  </a:cubicBez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0" name="Freeform 119">
              <a:extLst>
                <a:ext uri="{FF2B5EF4-FFF2-40B4-BE49-F238E27FC236}">
                  <a16:creationId xmlns:a16="http://schemas.microsoft.com/office/drawing/2014/main" id="{94809F14-0F4C-5E54-A447-8576DCDC561C}"/>
                </a:ext>
              </a:extLst>
            </p:cNvPr>
            <p:cNvSpPr>
              <a:spLocks/>
            </p:cNvSpPr>
            <p:nvPr/>
          </p:nvSpPr>
          <p:spPr bwMode="auto">
            <a:xfrm>
              <a:off x="4580279" y="3178492"/>
              <a:ext cx="160166" cy="174951"/>
            </a:xfrm>
            <a:custGeom>
              <a:avLst/>
              <a:gdLst>
                <a:gd name="T0" fmla="*/ 121 w 122"/>
                <a:gd name="T1" fmla="*/ 60 h 132"/>
                <a:gd name="T2" fmla="*/ 121 w 122"/>
                <a:gd name="T3" fmla="*/ 60 h 132"/>
                <a:gd name="T4" fmla="*/ 61 w 122"/>
                <a:gd name="T5" fmla="*/ 0 h 132"/>
                <a:gd name="T6" fmla="*/ 1 w 122"/>
                <a:gd name="T7" fmla="*/ 60 h 132"/>
                <a:gd name="T8" fmla="*/ 18 w 122"/>
                <a:gd name="T9" fmla="*/ 104 h 132"/>
                <a:gd name="T10" fmla="*/ 36 w 122"/>
                <a:gd name="T11" fmla="*/ 132 h 132"/>
                <a:gd name="T12" fmla="*/ 61 w 122"/>
                <a:gd name="T13" fmla="*/ 132 h 132"/>
                <a:gd name="T14" fmla="*/ 86 w 122"/>
                <a:gd name="T15" fmla="*/ 132 h 132"/>
                <a:gd name="T16" fmla="*/ 104 w 122"/>
                <a:gd name="T17" fmla="*/ 104 h 132"/>
                <a:gd name="T18" fmla="*/ 121 w 122"/>
                <a:gd name="T19" fmla="*/ 6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 h="132">
                  <a:moveTo>
                    <a:pt x="121" y="60"/>
                  </a:moveTo>
                  <a:cubicBezTo>
                    <a:pt x="121" y="60"/>
                    <a:pt x="121" y="60"/>
                    <a:pt x="121" y="60"/>
                  </a:cubicBezTo>
                  <a:cubicBezTo>
                    <a:pt x="121" y="27"/>
                    <a:pt x="94" y="0"/>
                    <a:pt x="61" y="0"/>
                  </a:cubicBezTo>
                  <a:cubicBezTo>
                    <a:pt x="28" y="0"/>
                    <a:pt x="1" y="27"/>
                    <a:pt x="1" y="60"/>
                  </a:cubicBezTo>
                  <a:cubicBezTo>
                    <a:pt x="1" y="60"/>
                    <a:pt x="0" y="85"/>
                    <a:pt x="18" y="104"/>
                  </a:cubicBezTo>
                  <a:cubicBezTo>
                    <a:pt x="37" y="122"/>
                    <a:pt x="36" y="132"/>
                    <a:pt x="36" y="132"/>
                  </a:cubicBezTo>
                  <a:cubicBezTo>
                    <a:pt x="61" y="132"/>
                    <a:pt x="61" y="132"/>
                    <a:pt x="61" y="132"/>
                  </a:cubicBezTo>
                  <a:cubicBezTo>
                    <a:pt x="86" y="132"/>
                    <a:pt x="86" y="132"/>
                    <a:pt x="86" y="132"/>
                  </a:cubicBezTo>
                  <a:cubicBezTo>
                    <a:pt x="86" y="132"/>
                    <a:pt x="86" y="122"/>
                    <a:pt x="104" y="104"/>
                  </a:cubicBezTo>
                  <a:cubicBezTo>
                    <a:pt x="122" y="85"/>
                    <a:pt x="121" y="60"/>
                    <a:pt x="121" y="60"/>
                  </a:cubicBez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1" name="Line 120">
              <a:extLst>
                <a:ext uri="{FF2B5EF4-FFF2-40B4-BE49-F238E27FC236}">
                  <a16:creationId xmlns:a16="http://schemas.microsoft.com/office/drawing/2014/main" id="{9FCF7F6F-00C0-A135-33C8-2AC7F17E458C}"/>
                </a:ext>
              </a:extLst>
            </p:cNvPr>
            <p:cNvSpPr>
              <a:spLocks noChangeShapeType="1"/>
            </p:cNvSpPr>
            <p:nvPr/>
          </p:nvSpPr>
          <p:spPr bwMode="auto">
            <a:xfrm>
              <a:off x="4660362" y="3354675"/>
              <a:ext cx="0" cy="0"/>
            </a:xfrm>
            <a:prstGeom prst="line">
              <a:avLst/>
            </a:prstGeom>
            <a:noFill/>
            <a:ln w="3175" cap="flat">
              <a:solidFill>
                <a:srgbClr val="231F2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2" name="Freeform 121">
              <a:extLst>
                <a:ext uri="{FF2B5EF4-FFF2-40B4-BE49-F238E27FC236}">
                  <a16:creationId xmlns:a16="http://schemas.microsoft.com/office/drawing/2014/main" id="{3F008203-2ACC-8C1D-5DE8-508F1A7B4E92}"/>
                </a:ext>
              </a:extLst>
            </p:cNvPr>
            <p:cNvSpPr>
              <a:spLocks noEditPoints="1"/>
            </p:cNvSpPr>
            <p:nvPr/>
          </p:nvSpPr>
          <p:spPr bwMode="auto">
            <a:xfrm>
              <a:off x="4619704" y="3264735"/>
              <a:ext cx="81315" cy="88708"/>
            </a:xfrm>
            <a:custGeom>
              <a:avLst/>
              <a:gdLst>
                <a:gd name="T0" fmla="*/ 48 w 62"/>
                <a:gd name="T1" fmla="*/ 0 h 67"/>
                <a:gd name="T2" fmla="*/ 31 w 62"/>
                <a:gd name="T3" fmla="*/ 10 h 67"/>
                <a:gd name="T4" fmla="*/ 13 w 62"/>
                <a:gd name="T5" fmla="*/ 0 h 67"/>
                <a:gd name="T6" fmla="*/ 0 w 62"/>
                <a:gd name="T7" fmla="*/ 14 h 67"/>
                <a:gd name="T8" fmla="*/ 13 w 62"/>
                <a:gd name="T9" fmla="*/ 28 h 67"/>
                <a:gd name="T10" fmla="*/ 13 w 62"/>
                <a:gd name="T11" fmla="*/ 28 h 67"/>
                <a:gd name="T12" fmla="*/ 21 w 62"/>
                <a:gd name="T13" fmla="*/ 26 h 67"/>
                <a:gd name="T14" fmla="*/ 21 w 62"/>
                <a:gd name="T15" fmla="*/ 67 h 67"/>
                <a:gd name="T16" fmla="*/ 26 w 62"/>
                <a:gd name="T17" fmla="*/ 67 h 67"/>
                <a:gd name="T18" fmla="*/ 26 w 62"/>
                <a:gd name="T19" fmla="*/ 23 h 67"/>
                <a:gd name="T20" fmla="*/ 31 w 62"/>
                <a:gd name="T21" fmla="*/ 18 h 67"/>
                <a:gd name="T22" fmla="*/ 36 w 62"/>
                <a:gd name="T23" fmla="*/ 23 h 67"/>
                <a:gd name="T24" fmla="*/ 36 w 62"/>
                <a:gd name="T25" fmla="*/ 67 h 67"/>
                <a:gd name="T26" fmla="*/ 41 w 62"/>
                <a:gd name="T27" fmla="*/ 67 h 67"/>
                <a:gd name="T28" fmla="*/ 41 w 62"/>
                <a:gd name="T29" fmla="*/ 26 h 67"/>
                <a:gd name="T30" fmla="*/ 48 w 62"/>
                <a:gd name="T31" fmla="*/ 28 h 67"/>
                <a:gd name="T32" fmla="*/ 49 w 62"/>
                <a:gd name="T33" fmla="*/ 28 h 67"/>
                <a:gd name="T34" fmla="*/ 58 w 62"/>
                <a:gd name="T35" fmla="*/ 24 h 67"/>
                <a:gd name="T36" fmla="*/ 62 w 62"/>
                <a:gd name="T37" fmla="*/ 14 h 67"/>
                <a:gd name="T38" fmla="*/ 48 w 62"/>
                <a:gd name="T39" fmla="*/ 0 h 67"/>
                <a:gd name="T40" fmla="*/ 13 w 62"/>
                <a:gd name="T41" fmla="*/ 23 h 67"/>
                <a:gd name="T42" fmla="*/ 13 w 62"/>
                <a:gd name="T43" fmla="*/ 23 h 67"/>
                <a:gd name="T44" fmla="*/ 4 w 62"/>
                <a:gd name="T45" fmla="*/ 14 h 67"/>
                <a:gd name="T46" fmla="*/ 13 w 62"/>
                <a:gd name="T47" fmla="*/ 6 h 67"/>
                <a:gd name="T48" fmla="*/ 28 w 62"/>
                <a:gd name="T49" fmla="*/ 14 h 67"/>
                <a:gd name="T50" fmla="*/ 13 w 62"/>
                <a:gd name="T51" fmla="*/ 23 h 67"/>
                <a:gd name="T52" fmla="*/ 54 w 62"/>
                <a:gd name="T53" fmla="*/ 20 h 67"/>
                <a:gd name="T54" fmla="*/ 49 w 62"/>
                <a:gd name="T55" fmla="*/ 23 h 67"/>
                <a:gd name="T56" fmla="*/ 48 w 62"/>
                <a:gd name="T57" fmla="*/ 23 h 67"/>
                <a:gd name="T58" fmla="*/ 34 w 62"/>
                <a:gd name="T59" fmla="*/ 14 h 67"/>
                <a:gd name="T60" fmla="*/ 48 w 62"/>
                <a:gd name="T61" fmla="*/ 6 h 67"/>
                <a:gd name="T62" fmla="*/ 57 w 62"/>
                <a:gd name="T63" fmla="*/ 14 h 67"/>
                <a:gd name="T64" fmla="*/ 54 w 62"/>
                <a:gd name="T65"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67">
                  <a:moveTo>
                    <a:pt x="48" y="0"/>
                  </a:moveTo>
                  <a:cubicBezTo>
                    <a:pt x="48" y="0"/>
                    <a:pt x="39" y="0"/>
                    <a:pt x="31" y="10"/>
                  </a:cubicBezTo>
                  <a:cubicBezTo>
                    <a:pt x="22" y="0"/>
                    <a:pt x="14" y="0"/>
                    <a:pt x="13" y="0"/>
                  </a:cubicBezTo>
                  <a:cubicBezTo>
                    <a:pt x="6" y="0"/>
                    <a:pt x="0" y="7"/>
                    <a:pt x="0" y="14"/>
                  </a:cubicBezTo>
                  <a:cubicBezTo>
                    <a:pt x="0" y="22"/>
                    <a:pt x="6" y="28"/>
                    <a:pt x="13" y="28"/>
                  </a:cubicBezTo>
                  <a:cubicBezTo>
                    <a:pt x="13" y="28"/>
                    <a:pt x="13" y="28"/>
                    <a:pt x="13" y="28"/>
                  </a:cubicBezTo>
                  <a:cubicBezTo>
                    <a:pt x="16" y="28"/>
                    <a:pt x="19" y="28"/>
                    <a:pt x="21" y="26"/>
                  </a:cubicBezTo>
                  <a:cubicBezTo>
                    <a:pt x="21" y="67"/>
                    <a:pt x="21" y="67"/>
                    <a:pt x="21" y="67"/>
                  </a:cubicBezTo>
                  <a:cubicBezTo>
                    <a:pt x="26" y="67"/>
                    <a:pt x="26" y="67"/>
                    <a:pt x="26" y="67"/>
                  </a:cubicBezTo>
                  <a:cubicBezTo>
                    <a:pt x="26" y="23"/>
                    <a:pt x="26" y="23"/>
                    <a:pt x="26" y="23"/>
                  </a:cubicBezTo>
                  <a:cubicBezTo>
                    <a:pt x="28" y="22"/>
                    <a:pt x="30" y="20"/>
                    <a:pt x="31" y="18"/>
                  </a:cubicBezTo>
                  <a:cubicBezTo>
                    <a:pt x="32" y="20"/>
                    <a:pt x="34" y="22"/>
                    <a:pt x="36" y="23"/>
                  </a:cubicBezTo>
                  <a:cubicBezTo>
                    <a:pt x="36" y="67"/>
                    <a:pt x="36" y="67"/>
                    <a:pt x="36" y="67"/>
                  </a:cubicBezTo>
                  <a:cubicBezTo>
                    <a:pt x="41" y="67"/>
                    <a:pt x="41" y="67"/>
                    <a:pt x="41" y="67"/>
                  </a:cubicBezTo>
                  <a:cubicBezTo>
                    <a:pt x="41" y="26"/>
                    <a:pt x="41" y="26"/>
                    <a:pt x="41" y="26"/>
                  </a:cubicBezTo>
                  <a:cubicBezTo>
                    <a:pt x="43" y="28"/>
                    <a:pt x="45" y="28"/>
                    <a:pt x="48" y="28"/>
                  </a:cubicBezTo>
                  <a:cubicBezTo>
                    <a:pt x="49" y="28"/>
                    <a:pt x="49" y="28"/>
                    <a:pt x="49" y="28"/>
                  </a:cubicBezTo>
                  <a:cubicBezTo>
                    <a:pt x="52" y="28"/>
                    <a:pt x="56" y="27"/>
                    <a:pt x="58" y="24"/>
                  </a:cubicBezTo>
                  <a:cubicBezTo>
                    <a:pt x="61" y="22"/>
                    <a:pt x="62" y="18"/>
                    <a:pt x="62" y="14"/>
                  </a:cubicBezTo>
                  <a:cubicBezTo>
                    <a:pt x="62" y="7"/>
                    <a:pt x="56" y="0"/>
                    <a:pt x="48" y="0"/>
                  </a:cubicBezTo>
                  <a:close/>
                  <a:moveTo>
                    <a:pt x="13" y="23"/>
                  </a:moveTo>
                  <a:cubicBezTo>
                    <a:pt x="13" y="23"/>
                    <a:pt x="13" y="23"/>
                    <a:pt x="13" y="23"/>
                  </a:cubicBezTo>
                  <a:cubicBezTo>
                    <a:pt x="9" y="23"/>
                    <a:pt x="4" y="19"/>
                    <a:pt x="4" y="14"/>
                  </a:cubicBezTo>
                  <a:cubicBezTo>
                    <a:pt x="4" y="9"/>
                    <a:pt x="9" y="6"/>
                    <a:pt x="13" y="6"/>
                  </a:cubicBezTo>
                  <a:cubicBezTo>
                    <a:pt x="14" y="6"/>
                    <a:pt x="21" y="6"/>
                    <a:pt x="28" y="14"/>
                  </a:cubicBezTo>
                  <a:cubicBezTo>
                    <a:pt x="26" y="17"/>
                    <a:pt x="20" y="23"/>
                    <a:pt x="13" y="23"/>
                  </a:cubicBezTo>
                  <a:close/>
                  <a:moveTo>
                    <a:pt x="54" y="20"/>
                  </a:moveTo>
                  <a:cubicBezTo>
                    <a:pt x="53" y="22"/>
                    <a:pt x="51" y="23"/>
                    <a:pt x="49" y="23"/>
                  </a:cubicBezTo>
                  <a:cubicBezTo>
                    <a:pt x="48" y="23"/>
                    <a:pt x="48" y="23"/>
                    <a:pt x="48" y="23"/>
                  </a:cubicBezTo>
                  <a:cubicBezTo>
                    <a:pt x="42" y="23"/>
                    <a:pt x="36" y="17"/>
                    <a:pt x="34" y="14"/>
                  </a:cubicBezTo>
                  <a:cubicBezTo>
                    <a:pt x="41" y="6"/>
                    <a:pt x="48" y="6"/>
                    <a:pt x="48" y="6"/>
                  </a:cubicBezTo>
                  <a:cubicBezTo>
                    <a:pt x="53" y="6"/>
                    <a:pt x="57" y="9"/>
                    <a:pt x="57" y="14"/>
                  </a:cubicBezTo>
                  <a:cubicBezTo>
                    <a:pt x="57" y="17"/>
                    <a:pt x="56" y="19"/>
                    <a:pt x="54"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3" name="Freeform 217">
              <a:extLst>
                <a:ext uri="{FF2B5EF4-FFF2-40B4-BE49-F238E27FC236}">
                  <a16:creationId xmlns:a16="http://schemas.microsoft.com/office/drawing/2014/main" id="{2C8D5403-0314-0415-ADEC-B75BA3ABC3F3}"/>
                </a:ext>
              </a:extLst>
            </p:cNvPr>
            <p:cNvSpPr>
              <a:spLocks noChangeAspect="1"/>
            </p:cNvSpPr>
            <p:nvPr/>
          </p:nvSpPr>
          <p:spPr bwMode="auto">
            <a:xfrm rot="8273721">
              <a:off x="4707103" y="3215908"/>
              <a:ext cx="211443" cy="204001"/>
            </a:xfrm>
            <a:custGeom>
              <a:avLst/>
              <a:gdLst>
                <a:gd name="T0" fmla="*/ 160 w 162"/>
                <a:gd name="T1" fmla="*/ 31 h 142"/>
                <a:gd name="T2" fmla="*/ 109 w 162"/>
                <a:gd name="T3" fmla="*/ 1 h 142"/>
                <a:gd name="T4" fmla="*/ 106 w 162"/>
                <a:gd name="T5" fmla="*/ 3 h 142"/>
                <a:gd name="T6" fmla="*/ 106 w 162"/>
                <a:gd name="T7" fmla="*/ 17 h 142"/>
                <a:gd name="T8" fmla="*/ 103 w 162"/>
                <a:gd name="T9" fmla="*/ 20 h 142"/>
                <a:gd name="T10" fmla="*/ 0 w 162"/>
                <a:gd name="T11" fmla="*/ 125 h 142"/>
                <a:gd name="T12" fmla="*/ 0 w 162"/>
                <a:gd name="T13" fmla="*/ 139 h 142"/>
                <a:gd name="T14" fmla="*/ 3 w 162"/>
                <a:gd name="T15" fmla="*/ 142 h 142"/>
                <a:gd name="T16" fmla="*/ 26 w 162"/>
                <a:gd name="T17" fmla="*/ 125 h 142"/>
                <a:gd name="T18" fmla="*/ 103 w 162"/>
                <a:gd name="T19" fmla="*/ 46 h 142"/>
                <a:gd name="T20" fmla="*/ 106 w 162"/>
                <a:gd name="T21" fmla="*/ 48 h 142"/>
                <a:gd name="T22" fmla="*/ 106 w 162"/>
                <a:gd name="T23" fmla="*/ 62 h 142"/>
                <a:gd name="T24" fmla="*/ 109 w 162"/>
                <a:gd name="T25" fmla="*/ 64 h 142"/>
                <a:gd name="T26" fmla="*/ 160 w 162"/>
                <a:gd name="T27" fmla="*/ 35 h 142"/>
                <a:gd name="T28" fmla="*/ 160 w 162"/>
                <a:gd name="T29" fmla="*/ 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
                  <a:moveTo>
                    <a:pt x="160" y="31"/>
                  </a:moveTo>
                  <a:cubicBezTo>
                    <a:pt x="109" y="1"/>
                    <a:pt x="109" y="1"/>
                    <a:pt x="109" y="1"/>
                  </a:cubicBezTo>
                  <a:cubicBezTo>
                    <a:pt x="108" y="0"/>
                    <a:pt x="106" y="2"/>
                    <a:pt x="106" y="3"/>
                  </a:cubicBezTo>
                  <a:cubicBezTo>
                    <a:pt x="106" y="17"/>
                    <a:pt x="106" y="17"/>
                    <a:pt x="106" y="17"/>
                  </a:cubicBezTo>
                  <a:cubicBezTo>
                    <a:pt x="106" y="19"/>
                    <a:pt x="105" y="20"/>
                    <a:pt x="103" y="20"/>
                  </a:cubicBezTo>
                  <a:cubicBezTo>
                    <a:pt x="46" y="21"/>
                    <a:pt x="0" y="68"/>
                    <a:pt x="0" y="125"/>
                  </a:cubicBezTo>
                  <a:cubicBezTo>
                    <a:pt x="0" y="139"/>
                    <a:pt x="0" y="139"/>
                    <a:pt x="0" y="139"/>
                  </a:cubicBezTo>
                  <a:cubicBezTo>
                    <a:pt x="0" y="141"/>
                    <a:pt x="1" y="142"/>
                    <a:pt x="3" y="142"/>
                  </a:cubicBezTo>
                  <a:cubicBezTo>
                    <a:pt x="26" y="141"/>
                    <a:pt x="26" y="125"/>
                    <a:pt x="26" y="125"/>
                  </a:cubicBezTo>
                  <a:cubicBezTo>
                    <a:pt x="26" y="82"/>
                    <a:pt x="60" y="47"/>
                    <a:pt x="103" y="46"/>
                  </a:cubicBezTo>
                  <a:cubicBezTo>
                    <a:pt x="105" y="46"/>
                    <a:pt x="106" y="47"/>
                    <a:pt x="106" y="48"/>
                  </a:cubicBezTo>
                  <a:cubicBezTo>
                    <a:pt x="106" y="62"/>
                    <a:pt x="106" y="62"/>
                    <a:pt x="106" y="62"/>
                  </a:cubicBezTo>
                  <a:cubicBezTo>
                    <a:pt x="106" y="64"/>
                    <a:pt x="108" y="65"/>
                    <a:pt x="109" y="64"/>
                  </a:cubicBezTo>
                  <a:cubicBezTo>
                    <a:pt x="160" y="35"/>
                    <a:pt x="160" y="35"/>
                    <a:pt x="160" y="35"/>
                  </a:cubicBezTo>
                  <a:cubicBezTo>
                    <a:pt x="162" y="34"/>
                    <a:pt x="162" y="32"/>
                    <a:pt x="160" y="31"/>
                  </a:cubicBez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sp>
          <p:nvSpPr>
            <p:cNvPr id="214" name="Freeform 217">
              <a:extLst>
                <a:ext uri="{FF2B5EF4-FFF2-40B4-BE49-F238E27FC236}">
                  <a16:creationId xmlns:a16="http://schemas.microsoft.com/office/drawing/2014/main" id="{D8D9549B-34C8-3202-AB15-850EC781B783}"/>
                </a:ext>
              </a:extLst>
            </p:cNvPr>
            <p:cNvSpPr>
              <a:spLocks noChangeAspect="1"/>
            </p:cNvSpPr>
            <p:nvPr/>
          </p:nvSpPr>
          <p:spPr bwMode="auto">
            <a:xfrm rot="18810742">
              <a:off x="4402702" y="3180525"/>
              <a:ext cx="211443" cy="204000"/>
            </a:xfrm>
            <a:custGeom>
              <a:avLst/>
              <a:gdLst>
                <a:gd name="T0" fmla="*/ 160 w 162"/>
                <a:gd name="T1" fmla="*/ 31 h 142"/>
                <a:gd name="T2" fmla="*/ 109 w 162"/>
                <a:gd name="T3" fmla="*/ 1 h 142"/>
                <a:gd name="T4" fmla="*/ 106 w 162"/>
                <a:gd name="T5" fmla="*/ 3 h 142"/>
                <a:gd name="T6" fmla="*/ 106 w 162"/>
                <a:gd name="T7" fmla="*/ 17 h 142"/>
                <a:gd name="T8" fmla="*/ 103 w 162"/>
                <a:gd name="T9" fmla="*/ 20 h 142"/>
                <a:gd name="T10" fmla="*/ 0 w 162"/>
                <a:gd name="T11" fmla="*/ 125 h 142"/>
                <a:gd name="T12" fmla="*/ 0 w 162"/>
                <a:gd name="T13" fmla="*/ 139 h 142"/>
                <a:gd name="T14" fmla="*/ 3 w 162"/>
                <a:gd name="T15" fmla="*/ 142 h 142"/>
                <a:gd name="T16" fmla="*/ 26 w 162"/>
                <a:gd name="T17" fmla="*/ 125 h 142"/>
                <a:gd name="T18" fmla="*/ 103 w 162"/>
                <a:gd name="T19" fmla="*/ 46 h 142"/>
                <a:gd name="T20" fmla="*/ 106 w 162"/>
                <a:gd name="T21" fmla="*/ 48 h 142"/>
                <a:gd name="T22" fmla="*/ 106 w 162"/>
                <a:gd name="T23" fmla="*/ 62 h 142"/>
                <a:gd name="T24" fmla="*/ 109 w 162"/>
                <a:gd name="T25" fmla="*/ 64 h 142"/>
                <a:gd name="T26" fmla="*/ 160 w 162"/>
                <a:gd name="T27" fmla="*/ 35 h 142"/>
                <a:gd name="T28" fmla="*/ 160 w 162"/>
                <a:gd name="T29" fmla="*/ 3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2" h="142">
                  <a:moveTo>
                    <a:pt x="160" y="31"/>
                  </a:moveTo>
                  <a:cubicBezTo>
                    <a:pt x="109" y="1"/>
                    <a:pt x="109" y="1"/>
                    <a:pt x="109" y="1"/>
                  </a:cubicBezTo>
                  <a:cubicBezTo>
                    <a:pt x="108" y="0"/>
                    <a:pt x="106" y="2"/>
                    <a:pt x="106" y="3"/>
                  </a:cubicBezTo>
                  <a:cubicBezTo>
                    <a:pt x="106" y="17"/>
                    <a:pt x="106" y="17"/>
                    <a:pt x="106" y="17"/>
                  </a:cubicBezTo>
                  <a:cubicBezTo>
                    <a:pt x="106" y="19"/>
                    <a:pt x="105" y="20"/>
                    <a:pt x="103" y="20"/>
                  </a:cubicBezTo>
                  <a:cubicBezTo>
                    <a:pt x="46" y="21"/>
                    <a:pt x="0" y="68"/>
                    <a:pt x="0" y="125"/>
                  </a:cubicBezTo>
                  <a:cubicBezTo>
                    <a:pt x="0" y="139"/>
                    <a:pt x="0" y="139"/>
                    <a:pt x="0" y="139"/>
                  </a:cubicBezTo>
                  <a:cubicBezTo>
                    <a:pt x="0" y="141"/>
                    <a:pt x="1" y="142"/>
                    <a:pt x="3" y="142"/>
                  </a:cubicBezTo>
                  <a:cubicBezTo>
                    <a:pt x="26" y="141"/>
                    <a:pt x="26" y="125"/>
                    <a:pt x="26" y="125"/>
                  </a:cubicBezTo>
                  <a:cubicBezTo>
                    <a:pt x="26" y="82"/>
                    <a:pt x="60" y="47"/>
                    <a:pt x="103" y="46"/>
                  </a:cubicBezTo>
                  <a:cubicBezTo>
                    <a:pt x="105" y="46"/>
                    <a:pt x="106" y="47"/>
                    <a:pt x="106" y="48"/>
                  </a:cubicBezTo>
                  <a:cubicBezTo>
                    <a:pt x="106" y="62"/>
                    <a:pt x="106" y="62"/>
                    <a:pt x="106" y="62"/>
                  </a:cubicBezTo>
                  <a:cubicBezTo>
                    <a:pt x="106" y="64"/>
                    <a:pt x="108" y="65"/>
                    <a:pt x="109" y="64"/>
                  </a:cubicBezTo>
                  <a:cubicBezTo>
                    <a:pt x="160" y="35"/>
                    <a:pt x="160" y="35"/>
                    <a:pt x="160" y="35"/>
                  </a:cubicBezTo>
                  <a:cubicBezTo>
                    <a:pt x="162" y="34"/>
                    <a:pt x="162" y="32"/>
                    <a:pt x="160" y="31"/>
                  </a:cubicBez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mn-cs"/>
              </a:endParaRPr>
            </a:p>
          </p:txBody>
        </p:sp>
      </p:grpSp>
      <p:sp>
        <p:nvSpPr>
          <p:cNvPr id="195" name="Freeform 23">
            <a:extLst>
              <a:ext uri="{FF2B5EF4-FFF2-40B4-BE49-F238E27FC236}">
                <a16:creationId xmlns:a16="http://schemas.microsoft.com/office/drawing/2014/main" id="{26C6EE39-C42C-ABE7-54C1-5150FB82A3CF}"/>
              </a:ext>
            </a:extLst>
          </p:cNvPr>
          <p:cNvSpPr>
            <a:spLocks noChangeAspect="1"/>
          </p:cNvSpPr>
          <p:nvPr/>
        </p:nvSpPr>
        <p:spPr bwMode="auto">
          <a:xfrm>
            <a:off x="4428373" y="4073450"/>
            <a:ext cx="631404" cy="587276"/>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F6A7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96" name="Groupe 1024">
            <a:extLst>
              <a:ext uri="{FF2B5EF4-FFF2-40B4-BE49-F238E27FC236}">
                <a16:creationId xmlns:a16="http://schemas.microsoft.com/office/drawing/2014/main" id="{5923A5D3-2DA2-2B8A-485A-54B1DA2039EF}"/>
              </a:ext>
            </a:extLst>
          </p:cNvPr>
          <p:cNvGrpSpPr/>
          <p:nvPr/>
        </p:nvGrpSpPr>
        <p:grpSpPr>
          <a:xfrm>
            <a:off x="4579281" y="4220476"/>
            <a:ext cx="310603" cy="303972"/>
            <a:chOff x="4192589" y="3787775"/>
            <a:chExt cx="446087" cy="436563"/>
          </a:xfrm>
          <a:solidFill>
            <a:srgbClr val="007D74"/>
          </a:solidFill>
        </p:grpSpPr>
        <p:sp>
          <p:nvSpPr>
            <p:cNvPr id="197" name="Freeform 240">
              <a:extLst>
                <a:ext uri="{FF2B5EF4-FFF2-40B4-BE49-F238E27FC236}">
                  <a16:creationId xmlns:a16="http://schemas.microsoft.com/office/drawing/2014/main" id="{72E95615-E7EE-CE2E-BDF3-D37E9BF6458C}"/>
                </a:ext>
              </a:extLst>
            </p:cNvPr>
            <p:cNvSpPr>
              <a:spLocks/>
            </p:cNvSpPr>
            <p:nvPr/>
          </p:nvSpPr>
          <p:spPr bwMode="auto">
            <a:xfrm>
              <a:off x="4286251" y="3795712"/>
              <a:ext cx="138113" cy="142875"/>
            </a:xfrm>
            <a:custGeom>
              <a:avLst/>
              <a:gdLst>
                <a:gd name="T0" fmla="*/ 22 w 37"/>
                <a:gd name="T1" fmla="*/ 38 h 38"/>
                <a:gd name="T2" fmla="*/ 0 w 37"/>
                <a:gd name="T3" fmla="*/ 25 h 38"/>
                <a:gd name="T4" fmla="*/ 17 w 37"/>
                <a:gd name="T5" fmla="*/ 2 h 38"/>
                <a:gd name="T6" fmla="*/ 20 w 37"/>
                <a:gd name="T7" fmla="*/ 0 h 38"/>
                <a:gd name="T8" fmla="*/ 22 w 37"/>
                <a:gd name="T9" fmla="*/ 0 h 38"/>
                <a:gd name="T10" fmla="*/ 23 w 37"/>
                <a:gd name="T11" fmla="*/ 1 h 38"/>
                <a:gd name="T12" fmla="*/ 33 w 37"/>
                <a:gd name="T13" fmla="*/ 9 h 38"/>
                <a:gd name="T14" fmla="*/ 37 w 37"/>
                <a:gd name="T15" fmla="*/ 17 h 38"/>
                <a:gd name="T16" fmla="*/ 22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22" y="38"/>
                  </a:moveTo>
                  <a:cubicBezTo>
                    <a:pt x="15" y="34"/>
                    <a:pt x="7" y="30"/>
                    <a:pt x="0" y="25"/>
                  </a:cubicBezTo>
                  <a:cubicBezTo>
                    <a:pt x="4" y="18"/>
                    <a:pt x="9" y="10"/>
                    <a:pt x="17" y="2"/>
                  </a:cubicBezTo>
                  <a:cubicBezTo>
                    <a:pt x="18" y="1"/>
                    <a:pt x="19" y="1"/>
                    <a:pt x="20" y="0"/>
                  </a:cubicBezTo>
                  <a:cubicBezTo>
                    <a:pt x="22" y="0"/>
                    <a:pt x="22" y="0"/>
                    <a:pt x="22" y="0"/>
                  </a:cubicBezTo>
                  <a:cubicBezTo>
                    <a:pt x="23" y="1"/>
                    <a:pt x="23" y="1"/>
                    <a:pt x="23" y="1"/>
                  </a:cubicBezTo>
                  <a:cubicBezTo>
                    <a:pt x="27" y="1"/>
                    <a:pt x="31" y="6"/>
                    <a:pt x="33" y="9"/>
                  </a:cubicBezTo>
                  <a:cubicBezTo>
                    <a:pt x="34" y="12"/>
                    <a:pt x="36" y="14"/>
                    <a:pt x="37" y="17"/>
                  </a:cubicBezTo>
                  <a:lnTo>
                    <a:pt x="2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8" name="Freeform 241">
              <a:extLst>
                <a:ext uri="{FF2B5EF4-FFF2-40B4-BE49-F238E27FC236}">
                  <a16:creationId xmlns:a16="http://schemas.microsoft.com/office/drawing/2014/main" id="{29C76AC5-F15E-5B21-2D39-E39C5454301E}"/>
                </a:ext>
              </a:extLst>
            </p:cNvPr>
            <p:cNvSpPr>
              <a:spLocks/>
            </p:cNvSpPr>
            <p:nvPr/>
          </p:nvSpPr>
          <p:spPr bwMode="auto">
            <a:xfrm>
              <a:off x="4368801" y="3787775"/>
              <a:ext cx="217488" cy="146050"/>
            </a:xfrm>
            <a:custGeom>
              <a:avLst/>
              <a:gdLst>
                <a:gd name="T0" fmla="*/ 12 w 58"/>
                <a:gd name="T1" fmla="*/ 10 h 39"/>
                <a:gd name="T2" fmla="*/ 22 w 58"/>
                <a:gd name="T3" fmla="*/ 29 h 39"/>
                <a:gd name="T4" fmla="*/ 11 w 58"/>
                <a:gd name="T5" fmla="*/ 36 h 39"/>
                <a:gd name="T6" fmla="*/ 44 w 58"/>
                <a:gd name="T7" fmla="*/ 39 h 39"/>
                <a:gd name="T8" fmla="*/ 58 w 58"/>
                <a:gd name="T9" fmla="*/ 8 h 39"/>
                <a:gd name="T10" fmla="*/ 47 w 58"/>
                <a:gd name="T11" fmla="*/ 15 h 39"/>
                <a:gd name="T12" fmla="*/ 33 w 58"/>
                <a:gd name="T13" fmla="*/ 0 h 39"/>
                <a:gd name="T14" fmla="*/ 0 w 58"/>
                <a:gd name="T15" fmla="*/ 0 h 39"/>
                <a:gd name="T16" fmla="*/ 12 w 58"/>
                <a:gd name="T17"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12" y="10"/>
                  </a:moveTo>
                  <a:cubicBezTo>
                    <a:pt x="16" y="16"/>
                    <a:pt x="19" y="22"/>
                    <a:pt x="22" y="29"/>
                  </a:cubicBezTo>
                  <a:cubicBezTo>
                    <a:pt x="11" y="36"/>
                    <a:pt x="11" y="36"/>
                    <a:pt x="11" y="36"/>
                  </a:cubicBezTo>
                  <a:cubicBezTo>
                    <a:pt x="44" y="39"/>
                    <a:pt x="44" y="39"/>
                    <a:pt x="44" y="39"/>
                  </a:cubicBezTo>
                  <a:cubicBezTo>
                    <a:pt x="58" y="8"/>
                    <a:pt x="58" y="8"/>
                    <a:pt x="58" y="8"/>
                  </a:cubicBezTo>
                  <a:cubicBezTo>
                    <a:pt x="47" y="15"/>
                    <a:pt x="47" y="15"/>
                    <a:pt x="47" y="15"/>
                  </a:cubicBezTo>
                  <a:cubicBezTo>
                    <a:pt x="43" y="8"/>
                    <a:pt x="39" y="3"/>
                    <a:pt x="33" y="0"/>
                  </a:cubicBezTo>
                  <a:cubicBezTo>
                    <a:pt x="22" y="0"/>
                    <a:pt x="11" y="0"/>
                    <a:pt x="0" y="0"/>
                  </a:cubicBezTo>
                  <a:cubicBezTo>
                    <a:pt x="4" y="0"/>
                    <a:pt x="9" y="4"/>
                    <a:pt x="1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9" name="Freeform 242">
              <a:extLst>
                <a:ext uri="{FF2B5EF4-FFF2-40B4-BE49-F238E27FC236}">
                  <a16:creationId xmlns:a16="http://schemas.microsoft.com/office/drawing/2014/main" id="{346E8E3E-31A5-896C-513C-EA4065834EFA}"/>
                </a:ext>
              </a:extLst>
            </p:cNvPr>
            <p:cNvSpPr>
              <a:spLocks/>
            </p:cNvSpPr>
            <p:nvPr/>
          </p:nvSpPr>
          <p:spPr bwMode="auto">
            <a:xfrm>
              <a:off x="4506914" y="3933825"/>
              <a:ext cx="128588" cy="128588"/>
            </a:xfrm>
            <a:custGeom>
              <a:avLst/>
              <a:gdLst>
                <a:gd name="T0" fmla="*/ 1 w 34"/>
                <a:gd name="T1" fmla="*/ 15 h 34"/>
                <a:gd name="T2" fmla="*/ 1 w 34"/>
                <a:gd name="T3" fmla="*/ 15 h 34"/>
                <a:gd name="T4" fmla="*/ 1 w 34"/>
                <a:gd name="T5" fmla="*/ 15 h 34"/>
                <a:gd name="T6" fmla="*/ 10 w 34"/>
                <a:gd name="T7" fmla="*/ 33 h 34"/>
                <a:gd name="T8" fmla="*/ 20 w 34"/>
                <a:gd name="T9" fmla="*/ 34 h 34"/>
                <a:gd name="T10" fmla="*/ 33 w 34"/>
                <a:gd name="T11" fmla="*/ 29 h 34"/>
                <a:gd name="T12" fmla="*/ 33 w 34"/>
                <a:gd name="T13" fmla="*/ 29 h 34"/>
                <a:gd name="T14" fmla="*/ 34 w 34"/>
                <a:gd name="T15" fmla="*/ 27 h 34"/>
                <a:gd name="T16" fmla="*/ 34 w 34"/>
                <a:gd name="T17" fmla="*/ 25 h 34"/>
                <a:gd name="T18" fmla="*/ 22 w 34"/>
                <a:gd name="T19" fmla="*/ 0 h 34"/>
                <a:gd name="T20" fmla="*/ 0 w 34"/>
                <a:gd name="T21" fmla="*/ 12 h 34"/>
                <a:gd name="T22" fmla="*/ 1 w 34"/>
                <a:gd name="T2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 y="15"/>
                  </a:moveTo>
                  <a:cubicBezTo>
                    <a:pt x="1" y="15"/>
                    <a:pt x="1" y="15"/>
                    <a:pt x="1" y="15"/>
                  </a:cubicBezTo>
                  <a:cubicBezTo>
                    <a:pt x="1" y="15"/>
                    <a:pt x="1" y="15"/>
                    <a:pt x="1" y="15"/>
                  </a:cubicBezTo>
                  <a:cubicBezTo>
                    <a:pt x="10" y="33"/>
                    <a:pt x="10" y="33"/>
                    <a:pt x="10" y="33"/>
                  </a:cubicBezTo>
                  <a:cubicBezTo>
                    <a:pt x="13" y="34"/>
                    <a:pt x="17" y="34"/>
                    <a:pt x="20" y="34"/>
                  </a:cubicBezTo>
                  <a:cubicBezTo>
                    <a:pt x="24" y="33"/>
                    <a:pt x="31" y="32"/>
                    <a:pt x="33" y="29"/>
                  </a:cubicBezTo>
                  <a:cubicBezTo>
                    <a:pt x="33" y="29"/>
                    <a:pt x="33" y="29"/>
                    <a:pt x="33" y="29"/>
                  </a:cubicBezTo>
                  <a:cubicBezTo>
                    <a:pt x="34" y="27"/>
                    <a:pt x="34" y="27"/>
                    <a:pt x="34" y="27"/>
                  </a:cubicBezTo>
                  <a:cubicBezTo>
                    <a:pt x="34" y="26"/>
                    <a:pt x="34" y="26"/>
                    <a:pt x="34" y="25"/>
                  </a:cubicBezTo>
                  <a:cubicBezTo>
                    <a:pt x="31" y="15"/>
                    <a:pt x="27" y="7"/>
                    <a:pt x="22" y="0"/>
                  </a:cubicBezTo>
                  <a:cubicBezTo>
                    <a:pt x="15" y="4"/>
                    <a:pt x="7" y="8"/>
                    <a:pt x="0" y="12"/>
                  </a:cubicBezTo>
                  <a:lnTo>
                    <a:pt x="1"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0" name="Freeform 243">
              <a:extLst>
                <a:ext uri="{FF2B5EF4-FFF2-40B4-BE49-F238E27FC236}">
                  <a16:creationId xmlns:a16="http://schemas.microsoft.com/office/drawing/2014/main" id="{E3FCB575-A0BB-A67D-6CEE-29504ED94814}"/>
                </a:ext>
              </a:extLst>
            </p:cNvPr>
            <p:cNvSpPr>
              <a:spLocks/>
            </p:cNvSpPr>
            <p:nvPr/>
          </p:nvSpPr>
          <p:spPr bwMode="auto">
            <a:xfrm>
              <a:off x="4432301" y="4016375"/>
              <a:ext cx="206375" cy="207963"/>
            </a:xfrm>
            <a:custGeom>
              <a:avLst/>
              <a:gdLst>
                <a:gd name="T0" fmla="*/ 41 w 55"/>
                <a:gd name="T1" fmla="*/ 14 h 55"/>
                <a:gd name="T2" fmla="*/ 19 w 55"/>
                <a:gd name="T3" fmla="*/ 13 h 55"/>
                <a:gd name="T4" fmla="*/ 19 w 55"/>
                <a:gd name="T5" fmla="*/ 0 h 55"/>
                <a:gd name="T6" fmla="*/ 0 w 55"/>
                <a:gd name="T7" fmla="*/ 27 h 55"/>
                <a:gd name="T8" fmla="*/ 20 w 55"/>
                <a:gd name="T9" fmla="*/ 55 h 55"/>
                <a:gd name="T10" fmla="*/ 20 w 55"/>
                <a:gd name="T11" fmla="*/ 41 h 55"/>
                <a:gd name="T12" fmla="*/ 39 w 55"/>
                <a:gd name="T13" fmla="*/ 37 h 55"/>
                <a:gd name="T14" fmla="*/ 55 w 55"/>
                <a:gd name="T15" fmla="*/ 8 h 55"/>
                <a:gd name="T16" fmla="*/ 41 w 55"/>
                <a:gd name="T17"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41" y="14"/>
                  </a:moveTo>
                  <a:cubicBezTo>
                    <a:pt x="34" y="14"/>
                    <a:pt x="27" y="14"/>
                    <a:pt x="19" y="13"/>
                  </a:cubicBezTo>
                  <a:cubicBezTo>
                    <a:pt x="19" y="0"/>
                    <a:pt x="19" y="0"/>
                    <a:pt x="19" y="0"/>
                  </a:cubicBezTo>
                  <a:cubicBezTo>
                    <a:pt x="0" y="27"/>
                    <a:pt x="0" y="27"/>
                    <a:pt x="0" y="27"/>
                  </a:cubicBezTo>
                  <a:cubicBezTo>
                    <a:pt x="20" y="55"/>
                    <a:pt x="20" y="55"/>
                    <a:pt x="20" y="55"/>
                  </a:cubicBezTo>
                  <a:cubicBezTo>
                    <a:pt x="20" y="41"/>
                    <a:pt x="20" y="41"/>
                    <a:pt x="20" y="41"/>
                  </a:cubicBezTo>
                  <a:cubicBezTo>
                    <a:pt x="27" y="42"/>
                    <a:pt x="34" y="41"/>
                    <a:pt x="39" y="37"/>
                  </a:cubicBezTo>
                  <a:cubicBezTo>
                    <a:pt x="44" y="27"/>
                    <a:pt x="50" y="17"/>
                    <a:pt x="55" y="8"/>
                  </a:cubicBezTo>
                  <a:cubicBezTo>
                    <a:pt x="53" y="12"/>
                    <a:pt x="48" y="13"/>
                    <a:pt x="4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1" name="Freeform 244">
              <a:extLst>
                <a:ext uri="{FF2B5EF4-FFF2-40B4-BE49-F238E27FC236}">
                  <a16:creationId xmlns:a16="http://schemas.microsoft.com/office/drawing/2014/main" id="{3EBF9BEC-E657-437B-0945-A6F699C8218D}"/>
                </a:ext>
              </a:extLst>
            </p:cNvPr>
            <p:cNvSpPr>
              <a:spLocks/>
            </p:cNvSpPr>
            <p:nvPr/>
          </p:nvSpPr>
          <p:spPr bwMode="auto">
            <a:xfrm>
              <a:off x="4289426" y="4076700"/>
              <a:ext cx="131763" cy="101600"/>
            </a:xfrm>
            <a:custGeom>
              <a:avLst/>
              <a:gdLst>
                <a:gd name="T0" fmla="*/ 8 w 35"/>
                <a:gd name="T1" fmla="*/ 0 h 27"/>
                <a:gd name="T2" fmla="*/ 4 w 35"/>
                <a:gd name="T3" fmla="*/ 9 h 27"/>
                <a:gd name="T4" fmla="*/ 3 w 35"/>
                <a:gd name="T5" fmla="*/ 22 h 27"/>
                <a:gd name="T6" fmla="*/ 3 w 35"/>
                <a:gd name="T7" fmla="*/ 22 h 27"/>
                <a:gd name="T8" fmla="*/ 4 w 35"/>
                <a:gd name="T9" fmla="*/ 24 h 27"/>
                <a:gd name="T10" fmla="*/ 7 w 35"/>
                <a:gd name="T11" fmla="*/ 25 h 27"/>
                <a:gd name="T12" fmla="*/ 35 w 35"/>
                <a:gd name="T13" fmla="*/ 25 h 27"/>
                <a:gd name="T14" fmla="*/ 33 w 35"/>
                <a:gd name="T15" fmla="*/ 0 h 27"/>
                <a:gd name="T16" fmla="*/ 8 w 3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8" y="0"/>
                  </a:moveTo>
                  <a:cubicBezTo>
                    <a:pt x="7" y="3"/>
                    <a:pt x="5" y="6"/>
                    <a:pt x="4" y="9"/>
                  </a:cubicBezTo>
                  <a:cubicBezTo>
                    <a:pt x="3" y="12"/>
                    <a:pt x="0" y="18"/>
                    <a:pt x="3" y="22"/>
                  </a:cubicBezTo>
                  <a:cubicBezTo>
                    <a:pt x="3" y="22"/>
                    <a:pt x="3" y="22"/>
                    <a:pt x="3" y="22"/>
                  </a:cubicBezTo>
                  <a:cubicBezTo>
                    <a:pt x="4" y="24"/>
                    <a:pt x="4" y="24"/>
                    <a:pt x="4" y="24"/>
                  </a:cubicBezTo>
                  <a:cubicBezTo>
                    <a:pt x="5" y="24"/>
                    <a:pt x="6" y="25"/>
                    <a:pt x="7" y="25"/>
                  </a:cubicBezTo>
                  <a:cubicBezTo>
                    <a:pt x="17" y="27"/>
                    <a:pt x="26" y="26"/>
                    <a:pt x="35" y="25"/>
                  </a:cubicBezTo>
                  <a:cubicBezTo>
                    <a:pt x="34" y="17"/>
                    <a:pt x="33" y="8"/>
                    <a:pt x="33" y="0"/>
                  </a:cubicBez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2" name="Freeform 245">
              <a:extLst>
                <a:ext uri="{FF2B5EF4-FFF2-40B4-BE49-F238E27FC236}">
                  <a16:creationId xmlns:a16="http://schemas.microsoft.com/office/drawing/2014/main" id="{2B1035BA-E67C-8871-3F09-FEB73269F41E}"/>
                </a:ext>
              </a:extLst>
            </p:cNvPr>
            <p:cNvSpPr>
              <a:spLocks/>
            </p:cNvSpPr>
            <p:nvPr/>
          </p:nvSpPr>
          <p:spPr bwMode="auto">
            <a:xfrm>
              <a:off x="4192589" y="3944937"/>
              <a:ext cx="187325" cy="219075"/>
            </a:xfrm>
            <a:custGeom>
              <a:avLst/>
              <a:gdLst>
                <a:gd name="T0" fmla="*/ 28 w 50"/>
                <a:gd name="T1" fmla="*/ 43 h 58"/>
                <a:gd name="T2" fmla="*/ 38 w 50"/>
                <a:gd name="T3" fmla="*/ 24 h 58"/>
                <a:gd name="T4" fmla="*/ 50 w 50"/>
                <a:gd name="T5" fmla="*/ 30 h 58"/>
                <a:gd name="T6" fmla="*/ 33 w 50"/>
                <a:gd name="T7" fmla="*/ 0 h 58"/>
                <a:gd name="T8" fmla="*/ 0 w 50"/>
                <a:gd name="T9" fmla="*/ 6 h 58"/>
                <a:gd name="T10" fmla="*/ 12 w 50"/>
                <a:gd name="T11" fmla="*/ 12 h 58"/>
                <a:gd name="T12" fmla="*/ 8 w 50"/>
                <a:gd name="T13" fmla="*/ 31 h 58"/>
                <a:gd name="T14" fmla="*/ 27 w 50"/>
                <a:gd name="T15" fmla="*/ 58 h 58"/>
                <a:gd name="T16" fmla="*/ 28 w 50"/>
                <a:gd name="T1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28" y="43"/>
                  </a:moveTo>
                  <a:cubicBezTo>
                    <a:pt x="31" y="36"/>
                    <a:pt x="34" y="30"/>
                    <a:pt x="38" y="24"/>
                  </a:cubicBezTo>
                  <a:cubicBezTo>
                    <a:pt x="50" y="30"/>
                    <a:pt x="50" y="30"/>
                    <a:pt x="50" y="30"/>
                  </a:cubicBezTo>
                  <a:cubicBezTo>
                    <a:pt x="33" y="0"/>
                    <a:pt x="33" y="0"/>
                    <a:pt x="33" y="0"/>
                  </a:cubicBezTo>
                  <a:cubicBezTo>
                    <a:pt x="0" y="6"/>
                    <a:pt x="0" y="6"/>
                    <a:pt x="0" y="6"/>
                  </a:cubicBezTo>
                  <a:cubicBezTo>
                    <a:pt x="12" y="12"/>
                    <a:pt x="12" y="12"/>
                    <a:pt x="12" y="12"/>
                  </a:cubicBezTo>
                  <a:cubicBezTo>
                    <a:pt x="9" y="18"/>
                    <a:pt x="7" y="25"/>
                    <a:pt x="8" y="31"/>
                  </a:cubicBezTo>
                  <a:cubicBezTo>
                    <a:pt x="14" y="40"/>
                    <a:pt x="21" y="49"/>
                    <a:pt x="27" y="58"/>
                  </a:cubicBezTo>
                  <a:cubicBezTo>
                    <a:pt x="24" y="55"/>
                    <a:pt x="25" y="49"/>
                    <a:pt x="28"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3" name="Line 246">
              <a:extLst>
                <a:ext uri="{FF2B5EF4-FFF2-40B4-BE49-F238E27FC236}">
                  <a16:creationId xmlns:a16="http://schemas.microsoft.com/office/drawing/2014/main" id="{2BA323F1-E03A-2521-0898-16CCE80D36F1}"/>
                </a:ext>
              </a:extLst>
            </p:cNvPr>
            <p:cNvSpPr>
              <a:spLocks noChangeShapeType="1"/>
            </p:cNvSpPr>
            <p:nvPr/>
          </p:nvSpPr>
          <p:spPr bwMode="auto">
            <a:xfrm>
              <a:off x="4297364" y="410686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4" name="Line 247">
              <a:extLst>
                <a:ext uri="{FF2B5EF4-FFF2-40B4-BE49-F238E27FC236}">
                  <a16:creationId xmlns:a16="http://schemas.microsoft.com/office/drawing/2014/main" id="{5BA80F83-727B-6FE7-3E85-3028159459AB}"/>
                </a:ext>
              </a:extLst>
            </p:cNvPr>
            <p:cNvSpPr>
              <a:spLocks noChangeShapeType="1"/>
            </p:cNvSpPr>
            <p:nvPr/>
          </p:nvSpPr>
          <p:spPr bwMode="auto">
            <a:xfrm>
              <a:off x="4297364" y="410686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66" name="Freeform 105">
            <a:extLst>
              <a:ext uri="{FF2B5EF4-FFF2-40B4-BE49-F238E27FC236}">
                <a16:creationId xmlns:a16="http://schemas.microsoft.com/office/drawing/2014/main" id="{EB2F402F-65C0-6B30-F196-0006738793B4}"/>
              </a:ext>
            </a:extLst>
          </p:cNvPr>
          <p:cNvSpPr>
            <a:spLocks noEditPoints="1"/>
          </p:cNvSpPr>
          <p:nvPr/>
        </p:nvSpPr>
        <p:spPr bwMode="auto">
          <a:xfrm>
            <a:off x="3526189" y="2153671"/>
            <a:ext cx="354504" cy="350204"/>
          </a:xfrm>
          <a:custGeom>
            <a:avLst/>
            <a:gdLst>
              <a:gd name="T0" fmla="*/ 60 w 70"/>
              <a:gd name="T1" fmla="*/ 27 h 69"/>
              <a:gd name="T2" fmla="*/ 62 w 70"/>
              <a:gd name="T3" fmla="*/ 13 h 69"/>
              <a:gd name="T4" fmla="*/ 53 w 70"/>
              <a:gd name="T5" fmla="*/ 15 h 69"/>
              <a:gd name="T6" fmla="*/ 48 w 70"/>
              <a:gd name="T7" fmla="*/ 11 h 69"/>
              <a:gd name="T8" fmla="*/ 39 w 70"/>
              <a:gd name="T9" fmla="*/ 0 h 69"/>
              <a:gd name="T10" fmla="*/ 28 w 70"/>
              <a:gd name="T11" fmla="*/ 9 h 69"/>
              <a:gd name="T12" fmla="*/ 24 w 70"/>
              <a:gd name="T13" fmla="*/ 4 h 69"/>
              <a:gd name="T14" fmla="*/ 22 w 70"/>
              <a:gd name="T15" fmla="*/ 2 h 69"/>
              <a:gd name="T16" fmla="*/ 19 w 70"/>
              <a:gd name="T17" fmla="*/ 3 h 69"/>
              <a:gd name="T18" fmla="*/ 18 w 70"/>
              <a:gd name="T19" fmla="*/ 4 h 69"/>
              <a:gd name="T20" fmla="*/ 13 w 70"/>
              <a:gd name="T21" fmla="*/ 7 h 69"/>
              <a:gd name="T22" fmla="*/ 14 w 70"/>
              <a:gd name="T23" fmla="*/ 9 h 69"/>
              <a:gd name="T24" fmla="*/ 12 w 70"/>
              <a:gd name="T25" fmla="*/ 22 h 69"/>
              <a:gd name="T26" fmla="*/ 3 w 70"/>
              <a:gd name="T27" fmla="*/ 21 h 69"/>
              <a:gd name="T28" fmla="*/ 1 w 70"/>
              <a:gd name="T29" fmla="*/ 29 h 69"/>
              <a:gd name="T30" fmla="*/ 0 w 70"/>
              <a:gd name="T31" fmla="*/ 31 h 69"/>
              <a:gd name="T32" fmla="*/ 9 w 70"/>
              <a:gd name="T33" fmla="*/ 34 h 69"/>
              <a:gd name="T34" fmla="*/ 9 w 70"/>
              <a:gd name="T35" fmla="*/ 38 h 69"/>
              <a:gd name="T36" fmla="*/ 3 w 70"/>
              <a:gd name="T37" fmla="*/ 48 h 69"/>
              <a:gd name="T38" fmla="*/ 16 w 70"/>
              <a:gd name="T39" fmla="*/ 53 h 69"/>
              <a:gd name="T40" fmla="*/ 19 w 70"/>
              <a:gd name="T41" fmla="*/ 56 h 69"/>
              <a:gd name="T42" fmla="*/ 22 w 70"/>
              <a:gd name="T43" fmla="*/ 58 h 69"/>
              <a:gd name="T44" fmla="*/ 23 w 70"/>
              <a:gd name="T45" fmla="*/ 59 h 69"/>
              <a:gd name="T46" fmla="*/ 21 w 70"/>
              <a:gd name="T47" fmla="*/ 67 h 69"/>
              <a:gd name="T48" fmla="*/ 35 w 70"/>
              <a:gd name="T49" fmla="*/ 61 h 69"/>
              <a:gd name="T50" fmla="*/ 39 w 70"/>
              <a:gd name="T51" fmla="*/ 61 h 69"/>
              <a:gd name="T52" fmla="*/ 43 w 70"/>
              <a:gd name="T53" fmla="*/ 60 h 69"/>
              <a:gd name="T54" fmla="*/ 48 w 70"/>
              <a:gd name="T55" fmla="*/ 67 h 69"/>
              <a:gd name="T56" fmla="*/ 54 w 70"/>
              <a:gd name="T57" fmla="*/ 53 h 69"/>
              <a:gd name="T58" fmla="*/ 57 w 70"/>
              <a:gd name="T59" fmla="*/ 49 h 69"/>
              <a:gd name="T60" fmla="*/ 67 w 70"/>
              <a:gd name="T61" fmla="*/ 49 h 69"/>
              <a:gd name="T62" fmla="*/ 62 w 70"/>
              <a:gd name="T63" fmla="*/ 35 h 69"/>
              <a:gd name="T64" fmla="*/ 18 w 70"/>
              <a:gd name="T65" fmla="*/ 38 h 69"/>
              <a:gd name="T66" fmla="*/ 30 w 70"/>
              <a:gd name="T67" fmla="*/ 17 h 69"/>
              <a:gd name="T68" fmla="*/ 52 w 70"/>
              <a:gd name="T69"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 h="69">
                <a:moveTo>
                  <a:pt x="62" y="35"/>
                </a:moveTo>
                <a:cubicBezTo>
                  <a:pt x="62" y="32"/>
                  <a:pt x="61" y="30"/>
                  <a:pt x="60" y="27"/>
                </a:cubicBezTo>
                <a:cubicBezTo>
                  <a:pt x="63" y="25"/>
                  <a:pt x="65" y="23"/>
                  <a:pt x="68" y="22"/>
                </a:cubicBezTo>
                <a:cubicBezTo>
                  <a:pt x="67" y="18"/>
                  <a:pt x="65" y="15"/>
                  <a:pt x="62" y="13"/>
                </a:cubicBezTo>
                <a:cubicBezTo>
                  <a:pt x="60" y="14"/>
                  <a:pt x="57" y="15"/>
                  <a:pt x="54" y="16"/>
                </a:cubicBezTo>
                <a:cubicBezTo>
                  <a:pt x="54" y="16"/>
                  <a:pt x="54" y="16"/>
                  <a:pt x="53" y="15"/>
                </a:cubicBezTo>
                <a:cubicBezTo>
                  <a:pt x="52" y="14"/>
                  <a:pt x="51" y="13"/>
                  <a:pt x="50" y="12"/>
                </a:cubicBezTo>
                <a:cubicBezTo>
                  <a:pt x="49" y="12"/>
                  <a:pt x="49" y="12"/>
                  <a:pt x="48" y="11"/>
                </a:cubicBezTo>
                <a:cubicBezTo>
                  <a:pt x="48" y="8"/>
                  <a:pt x="49" y="5"/>
                  <a:pt x="49" y="2"/>
                </a:cubicBezTo>
                <a:cubicBezTo>
                  <a:pt x="46" y="1"/>
                  <a:pt x="43" y="0"/>
                  <a:pt x="39" y="0"/>
                </a:cubicBezTo>
                <a:cubicBezTo>
                  <a:pt x="38" y="2"/>
                  <a:pt x="37" y="5"/>
                  <a:pt x="36" y="8"/>
                </a:cubicBezTo>
                <a:cubicBezTo>
                  <a:pt x="33" y="8"/>
                  <a:pt x="30" y="8"/>
                  <a:pt x="28" y="9"/>
                </a:cubicBezTo>
                <a:cubicBezTo>
                  <a:pt x="28" y="9"/>
                  <a:pt x="28" y="9"/>
                  <a:pt x="27" y="9"/>
                </a:cubicBezTo>
                <a:cubicBezTo>
                  <a:pt x="26" y="7"/>
                  <a:pt x="25" y="6"/>
                  <a:pt x="24" y="4"/>
                </a:cubicBezTo>
                <a:cubicBezTo>
                  <a:pt x="24" y="4"/>
                  <a:pt x="23" y="3"/>
                  <a:pt x="23" y="2"/>
                </a:cubicBezTo>
                <a:cubicBezTo>
                  <a:pt x="22" y="2"/>
                  <a:pt x="22" y="2"/>
                  <a:pt x="22" y="2"/>
                </a:cubicBezTo>
                <a:cubicBezTo>
                  <a:pt x="22" y="2"/>
                  <a:pt x="22" y="2"/>
                  <a:pt x="22" y="2"/>
                </a:cubicBezTo>
                <a:cubicBezTo>
                  <a:pt x="21" y="2"/>
                  <a:pt x="19" y="3"/>
                  <a:pt x="19" y="3"/>
                </a:cubicBezTo>
                <a:cubicBezTo>
                  <a:pt x="19" y="3"/>
                  <a:pt x="19" y="3"/>
                  <a:pt x="19" y="3"/>
                </a:cubicBezTo>
                <a:cubicBezTo>
                  <a:pt x="18" y="3"/>
                  <a:pt x="18" y="4"/>
                  <a:pt x="18" y="4"/>
                </a:cubicBezTo>
                <a:cubicBezTo>
                  <a:pt x="17" y="5"/>
                  <a:pt x="16" y="6"/>
                  <a:pt x="14" y="7"/>
                </a:cubicBezTo>
                <a:cubicBezTo>
                  <a:pt x="14" y="7"/>
                  <a:pt x="14" y="7"/>
                  <a:pt x="13" y="7"/>
                </a:cubicBezTo>
                <a:cubicBezTo>
                  <a:pt x="13" y="7"/>
                  <a:pt x="13" y="7"/>
                  <a:pt x="13" y="7"/>
                </a:cubicBezTo>
                <a:cubicBezTo>
                  <a:pt x="13" y="8"/>
                  <a:pt x="14" y="9"/>
                  <a:pt x="14" y="9"/>
                </a:cubicBezTo>
                <a:cubicBezTo>
                  <a:pt x="15" y="11"/>
                  <a:pt x="16" y="13"/>
                  <a:pt x="17" y="15"/>
                </a:cubicBezTo>
                <a:cubicBezTo>
                  <a:pt x="15" y="17"/>
                  <a:pt x="13" y="19"/>
                  <a:pt x="12" y="22"/>
                </a:cubicBezTo>
                <a:cubicBezTo>
                  <a:pt x="9" y="21"/>
                  <a:pt x="6" y="21"/>
                  <a:pt x="3" y="20"/>
                </a:cubicBezTo>
                <a:cubicBezTo>
                  <a:pt x="3" y="21"/>
                  <a:pt x="3" y="21"/>
                  <a:pt x="3" y="21"/>
                </a:cubicBezTo>
                <a:cubicBezTo>
                  <a:pt x="2" y="22"/>
                  <a:pt x="2" y="23"/>
                  <a:pt x="1" y="24"/>
                </a:cubicBezTo>
                <a:cubicBezTo>
                  <a:pt x="1" y="26"/>
                  <a:pt x="1" y="28"/>
                  <a:pt x="1" y="29"/>
                </a:cubicBezTo>
                <a:cubicBezTo>
                  <a:pt x="1" y="30"/>
                  <a:pt x="0" y="30"/>
                  <a:pt x="0" y="30"/>
                </a:cubicBezTo>
                <a:cubicBezTo>
                  <a:pt x="0" y="31"/>
                  <a:pt x="0" y="31"/>
                  <a:pt x="0" y="31"/>
                </a:cubicBezTo>
                <a:cubicBezTo>
                  <a:pt x="0" y="31"/>
                  <a:pt x="0" y="31"/>
                  <a:pt x="1" y="31"/>
                </a:cubicBezTo>
                <a:cubicBezTo>
                  <a:pt x="3" y="32"/>
                  <a:pt x="6" y="33"/>
                  <a:pt x="9" y="34"/>
                </a:cubicBezTo>
                <a:cubicBezTo>
                  <a:pt x="9" y="34"/>
                  <a:pt x="9" y="34"/>
                  <a:pt x="9" y="34"/>
                </a:cubicBezTo>
                <a:cubicBezTo>
                  <a:pt x="9" y="35"/>
                  <a:pt x="9" y="37"/>
                  <a:pt x="9" y="38"/>
                </a:cubicBezTo>
                <a:cubicBezTo>
                  <a:pt x="9" y="40"/>
                  <a:pt x="9" y="41"/>
                  <a:pt x="10" y="42"/>
                </a:cubicBezTo>
                <a:cubicBezTo>
                  <a:pt x="8" y="44"/>
                  <a:pt x="5" y="46"/>
                  <a:pt x="3" y="48"/>
                </a:cubicBezTo>
                <a:cubicBezTo>
                  <a:pt x="4" y="51"/>
                  <a:pt x="6" y="54"/>
                  <a:pt x="8" y="57"/>
                </a:cubicBezTo>
                <a:cubicBezTo>
                  <a:pt x="11" y="55"/>
                  <a:pt x="13" y="54"/>
                  <a:pt x="16" y="53"/>
                </a:cubicBezTo>
                <a:cubicBezTo>
                  <a:pt x="16" y="53"/>
                  <a:pt x="16" y="53"/>
                  <a:pt x="17" y="53"/>
                </a:cubicBezTo>
                <a:cubicBezTo>
                  <a:pt x="17" y="54"/>
                  <a:pt x="18" y="55"/>
                  <a:pt x="19" y="56"/>
                </a:cubicBezTo>
                <a:cubicBezTo>
                  <a:pt x="20" y="56"/>
                  <a:pt x="21" y="56"/>
                  <a:pt x="21" y="57"/>
                </a:cubicBezTo>
                <a:cubicBezTo>
                  <a:pt x="22" y="57"/>
                  <a:pt x="22" y="57"/>
                  <a:pt x="22" y="58"/>
                </a:cubicBezTo>
                <a:cubicBezTo>
                  <a:pt x="23" y="58"/>
                  <a:pt x="23" y="58"/>
                  <a:pt x="23" y="58"/>
                </a:cubicBezTo>
                <a:cubicBezTo>
                  <a:pt x="23" y="59"/>
                  <a:pt x="23" y="59"/>
                  <a:pt x="23" y="59"/>
                </a:cubicBezTo>
                <a:cubicBezTo>
                  <a:pt x="22" y="61"/>
                  <a:pt x="22" y="63"/>
                  <a:pt x="22" y="66"/>
                </a:cubicBezTo>
                <a:cubicBezTo>
                  <a:pt x="21" y="66"/>
                  <a:pt x="21" y="66"/>
                  <a:pt x="21" y="67"/>
                </a:cubicBezTo>
                <a:cubicBezTo>
                  <a:pt x="25" y="68"/>
                  <a:pt x="28" y="69"/>
                  <a:pt x="31" y="69"/>
                </a:cubicBezTo>
                <a:cubicBezTo>
                  <a:pt x="33" y="67"/>
                  <a:pt x="34" y="64"/>
                  <a:pt x="35" y="61"/>
                </a:cubicBezTo>
                <a:cubicBezTo>
                  <a:pt x="35" y="61"/>
                  <a:pt x="36" y="61"/>
                  <a:pt x="36" y="61"/>
                </a:cubicBezTo>
                <a:cubicBezTo>
                  <a:pt x="37" y="61"/>
                  <a:pt x="38" y="61"/>
                  <a:pt x="39" y="61"/>
                </a:cubicBezTo>
                <a:cubicBezTo>
                  <a:pt x="40" y="61"/>
                  <a:pt x="41" y="60"/>
                  <a:pt x="43" y="60"/>
                </a:cubicBezTo>
                <a:cubicBezTo>
                  <a:pt x="43" y="60"/>
                  <a:pt x="43" y="60"/>
                  <a:pt x="43" y="60"/>
                </a:cubicBezTo>
                <a:cubicBezTo>
                  <a:pt x="45" y="62"/>
                  <a:pt x="46" y="65"/>
                  <a:pt x="48" y="67"/>
                </a:cubicBezTo>
                <a:cubicBezTo>
                  <a:pt x="48" y="67"/>
                  <a:pt x="48" y="67"/>
                  <a:pt x="48" y="67"/>
                </a:cubicBezTo>
                <a:cubicBezTo>
                  <a:pt x="52" y="66"/>
                  <a:pt x="55" y="64"/>
                  <a:pt x="57" y="62"/>
                </a:cubicBezTo>
                <a:cubicBezTo>
                  <a:pt x="56" y="59"/>
                  <a:pt x="55" y="56"/>
                  <a:pt x="54" y="53"/>
                </a:cubicBezTo>
                <a:cubicBezTo>
                  <a:pt x="54" y="53"/>
                  <a:pt x="55" y="52"/>
                  <a:pt x="55" y="51"/>
                </a:cubicBezTo>
                <a:cubicBezTo>
                  <a:pt x="56" y="51"/>
                  <a:pt x="56" y="50"/>
                  <a:pt x="57" y="49"/>
                </a:cubicBezTo>
                <a:cubicBezTo>
                  <a:pt x="57" y="49"/>
                  <a:pt x="58" y="48"/>
                  <a:pt x="58" y="47"/>
                </a:cubicBezTo>
                <a:cubicBezTo>
                  <a:pt x="61" y="48"/>
                  <a:pt x="64" y="48"/>
                  <a:pt x="67" y="49"/>
                </a:cubicBezTo>
                <a:cubicBezTo>
                  <a:pt x="69" y="45"/>
                  <a:pt x="70" y="42"/>
                  <a:pt x="70" y="38"/>
                </a:cubicBezTo>
                <a:cubicBezTo>
                  <a:pt x="67" y="37"/>
                  <a:pt x="64" y="36"/>
                  <a:pt x="62" y="35"/>
                </a:cubicBezTo>
                <a:close/>
                <a:moveTo>
                  <a:pt x="40" y="52"/>
                </a:moveTo>
                <a:cubicBezTo>
                  <a:pt x="28" y="55"/>
                  <a:pt x="19" y="46"/>
                  <a:pt x="18" y="38"/>
                </a:cubicBezTo>
                <a:cubicBezTo>
                  <a:pt x="17" y="32"/>
                  <a:pt x="18" y="27"/>
                  <a:pt x="22" y="22"/>
                </a:cubicBezTo>
                <a:cubicBezTo>
                  <a:pt x="24" y="20"/>
                  <a:pt x="27" y="18"/>
                  <a:pt x="30" y="17"/>
                </a:cubicBezTo>
                <a:cubicBezTo>
                  <a:pt x="32" y="17"/>
                  <a:pt x="33" y="17"/>
                  <a:pt x="35" y="17"/>
                </a:cubicBezTo>
                <a:cubicBezTo>
                  <a:pt x="44" y="16"/>
                  <a:pt x="51" y="24"/>
                  <a:pt x="52" y="30"/>
                </a:cubicBezTo>
                <a:cubicBezTo>
                  <a:pt x="55" y="41"/>
                  <a:pt x="48" y="50"/>
                  <a:pt x="40" y="52"/>
                </a:cubicBezTo>
                <a:close/>
              </a:path>
            </a:pathLst>
          </a:custGeom>
          <a:solidFill>
            <a:srgbClr val="007D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70" name="Freeform 23">
            <a:extLst>
              <a:ext uri="{FF2B5EF4-FFF2-40B4-BE49-F238E27FC236}">
                <a16:creationId xmlns:a16="http://schemas.microsoft.com/office/drawing/2014/main" id="{2928F0BA-B460-4843-3327-763DC5BDBDC5}"/>
              </a:ext>
            </a:extLst>
          </p:cNvPr>
          <p:cNvSpPr>
            <a:spLocks noChangeAspect="1"/>
          </p:cNvSpPr>
          <p:nvPr/>
        </p:nvSpPr>
        <p:spPr bwMode="auto">
          <a:xfrm>
            <a:off x="3390516" y="4607094"/>
            <a:ext cx="631404" cy="587276"/>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F6A7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76" name="Shape 5078">
            <a:extLst>
              <a:ext uri="{FF2B5EF4-FFF2-40B4-BE49-F238E27FC236}">
                <a16:creationId xmlns:a16="http://schemas.microsoft.com/office/drawing/2014/main" id="{7C7839AE-8083-519B-25E9-BD421FF494FD}"/>
              </a:ext>
            </a:extLst>
          </p:cNvPr>
          <p:cNvSpPr/>
          <p:nvPr/>
        </p:nvSpPr>
        <p:spPr>
          <a:xfrm rot="20700000">
            <a:off x="3540072" y="4765205"/>
            <a:ext cx="321854" cy="327260"/>
          </a:xfrm>
          <a:custGeom>
            <a:avLst/>
            <a:gdLst/>
            <a:ahLst/>
            <a:cxnLst/>
            <a:rect l="0" t="0" r="0" b="0"/>
            <a:pathLst>
              <a:path w="120000" h="120000" extrusionOk="0">
                <a:moveTo>
                  <a:pt x="72112" y="73103"/>
                </a:moveTo>
                <a:lnTo>
                  <a:pt x="72112" y="73103"/>
                </a:lnTo>
                <a:cubicBezTo>
                  <a:pt x="52394" y="92689"/>
                  <a:pt x="22535" y="95172"/>
                  <a:pt x="0" y="83034"/>
                </a:cubicBezTo>
                <a:cubicBezTo>
                  <a:pt x="2535" y="88000"/>
                  <a:pt x="4788" y="90482"/>
                  <a:pt x="9859" y="95172"/>
                </a:cubicBezTo>
                <a:cubicBezTo>
                  <a:pt x="34929" y="119724"/>
                  <a:pt x="72112" y="119724"/>
                  <a:pt x="97464" y="95172"/>
                </a:cubicBezTo>
                <a:cubicBezTo>
                  <a:pt x="119718" y="70620"/>
                  <a:pt x="119718" y="34206"/>
                  <a:pt x="97464" y="9655"/>
                </a:cubicBezTo>
                <a:cubicBezTo>
                  <a:pt x="92394" y="7172"/>
                  <a:pt x="87323" y="2482"/>
                  <a:pt x="82253" y="0"/>
                </a:cubicBezTo>
                <a:cubicBezTo>
                  <a:pt x="97464" y="24275"/>
                  <a:pt x="92394" y="53517"/>
                  <a:pt x="72112" y="73103"/>
                </a:cubicBezTo>
              </a:path>
            </a:pathLst>
          </a:custGeom>
          <a:solidFill>
            <a:srgbClr val="007D74"/>
          </a:solidFill>
          <a:ln>
            <a:noFill/>
          </a:ln>
        </p:spPr>
        <p:txBody>
          <a:bodyPr lIns="34275" tIns="17138" rIns="34275" bIns="17138"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Arial" panose="020B0604020202020204" pitchFamily="34" charset="0"/>
              <a:ea typeface="Roboto"/>
              <a:cs typeface="Arial" panose="020B0604020202020204" pitchFamily="34" charset="0"/>
              <a:sym typeface="Roboto"/>
            </a:endParaRPr>
          </a:p>
        </p:txBody>
      </p:sp>
      <p:sp>
        <p:nvSpPr>
          <p:cNvPr id="230" name="Freeform 23">
            <a:extLst>
              <a:ext uri="{FF2B5EF4-FFF2-40B4-BE49-F238E27FC236}">
                <a16:creationId xmlns:a16="http://schemas.microsoft.com/office/drawing/2014/main" id="{0323BA19-0244-2D9F-BA08-D325A0F90194}"/>
              </a:ext>
            </a:extLst>
          </p:cNvPr>
          <p:cNvSpPr>
            <a:spLocks noChangeAspect="1"/>
          </p:cNvSpPr>
          <p:nvPr/>
        </p:nvSpPr>
        <p:spPr bwMode="auto">
          <a:xfrm>
            <a:off x="2374386" y="4073450"/>
            <a:ext cx="631404" cy="587276"/>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bg1"/>
          </a:solidFill>
          <a:ln>
            <a:solidFill>
              <a:srgbClr val="0F6A7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31" name="Group 230">
            <a:extLst>
              <a:ext uri="{FF2B5EF4-FFF2-40B4-BE49-F238E27FC236}">
                <a16:creationId xmlns:a16="http://schemas.microsoft.com/office/drawing/2014/main" id="{3066B943-A22C-4ED1-351A-BA091B26344B}"/>
              </a:ext>
            </a:extLst>
          </p:cNvPr>
          <p:cNvGrpSpPr/>
          <p:nvPr/>
        </p:nvGrpSpPr>
        <p:grpSpPr>
          <a:xfrm>
            <a:off x="2418184" y="4182439"/>
            <a:ext cx="522120" cy="412060"/>
            <a:chOff x="2194517" y="4433157"/>
            <a:chExt cx="522120" cy="412060"/>
          </a:xfrm>
        </p:grpSpPr>
        <p:sp>
          <p:nvSpPr>
            <p:cNvPr id="232" name="Freeform 108">
              <a:extLst>
                <a:ext uri="{FF2B5EF4-FFF2-40B4-BE49-F238E27FC236}">
                  <a16:creationId xmlns:a16="http://schemas.microsoft.com/office/drawing/2014/main" id="{3C90E091-C68D-75A6-61FA-1000BB287617}"/>
                </a:ext>
              </a:extLst>
            </p:cNvPr>
            <p:cNvSpPr>
              <a:spLocks noEditPoints="1"/>
            </p:cNvSpPr>
            <p:nvPr/>
          </p:nvSpPr>
          <p:spPr bwMode="auto">
            <a:xfrm>
              <a:off x="2367222" y="4433157"/>
              <a:ext cx="175362" cy="180624"/>
            </a:xfrm>
            <a:custGeom>
              <a:avLst/>
              <a:gdLst>
                <a:gd name="T0" fmla="*/ 27 w 55"/>
                <a:gd name="T1" fmla="*/ 6 h 56"/>
                <a:gd name="T2" fmla="*/ 25 w 55"/>
                <a:gd name="T3" fmla="*/ 2 h 56"/>
                <a:gd name="T4" fmla="*/ 29 w 55"/>
                <a:gd name="T5" fmla="*/ 0 h 56"/>
                <a:gd name="T6" fmla="*/ 31 w 55"/>
                <a:gd name="T7" fmla="*/ 4 h 56"/>
                <a:gd name="T8" fmla="*/ 26 w 55"/>
                <a:gd name="T9" fmla="*/ 50 h 56"/>
                <a:gd name="T10" fmla="*/ 30 w 55"/>
                <a:gd name="T11" fmla="*/ 52 h 56"/>
                <a:gd name="T12" fmla="*/ 28 w 55"/>
                <a:gd name="T13" fmla="*/ 56 h 56"/>
                <a:gd name="T14" fmla="*/ 24 w 55"/>
                <a:gd name="T15" fmla="*/ 54 h 56"/>
                <a:gd name="T16" fmla="*/ 26 w 55"/>
                <a:gd name="T17" fmla="*/ 50 h 56"/>
                <a:gd name="T18" fmla="*/ 49 w 55"/>
                <a:gd name="T19" fmla="*/ 28 h 56"/>
                <a:gd name="T20" fmla="*/ 53 w 55"/>
                <a:gd name="T21" fmla="*/ 26 h 56"/>
                <a:gd name="T22" fmla="*/ 55 w 55"/>
                <a:gd name="T23" fmla="*/ 29 h 56"/>
                <a:gd name="T24" fmla="*/ 51 w 55"/>
                <a:gd name="T25" fmla="*/ 31 h 56"/>
                <a:gd name="T26" fmla="*/ 6 w 55"/>
                <a:gd name="T27" fmla="*/ 27 h 56"/>
                <a:gd name="T28" fmla="*/ 4 w 55"/>
                <a:gd name="T29" fmla="*/ 30 h 56"/>
                <a:gd name="T30" fmla="*/ 0 w 55"/>
                <a:gd name="T31" fmla="*/ 28 h 56"/>
                <a:gd name="T32" fmla="*/ 2 w 55"/>
                <a:gd name="T33" fmla="*/ 25 h 56"/>
                <a:gd name="T34" fmla="*/ 6 w 55"/>
                <a:gd name="T35" fmla="*/ 27 h 56"/>
                <a:gd name="T36" fmla="*/ 40 w 55"/>
                <a:gd name="T37" fmla="*/ 10 h 56"/>
                <a:gd name="T38" fmla="*/ 40 w 55"/>
                <a:gd name="T39" fmla="*/ 5 h 56"/>
                <a:gd name="T40" fmla="*/ 44 w 55"/>
                <a:gd name="T41" fmla="*/ 6 h 56"/>
                <a:gd name="T42" fmla="*/ 44 w 55"/>
                <a:gd name="T43" fmla="*/ 10 h 56"/>
                <a:gd name="T44" fmla="*/ 14 w 55"/>
                <a:gd name="T45" fmla="*/ 45 h 56"/>
                <a:gd name="T46" fmla="*/ 16 w 55"/>
                <a:gd name="T47" fmla="*/ 49 h 56"/>
                <a:gd name="T48" fmla="*/ 12 w 55"/>
                <a:gd name="T49" fmla="*/ 51 h 56"/>
                <a:gd name="T50" fmla="*/ 10 w 55"/>
                <a:gd name="T51" fmla="*/ 47 h 56"/>
                <a:gd name="T52" fmla="*/ 14 w 55"/>
                <a:gd name="T53" fmla="*/ 45 h 56"/>
                <a:gd name="T54" fmla="*/ 46 w 55"/>
                <a:gd name="T55" fmla="*/ 40 h 56"/>
                <a:gd name="T56" fmla="*/ 50 w 55"/>
                <a:gd name="T57" fmla="*/ 41 h 56"/>
                <a:gd name="T58" fmla="*/ 50 w 55"/>
                <a:gd name="T59" fmla="*/ 45 h 56"/>
                <a:gd name="T60" fmla="*/ 45 w 55"/>
                <a:gd name="T61" fmla="*/ 44 h 56"/>
                <a:gd name="T62" fmla="*/ 10 w 55"/>
                <a:gd name="T63" fmla="*/ 14 h 56"/>
                <a:gd name="T64" fmla="*/ 7 w 55"/>
                <a:gd name="T65" fmla="*/ 16 h 56"/>
                <a:gd name="T66" fmla="*/ 4 w 55"/>
                <a:gd name="T67" fmla="*/ 12 h 56"/>
                <a:gd name="T68" fmla="*/ 8 w 55"/>
                <a:gd name="T69" fmla="*/ 11 h 56"/>
                <a:gd name="T70" fmla="*/ 10 w 55"/>
                <a:gd name="T71" fmla="*/ 14 h 56"/>
                <a:gd name="T72" fmla="*/ 47 w 55"/>
                <a:gd name="T73" fmla="*/ 18 h 56"/>
                <a:gd name="T74" fmla="*/ 49 w 55"/>
                <a:gd name="T75" fmla="*/ 14 h 56"/>
                <a:gd name="T76" fmla="*/ 53 w 55"/>
                <a:gd name="T77" fmla="*/ 16 h 56"/>
                <a:gd name="T78" fmla="*/ 50 w 55"/>
                <a:gd name="T79" fmla="*/ 20 h 56"/>
                <a:gd name="T80" fmla="*/ 7 w 55"/>
                <a:gd name="T81" fmla="*/ 37 h 56"/>
                <a:gd name="T82" fmla="*/ 7 w 55"/>
                <a:gd name="T83" fmla="*/ 41 h 56"/>
                <a:gd name="T84" fmla="*/ 3 w 55"/>
                <a:gd name="T85" fmla="*/ 41 h 56"/>
                <a:gd name="T86" fmla="*/ 3 w 55"/>
                <a:gd name="T87" fmla="*/ 37 h 56"/>
                <a:gd name="T88" fmla="*/ 7 w 55"/>
                <a:gd name="T89" fmla="*/ 37 h 56"/>
                <a:gd name="T90" fmla="*/ 38 w 55"/>
                <a:gd name="T91" fmla="*/ 47 h 56"/>
                <a:gd name="T92" fmla="*/ 41 w 55"/>
                <a:gd name="T93" fmla="*/ 50 h 56"/>
                <a:gd name="T94" fmla="*/ 39 w 55"/>
                <a:gd name="T95" fmla="*/ 53 h 56"/>
                <a:gd name="T96" fmla="*/ 35 w 55"/>
                <a:gd name="T97" fmla="*/ 51 h 56"/>
                <a:gd name="T98" fmla="*/ 19 w 55"/>
                <a:gd name="T99" fmla="*/ 8 h 56"/>
                <a:gd name="T100" fmla="*/ 15 w 55"/>
                <a:gd name="T101" fmla="*/ 8 h 56"/>
                <a:gd name="T102" fmla="*/ 14 w 55"/>
                <a:gd name="T103" fmla="*/ 3 h 56"/>
                <a:gd name="T104" fmla="*/ 18 w 55"/>
                <a:gd name="T105" fmla="*/ 4 h 56"/>
                <a:gd name="T106" fmla="*/ 19 w 55"/>
                <a:gd name="T107"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6">
                  <a:moveTo>
                    <a:pt x="29" y="6"/>
                  </a:moveTo>
                  <a:cubicBezTo>
                    <a:pt x="27" y="6"/>
                    <a:pt x="27" y="6"/>
                    <a:pt x="27" y="6"/>
                  </a:cubicBezTo>
                  <a:cubicBezTo>
                    <a:pt x="26" y="6"/>
                    <a:pt x="25" y="5"/>
                    <a:pt x="25" y="4"/>
                  </a:cubicBezTo>
                  <a:cubicBezTo>
                    <a:pt x="25" y="2"/>
                    <a:pt x="25" y="2"/>
                    <a:pt x="25" y="2"/>
                  </a:cubicBezTo>
                  <a:cubicBezTo>
                    <a:pt x="25" y="1"/>
                    <a:pt x="26" y="0"/>
                    <a:pt x="27" y="0"/>
                  </a:cubicBezTo>
                  <a:cubicBezTo>
                    <a:pt x="29" y="0"/>
                    <a:pt x="29" y="0"/>
                    <a:pt x="29" y="0"/>
                  </a:cubicBezTo>
                  <a:cubicBezTo>
                    <a:pt x="30" y="0"/>
                    <a:pt x="31" y="1"/>
                    <a:pt x="31" y="2"/>
                  </a:cubicBezTo>
                  <a:cubicBezTo>
                    <a:pt x="31" y="4"/>
                    <a:pt x="31" y="4"/>
                    <a:pt x="31" y="4"/>
                  </a:cubicBezTo>
                  <a:cubicBezTo>
                    <a:pt x="31" y="5"/>
                    <a:pt x="30" y="6"/>
                    <a:pt x="29" y="6"/>
                  </a:cubicBezTo>
                  <a:close/>
                  <a:moveTo>
                    <a:pt x="26" y="50"/>
                  </a:moveTo>
                  <a:cubicBezTo>
                    <a:pt x="28" y="50"/>
                    <a:pt x="28" y="50"/>
                    <a:pt x="28" y="50"/>
                  </a:cubicBezTo>
                  <a:cubicBezTo>
                    <a:pt x="29" y="50"/>
                    <a:pt x="30" y="51"/>
                    <a:pt x="30" y="52"/>
                  </a:cubicBezTo>
                  <a:cubicBezTo>
                    <a:pt x="30" y="54"/>
                    <a:pt x="30" y="54"/>
                    <a:pt x="30" y="54"/>
                  </a:cubicBezTo>
                  <a:cubicBezTo>
                    <a:pt x="30" y="55"/>
                    <a:pt x="29" y="56"/>
                    <a:pt x="28" y="56"/>
                  </a:cubicBezTo>
                  <a:cubicBezTo>
                    <a:pt x="26" y="56"/>
                    <a:pt x="26" y="56"/>
                    <a:pt x="26" y="56"/>
                  </a:cubicBezTo>
                  <a:cubicBezTo>
                    <a:pt x="25" y="56"/>
                    <a:pt x="24" y="55"/>
                    <a:pt x="24" y="54"/>
                  </a:cubicBezTo>
                  <a:cubicBezTo>
                    <a:pt x="24" y="52"/>
                    <a:pt x="24" y="52"/>
                    <a:pt x="24" y="52"/>
                  </a:cubicBezTo>
                  <a:cubicBezTo>
                    <a:pt x="24" y="51"/>
                    <a:pt x="25" y="50"/>
                    <a:pt x="26" y="50"/>
                  </a:cubicBezTo>
                  <a:close/>
                  <a:moveTo>
                    <a:pt x="49" y="29"/>
                  </a:moveTo>
                  <a:cubicBezTo>
                    <a:pt x="49" y="28"/>
                    <a:pt x="49" y="28"/>
                    <a:pt x="49" y="28"/>
                  </a:cubicBezTo>
                  <a:cubicBezTo>
                    <a:pt x="49" y="27"/>
                    <a:pt x="50" y="26"/>
                    <a:pt x="51" y="26"/>
                  </a:cubicBezTo>
                  <a:cubicBezTo>
                    <a:pt x="53" y="26"/>
                    <a:pt x="53" y="26"/>
                    <a:pt x="53" y="26"/>
                  </a:cubicBezTo>
                  <a:cubicBezTo>
                    <a:pt x="54" y="26"/>
                    <a:pt x="55" y="27"/>
                    <a:pt x="55" y="28"/>
                  </a:cubicBezTo>
                  <a:cubicBezTo>
                    <a:pt x="55" y="29"/>
                    <a:pt x="55" y="29"/>
                    <a:pt x="55" y="29"/>
                  </a:cubicBezTo>
                  <a:cubicBezTo>
                    <a:pt x="55" y="30"/>
                    <a:pt x="54" y="31"/>
                    <a:pt x="53" y="31"/>
                  </a:cubicBezTo>
                  <a:cubicBezTo>
                    <a:pt x="51" y="31"/>
                    <a:pt x="51" y="31"/>
                    <a:pt x="51" y="31"/>
                  </a:cubicBezTo>
                  <a:cubicBezTo>
                    <a:pt x="50" y="31"/>
                    <a:pt x="49" y="30"/>
                    <a:pt x="49" y="29"/>
                  </a:cubicBezTo>
                  <a:close/>
                  <a:moveTo>
                    <a:pt x="6" y="27"/>
                  </a:moveTo>
                  <a:cubicBezTo>
                    <a:pt x="6" y="28"/>
                    <a:pt x="6" y="28"/>
                    <a:pt x="6" y="28"/>
                  </a:cubicBezTo>
                  <a:cubicBezTo>
                    <a:pt x="6" y="29"/>
                    <a:pt x="5" y="30"/>
                    <a:pt x="4" y="30"/>
                  </a:cubicBezTo>
                  <a:cubicBezTo>
                    <a:pt x="2" y="30"/>
                    <a:pt x="2" y="30"/>
                    <a:pt x="2" y="30"/>
                  </a:cubicBezTo>
                  <a:cubicBezTo>
                    <a:pt x="1" y="30"/>
                    <a:pt x="0" y="29"/>
                    <a:pt x="0" y="28"/>
                  </a:cubicBezTo>
                  <a:cubicBezTo>
                    <a:pt x="0" y="27"/>
                    <a:pt x="0" y="27"/>
                    <a:pt x="0" y="27"/>
                  </a:cubicBezTo>
                  <a:cubicBezTo>
                    <a:pt x="0" y="26"/>
                    <a:pt x="1" y="25"/>
                    <a:pt x="2" y="25"/>
                  </a:cubicBezTo>
                  <a:cubicBezTo>
                    <a:pt x="4" y="25"/>
                    <a:pt x="4" y="25"/>
                    <a:pt x="4" y="25"/>
                  </a:cubicBezTo>
                  <a:cubicBezTo>
                    <a:pt x="5" y="25"/>
                    <a:pt x="6" y="26"/>
                    <a:pt x="6" y="27"/>
                  </a:cubicBezTo>
                  <a:close/>
                  <a:moveTo>
                    <a:pt x="41" y="11"/>
                  </a:moveTo>
                  <a:cubicBezTo>
                    <a:pt x="40" y="10"/>
                    <a:pt x="40" y="10"/>
                    <a:pt x="40" y="10"/>
                  </a:cubicBezTo>
                  <a:cubicBezTo>
                    <a:pt x="39" y="9"/>
                    <a:pt x="38" y="8"/>
                    <a:pt x="39" y="7"/>
                  </a:cubicBezTo>
                  <a:cubicBezTo>
                    <a:pt x="40" y="5"/>
                    <a:pt x="40" y="5"/>
                    <a:pt x="40" y="5"/>
                  </a:cubicBezTo>
                  <a:cubicBezTo>
                    <a:pt x="41" y="4"/>
                    <a:pt x="42" y="4"/>
                    <a:pt x="43" y="5"/>
                  </a:cubicBezTo>
                  <a:cubicBezTo>
                    <a:pt x="44" y="6"/>
                    <a:pt x="44" y="6"/>
                    <a:pt x="44" y="6"/>
                  </a:cubicBezTo>
                  <a:cubicBezTo>
                    <a:pt x="45" y="6"/>
                    <a:pt x="45" y="8"/>
                    <a:pt x="45" y="9"/>
                  </a:cubicBezTo>
                  <a:cubicBezTo>
                    <a:pt x="44" y="10"/>
                    <a:pt x="44" y="10"/>
                    <a:pt x="44" y="10"/>
                  </a:cubicBezTo>
                  <a:cubicBezTo>
                    <a:pt x="43" y="11"/>
                    <a:pt x="42" y="11"/>
                    <a:pt x="41" y="11"/>
                  </a:cubicBezTo>
                  <a:close/>
                  <a:moveTo>
                    <a:pt x="14" y="45"/>
                  </a:moveTo>
                  <a:cubicBezTo>
                    <a:pt x="15" y="46"/>
                    <a:pt x="15" y="46"/>
                    <a:pt x="15" y="46"/>
                  </a:cubicBezTo>
                  <a:cubicBezTo>
                    <a:pt x="16" y="47"/>
                    <a:pt x="16" y="48"/>
                    <a:pt x="16" y="49"/>
                  </a:cubicBezTo>
                  <a:cubicBezTo>
                    <a:pt x="15" y="50"/>
                    <a:pt x="15" y="50"/>
                    <a:pt x="15" y="50"/>
                  </a:cubicBezTo>
                  <a:cubicBezTo>
                    <a:pt x="14" y="51"/>
                    <a:pt x="13" y="52"/>
                    <a:pt x="12" y="51"/>
                  </a:cubicBezTo>
                  <a:cubicBezTo>
                    <a:pt x="11" y="50"/>
                    <a:pt x="11" y="50"/>
                    <a:pt x="11" y="50"/>
                  </a:cubicBezTo>
                  <a:cubicBezTo>
                    <a:pt x="10" y="49"/>
                    <a:pt x="9" y="48"/>
                    <a:pt x="10" y="47"/>
                  </a:cubicBezTo>
                  <a:cubicBezTo>
                    <a:pt x="11" y="46"/>
                    <a:pt x="11" y="46"/>
                    <a:pt x="11" y="46"/>
                  </a:cubicBezTo>
                  <a:cubicBezTo>
                    <a:pt x="12" y="45"/>
                    <a:pt x="13" y="45"/>
                    <a:pt x="14" y="45"/>
                  </a:cubicBezTo>
                  <a:close/>
                  <a:moveTo>
                    <a:pt x="45" y="41"/>
                  </a:moveTo>
                  <a:cubicBezTo>
                    <a:pt x="46" y="40"/>
                    <a:pt x="46" y="40"/>
                    <a:pt x="46" y="40"/>
                  </a:cubicBezTo>
                  <a:cubicBezTo>
                    <a:pt x="46" y="39"/>
                    <a:pt x="47" y="39"/>
                    <a:pt x="48" y="40"/>
                  </a:cubicBezTo>
                  <a:cubicBezTo>
                    <a:pt x="50" y="41"/>
                    <a:pt x="50" y="41"/>
                    <a:pt x="50" y="41"/>
                  </a:cubicBezTo>
                  <a:cubicBezTo>
                    <a:pt x="51" y="41"/>
                    <a:pt x="51" y="43"/>
                    <a:pt x="50" y="43"/>
                  </a:cubicBezTo>
                  <a:cubicBezTo>
                    <a:pt x="50" y="45"/>
                    <a:pt x="50" y="45"/>
                    <a:pt x="50" y="45"/>
                  </a:cubicBezTo>
                  <a:cubicBezTo>
                    <a:pt x="49" y="46"/>
                    <a:pt x="48" y="46"/>
                    <a:pt x="47" y="45"/>
                  </a:cubicBezTo>
                  <a:cubicBezTo>
                    <a:pt x="45" y="44"/>
                    <a:pt x="45" y="44"/>
                    <a:pt x="45" y="44"/>
                  </a:cubicBezTo>
                  <a:cubicBezTo>
                    <a:pt x="44" y="43"/>
                    <a:pt x="44" y="42"/>
                    <a:pt x="45" y="41"/>
                  </a:cubicBezTo>
                  <a:close/>
                  <a:moveTo>
                    <a:pt x="10" y="14"/>
                  </a:moveTo>
                  <a:cubicBezTo>
                    <a:pt x="9" y="16"/>
                    <a:pt x="9" y="16"/>
                    <a:pt x="9" y="16"/>
                  </a:cubicBezTo>
                  <a:cubicBezTo>
                    <a:pt x="9" y="17"/>
                    <a:pt x="7" y="17"/>
                    <a:pt x="7" y="16"/>
                  </a:cubicBezTo>
                  <a:cubicBezTo>
                    <a:pt x="5" y="15"/>
                    <a:pt x="5" y="15"/>
                    <a:pt x="5" y="15"/>
                  </a:cubicBezTo>
                  <a:cubicBezTo>
                    <a:pt x="4" y="15"/>
                    <a:pt x="4" y="13"/>
                    <a:pt x="4" y="12"/>
                  </a:cubicBezTo>
                  <a:cubicBezTo>
                    <a:pt x="5" y="11"/>
                    <a:pt x="5" y="11"/>
                    <a:pt x="5" y="11"/>
                  </a:cubicBezTo>
                  <a:cubicBezTo>
                    <a:pt x="6" y="10"/>
                    <a:pt x="7" y="10"/>
                    <a:pt x="8" y="11"/>
                  </a:cubicBezTo>
                  <a:cubicBezTo>
                    <a:pt x="10" y="12"/>
                    <a:pt x="10" y="12"/>
                    <a:pt x="10" y="12"/>
                  </a:cubicBezTo>
                  <a:cubicBezTo>
                    <a:pt x="11" y="12"/>
                    <a:pt x="11" y="14"/>
                    <a:pt x="10" y="14"/>
                  </a:cubicBezTo>
                  <a:close/>
                  <a:moveTo>
                    <a:pt x="47" y="19"/>
                  </a:moveTo>
                  <a:cubicBezTo>
                    <a:pt x="47" y="18"/>
                    <a:pt x="47" y="18"/>
                    <a:pt x="47" y="18"/>
                  </a:cubicBezTo>
                  <a:cubicBezTo>
                    <a:pt x="46" y="17"/>
                    <a:pt x="47" y="15"/>
                    <a:pt x="48" y="15"/>
                  </a:cubicBezTo>
                  <a:cubicBezTo>
                    <a:pt x="49" y="14"/>
                    <a:pt x="49" y="14"/>
                    <a:pt x="49" y="14"/>
                  </a:cubicBezTo>
                  <a:cubicBezTo>
                    <a:pt x="50" y="14"/>
                    <a:pt x="51" y="14"/>
                    <a:pt x="52" y="15"/>
                  </a:cubicBezTo>
                  <a:cubicBezTo>
                    <a:pt x="53" y="16"/>
                    <a:pt x="53" y="16"/>
                    <a:pt x="53" y="16"/>
                  </a:cubicBezTo>
                  <a:cubicBezTo>
                    <a:pt x="53" y="17"/>
                    <a:pt x="53" y="18"/>
                    <a:pt x="52" y="19"/>
                  </a:cubicBezTo>
                  <a:cubicBezTo>
                    <a:pt x="50" y="20"/>
                    <a:pt x="50" y="20"/>
                    <a:pt x="50" y="20"/>
                  </a:cubicBezTo>
                  <a:cubicBezTo>
                    <a:pt x="49" y="20"/>
                    <a:pt x="48" y="20"/>
                    <a:pt x="47" y="19"/>
                  </a:cubicBezTo>
                  <a:close/>
                  <a:moveTo>
                    <a:pt x="7" y="37"/>
                  </a:moveTo>
                  <a:cubicBezTo>
                    <a:pt x="8" y="38"/>
                    <a:pt x="8" y="38"/>
                    <a:pt x="8" y="38"/>
                  </a:cubicBezTo>
                  <a:cubicBezTo>
                    <a:pt x="9" y="39"/>
                    <a:pt x="8" y="40"/>
                    <a:pt x="7" y="41"/>
                  </a:cubicBezTo>
                  <a:cubicBezTo>
                    <a:pt x="6" y="42"/>
                    <a:pt x="6" y="42"/>
                    <a:pt x="6" y="42"/>
                  </a:cubicBezTo>
                  <a:cubicBezTo>
                    <a:pt x="5" y="42"/>
                    <a:pt x="3" y="42"/>
                    <a:pt x="3" y="41"/>
                  </a:cubicBezTo>
                  <a:cubicBezTo>
                    <a:pt x="2" y="39"/>
                    <a:pt x="2" y="39"/>
                    <a:pt x="2" y="39"/>
                  </a:cubicBezTo>
                  <a:cubicBezTo>
                    <a:pt x="2" y="39"/>
                    <a:pt x="2" y="37"/>
                    <a:pt x="3" y="37"/>
                  </a:cubicBezTo>
                  <a:cubicBezTo>
                    <a:pt x="5" y="36"/>
                    <a:pt x="5" y="36"/>
                    <a:pt x="5" y="36"/>
                  </a:cubicBezTo>
                  <a:cubicBezTo>
                    <a:pt x="6" y="35"/>
                    <a:pt x="7" y="36"/>
                    <a:pt x="7" y="37"/>
                  </a:cubicBezTo>
                  <a:close/>
                  <a:moveTo>
                    <a:pt x="36" y="48"/>
                  </a:moveTo>
                  <a:cubicBezTo>
                    <a:pt x="38" y="47"/>
                    <a:pt x="38" y="47"/>
                    <a:pt x="38" y="47"/>
                  </a:cubicBezTo>
                  <a:cubicBezTo>
                    <a:pt x="39" y="47"/>
                    <a:pt x="40" y="47"/>
                    <a:pt x="40" y="48"/>
                  </a:cubicBezTo>
                  <a:cubicBezTo>
                    <a:pt x="41" y="50"/>
                    <a:pt x="41" y="50"/>
                    <a:pt x="41" y="50"/>
                  </a:cubicBezTo>
                  <a:cubicBezTo>
                    <a:pt x="42" y="51"/>
                    <a:pt x="41" y="52"/>
                    <a:pt x="40" y="52"/>
                  </a:cubicBezTo>
                  <a:cubicBezTo>
                    <a:pt x="39" y="53"/>
                    <a:pt x="39" y="53"/>
                    <a:pt x="39" y="53"/>
                  </a:cubicBezTo>
                  <a:cubicBezTo>
                    <a:pt x="38" y="54"/>
                    <a:pt x="37" y="53"/>
                    <a:pt x="36" y="52"/>
                  </a:cubicBezTo>
                  <a:cubicBezTo>
                    <a:pt x="35" y="51"/>
                    <a:pt x="35" y="51"/>
                    <a:pt x="35" y="51"/>
                  </a:cubicBezTo>
                  <a:cubicBezTo>
                    <a:pt x="35" y="50"/>
                    <a:pt x="35" y="48"/>
                    <a:pt x="36" y="48"/>
                  </a:cubicBezTo>
                  <a:close/>
                  <a:moveTo>
                    <a:pt x="19" y="8"/>
                  </a:moveTo>
                  <a:cubicBezTo>
                    <a:pt x="17" y="9"/>
                    <a:pt x="17" y="9"/>
                    <a:pt x="17" y="9"/>
                  </a:cubicBezTo>
                  <a:cubicBezTo>
                    <a:pt x="16" y="9"/>
                    <a:pt x="15" y="9"/>
                    <a:pt x="15" y="8"/>
                  </a:cubicBezTo>
                  <a:cubicBezTo>
                    <a:pt x="14" y="6"/>
                    <a:pt x="14" y="6"/>
                    <a:pt x="14" y="6"/>
                  </a:cubicBezTo>
                  <a:cubicBezTo>
                    <a:pt x="13" y="5"/>
                    <a:pt x="13" y="4"/>
                    <a:pt x="14" y="3"/>
                  </a:cubicBezTo>
                  <a:cubicBezTo>
                    <a:pt x="16" y="3"/>
                    <a:pt x="16" y="3"/>
                    <a:pt x="16" y="3"/>
                  </a:cubicBezTo>
                  <a:cubicBezTo>
                    <a:pt x="17" y="2"/>
                    <a:pt x="18" y="3"/>
                    <a:pt x="18" y="4"/>
                  </a:cubicBezTo>
                  <a:cubicBezTo>
                    <a:pt x="19" y="5"/>
                    <a:pt x="19" y="5"/>
                    <a:pt x="19" y="5"/>
                  </a:cubicBezTo>
                  <a:cubicBezTo>
                    <a:pt x="20" y="6"/>
                    <a:pt x="20" y="7"/>
                    <a:pt x="19" y="8"/>
                  </a:cubicBezTo>
                  <a:close/>
                </a:path>
              </a:pathLst>
            </a:custGeom>
            <a:solidFill>
              <a:srgbClr val="007D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33" name="Freeform 106">
              <a:extLst>
                <a:ext uri="{FF2B5EF4-FFF2-40B4-BE49-F238E27FC236}">
                  <a16:creationId xmlns:a16="http://schemas.microsoft.com/office/drawing/2014/main" id="{9A01271D-5182-5FFD-459E-AF0394E34BE0}"/>
                </a:ext>
              </a:extLst>
            </p:cNvPr>
            <p:cNvSpPr>
              <a:spLocks/>
            </p:cNvSpPr>
            <p:nvPr/>
          </p:nvSpPr>
          <p:spPr bwMode="auto">
            <a:xfrm>
              <a:off x="2274279" y="4633070"/>
              <a:ext cx="371769" cy="147305"/>
            </a:xfrm>
            <a:custGeom>
              <a:avLst/>
              <a:gdLst>
                <a:gd name="T0" fmla="*/ 4 w 116"/>
                <a:gd name="T1" fmla="*/ 46 h 46"/>
                <a:gd name="T2" fmla="*/ 1 w 116"/>
                <a:gd name="T3" fmla="*/ 43 h 46"/>
                <a:gd name="T4" fmla="*/ 18 w 116"/>
                <a:gd name="T5" fmla="*/ 2 h 46"/>
                <a:gd name="T6" fmla="*/ 21 w 116"/>
                <a:gd name="T7" fmla="*/ 0 h 46"/>
                <a:gd name="T8" fmla="*/ 95 w 116"/>
                <a:gd name="T9" fmla="*/ 0 h 46"/>
                <a:gd name="T10" fmla="*/ 98 w 116"/>
                <a:gd name="T11" fmla="*/ 2 h 46"/>
                <a:gd name="T12" fmla="*/ 115 w 116"/>
                <a:gd name="T13" fmla="*/ 43 h 46"/>
                <a:gd name="T14" fmla="*/ 111 w 116"/>
                <a:gd name="T15" fmla="*/ 46 h 46"/>
                <a:gd name="T16" fmla="*/ 4 w 11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6">
                  <a:moveTo>
                    <a:pt x="4" y="46"/>
                  </a:moveTo>
                  <a:cubicBezTo>
                    <a:pt x="2" y="46"/>
                    <a:pt x="0" y="45"/>
                    <a:pt x="1" y="43"/>
                  </a:cubicBezTo>
                  <a:cubicBezTo>
                    <a:pt x="6" y="33"/>
                    <a:pt x="18" y="2"/>
                    <a:pt x="18" y="2"/>
                  </a:cubicBezTo>
                  <a:cubicBezTo>
                    <a:pt x="18" y="1"/>
                    <a:pt x="20" y="0"/>
                    <a:pt x="21" y="0"/>
                  </a:cubicBezTo>
                  <a:cubicBezTo>
                    <a:pt x="95" y="0"/>
                    <a:pt x="95" y="0"/>
                    <a:pt x="95" y="0"/>
                  </a:cubicBezTo>
                  <a:cubicBezTo>
                    <a:pt x="96" y="0"/>
                    <a:pt x="98" y="1"/>
                    <a:pt x="98" y="2"/>
                  </a:cubicBezTo>
                  <a:cubicBezTo>
                    <a:pt x="98" y="2"/>
                    <a:pt x="110" y="33"/>
                    <a:pt x="115" y="43"/>
                  </a:cubicBezTo>
                  <a:cubicBezTo>
                    <a:pt x="116" y="45"/>
                    <a:pt x="114" y="46"/>
                    <a:pt x="111" y="46"/>
                  </a:cubicBezTo>
                  <a:cubicBezTo>
                    <a:pt x="110" y="46"/>
                    <a:pt x="5" y="46"/>
                    <a:pt x="4" y="46"/>
                  </a:cubicBezTo>
                  <a:close/>
                </a:path>
              </a:pathLst>
            </a:custGeom>
            <a:solidFill>
              <a:srgbClr val="007D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34" name="Freeform 109">
              <a:extLst>
                <a:ext uri="{FF2B5EF4-FFF2-40B4-BE49-F238E27FC236}">
                  <a16:creationId xmlns:a16="http://schemas.microsoft.com/office/drawing/2014/main" id="{F1AAD4D0-B8B9-6957-610E-3DD776C1E2DD}"/>
                </a:ext>
              </a:extLst>
            </p:cNvPr>
            <p:cNvSpPr>
              <a:spLocks/>
            </p:cNvSpPr>
            <p:nvPr/>
          </p:nvSpPr>
          <p:spPr bwMode="auto">
            <a:xfrm>
              <a:off x="2395280" y="4464722"/>
              <a:ext cx="122754" cy="115739"/>
            </a:xfrm>
            <a:custGeom>
              <a:avLst/>
              <a:gdLst>
                <a:gd name="T0" fmla="*/ 38 w 38"/>
                <a:gd name="T1" fmla="*/ 18 h 36"/>
                <a:gd name="T2" fmla="*/ 19 w 38"/>
                <a:gd name="T3" fmla="*/ 36 h 36"/>
                <a:gd name="T4" fmla="*/ 0 w 38"/>
                <a:gd name="T5" fmla="*/ 18 h 36"/>
                <a:gd name="T6" fmla="*/ 18 w 38"/>
                <a:gd name="T7" fmla="*/ 0 h 36"/>
                <a:gd name="T8" fmla="*/ 38 w 38"/>
                <a:gd name="T9" fmla="*/ 18 h 36"/>
              </a:gdLst>
              <a:ahLst/>
              <a:cxnLst>
                <a:cxn ang="0">
                  <a:pos x="T0" y="T1"/>
                </a:cxn>
                <a:cxn ang="0">
                  <a:pos x="T2" y="T3"/>
                </a:cxn>
                <a:cxn ang="0">
                  <a:pos x="T4" y="T5"/>
                </a:cxn>
                <a:cxn ang="0">
                  <a:pos x="T6" y="T7"/>
                </a:cxn>
                <a:cxn ang="0">
                  <a:pos x="T8" y="T9"/>
                </a:cxn>
              </a:cxnLst>
              <a:rect l="0" t="0" r="r" b="b"/>
              <a:pathLst>
                <a:path w="38" h="36">
                  <a:moveTo>
                    <a:pt x="38" y="18"/>
                  </a:moveTo>
                  <a:cubicBezTo>
                    <a:pt x="38" y="29"/>
                    <a:pt x="29" y="36"/>
                    <a:pt x="19" y="36"/>
                  </a:cubicBezTo>
                  <a:cubicBezTo>
                    <a:pt x="8" y="36"/>
                    <a:pt x="0" y="29"/>
                    <a:pt x="0" y="18"/>
                  </a:cubicBezTo>
                  <a:cubicBezTo>
                    <a:pt x="0" y="8"/>
                    <a:pt x="7" y="0"/>
                    <a:pt x="18" y="0"/>
                  </a:cubicBezTo>
                  <a:cubicBezTo>
                    <a:pt x="28" y="0"/>
                    <a:pt x="38" y="8"/>
                    <a:pt x="38" y="18"/>
                  </a:cubicBezTo>
                  <a:close/>
                </a:path>
              </a:pathLst>
            </a:custGeom>
            <a:solidFill>
              <a:srgbClr val="007D7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35" name="Freeform 107">
              <a:extLst>
                <a:ext uri="{FF2B5EF4-FFF2-40B4-BE49-F238E27FC236}">
                  <a16:creationId xmlns:a16="http://schemas.microsoft.com/office/drawing/2014/main" id="{9E6A4DC8-3EA7-C76B-A5A5-B10DD5476987}"/>
                </a:ext>
              </a:extLst>
            </p:cNvPr>
            <p:cNvSpPr>
              <a:spLocks noEditPoints="1"/>
            </p:cNvSpPr>
            <p:nvPr/>
          </p:nvSpPr>
          <p:spPr bwMode="auto">
            <a:xfrm>
              <a:off x="2309352" y="4652361"/>
              <a:ext cx="298116" cy="108725"/>
            </a:xfrm>
            <a:custGeom>
              <a:avLst/>
              <a:gdLst>
                <a:gd name="T0" fmla="*/ 58 w 93"/>
                <a:gd name="T1" fmla="*/ 2 h 34"/>
                <a:gd name="T2" fmla="*/ 59 w 93"/>
                <a:gd name="T3" fmla="*/ 13 h 34"/>
                <a:gd name="T4" fmla="*/ 57 w 93"/>
                <a:gd name="T5" fmla="*/ 16 h 34"/>
                <a:gd name="T6" fmla="*/ 37 w 93"/>
                <a:gd name="T7" fmla="*/ 16 h 34"/>
                <a:gd name="T8" fmla="*/ 34 w 93"/>
                <a:gd name="T9" fmla="*/ 14 h 34"/>
                <a:gd name="T10" fmla="*/ 36 w 93"/>
                <a:gd name="T11" fmla="*/ 2 h 34"/>
                <a:gd name="T12" fmla="*/ 38 w 93"/>
                <a:gd name="T13" fmla="*/ 0 h 34"/>
                <a:gd name="T14" fmla="*/ 55 w 93"/>
                <a:gd name="T15" fmla="*/ 0 h 34"/>
                <a:gd name="T16" fmla="*/ 58 w 93"/>
                <a:gd name="T17" fmla="*/ 2 h 34"/>
                <a:gd name="T18" fmla="*/ 36 w 93"/>
                <a:gd name="T19" fmla="*/ 18 h 34"/>
                <a:gd name="T20" fmla="*/ 57 w 93"/>
                <a:gd name="T21" fmla="*/ 18 h 34"/>
                <a:gd name="T22" fmla="*/ 60 w 93"/>
                <a:gd name="T23" fmla="*/ 20 h 34"/>
                <a:gd name="T24" fmla="*/ 61 w 93"/>
                <a:gd name="T25" fmla="*/ 32 h 34"/>
                <a:gd name="T26" fmla="*/ 59 w 93"/>
                <a:gd name="T27" fmla="*/ 34 h 34"/>
                <a:gd name="T28" fmla="*/ 35 w 93"/>
                <a:gd name="T29" fmla="*/ 34 h 34"/>
                <a:gd name="T30" fmla="*/ 33 w 93"/>
                <a:gd name="T31" fmla="*/ 32 h 34"/>
                <a:gd name="T32" fmla="*/ 34 w 93"/>
                <a:gd name="T33" fmla="*/ 20 h 34"/>
                <a:gd name="T34" fmla="*/ 36 w 93"/>
                <a:gd name="T35" fmla="*/ 18 h 34"/>
                <a:gd name="T36" fmla="*/ 27 w 93"/>
                <a:gd name="T37" fmla="*/ 34 h 34"/>
                <a:gd name="T38" fmla="*/ 3 w 93"/>
                <a:gd name="T39" fmla="*/ 34 h 34"/>
                <a:gd name="T40" fmla="*/ 1 w 93"/>
                <a:gd name="T41" fmla="*/ 31 h 34"/>
                <a:gd name="T42" fmla="*/ 5 w 93"/>
                <a:gd name="T43" fmla="*/ 20 h 34"/>
                <a:gd name="T44" fmla="*/ 7 w 93"/>
                <a:gd name="T45" fmla="*/ 18 h 34"/>
                <a:gd name="T46" fmla="*/ 28 w 93"/>
                <a:gd name="T47" fmla="*/ 18 h 34"/>
                <a:gd name="T48" fmla="*/ 30 w 93"/>
                <a:gd name="T49" fmla="*/ 21 h 34"/>
                <a:gd name="T50" fmla="*/ 29 w 93"/>
                <a:gd name="T51" fmla="*/ 32 h 34"/>
                <a:gd name="T52" fmla="*/ 27 w 93"/>
                <a:gd name="T53" fmla="*/ 34 h 34"/>
                <a:gd name="T54" fmla="*/ 33 w 93"/>
                <a:gd name="T55" fmla="*/ 3 h 34"/>
                <a:gd name="T56" fmla="*/ 31 w 93"/>
                <a:gd name="T57" fmla="*/ 14 h 34"/>
                <a:gd name="T58" fmla="*/ 29 w 93"/>
                <a:gd name="T59" fmla="*/ 16 h 34"/>
                <a:gd name="T60" fmla="*/ 9 w 93"/>
                <a:gd name="T61" fmla="*/ 16 h 34"/>
                <a:gd name="T62" fmla="*/ 7 w 93"/>
                <a:gd name="T63" fmla="*/ 13 h 34"/>
                <a:gd name="T64" fmla="*/ 11 w 93"/>
                <a:gd name="T65" fmla="*/ 2 h 34"/>
                <a:gd name="T66" fmla="*/ 14 w 93"/>
                <a:gd name="T67" fmla="*/ 0 h 34"/>
                <a:gd name="T68" fmla="*/ 31 w 93"/>
                <a:gd name="T69" fmla="*/ 0 h 34"/>
                <a:gd name="T70" fmla="*/ 33 w 93"/>
                <a:gd name="T71" fmla="*/ 3 h 34"/>
                <a:gd name="T72" fmla="*/ 91 w 93"/>
                <a:gd name="T73" fmla="*/ 34 h 34"/>
                <a:gd name="T74" fmla="*/ 67 w 93"/>
                <a:gd name="T75" fmla="*/ 34 h 34"/>
                <a:gd name="T76" fmla="*/ 65 w 93"/>
                <a:gd name="T77" fmla="*/ 32 h 34"/>
                <a:gd name="T78" fmla="*/ 63 w 93"/>
                <a:gd name="T79" fmla="*/ 21 h 34"/>
                <a:gd name="T80" fmla="*/ 65 w 93"/>
                <a:gd name="T81" fmla="*/ 18 h 34"/>
                <a:gd name="T82" fmla="*/ 87 w 93"/>
                <a:gd name="T83" fmla="*/ 18 h 34"/>
                <a:gd name="T84" fmla="*/ 89 w 93"/>
                <a:gd name="T85" fmla="*/ 20 h 34"/>
                <a:gd name="T86" fmla="*/ 93 w 93"/>
                <a:gd name="T87" fmla="*/ 31 h 34"/>
                <a:gd name="T88" fmla="*/ 91 w 93"/>
                <a:gd name="T89" fmla="*/ 34 h 34"/>
                <a:gd name="T90" fmla="*/ 84 w 93"/>
                <a:gd name="T91" fmla="*/ 16 h 34"/>
                <a:gd name="T92" fmla="*/ 64 w 93"/>
                <a:gd name="T93" fmla="*/ 16 h 34"/>
                <a:gd name="T94" fmla="*/ 62 w 93"/>
                <a:gd name="T95" fmla="*/ 14 h 34"/>
                <a:gd name="T96" fmla="*/ 61 w 93"/>
                <a:gd name="T97" fmla="*/ 3 h 34"/>
                <a:gd name="T98" fmla="*/ 63 w 93"/>
                <a:gd name="T99" fmla="*/ 0 h 34"/>
                <a:gd name="T100" fmla="*/ 79 w 93"/>
                <a:gd name="T101" fmla="*/ 0 h 34"/>
                <a:gd name="T102" fmla="*/ 83 w 93"/>
                <a:gd name="T103" fmla="*/ 2 h 34"/>
                <a:gd name="T104" fmla="*/ 86 w 93"/>
                <a:gd name="T105" fmla="*/ 13 h 34"/>
                <a:gd name="T106" fmla="*/ 84 w 93"/>
                <a:gd name="T10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3" h="34">
                  <a:moveTo>
                    <a:pt x="58" y="2"/>
                  </a:moveTo>
                  <a:cubicBezTo>
                    <a:pt x="59" y="13"/>
                    <a:pt x="59" y="13"/>
                    <a:pt x="59" y="13"/>
                  </a:cubicBezTo>
                  <a:cubicBezTo>
                    <a:pt x="59" y="15"/>
                    <a:pt x="58" y="16"/>
                    <a:pt x="57" y="16"/>
                  </a:cubicBezTo>
                  <a:cubicBezTo>
                    <a:pt x="37" y="16"/>
                    <a:pt x="37" y="16"/>
                    <a:pt x="37" y="16"/>
                  </a:cubicBezTo>
                  <a:cubicBezTo>
                    <a:pt x="35" y="16"/>
                    <a:pt x="34" y="15"/>
                    <a:pt x="34" y="14"/>
                  </a:cubicBezTo>
                  <a:cubicBezTo>
                    <a:pt x="36" y="2"/>
                    <a:pt x="36" y="2"/>
                    <a:pt x="36" y="2"/>
                  </a:cubicBezTo>
                  <a:cubicBezTo>
                    <a:pt x="36" y="1"/>
                    <a:pt x="37" y="0"/>
                    <a:pt x="38" y="0"/>
                  </a:cubicBezTo>
                  <a:cubicBezTo>
                    <a:pt x="55" y="0"/>
                    <a:pt x="55" y="0"/>
                    <a:pt x="55" y="0"/>
                  </a:cubicBezTo>
                  <a:cubicBezTo>
                    <a:pt x="57" y="0"/>
                    <a:pt x="58" y="1"/>
                    <a:pt x="58" y="2"/>
                  </a:cubicBezTo>
                  <a:close/>
                  <a:moveTo>
                    <a:pt x="36" y="18"/>
                  </a:moveTo>
                  <a:cubicBezTo>
                    <a:pt x="57" y="18"/>
                    <a:pt x="57" y="18"/>
                    <a:pt x="57" y="18"/>
                  </a:cubicBezTo>
                  <a:cubicBezTo>
                    <a:pt x="59" y="18"/>
                    <a:pt x="60" y="19"/>
                    <a:pt x="60" y="20"/>
                  </a:cubicBezTo>
                  <a:cubicBezTo>
                    <a:pt x="61" y="32"/>
                    <a:pt x="61" y="32"/>
                    <a:pt x="61" y="32"/>
                  </a:cubicBezTo>
                  <a:cubicBezTo>
                    <a:pt x="61" y="33"/>
                    <a:pt x="60" y="34"/>
                    <a:pt x="59" y="34"/>
                  </a:cubicBezTo>
                  <a:cubicBezTo>
                    <a:pt x="35" y="34"/>
                    <a:pt x="35" y="34"/>
                    <a:pt x="35" y="34"/>
                  </a:cubicBezTo>
                  <a:cubicBezTo>
                    <a:pt x="33" y="34"/>
                    <a:pt x="32" y="33"/>
                    <a:pt x="33" y="32"/>
                  </a:cubicBezTo>
                  <a:cubicBezTo>
                    <a:pt x="34" y="20"/>
                    <a:pt x="34" y="20"/>
                    <a:pt x="34" y="20"/>
                  </a:cubicBezTo>
                  <a:cubicBezTo>
                    <a:pt x="34" y="19"/>
                    <a:pt x="35" y="18"/>
                    <a:pt x="36" y="18"/>
                  </a:cubicBezTo>
                  <a:close/>
                  <a:moveTo>
                    <a:pt x="27" y="34"/>
                  </a:moveTo>
                  <a:cubicBezTo>
                    <a:pt x="3" y="34"/>
                    <a:pt x="3" y="34"/>
                    <a:pt x="3" y="34"/>
                  </a:cubicBezTo>
                  <a:cubicBezTo>
                    <a:pt x="1" y="34"/>
                    <a:pt x="0" y="33"/>
                    <a:pt x="1" y="31"/>
                  </a:cubicBezTo>
                  <a:cubicBezTo>
                    <a:pt x="5" y="20"/>
                    <a:pt x="5" y="20"/>
                    <a:pt x="5" y="20"/>
                  </a:cubicBezTo>
                  <a:cubicBezTo>
                    <a:pt x="5" y="19"/>
                    <a:pt x="6" y="18"/>
                    <a:pt x="7" y="18"/>
                  </a:cubicBezTo>
                  <a:cubicBezTo>
                    <a:pt x="28" y="18"/>
                    <a:pt x="28" y="18"/>
                    <a:pt x="28" y="18"/>
                  </a:cubicBezTo>
                  <a:cubicBezTo>
                    <a:pt x="30" y="18"/>
                    <a:pt x="31" y="19"/>
                    <a:pt x="30" y="21"/>
                  </a:cubicBezTo>
                  <a:cubicBezTo>
                    <a:pt x="29" y="32"/>
                    <a:pt x="29" y="32"/>
                    <a:pt x="29" y="32"/>
                  </a:cubicBezTo>
                  <a:cubicBezTo>
                    <a:pt x="29" y="33"/>
                    <a:pt x="28" y="34"/>
                    <a:pt x="27" y="34"/>
                  </a:cubicBezTo>
                  <a:close/>
                  <a:moveTo>
                    <a:pt x="33" y="3"/>
                  </a:moveTo>
                  <a:cubicBezTo>
                    <a:pt x="31" y="14"/>
                    <a:pt x="31" y="14"/>
                    <a:pt x="31" y="14"/>
                  </a:cubicBezTo>
                  <a:cubicBezTo>
                    <a:pt x="31" y="15"/>
                    <a:pt x="30" y="16"/>
                    <a:pt x="29" y="16"/>
                  </a:cubicBezTo>
                  <a:cubicBezTo>
                    <a:pt x="9" y="16"/>
                    <a:pt x="9" y="16"/>
                    <a:pt x="9" y="16"/>
                  </a:cubicBezTo>
                  <a:cubicBezTo>
                    <a:pt x="8" y="16"/>
                    <a:pt x="6" y="15"/>
                    <a:pt x="7" y="13"/>
                  </a:cubicBezTo>
                  <a:cubicBezTo>
                    <a:pt x="11" y="2"/>
                    <a:pt x="11" y="2"/>
                    <a:pt x="11" y="2"/>
                  </a:cubicBezTo>
                  <a:cubicBezTo>
                    <a:pt x="11" y="1"/>
                    <a:pt x="13" y="0"/>
                    <a:pt x="14" y="0"/>
                  </a:cubicBezTo>
                  <a:cubicBezTo>
                    <a:pt x="31" y="0"/>
                    <a:pt x="31" y="0"/>
                    <a:pt x="31" y="0"/>
                  </a:cubicBezTo>
                  <a:cubicBezTo>
                    <a:pt x="32" y="0"/>
                    <a:pt x="33" y="1"/>
                    <a:pt x="33" y="3"/>
                  </a:cubicBezTo>
                  <a:close/>
                  <a:moveTo>
                    <a:pt x="91" y="34"/>
                  </a:moveTo>
                  <a:cubicBezTo>
                    <a:pt x="67" y="34"/>
                    <a:pt x="67" y="34"/>
                    <a:pt x="67" y="34"/>
                  </a:cubicBezTo>
                  <a:cubicBezTo>
                    <a:pt x="66" y="34"/>
                    <a:pt x="65" y="33"/>
                    <a:pt x="65" y="32"/>
                  </a:cubicBezTo>
                  <a:cubicBezTo>
                    <a:pt x="63" y="21"/>
                    <a:pt x="63" y="21"/>
                    <a:pt x="63" y="21"/>
                  </a:cubicBezTo>
                  <a:cubicBezTo>
                    <a:pt x="63" y="19"/>
                    <a:pt x="64" y="18"/>
                    <a:pt x="65" y="18"/>
                  </a:cubicBezTo>
                  <a:cubicBezTo>
                    <a:pt x="87" y="18"/>
                    <a:pt x="87" y="18"/>
                    <a:pt x="87" y="18"/>
                  </a:cubicBezTo>
                  <a:cubicBezTo>
                    <a:pt x="88" y="18"/>
                    <a:pt x="88" y="19"/>
                    <a:pt x="89" y="20"/>
                  </a:cubicBezTo>
                  <a:cubicBezTo>
                    <a:pt x="93" y="31"/>
                    <a:pt x="93" y="31"/>
                    <a:pt x="93" y="31"/>
                  </a:cubicBezTo>
                  <a:cubicBezTo>
                    <a:pt x="93" y="33"/>
                    <a:pt x="92" y="34"/>
                    <a:pt x="91" y="34"/>
                  </a:cubicBezTo>
                  <a:close/>
                  <a:moveTo>
                    <a:pt x="84" y="16"/>
                  </a:moveTo>
                  <a:cubicBezTo>
                    <a:pt x="64" y="16"/>
                    <a:pt x="64" y="16"/>
                    <a:pt x="64" y="16"/>
                  </a:cubicBezTo>
                  <a:cubicBezTo>
                    <a:pt x="63" y="16"/>
                    <a:pt x="62" y="15"/>
                    <a:pt x="62" y="14"/>
                  </a:cubicBezTo>
                  <a:cubicBezTo>
                    <a:pt x="61" y="3"/>
                    <a:pt x="61" y="3"/>
                    <a:pt x="61" y="3"/>
                  </a:cubicBezTo>
                  <a:cubicBezTo>
                    <a:pt x="60" y="1"/>
                    <a:pt x="61" y="0"/>
                    <a:pt x="63" y="0"/>
                  </a:cubicBezTo>
                  <a:cubicBezTo>
                    <a:pt x="79" y="0"/>
                    <a:pt x="79" y="0"/>
                    <a:pt x="79" y="0"/>
                  </a:cubicBezTo>
                  <a:cubicBezTo>
                    <a:pt x="81" y="0"/>
                    <a:pt x="82" y="1"/>
                    <a:pt x="83" y="2"/>
                  </a:cubicBezTo>
                  <a:cubicBezTo>
                    <a:pt x="86" y="13"/>
                    <a:pt x="86" y="13"/>
                    <a:pt x="86" y="13"/>
                  </a:cubicBezTo>
                  <a:cubicBezTo>
                    <a:pt x="87" y="15"/>
                    <a:pt x="86" y="16"/>
                    <a:pt x="84" y="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36" name="Groupe 196">
              <a:extLst>
                <a:ext uri="{FF2B5EF4-FFF2-40B4-BE49-F238E27FC236}">
                  <a16:creationId xmlns:a16="http://schemas.microsoft.com/office/drawing/2014/main" id="{7E3676B7-057B-C63A-C196-1DC1704A5B5D}"/>
                </a:ext>
              </a:extLst>
            </p:cNvPr>
            <p:cNvGrpSpPr/>
            <p:nvPr/>
          </p:nvGrpSpPr>
          <p:grpSpPr>
            <a:xfrm>
              <a:off x="2194517" y="4585680"/>
              <a:ext cx="209248" cy="65375"/>
              <a:chOff x="4508393" y="5138730"/>
              <a:chExt cx="282191" cy="88165"/>
            </a:xfrm>
            <a:solidFill>
              <a:srgbClr val="007D74"/>
            </a:solidFill>
          </p:grpSpPr>
          <p:sp>
            <p:nvSpPr>
              <p:cNvPr id="245" name="Freeform 249">
                <a:extLst>
                  <a:ext uri="{FF2B5EF4-FFF2-40B4-BE49-F238E27FC236}">
                    <a16:creationId xmlns:a16="http://schemas.microsoft.com/office/drawing/2014/main" id="{34C59AF7-73BD-D92E-87A1-CAD37D942B36}"/>
                  </a:ext>
                </a:extLst>
              </p:cNvPr>
              <p:cNvSpPr>
                <a:spLocks/>
              </p:cNvSpPr>
              <p:nvPr/>
            </p:nvSpPr>
            <p:spPr bwMode="auto">
              <a:xfrm rot="5400000">
                <a:off x="4598388" y="5056574"/>
                <a:ext cx="36357" cy="200669"/>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6" name="Freeform 250">
                <a:extLst>
                  <a:ext uri="{FF2B5EF4-FFF2-40B4-BE49-F238E27FC236}">
                    <a16:creationId xmlns:a16="http://schemas.microsoft.com/office/drawing/2014/main" id="{8F7A1FC1-0363-0C1C-ADA4-2DF842E9AABA}"/>
                  </a:ext>
                </a:extLst>
              </p:cNvPr>
              <p:cNvSpPr>
                <a:spLocks/>
              </p:cNvSpPr>
              <p:nvPr/>
            </p:nvSpPr>
            <p:spPr bwMode="auto">
              <a:xfrm rot="5400000">
                <a:off x="4638240" y="5107473"/>
                <a:ext cx="38175" cy="200669"/>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7" name="Freeform 251">
                <a:extLst>
                  <a:ext uri="{FF2B5EF4-FFF2-40B4-BE49-F238E27FC236}">
                    <a16:creationId xmlns:a16="http://schemas.microsoft.com/office/drawing/2014/main" id="{5D09BB64-FB3A-6C9B-DAB2-CFE87D999C61}"/>
                  </a:ext>
                </a:extLst>
              </p:cNvPr>
              <p:cNvSpPr>
                <a:spLocks/>
              </p:cNvSpPr>
              <p:nvPr/>
            </p:nvSpPr>
            <p:spPr bwMode="auto">
              <a:xfrm rot="5400000">
                <a:off x="4628129" y="5042626"/>
                <a:ext cx="42720" cy="282191"/>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237" name="Groupe 204">
              <a:extLst>
                <a:ext uri="{FF2B5EF4-FFF2-40B4-BE49-F238E27FC236}">
                  <a16:creationId xmlns:a16="http://schemas.microsoft.com/office/drawing/2014/main" id="{F0940188-9230-DF64-6B90-3C26875D7511}"/>
                </a:ext>
              </a:extLst>
            </p:cNvPr>
            <p:cNvGrpSpPr/>
            <p:nvPr/>
          </p:nvGrpSpPr>
          <p:grpSpPr>
            <a:xfrm>
              <a:off x="2507389" y="4600382"/>
              <a:ext cx="209248" cy="65375"/>
              <a:chOff x="4508393" y="5138730"/>
              <a:chExt cx="282191" cy="88165"/>
            </a:xfrm>
            <a:solidFill>
              <a:srgbClr val="007D74"/>
            </a:solidFill>
          </p:grpSpPr>
          <p:sp>
            <p:nvSpPr>
              <p:cNvPr id="242" name="Freeform 249">
                <a:extLst>
                  <a:ext uri="{FF2B5EF4-FFF2-40B4-BE49-F238E27FC236}">
                    <a16:creationId xmlns:a16="http://schemas.microsoft.com/office/drawing/2014/main" id="{9971A51C-7C11-603A-C5F6-02613119D744}"/>
                  </a:ext>
                </a:extLst>
              </p:cNvPr>
              <p:cNvSpPr>
                <a:spLocks/>
              </p:cNvSpPr>
              <p:nvPr/>
            </p:nvSpPr>
            <p:spPr bwMode="auto">
              <a:xfrm rot="5400000">
                <a:off x="4598388" y="5056574"/>
                <a:ext cx="36357" cy="200669"/>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3" name="Freeform 250">
                <a:extLst>
                  <a:ext uri="{FF2B5EF4-FFF2-40B4-BE49-F238E27FC236}">
                    <a16:creationId xmlns:a16="http://schemas.microsoft.com/office/drawing/2014/main" id="{2B958732-25CF-AA10-8346-AE20313D9704}"/>
                  </a:ext>
                </a:extLst>
              </p:cNvPr>
              <p:cNvSpPr>
                <a:spLocks/>
              </p:cNvSpPr>
              <p:nvPr/>
            </p:nvSpPr>
            <p:spPr bwMode="auto">
              <a:xfrm rot="5400000">
                <a:off x="4638240" y="5107473"/>
                <a:ext cx="38175" cy="200669"/>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4" name="Freeform 251">
                <a:extLst>
                  <a:ext uri="{FF2B5EF4-FFF2-40B4-BE49-F238E27FC236}">
                    <a16:creationId xmlns:a16="http://schemas.microsoft.com/office/drawing/2014/main" id="{59F607C7-C76E-745E-6844-EB9A1255C944}"/>
                  </a:ext>
                </a:extLst>
              </p:cNvPr>
              <p:cNvSpPr>
                <a:spLocks/>
              </p:cNvSpPr>
              <p:nvPr/>
            </p:nvSpPr>
            <p:spPr bwMode="auto">
              <a:xfrm rot="5400000">
                <a:off x="4628129" y="5042626"/>
                <a:ext cx="42720" cy="282191"/>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238" name="Groupe 200">
              <a:extLst>
                <a:ext uri="{FF2B5EF4-FFF2-40B4-BE49-F238E27FC236}">
                  <a16:creationId xmlns:a16="http://schemas.microsoft.com/office/drawing/2014/main" id="{8828BD64-1FC6-48AE-DCC4-D7F30C809999}"/>
                </a:ext>
              </a:extLst>
            </p:cNvPr>
            <p:cNvGrpSpPr/>
            <p:nvPr/>
          </p:nvGrpSpPr>
          <p:grpSpPr>
            <a:xfrm>
              <a:off x="2386743" y="4779842"/>
              <a:ext cx="209248" cy="65375"/>
              <a:chOff x="4508393" y="5138730"/>
              <a:chExt cx="282191" cy="88165"/>
            </a:xfrm>
            <a:solidFill>
              <a:srgbClr val="007D74"/>
            </a:solidFill>
          </p:grpSpPr>
          <p:sp>
            <p:nvSpPr>
              <p:cNvPr id="239" name="Freeform 249">
                <a:extLst>
                  <a:ext uri="{FF2B5EF4-FFF2-40B4-BE49-F238E27FC236}">
                    <a16:creationId xmlns:a16="http://schemas.microsoft.com/office/drawing/2014/main" id="{2B32F693-7EF5-50C7-8DED-CBB3F2451BA3}"/>
                  </a:ext>
                </a:extLst>
              </p:cNvPr>
              <p:cNvSpPr>
                <a:spLocks/>
              </p:cNvSpPr>
              <p:nvPr/>
            </p:nvSpPr>
            <p:spPr bwMode="auto">
              <a:xfrm rot="5400000">
                <a:off x="4598388" y="5056574"/>
                <a:ext cx="36357" cy="200669"/>
              </a:xfrm>
              <a:custGeom>
                <a:avLst/>
                <a:gdLst>
                  <a:gd name="T0" fmla="*/ 12 w 17"/>
                  <a:gd name="T1" fmla="*/ 52 h 54"/>
                  <a:gd name="T2" fmla="*/ 13 w 17"/>
                  <a:gd name="T3" fmla="*/ 45 h 54"/>
                  <a:gd name="T4" fmla="*/ 13 w 17"/>
                  <a:gd name="T5" fmla="*/ 44 h 54"/>
                  <a:gd name="T6" fmla="*/ 13 w 17"/>
                  <a:gd name="T7" fmla="*/ 44 h 54"/>
                  <a:gd name="T8" fmla="*/ 13 w 17"/>
                  <a:gd name="T9" fmla="*/ 43 h 54"/>
                  <a:gd name="T10" fmla="*/ 11 w 17"/>
                  <a:gd name="T11" fmla="*/ 37 h 54"/>
                  <a:gd name="T12" fmla="*/ 10 w 17"/>
                  <a:gd name="T13" fmla="*/ 37 h 54"/>
                  <a:gd name="T14" fmla="*/ 10 w 17"/>
                  <a:gd name="T15" fmla="*/ 36 h 54"/>
                  <a:gd name="T16" fmla="*/ 10 w 17"/>
                  <a:gd name="T17" fmla="*/ 36 h 54"/>
                  <a:gd name="T18" fmla="*/ 7 w 17"/>
                  <a:gd name="T19" fmla="*/ 33 h 54"/>
                  <a:gd name="T20" fmla="*/ 5 w 17"/>
                  <a:gd name="T21" fmla="*/ 32 h 54"/>
                  <a:gd name="T22" fmla="*/ 5 w 17"/>
                  <a:gd name="T23" fmla="*/ 32 h 54"/>
                  <a:gd name="T24" fmla="*/ 4 w 17"/>
                  <a:gd name="T25" fmla="*/ 31 h 54"/>
                  <a:gd name="T26" fmla="*/ 3 w 17"/>
                  <a:gd name="T27" fmla="*/ 30 h 54"/>
                  <a:gd name="T28" fmla="*/ 2 w 17"/>
                  <a:gd name="T29" fmla="*/ 28 h 54"/>
                  <a:gd name="T30" fmla="*/ 1 w 17"/>
                  <a:gd name="T31" fmla="*/ 25 h 54"/>
                  <a:gd name="T32" fmla="*/ 0 w 17"/>
                  <a:gd name="T33" fmla="*/ 23 h 54"/>
                  <a:gd name="T34" fmla="*/ 0 w 17"/>
                  <a:gd name="T35" fmla="*/ 18 h 54"/>
                  <a:gd name="T36" fmla="*/ 0 w 17"/>
                  <a:gd name="T37" fmla="*/ 15 h 54"/>
                  <a:gd name="T38" fmla="*/ 0 w 17"/>
                  <a:gd name="T39" fmla="*/ 14 h 54"/>
                  <a:gd name="T40" fmla="*/ 0 w 17"/>
                  <a:gd name="T41" fmla="*/ 13 h 54"/>
                  <a:gd name="T42" fmla="*/ 1 w 17"/>
                  <a:gd name="T43" fmla="*/ 12 h 54"/>
                  <a:gd name="T44" fmla="*/ 7 w 17"/>
                  <a:gd name="T45" fmla="*/ 2 h 54"/>
                  <a:gd name="T46" fmla="*/ 9 w 17"/>
                  <a:gd name="T47" fmla="*/ 1 h 54"/>
                  <a:gd name="T48" fmla="*/ 9 w 17"/>
                  <a:gd name="T49" fmla="*/ 3 h 54"/>
                  <a:gd name="T50" fmla="*/ 6 w 17"/>
                  <a:gd name="T51" fmla="*/ 9 h 54"/>
                  <a:gd name="T52" fmla="*/ 5 w 17"/>
                  <a:gd name="T53" fmla="*/ 14 h 54"/>
                  <a:gd name="T54" fmla="*/ 5 w 17"/>
                  <a:gd name="T55" fmla="*/ 15 h 54"/>
                  <a:gd name="T56" fmla="*/ 5 w 17"/>
                  <a:gd name="T57" fmla="*/ 15 h 54"/>
                  <a:gd name="T58" fmla="*/ 5 w 17"/>
                  <a:gd name="T59" fmla="*/ 15 h 54"/>
                  <a:gd name="T60" fmla="*/ 5 w 17"/>
                  <a:gd name="T61" fmla="*/ 18 h 54"/>
                  <a:gd name="T62" fmla="*/ 7 w 17"/>
                  <a:gd name="T63" fmla="*/ 24 h 54"/>
                  <a:gd name="T64" fmla="*/ 8 w 17"/>
                  <a:gd name="T65" fmla="*/ 26 h 54"/>
                  <a:gd name="T66" fmla="*/ 9 w 17"/>
                  <a:gd name="T67" fmla="*/ 28 h 54"/>
                  <a:gd name="T68" fmla="*/ 9 w 17"/>
                  <a:gd name="T69" fmla="*/ 28 h 54"/>
                  <a:gd name="T70" fmla="*/ 10 w 17"/>
                  <a:gd name="T71" fmla="*/ 28 h 54"/>
                  <a:gd name="T72" fmla="*/ 14 w 17"/>
                  <a:gd name="T73" fmla="*/ 32 h 54"/>
                  <a:gd name="T74" fmla="*/ 14 w 17"/>
                  <a:gd name="T75" fmla="*/ 33 h 54"/>
                  <a:gd name="T76" fmla="*/ 16 w 17"/>
                  <a:gd name="T77" fmla="*/ 35 h 54"/>
                  <a:gd name="T78" fmla="*/ 17 w 17"/>
                  <a:gd name="T79" fmla="*/ 44 h 54"/>
                  <a:gd name="T80" fmla="*/ 17 w 17"/>
                  <a:gd name="T81" fmla="*/ 45 h 54"/>
                  <a:gd name="T82" fmla="*/ 17 w 17"/>
                  <a:gd name="T83" fmla="*/ 45 h 54"/>
                  <a:gd name="T84" fmla="*/ 15 w 17"/>
                  <a:gd name="T85" fmla="*/ 49 h 54"/>
                  <a:gd name="T86" fmla="*/ 12 w 17"/>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54">
                    <a:moveTo>
                      <a:pt x="12" y="54"/>
                    </a:moveTo>
                    <a:cubicBezTo>
                      <a:pt x="12" y="54"/>
                      <a:pt x="12" y="54"/>
                      <a:pt x="12" y="54"/>
                    </a:cubicBezTo>
                    <a:cubicBezTo>
                      <a:pt x="12" y="53"/>
                      <a:pt x="12" y="53"/>
                      <a:pt x="12" y="52"/>
                    </a:cubicBezTo>
                    <a:cubicBezTo>
                      <a:pt x="13" y="51"/>
                      <a:pt x="13" y="50"/>
                      <a:pt x="13" y="49"/>
                    </a:cubicBezTo>
                    <a:cubicBezTo>
                      <a:pt x="13" y="48"/>
                      <a:pt x="13" y="48"/>
                      <a:pt x="13" y="47"/>
                    </a:cubicBezTo>
                    <a:cubicBezTo>
                      <a:pt x="13" y="46"/>
                      <a:pt x="13" y="46"/>
                      <a:pt x="13" y="45"/>
                    </a:cubicBezTo>
                    <a:cubicBezTo>
                      <a:pt x="13" y="45"/>
                      <a:pt x="13" y="45"/>
                      <a:pt x="13" y="45"/>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2"/>
                      <a:pt x="13" y="42"/>
                      <a:pt x="12" y="41"/>
                    </a:cubicBezTo>
                    <a:cubicBezTo>
                      <a:pt x="12" y="40"/>
                      <a:pt x="12" y="38"/>
                      <a:pt x="11" y="37"/>
                    </a:cubicBezTo>
                    <a:cubicBezTo>
                      <a:pt x="11" y="37"/>
                      <a:pt x="11" y="37"/>
                      <a:pt x="11" y="37"/>
                    </a:cubicBezTo>
                    <a:cubicBezTo>
                      <a:pt x="10" y="37"/>
                      <a:pt x="10" y="37"/>
                      <a:pt x="10" y="37"/>
                    </a:cubicBezTo>
                    <a:cubicBezTo>
                      <a:pt x="10" y="37"/>
                      <a:pt x="10" y="37"/>
                      <a:pt x="10" y="37"/>
                    </a:cubicBezTo>
                    <a:cubicBezTo>
                      <a:pt x="10" y="36"/>
                      <a:pt x="10" y="37"/>
                      <a:pt x="10" y="37"/>
                    </a:cubicBezTo>
                    <a:cubicBezTo>
                      <a:pt x="10" y="37"/>
                      <a:pt x="10" y="37"/>
                      <a:pt x="10" y="37"/>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9" y="35"/>
                      <a:pt x="8" y="35"/>
                      <a:pt x="8" y="34"/>
                    </a:cubicBezTo>
                    <a:cubicBezTo>
                      <a:pt x="7" y="34"/>
                      <a:pt x="7" y="34"/>
                      <a:pt x="7" y="33"/>
                    </a:cubicBezTo>
                    <a:cubicBezTo>
                      <a:pt x="6" y="33"/>
                      <a:pt x="6" y="33"/>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5" y="32"/>
                      <a:pt x="5" y="32"/>
                      <a:pt x="5" y="32"/>
                    </a:cubicBezTo>
                    <a:cubicBezTo>
                      <a:pt x="4" y="31"/>
                      <a:pt x="4" y="31"/>
                      <a:pt x="4" y="31"/>
                    </a:cubicBezTo>
                    <a:cubicBezTo>
                      <a:pt x="4" y="31"/>
                      <a:pt x="4" y="31"/>
                      <a:pt x="4" y="31"/>
                    </a:cubicBezTo>
                    <a:cubicBezTo>
                      <a:pt x="3" y="30"/>
                      <a:pt x="3" y="30"/>
                      <a:pt x="3" y="30"/>
                    </a:cubicBezTo>
                    <a:cubicBezTo>
                      <a:pt x="3" y="30"/>
                      <a:pt x="3" y="30"/>
                      <a:pt x="3" y="30"/>
                    </a:cubicBezTo>
                    <a:cubicBezTo>
                      <a:pt x="3" y="30"/>
                      <a:pt x="3" y="30"/>
                      <a:pt x="3" y="30"/>
                    </a:cubicBezTo>
                    <a:cubicBezTo>
                      <a:pt x="3" y="29"/>
                      <a:pt x="3" y="29"/>
                      <a:pt x="3" y="29"/>
                    </a:cubicBezTo>
                    <a:cubicBezTo>
                      <a:pt x="2" y="29"/>
                      <a:pt x="2" y="29"/>
                      <a:pt x="2" y="28"/>
                    </a:cubicBezTo>
                    <a:cubicBezTo>
                      <a:pt x="2" y="28"/>
                      <a:pt x="2" y="28"/>
                      <a:pt x="2" y="28"/>
                    </a:cubicBezTo>
                    <a:cubicBezTo>
                      <a:pt x="2" y="28"/>
                      <a:pt x="2" y="28"/>
                      <a:pt x="2" y="28"/>
                    </a:cubicBezTo>
                    <a:cubicBezTo>
                      <a:pt x="2" y="27"/>
                      <a:pt x="1" y="27"/>
                      <a:pt x="1" y="27"/>
                    </a:cubicBezTo>
                    <a:cubicBezTo>
                      <a:pt x="1" y="26"/>
                      <a:pt x="1" y="26"/>
                      <a:pt x="1" y="25"/>
                    </a:cubicBezTo>
                    <a:cubicBezTo>
                      <a:pt x="1" y="25"/>
                      <a:pt x="1" y="25"/>
                      <a:pt x="0" y="25"/>
                    </a:cubicBezTo>
                    <a:cubicBezTo>
                      <a:pt x="0" y="24"/>
                      <a:pt x="0" y="24"/>
                      <a:pt x="0" y="24"/>
                    </a:cubicBezTo>
                    <a:cubicBezTo>
                      <a:pt x="0" y="24"/>
                      <a:pt x="0" y="23"/>
                      <a:pt x="0" y="23"/>
                    </a:cubicBezTo>
                    <a:cubicBezTo>
                      <a:pt x="0" y="23"/>
                      <a:pt x="0" y="22"/>
                      <a:pt x="0" y="22"/>
                    </a:cubicBezTo>
                    <a:cubicBezTo>
                      <a:pt x="0" y="22"/>
                      <a:pt x="0" y="21"/>
                      <a:pt x="0" y="21"/>
                    </a:cubicBezTo>
                    <a:cubicBezTo>
                      <a:pt x="0" y="20"/>
                      <a:pt x="0" y="19"/>
                      <a:pt x="0" y="18"/>
                    </a:cubicBezTo>
                    <a:cubicBezTo>
                      <a:pt x="0" y="17"/>
                      <a:pt x="0" y="17"/>
                      <a:pt x="0" y="16"/>
                    </a:cubicBezTo>
                    <a:cubicBezTo>
                      <a:pt x="0" y="16"/>
                      <a:pt x="0" y="16"/>
                      <a:pt x="0" y="15"/>
                    </a:cubicBezTo>
                    <a:cubicBezTo>
                      <a:pt x="0" y="15"/>
                      <a:pt x="0" y="15"/>
                      <a:pt x="0" y="15"/>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3"/>
                    </a:cubicBezTo>
                    <a:cubicBezTo>
                      <a:pt x="0" y="13"/>
                      <a:pt x="0" y="13"/>
                      <a:pt x="0" y="13"/>
                    </a:cubicBezTo>
                    <a:cubicBezTo>
                      <a:pt x="0" y="13"/>
                      <a:pt x="0" y="13"/>
                      <a:pt x="0" y="13"/>
                    </a:cubicBezTo>
                    <a:cubicBezTo>
                      <a:pt x="1" y="13"/>
                      <a:pt x="1" y="13"/>
                      <a:pt x="1" y="13"/>
                    </a:cubicBezTo>
                    <a:cubicBezTo>
                      <a:pt x="1" y="12"/>
                      <a:pt x="1" y="12"/>
                      <a:pt x="1" y="12"/>
                    </a:cubicBezTo>
                    <a:cubicBezTo>
                      <a:pt x="1" y="10"/>
                      <a:pt x="2" y="9"/>
                      <a:pt x="3" y="8"/>
                    </a:cubicBezTo>
                    <a:cubicBezTo>
                      <a:pt x="4" y="6"/>
                      <a:pt x="5" y="5"/>
                      <a:pt x="5" y="4"/>
                    </a:cubicBezTo>
                    <a:cubicBezTo>
                      <a:pt x="6" y="3"/>
                      <a:pt x="7" y="3"/>
                      <a:pt x="7" y="2"/>
                    </a:cubicBezTo>
                    <a:cubicBezTo>
                      <a:pt x="8" y="2"/>
                      <a:pt x="8" y="2"/>
                      <a:pt x="8" y="2"/>
                    </a:cubicBezTo>
                    <a:cubicBezTo>
                      <a:pt x="8" y="1"/>
                      <a:pt x="8" y="1"/>
                      <a:pt x="8" y="1"/>
                    </a:cubicBezTo>
                    <a:cubicBezTo>
                      <a:pt x="9" y="1"/>
                      <a:pt x="9" y="1"/>
                      <a:pt x="9" y="1"/>
                    </a:cubicBezTo>
                    <a:cubicBezTo>
                      <a:pt x="9" y="0"/>
                      <a:pt x="10" y="0"/>
                      <a:pt x="10" y="0"/>
                    </a:cubicBezTo>
                    <a:cubicBezTo>
                      <a:pt x="10" y="0"/>
                      <a:pt x="10" y="1"/>
                      <a:pt x="9" y="1"/>
                    </a:cubicBezTo>
                    <a:cubicBezTo>
                      <a:pt x="9" y="1"/>
                      <a:pt x="9" y="2"/>
                      <a:pt x="9" y="3"/>
                    </a:cubicBezTo>
                    <a:cubicBezTo>
                      <a:pt x="8" y="3"/>
                      <a:pt x="8" y="4"/>
                      <a:pt x="8" y="4"/>
                    </a:cubicBezTo>
                    <a:cubicBezTo>
                      <a:pt x="8" y="4"/>
                      <a:pt x="8" y="5"/>
                      <a:pt x="7" y="5"/>
                    </a:cubicBezTo>
                    <a:cubicBezTo>
                      <a:pt x="7" y="7"/>
                      <a:pt x="7" y="8"/>
                      <a:pt x="6" y="9"/>
                    </a:cubicBezTo>
                    <a:cubicBezTo>
                      <a:pt x="6" y="10"/>
                      <a:pt x="6" y="12"/>
                      <a:pt x="5" y="13"/>
                    </a:cubicBezTo>
                    <a:cubicBezTo>
                      <a:pt x="5" y="13"/>
                      <a:pt x="5" y="13"/>
                      <a:pt x="5"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6"/>
                      <a:pt x="5" y="16"/>
                      <a:pt x="5" y="16"/>
                    </a:cubicBezTo>
                    <a:cubicBezTo>
                      <a:pt x="5" y="16"/>
                      <a:pt x="5" y="16"/>
                      <a:pt x="5" y="16"/>
                    </a:cubicBezTo>
                    <a:cubicBezTo>
                      <a:pt x="5" y="17"/>
                      <a:pt x="5" y="17"/>
                      <a:pt x="5" y="18"/>
                    </a:cubicBezTo>
                    <a:cubicBezTo>
                      <a:pt x="5" y="18"/>
                      <a:pt x="5" y="19"/>
                      <a:pt x="6" y="20"/>
                    </a:cubicBezTo>
                    <a:cubicBezTo>
                      <a:pt x="6" y="21"/>
                      <a:pt x="6" y="21"/>
                      <a:pt x="6" y="22"/>
                    </a:cubicBezTo>
                    <a:cubicBezTo>
                      <a:pt x="6" y="23"/>
                      <a:pt x="7" y="24"/>
                      <a:pt x="7" y="24"/>
                    </a:cubicBezTo>
                    <a:cubicBezTo>
                      <a:pt x="7" y="25"/>
                      <a:pt x="8" y="26"/>
                      <a:pt x="8" y="26"/>
                    </a:cubicBezTo>
                    <a:cubicBezTo>
                      <a:pt x="8" y="26"/>
                      <a:pt x="8" y="26"/>
                      <a:pt x="8" y="26"/>
                    </a:cubicBezTo>
                    <a:cubicBezTo>
                      <a:pt x="8" y="26"/>
                      <a:pt x="8" y="26"/>
                      <a:pt x="8" y="26"/>
                    </a:cubicBezTo>
                    <a:cubicBezTo>
                      <a:pt x="8" y="27"/>
                      <a:pt x="8" y="27"/>
                      <a:pt x="8" y="27"/>
                    </a:cubicBezTo>
                    <a:cubicBezTo>
                      <a:pt x="9" y="27"/>
                      <a:pt x="9" y="27"/>
                      <a:pt x="9" y="27"/>
                    </a:cubicBezTo>
                    <a:cubicBezTo>
                      <a:pt x="9" y="28"/>
                      <a:pt x="9" y="28"/>
                      <a:pt x="9" y="28"/>
                    </a:cubicBezTo>
                    <a:cubicBezTo>
                      <a:pt x="9" y="28"/>
                      <a:pt x="9" y="28"/>
                      <a:pt x="9" y="28"/>
                    </a:cubicBezTo>
                    <a:cubicBezTo>
                      <a:pt x="9" y="28"/>
                      <a:pt x="9" y="27"/>
                      <a:pt x="9" y="28"/>
                    </a:cubicBezTo>
                    <a:cubicBezTo>
                      <a:pt x="9" y="28"/>
                      <a:pt x="9" y="28"/>
                      <a:pt x="9" y="28"/>
                    </a:cubicBezTo>
                    <a:cubicBezTo>
                      <a:pt x="9" y="28"/>
                      <a:pt x="9" y="28"/>
                      <a:pt x="9" y="28"/>
                    </a:cubicBezTo>
                    <a:cubicBezTo>
                      <a:pt x="9" y="28"/>
                      <a:pt x="9" y="28"/>
                      <a:pt x="9" y="28"/>
                    </a:cubicBezTo>
                    <a:cubicBezTo>
                      <a:pt x="9" y="28"/>
                      <a:pt x="9" y="28"/>
                      <a:pt x="10" y="28"/>
                    </a:cubicBezTo>
                    <a:cubicBezTo>
                      <a:pt x="10" y="28"/>
                      <a:pt x="10" y="28"/>
                      <a:pt x="10" y="29"/>
                    </a:cubicBezTo>
                    <a:cubicBezTo>
                      <a:pt x="11" y="29"/>
                      <a:pt x="11" y="29"/>
                      <a:pt x="12" y="30"/>
                    </a:cubicBezTo>
                    <a:cubicBezTo>
                      <a:pt x="12" y="30"/>
                      <a:pt x="13" y="31"/>
                      <a:pt x="14" y="32"/>
                    </a:cubicBezTo>
                    <a:cubicBezTo>
                      <a:pt x="14" y="32"/>
                      <a:pt x="14" y="32"/>
                      <a:pt x="14" y="32"/>
                    </a:cubicBezTo>
                    <a:cubicBezTo>
                      <a:pt x="14" y="32"/>
                      <a:pt x="14" y="32"/>
                      <a:pt x="14" y="32"/>
                    </a:cubicBezTo>
                    <a:cubicBezTo>
                      <a:pt x="14" y="32"/>
                      <a:pt x="14" y="33"/>
                      <a:pt x="14" y="33"/>
                    </a:cubicBezTo>
                    <a:cubicBezTo>
                      <a:pt x="15" y="33"/>
                      <a:pt x="15" y="33"/>
                      <a:pt x="15" y="33"/>
                    </a:cubicBezTo>
                    <a:cubicBezTo>
                      <a:pt x="15" y="33"/>
                      <a:pt x="15" y="33"/>
                      <a:pt x="15" y="33"/>
                    </a:cubicBezTo>
                    <a:cubicBezTo>
                      <a:pt x="15" y="34"/>
                      <a:pt x="15" y="34"/>
                      <a:pt x="16" y="35"/>
                    </a:cubicBezTo>
                    <a:cubicBezTo>
                      <a:pt x="17" y="37"/>
                      <a:pt x="17" y="39"/>
                      <a:pt x="17" y="40"/>
                    </a:cubicBezTo>
                    <a:cubicBezTo>
                      <a:pt x="17" y="41"/>
                      <a:pt x="17" y="42"/>
                      <a:pt x="17" y="43"/>
                    </a:cubicBezTo>
                    <a:cubicBezTo>
                      <a:pt x="17" y="43"/>
                      <a:pt x="17" y="44"/>
                      <a:pt x="17" y="44"/>
                    </a:cubicBezTo>
                    <a:cubicBezTo>
                      <a:pt x="17" y="44"/>
                      <a:pt x="17" y="44"/>
                      <a:pt x="17" y="44"/>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6" y="46"/>
                    </a:cubicBezTo>
                    <a:cubicBezTo>
                      <a:pt x="16" y="47"/>
                      <a:pt x="16" y="48"/>
                      <a:pt x="15" y="49"/>
                    </a:cubicBezTo>
                    <a:cubicBezTo>
                      <a:pt x="15" y="50"/>
                      <a:pt x="14" y="51"/>
                      <a:pt x="14" y="52"/>
                    </a:cubicBezTo>
                    <a:cubicBezTo>
                      <a:pt x="13" y="53"/>
                      <a:pt x="13" y="53"/>
                      <a:pt x="13" y="54"/>
                    </a:cubicBezTo>
                    <a:cubicBezTo>
                      <a:pt x="12" y="54"/>
                      <a:pt x="12" y="54"/>
                      <a:pt x="1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0" name="Freeform 250">
                <a:extLst>
                  <a:ext uri="{FF2B5EF4-FFF2-40B4-BE49-F238E27FC236}">
                    <a16:creationId xmlns:a16="http://schemas.microsoft.com/office/drawing/2014/main" id="{42A3EC58-E219-6010-6791-E232EEF674C7}"/>
                  </a:ext>
                </a:extLst>
              </p:cNvPr>
              <p:cNvSpPr>
                <a:spLocks/>
              </p:cNvSpPr>
              <p:nvPr/>
            </p:nvSpPr>
            <p:spPr bwMode="auto">
              <a:xfrm rot="5400000">
                <a:off x="4638240" y="5107473"/>
                <a:ext cx="38175" cy="200669"/>
              </a:xfrm>
              <a:custGeom>
                <a:avLst/>
                <a:gdLst>
                  <a:gd name="T0" fmla="*/ 13 w 18"/>
                  <a:gd name="T1" fmla="*/ 51 h 54"/>
                  <a:gd name="T2" fmla="*/ 13 w 18"/>
                  <a:gd name="T3" fmla="*/ 44 h 54"/>
                  <a:gd name="T4" fmla="*/ 13 w 18"/>
                  <a:gd name="T5" fmla="*/ 44 h 54"/>
                  <a:gd name="T6" fmla="*/ 13 w 18"/>
                  <a:gd name="T7" fmla="*/ 44 h 54"/>
                  <a:gd name="T8" fmla="*/ 13 w 18"/>
                  <a:gd name="T9" fmla="*/ 42 h 54"/>
                  <a:gd name="T10" fmla="*/ 11 w 18"/>
                  <a:gd name="T11" fmla="*/ 36 h 54"/>
                  <a:gd name="T12" fmla="*/ 11 w 18"/>
                  <a:gd name="T13" fmla="*/ 36 h 54"/>
                  <a:gd name="T14" fmla="*/ 10 w 18"/>
                  <a:gd name="T15" fmla="*/ 36 h 54"/>
                  <a:gd name="T16" fmla="*/ 10 w 18"/>
                  <a:gd name="T17" fmla="*/ 35 h 54"/>
                  <a:gd name="T18" fmla="*/ 7 w 18"/>
                  <a:gd name="T19" fmla="*/ 33 h 54"/>
                  <a:gd name="T20" fmla="*/ 5 w 18"/>
                  <a:gd name="T21" fmla="*/ 31 h 54"/>
                  <a:gd name="T22" fmla="*/ 5 w 18"/>
                  <a:gd name="T23" fmla="*/ 31 h 54"/>
                  <a:gd name="T24" fmla="*/ 4 w 18"/>
                  <a:gd name="T25" fmla="*/ 30 h 54"/>
                  <a:gd name="T26" fmla="*/ 3 w 18"/>
                  <a:gd name="T27" fmla="*/ 29 h 54"/>
                  <a:gd name="T28" fmla="*/ 2 w 18"/>
                  <a:gd name="T29" fmla="*/ 27 h 54"/>
                  <a:gd name="T30" fmla="*/ 1 w 18"/>
                  <a:gd name="T31" fmla="*/ 25 h 54"/>
                  <a:gd name="T32" fmla="*/ 1 w 18"/>
                  <a:gd name="T33" fmla="*/ 22 h 54"/>
                  <a:gd name="T34" fmla="*/ 0 w 18"/>
                  <a:gd name="T35" fmla="*/ 17 h 54"/>
                  <a:gd name="T36" fmla="*/ 0 w 18"/>
                  <a:gd name="T37" fmla="*/ 14 h 54"/>
                  <a:gd name="T38" fmla="*/ 1 w 18"/>
                  <a:gd name="T39" fmla="*/ 13 h 54"/>
                  <a:gd name="T40" fmla="*/ 1 w 18"/>
                  <a:gd name="T41" fmla="*/ 13 h 54"/>
                  <a:gd name="T42" fmla="*/ 1 w 18"/>
                  <a:gd name="T43" fmla="*/ 11 h 54"/>
                  <a:gd name="T44" fmla="*/ 8 w 18"/>
                  <a:gd name="T45" fmla="*/ 1 h 54"/>
                  <a:gd name="T46" fmla="*/ 9 w 18"/>
                  <a:gd name="T47" fmla="*/ 0 h 54"/>
                  <a:gd name="T48" fmla="*/ 9 w 18"/>
                  <a:gd name="T49" fmla="*/ 2 h 54"/>
                  <a:gd name="T50" fmla="*/ 7 w 18"/>
                  <a:gd name="T51" fmla="*/ 8 h 54"/>
                  <a:gd name="T52" fmla="*/ 6 w 18"/>
                  <a:gd name="T53" fmla="*/ 13 h 54"/>
                  <a:gd name="T54" fmla="*/ 6 w 18"/>
                  <a:gd name="T55" fmla="*/ 14 h 54"/>
                  <a:gd name="T56" fmla="*/ 6 w 18"/>
                  <a:gd name="T57" fmla="*/ 14 h 54"/>
                  <a:gd name="T58" fmla="*/ 6 w 18"/>
                  <a:gd name="T59" fmla="*/ 15 h 54"/>
                  <a:gd name="T60" fmla="*/ 6 w 18"/>
                  <a:gd name="T61" fmla="*/ 17 h 54"/>
                  <a:gd name="T62" fmla="*/ 7 w 18"/>
                  <a:gd name="T63" fmla="*/ 24 h 54"/>
                  <a:gd name="T64" fmla="*/ 9 w 18"/>
                  <a:gd name="T65" fmla="*/ 26 h 54"/>
                  <a:gd name="T66" fmla="*/ 10 w 18"/>
                  <a:gd name="T67" fmla="*/ 27 h 54"/>
                  <a:gd name="T68" fmla="*/ 10 w 18"/>
                  <a:gd name="T69" fmla="*/ 27 h 54"/>
                  <a:gd name="T70" fmla="*/ 10 w 18"/>
                  <a:gd name="T71" fmla="*/ 27 h 54"/>
                  <a:gd name="T72" fmla="*/ 14 w 18"/>
                  <a:gd name="T73" fmla="*/ 31 h 54"/>
                  <a:gd name="T74" fmla="*/ 15 w 18"/>
                  <a:gd name="T75" fmla="*/ 32 h 54"/>
                  <a:gd name="T76" fmla="*/ 16 w 18"/>
                  <a:gd name="T77" fmla="*/ 34 h 54"/>
                  <a:gd name="T78" fmla="*/ 17 w 18"/>
                  <a:gd name="T79" fmla="*/ 43 h 54"/>
                  <a:gd name="T80" fmla="*/ 17 w 18"/>
                  <a:gd name="T81" fmla="*/ 44 h 54"/>
                  <a:gd name="T82" fmla="*/ 17 w 18"/>
                  <a:gd name="T83" fmla="*/ 44 h 54"/>
                  <a:gd name="T84" fmla="*/ 16 w 18"/>
                  <a:gd name="T85" fmla="*/ 49 h 54"/>
                  <a:gd name="T86" fmla="*/ 13 w 18"/>
                  <a:gd name="T8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54">
                    <a:moveTo>
                      <a:pt x="13" y="54"/>
                    </a:moveTo>
                    <a:cubicBezTo>
                      <a:pt x="13" y="54"/>
                      <a:pt x="13" y="53"/>
                      <a:pt x="13" y="53"/>
                    </a:cubicBezTo>
                    <a:cubicBezTo>
                      <a:pt x="13" y="53"/>
                      <a:pt x="13" y="52"/>
                      <a:pt x="13" y="51"/>
                    </a:cubicBezTo>
                    <a:cubicBezTo>
                      <a:pt x="13" y="50"/>
                      <a:pt x="13" y="49"/>
                      <a:pt x="13" y="48"/>
                    </a:cubicBezTo>
                    <a:cubicBezTo>
                      <a:pt x="13" y="48"/>
                      <a:pt x="13" y="47"/>
                      <a:pt x="13" y="46"/>
                    </a:cubicBezTo>
                    <a:cubicBezTo>
                      <a:pt x="13" y="46"/>
                      <a:pt x="13" y="45"/>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4"/>
                      <a:pt x="13" y="44"/>
                      <a:pt x="13" y="44"/>
                    </a:cubicBezTo>
                    <a:cubicBezTo>
                      <a:pt x="13" y="43"/>
                      <a:pt x="13" y="43"/>
                      <a:pt x="13" y="43"/>
                    </a:cubicBezTo>
                    <a:cubicBezTo>
                      <a:pt x="13" y="43"/>
                      <a:pt x="13" y="43"/>
                      <a:pt x="13" y="43"/>
                    </a:cubicBezTo>
                    <a:cubicBezTo>
                      <a:pt x="13" y="43"/>
                      <a:pt x="13" y="43"/>
                      <a:pt x="13" y="42"/>
                    </a:cubicBezTo>
                    <a:cubicBezTo>
                      <a:pt x="13" y="42"/>
                      <a:pt x="13" y="41"/>
                      <a:pt x="13" y="40"/>
                    </a:cubicBezTo>
                    <a:cubicBezTo>
                      <a:pt x="12" y="39"/>
                      <a:pt x="12" y="38"/>
                      <a:pt x="11" y="37"/>
                    </a:cubicBezTo>
                    <a:cubicBezTo>
                      <a:pt x="11" y="37"/>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1" y="36"/>
                      <a:pt x="11" y="36"/>
                      <a:pt x="11" y="36"/>
                    </a:cubicBezTo>
                    <a:cubicBezTo>
                      <a:pt x="10" y="36"/>
                      <a:pt x="10" y="36"/>
                      <a:pt x="10" y="36"/>
                    </a:cubicBezTo>
                    <a:cubicBezTo>
                      <a:pt x="10" y="36"/>
                      <a:pt x="10" y="36"/>
                      <a:pt x="10" y="36"/>
                    </a:cubicBezTo>
                    <a:cubicBezTo>
                      <a:pt x="10" y="36"/>
                      <a:pt x="10" y="36"/>
                      <a:pt x="10" y="36"/>
                    </a:cubicBezTo>
                    <a:cubicBezTo>
                      <a:pt x="10" y="35"/>
                      <a:pt x="10" y="35"/>
                      <a:pt x="10" y="35"/>
                    </a:cubicBezTo>
                    <a:cubicBezTo>
                      <a:pt x="10" y="35"/>
                      <a:pt x="10" y="35"/>
                      <a:pt x="10" y="35"/>
                    </a:cubicBezTo>
                    <a:cubicBezTo>
                      <a:pt x="9" y="35"/>
                      <a:pt x="9" y="34"/>
                      <a:pt x="8" y="34"/>
                    </a:cubicBezTo>
                    <a:cubicBezTo>
                      <a:pt x="8" y="33"/>
                      <a:pt x="7" y="33"/>
                      <a:pt x="7" y="33"/>
                    </a:cubicBezTo>
                    <a:cubicBezTo>
                      <a:pt x="7" y="33"/>
                      <a:pt x="6" y="32"/>
                      <a:pt x="6" y="32"/>
                    </a:cubicBezTo>
                    <a:cubicBezTo>
                      <a:pt x="6" y="32"/>
                      <a:pt x="6" y="32"/>
                      <a:pt x="5" y="32"/>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5" y="31"/>
                      <a:pt x="5" y="31"/>
                      <a:pt x="5" y="31"/>
                    </a:cubicBezTo>
                    <a:cubicBezTo>
                      <a:pt x="4" y="30"/>
                      <a:pt x="4" y="30"/>
                      <a:pt x="4" y="30"/>
                    </a:cubicBezTo>
                    <a:cubicBezTo>
                      <a:pt x="4" y="30"/>
                      <a:pt x="4" y="30"/>
                      <a:pt x="4" y="30"/>
                    </a:cubicBezTo>
                    <a:cubicBezTo>
                      <a:pt x="4" y="29"/>
                      <a:pt x="4" y="29"/>
                      <a:pt x="4" y="29"/>
                    </a:cubicBezTo>
                    <a:cubicBezTo>
                      <a:pt x="3" y="29"/>
                      <a:pt x="3" y="29"/>
                      <a:pt x="3" y="29"/>
                    </a:cubicBezTo>
                    <a:cubicBezTo>
                      <a:pt x="3" y="29"/>
                      <a:pt x="3" y="29"/>
                      <a:pt x="3" y="29"/>
                    </a:cubicBezTo>
                    <a:cubicBezTo>
                      <a:pt x="3" y="28"/>
                      <a:pt x="3" y="28"/>
                      <a:pt x="3" y="28"/>
                    </a:cubicBezTo>
                    <a:cubicBezTo>
                      <a:pt x="2" y="27"/>
                      <a:pt x="2" y="27"/>
                      <a:pt x="2" y="27"/>
                    </a:cubicBezTo>
                    <a:cubicBezTo>
                      <a:pt x="2" y="27"/>
                      <a:pt x="2" y="27"/>
                      <a:pt x="2" y="27"/>
                    </a:cubicBezTo>
                    <a:cubicBezTo>
                      <a:pt x="2" y="27"/>
                      <a:pt x="2" y="27"/>
                      <a:pt x="2" y="26"/>
                    </a:cubicBezTo>
                    <a:cubicBezTo>
                      <a:pt x="2" y="26"/>
                      <a:pt x="1" y="25"/>
                      <a:pt x="1" y="25"/>
                    </a:cubicBezTo>
                    <a:cubicBezTo>
                      <a:pt x="1" y="24"/>
                      <a:pt x="1" y="24"/>
                      <a:pt x="1" y="24"/>
                    </a:cubicBezTo>
                    <a:cubicBezTo>
                      <a:pt x="1" y="24"/>
                      <a:pt x="1" y="23"/>
                      <a:pt x="1" y="23"/>
                    </a:cubicBezTo>
                    <a:cubicBezTo>
                      <a:pt x="1" y="23"/>
                      <a:pt x="1" y="23"/>
                      <a:pt x="1" y="22"/>
                    </a:cubicBezTo>
                    <a:cubicBezTo>
                      <a:pt x="0" y="22"/>
                      <a:pt x="0" y="22"/>
                      <a:pt x="0" y="22"/>
                    </a:cubicBezTo>
                    <a:cubicBezTo>
                      <a:pt x="0" y="21"/>
                      <a:pt x="0" y="21"/>
                      <a:pt x="0" y="20"/>
                    </a:cubicBezTo>
                    <a:cubicBezTo>
                      <a:pt x="0" y="19"/>
                      <a:pt x="0" y="18"/>
                      <a:pt x="0" y="17"/>
                    </a:cubicBezTo>
                    <a:cubicBezTo>
                      <a:pt x="0" y="16"/>
                      <a:pt x="0" y="16"/>
                      <a:pt x="0" y="15"/>
                    </a:cubicBezTo>
                    <a:cubicBezTo>
                      <a:pt x="0" y="15"/>
                      <a:pt x="0" y="15"/>
                      <a:pt x="0" y="15"/>
                    </a:cubicBezTo>
                    <a:cubicBezTo>
                      <a:pt x="0" y="15"/>
                      <a:pt x="0" y="14"/>
                      <a:pt x="0" y="14"/>
                    </a:cubicBezTo>
                    <a:cubicBezTo>
                      <a:pt x="1" y="14"/>
                      <a:pt x="1" y="14"/>
                      <a:pt x="1" y="14"/>
                    </a:cubicBezTo>
                    <a:cubicBezTo>
                      <a:pt x="1" y="14"/>
                      <a:pt x="1" y="14"/>
                      <a:pt x="1" y="14"/>
                    </a:cubicBezTo>
                    <a:cubicBezTo>
                      <a:pt x="1" y="13"/>
                      <a:pt x="1" y="13"/>
                      <a:pt x="1" y="13"/>
                    </a:cubicBezTo>
                    <a:cubicBezTo>
                      <a:pt x="1" y="13"/>
                      <a:pt x="1" y="13"/>
                      <a:pt x="1" y="13"/>
                    </a:cubicBezTo>
                    <a:cubicBezTo>
                      <a:pt x="1" y="13"/>
                      <a:pt x="1" y="13"/>
                      <a:pt x="1" y="13"/>
                    </a:cubicBezTo>
                    <a:cubicBezTo>
                      <a:pt x="1" y="13"/>
                      <a:pt x="1" y="13"/>
                      <a:pt x="1" y="13"/>
                    </a:cubicBezTo>
                    <a:cubicBezTo>
                      <a:pt x="1" y="12"/>
                      <a:pt x="1" y="12"/>
                      <a:pt x="1" y="12"/>
                    </a:cubicBezTo>
                    <a:cubicBezTo>
                      <a:pt x="1" y="12"/>
                      <a:pt x="1" y="12"/>
                      <a:pt x="1" y="12"/>
                    </a:cubicBezTo>
                    <a:cubicBezTo>
                      <a:pt x="1" y="12"/>
                      <a:pt x="1" y="12"/>
                      <a:pt x="1" y="11"/>
                    </a:cubicBezTo>
                    <a:cubicBezTo>
                      <a:pt x="2" y="10"/>
                      <a:pt x="3" y="8"/>
                      <a:pt x="3" y="7"/>
                    </a:cubicBezTo>
                    <a:cubicBezTo>
                      <a:pt x="4" y="6"/>
                      <a:pt x="5" y="4"/>
                      <a:pt x="6" y="4"/>
                    </a:cubicBezTo>
                    <a:cubicBezTo>
                      <a:pt x="7" y="3"/>
                      <a:pt x="7" y="2"/>
                      <a:pt x="8" y="1"/>
                    </a:cubicBezTo>
                    <a:cubicBezTo>
                      <a:pt x="8" y="1"/>
                      <a:pt x="8" y="1"/>
                      <a:pt x="8" y="1"/>
                    </a:cubicBezTo>
                    <a:cubicBezTo>
                      <a:pt x="9" y="1"/>
                      <a:pt x="9" y="1"/>
                      <a:pt x="9" y="1"/>
                    </a:cubicBezTo>
                    <a:cubicBezTo>
                      <a:pt x="9" y="0"/>
                      <a:pt x="9" y="0"/>
                      <a:pt x="9" y="0"/>
                    </a:cubicBezTo>
                    <a:cubicBezTo>
                      <a:pt x="10" y="0"/>
                      <a:pt x="10" y="0"/>
                      <a:pt x="10" y="0"/>
                    </a:cubicBezTo>
                    <a:cubicBezTo>
                      <a:pt x="10" y="0"/>
                      <a:pt x="10" y="0"/>
                      <a:pt x="10" y="0"/>
                    </a:cubicBezTo>
                    <a:cubicBezTo>
                      <a:pt x="10" y="1"/>
                      <a:pt x="9" y="1"/>
                      <a:pt x="9" y="2"/>
                    </a:cubicBezTo>
                    <a:cubicBezTo>
                      <a:pt x="9" y="2"/>
                      <a:pt x="9" y="3"/>
                      <a:pt x="8" y="3"/>
                    </a:cubicBezTo>
                    <a:cubicBezTo>
                      <a:pt x="8" y="4"/>
                      <a:pt x="8" y="4"/>
                      <a:pt x="8" y="5"/>
                    </a:cubicBezTo>
                    <a:cubicBezTo>
                      <a:pt x="7" y="6"/>
                      <a:pt x="7" y="7"/>
                      <a:pt x="7" y="8"/>
                    </a:cubicBezTo>
                    <a:cubicBezTo>
                      <a:pt x="6" y="10"/>
                      <a:pt x="6" y="11"/>
                      <a:pt x="6" y="12"/>
                    </a:cubicBezTo>
                    <a:cubicBezTo>
                      <a:pt x="6" y="13"/>
                      <a:pt x="6" y="13"/>
                      <a:pt x="6" y="13"/>
                    </a:cubicBezTo>
                    <a:cubicBezTo>
                      <a:pt x="6" y="13"/>
                      <a:pt x="6" y="13"/>
                      <a:pt x="6" y="13"/>
                    </a:cubicBezTo>
                    <a:cubicBezTo>
                      <a:pt x="6" y="13"/>
                      <a:pt x="6" y="13"/>
                      <a:pt x="6" y="13"/>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4"/>
                      <a:pt x="6" y="14"/>
                      <a:pt x="6" y="14"/>
                    </a:cubicBezTo>
                    <a:cubicBezTo>
                      <a:pt x="6" y="15"/>
                      <a:pt x="6" y="15"/>
                      <a:pt x="6" y="15"/>
                    </a:cubicBezTo>
                    <a:cubicBezTo>
                      <a:pt x="6" y="15"/>
                      <a:pt x="6" y="15"/>
                      <a:pt x="6" y="15"/>
                    </a:cubicBezTo>
                    <a:cubicBezTo>
                      <a:pt x="6" y="15"/>
                      <a:pt x="6" y="16"/>
                      <a:pt x="6" y="16"/>
                    </a:cubicBezTo>
                    <a:cubicBezTo>
                      <a:pt x="6" y="16"/>
                      <a:pt x="6" y="17"/>
                      <a:pt x="6" y="17"/>
                    </a:cubicBezTo>
                    <a:cubicBezTo>
                      <a:pt x="6" y="18"/>
                      <a:pt x="6" y="18"/>
                      <a:pt x="6" y="19"/>
                    </a:cubicBezTo>
                    <a:cubicBezTo>
                      <a:pt x="6" y="20"/>
                      <a:pt x="6" y="21"/>
                      <a:pt x="7" y="22"/>
                    </a:cubicBezTo>
                    <a:cubicBezTo>
                      <a:pt x="7" y="22"/>
                      <a:pt x="7" y="23"/>
                      <a:pt x="7" y="24"/>
                    </a:cubicBezTo>
                    <a:cubicBezTo>
                      <a:pt x="8" y="24"/>
                      <a:pt x="8" y="25"/>
                      <a:pt x="9" y="26"/>
                    </a:cubicBezTo>
                    <a:cubicBezTo>
                      <a:pt x="9" y="26"/>
                      <a:pt x="9" y="26"/>
                      <a:pt x="9" y="26"/>
                    </a:cubicBezTo>
                    <a:cubicBezTo>
                      <a:pt x="9" y="26"/>
                      <a:pt x="9" y="26"/>
                      <a:pt x="9" y="26"/>
                    </a:cubicBezTo>
                    <a:cubicBezTo>
                      <a:pt x="9" y="26"/>
                      <a:pt x="9" y="26"/>
                      <a:pt x="9" y="26"/>
                    </a:cubicBezTo>
                    <a:cubicBezTo>
                      <a:pt x="9" y="26"/>
                      <a:pt x="9" y="26"/>
                      <a:pt x="9" y="26"/>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1" y="28"/>
                      <a:pt x="11" y="28"/>
                    </a:cubicBezTo>
                    <a:cubicBezTo>
                      <a:pt x="11" y="28"/>
                      <a:pt x="12" y="29"/>
                      <a:pt x="12" y="29"/>
                    </a:cubicBezTo>
                    <a:cubicBezTo>
                      <a:pt x="13" y="30"/>
                      <a:pt x="13" y="30"/>
                      <a:pt x="14" y="31"/>
                    </a:cubicBezTo>
                    <a:cubicBezTo>
                      <a:pt x="14" y="31"/>
                      <a:pt x="14" y="31"/>
                      <a:pt x="14" y="31"/>
                    </a:cubicBezTo>
                    <a:cubicBezTo>
                      <a:pt x="15" y="32"/>
                      <a:pt x="15" y="32"/>
                      <a:pt x="15" y="32"/>
                    </a:cubicBezTo>
                    <a:cubicBezTo>
                      <a:pt x="15" y="32"/>
                      <a:pt x="15" y="32"/>
                      <a:pt x="15" y="32"/>
                    </a:cubicBezTo>
                    <a:cubicBezTo>
                      <a:pt x="15" y="32"/>
                      <a:pt x="15" y="32"/>
                      <a:pt x="15" y="32"/>
                    </a:cubicBezTo>
                    <a:cubicBezTo>
                      <a:pt x="15" y="32"/>
                      <a:pt x="15" y="32"/>
                      <a:pt x="15" y="32"/>
                    </a:cubicBezTo>
                    <a:cubicBezTo>
                      <a:pt x="16" y="33"/>
                      <a:pt x="16" y="33"/>
                      <a:pt x="16" y="34"/>
                    </a:cubicBezTo>
                    <a:cubicBezTo>
                      <a:pt x="17" y="36"/>
                      <a:pt x="17" y="38"/>
                      <a:pt x="18" y="40"/>
                    </a:cubicBezTo>
                    <a:cubicBezTo>
                      <a:pt x="18" y="41"/>
                      <a:pt x="17" y="42"/>
                      <a:pt x="17" y="43"/>
                    </a:cubicBezTo>
                    <a:cubicBezTo>
                      <a:pt x="17" y="43"/>
                      <a:pt x="17" y="43"/>
                      <a:pt x="17" y="43"/>
                    </a:cubicBezTo>
                    <a:cubicBezTo>
                      <a:pt x="17" y="43"/>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4"/>
                      <a:pt x="17" y="44"/>
                      <a:pt x="17" y="44"/>
                    </a:cubicBezTo>
                    <a:cubicBezTo>
                      <a:pt x="17" y="45"/>
                      <a:pt x="17" y="45"/>
                      <a:pt x="17" y="45"/>
                    </a:cubicBezTo>
                    <a:cubicBezTo>
                      <a:pt x="17" y="46"/>
                      <a:pt x="16" y="48"/>
                      <a:pt x="16" y="49"/>
                    </a:cubicBezTo>
                    <a:cubicBezTo>
                      <a:pt x="15" y="50"/>
                      <a:pt x="15" y="51"/>
                      <a:pt x="14" y="51"/>
                    </a:cubicBezTo>
                    <a:cubicBezTo>
                      <a:pt x="14" y="52"/>
                      <a:pt x="13" y="53"/>
                      <a:pt x="13" y="53"/>
                    </a:cubicBezTo>
                    <a:cubicBezTo>
                      <a:pt x="13" y="54"/>
                      <a:pt x="13" y="54"/>
                      <a:pt x="1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1" name="Freeform 251">
                <a:extLst>
                  <a:ext uri="{FF2B5EF4-FFF2-40B4-BE49-F238E27FC236}">
                    <a16:creationId xmlns:a16="http://schemas.microsoft.com/office/drawing/2014/main" id="{0456A1B3-F582-9909-29AD-FA35A933B542}"/>
                  </a:ext>
                </a:extLst>
              </p:cNvPr>
              <p:cNvSpPr>
                <a:spLocks/>
              </p:cNvSpPr>
              <p:nvPr/>
            </p:nvSpPr>
            <p:spPr bwMode="auto">
              <a:xfrm rot="5400000">
                <a:off x="4628129" y="5042626"/>
                <a:ext cx="42720" cy="282191"/>
              </a:xfrm>
              <a:custGeom>
                <a:avLst/>
                <a:gdLst>
                  <a:gd name="T0" fmla="*/ 15 w 20"/>
                  <a:gd name="T1" fmla="*/ 73 h 76"/>
                  <a:gd name="T2" fmla="*/ 15 w 20"/>
                  <a:gd name="T3" fmla="*/ 66 h 76"/>
                  <a:gd name="T4" fmla="*/ 15 w 20"/>
                  <a:gd name="T5" fmla="*/ 63 h 76"/>
                  <a:gd name="T6" fmla="*/ 15 w 20"/>
                  <a:gd name="T7" fmla="*/ 62 h 76"/>
                  <a:gd name="T8" fmla="*/ 15 w 20"/>
                  <a:gd name="T9" fmla="*/ 62 h 76"/>
                  <a:gd name="T10" fmla="*/ 13 w 20"/>
                  <a:gd name="T11" fmla="*/ 52 h 76"/>
                  <a:gd name="T12" fmla="*/ 12 w 20"/>
                  <a:gd name="T13" fmla="*/ 50 h 76"/>
                  <a:gd name="T14" fmla="*/ 12 w 20"/>
                  <a:gd name="T15" fmla="*/ 50 h 76"/>
                  <a:gd name="T16" fmla="*/ 12 w 20"/>
                  <a:gd name="T17" fmla="*/ 50 h 76"/>
                  <a:gd name="T18" fmla="*/ 12 w 20"/>
                  <a:gd name="T19" fmla="*/ 50 h 76"/>
                  <a:gd name="T20" fmla="*/ 9 w 20"/>
                  <a:gd name="T21" fmla="*/ 47 h 76"/>
                  <a:gd name="T22" fmla="*/ 6 w 20"/>
                  <a:gd name="T23" fmla="*/ 44 h 76"/>
                  <a:gd name="T24" fmla="*/ 6 w 20"/>
                  <a:gd name="T25" fmla="*/ 44 h 76"/>
                  <a:gd name="T26" fmla="*/ 5 w 20"/>
                  <a:gd name="T27" fmla="*/ 43 h 76"/>
                  <a:gd name="T28" fmla="*/ 4 w 20"/>
                  <a:gd name="T29" fmla="*/ 41 h 76"/>
                  <a:gd name="T30" fmla="*/ 0 w 20"/>
                  <a:gd name="T31" fmla="*/ 29 h 76"/>
                  <a:gd name="T32" fmla="*/ 0 w 20"/>
                  <a:gd name="T33" fmla="*/ 25 h 76"/>
                  <a:gd name="T34" fmla="*/ 0 w 20"/>
                  <a:gd name="T35" fmla="*/ 21 h 76"/>
                  <a:gd name="T36" fmla="*/ 0 w 20"/>
                  <a:gd name="T37" fmla="*/ 20 h 76"/>
                  <a:gd name="T38" fmla="*/ 0 w 20"/>
                  <a:gd name="T39" fmla="*/ 19 h 76"/>
                  <a:gd name="T40" fmla="*/ 1 w 20"/>
                  <a:gd name="T41" fmla="*/ 16 h 76"/>
                  <a:gd name="T42" fmla="*/ 2 w 20"/>
                  <a:gd name="T43" fmla="*/ 14 h 76"/>
                  <a:gd name="T44" fmla="*/ 6 w 20"/>
                  <a:gd name="T45" fmla="*/ 6 h 76"/>
                  <a:gd name="T46" fmla="*/ 10 w 20"/>
                  <a:gd name="T47" fmla="*/ 2 h 76"/>
                  <a:gd name="T48" fmla="*/ 11 w 20"/>
                  <a:gd name="T49" fmla="*/ 1 h 76"/>
                  <a:gd name="T50" fmla="*/ 7 w 20"/>
                  <a:gd name="T51" fmla="*/ 12 h 76"/>
                  <a:gd name="T52" fmla="*/ 6 w 20"/>
                  <a:gd name="T53" fmla="*/ 15 h 76"/>
                  <a:gd name="T54" fmla="*/ 5 w 20"/>
                  <a:gd name="T55" fmla="*/ 19 h 76"/>
                  <a:gd name="T56" fmla="*/ 5 w 20"/>
                  <a:gd name="T57" fmla="*/ 21 h 76"/>
                  <a:gd name="T58" fmla="*/ 5 w 20"/>
                  <a:gd name="T59" fmla="*/ 21 h 76"/>
                  <a:gd name="T60" fmla="*/ 5 w 20"/>
                  <a:gd name="T61" fmla="*/ 22 h 76"/>
                  <a:gd name="T62" fmla="*/ 6 w 20"/>
                  <a:gd name="T63" fmla="*/ 31 h 76"/>
                  <a:gd name="T64" fmla="*/ 9 w 20"/>
                  <a:gd name="T65" fmla="*/ 38 h 76"/>
                  <a:gd name="T66" fmla="*/ 10 w 20"/>
                  <a:gd name="T67" fmla="*/ 40 h 76"/>
                  <a:gd name="T68" fmla="*/ 10 w 20"/>
                  <a:gd name="T69" fmla="*/ 40 h 76"/>
                  <a:gd name="T70" fmla="*/ 11 w 20"/>
                  <a:gd name="T71" fmla="*/ 40 h 76"/>
                  <a:gd name="T72" fmla="*/ 16 w 20"/>
                  <a:gd name="T73" fmla="*/ 46 h 76"/>
                  <a:gd name="T74" fmla="*/ 16 w 20"/>
                  <a:gd name="T75" fmla="*/ 46 h 76"/>
                  <a:gd name="T76" fmla="*/ 17 w 20"/>
                  <a:gd name="T77" fmla="*/ 47 h 76"/>
                  <a:gd name="T78" fmla="*/ 18 w 20"/>
                  <a:gd name="T79" fmla="*/ 49 h 76"/>
                  <a:gd name="T80" fmla="*/ 20 w 20"/>
                  <a:gd name="T81" fmla="*/ 55 h 76"/>
                  <a:gd name="T82" fmla="*/ 20 w 20"/>
                  <a:gd name="T83" fmla="*/ 61 h 76"/>
                  <a:gd name="T84" fmla="*/ 19 w 20"/>
                  <a:gd name="T85" fmla="*/ 63 h 76"/>
                  <a:gd name="T86" fmla="*/ 19 w 20"/>
                  <a:gd name="T87" fmla="*/ 63 h 76"/>
                  <a:gd name="T88" fmla="*/ 19 w 20"/>
                  <a:gd name="T89" fmla="*/ 64 h 76"/>
                  <a:gd name="T90" fmla="*/ 15 w 20"/>
                  <a:gd name="T9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 h="76">
                    <a:moveTo>
                      <a:pt x="14" y="76"/>
                    </a:moveTo>
                    <a:cubicBezTo>
                      <a:pt x="14" y="76"/>
                      <a:pt x="14" y="76"/>
                      <a:pt x="14" y="76"/>
                    </a:cubicBezTo>
                    <a:cubicBezTo>
                      <a:pt x="14" y="75"/>
                      <a:pt x="15" y="74"/>
                      <a:pt x="15" y="73"/>
                    </a:cubicBezTo>
                    <a:cubicBezTo>
                      <a:pt x="15" y="72"/>
                      <a:pt x="15" y="70"/>
                      <a:pt x="15" y="69"/>
                    </a:cubicBezTo>
                    <a:cubicBezTo>
                      <a:pt x="15" y="68"/>
                      <a:pt x="15" y="68"/>
                      <a:pt x="15" y="68"/>
                    </a:cubicBezTo>
                    <a:cubicBezTo>
                      <a:pt x="15" y="67"/>
                      <a:pt x="15" y="67"/>
                      <a:pt x="15" y="66"/>
                    </a:cubicBezTo>
                    <a:cubicBezTo>
                      <a:pt x="15" y="66"/>
                      <a:pt x="15" y="65"/>
                      <a:pt x="15" y="64"/>
                    </a:cubicBezTo>
                    <a:cubicBezTo>
                      <a:pt x="15" y="63"/>
                      <a:pt x="15" y="63"/>
                      <a:pt x="15" y="63"/>
                    </a:cubicBezTo>
                    <a:cubicBezTo>
                      <a:pt x="15" y="63"/>
                      <a:pt x="15" y="63"/>
                      <a:pt x="15" y="63"/>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2"/>
                      <a:pt x="15" y="62"/>
                      <a:pt x="15" y="62"/>
                    </a:cubicBezTo>
                    <a:cubicBezTo>
                      <a:pt x="15" y="61"/>
                      <a:pt x="15" y="61"/>
                      <a:pt x="15" y="61"/>
                    </a:cubicBezTo>
                    <a:cubicBezTo>
                      <a:pt x="15" y="60"/>
                      <a:pt x="15" y="59"/>
                      <a:pt x="15" y="58"/>
                    </a:cubicBezTo>
                    <a:cubicBezTo>
                      <a:pt x="15" y="56"/>
                      <a:pt x="14" y="54"/>
                      <a:pt x="13" y="52"/>
                    </a:cubicBezTo>
                    <a:cubicBezTo>
                      <a:pt x="13" y="52"/>
                      <a:pt x="13" y="52"/>
                      <a:pt x="13" y="51"/>
                    </a:cubicBezTo>
                    <a:cubicBezTo>
                      <a:pt x="13" y="51"/>
                      <a:pt x="13" y="51"/>
                      <a:pt x="12" y="51"/>
                    </a:cubicBezTo>
                    <a:cubicBezTo>
                      <a:pt x="12" y="50"/>
                      <a:pt x="12" y="50"/>
                      <a:pt x="12" y="50"/>
                    </a:cubicBezTo>
                    <a:cubicBezTo>
                      <a:pt x="12" y="50"/>
                      <a:pt x="12" y="51"/>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2" y="50"/>
                      <a:pt x="12" y="50"/>
                      <a:pt x="12" y="50"/>
                    </a:cubicBezTo>
                    <a:cubicBezTo>
                      <a:pt x="11" y="49"/>
                      <a:pt x="10" y="48"/>
                      <a:pt x="9" y="47"/>
                    </a:cubicBezTo>
                    <a:cubicBezTo>
                      <a:pt x="9" y="47"/>
                      <a:pt x="8" y="46"/>
                      <a:pt x="8" y="46"/>
                    </a:cubicBezTo>
                    <a:cubicBezTo>
                      <a:pt x="7" y="45"/>
                      <a:pt x="7" y="45"/>
                      <a:pt x="6" y="44"/>
                    </a:cubicBezTo>
                    <a:cubicBezTo>
                      <a:pt x="6" y="44"/>
                      <a:pt x="6" y="44"/>
                      <a:pt x="6" y="44"/>
                    </a:cubicBezTo>
                    <a:cubicBezTo>
                      <a:pt x="6" y="44"/>
                      <a:pt x="6" y="44"/>
                      <a:pt x="6" y="44"/>
                    </a:cubicBezTo>
                    <a:cubicBezTo>
                      <a:pt x="6" y="44"/>
                      <a:pt x="6" y="44"/>
                      <a:pt x="6" y="44"/>
                    </a:cubicBezTo>
                    <a:cubicBezTo>
                      <a:pt x="6" y="44"/>
                      <a:pt x="6" y="44"/>
                      <a:pt x="6" y="44"/>
                    </a:cubicBezTo>
                    <a:cubicBezTo>
                      <a:pt x="5" y="44"/>
                      <a:pt x="5" y="44"/>
                      <a:pt x="5" y="44"/>
                    </a:cubicBezTo>
                    <a:cubicBezTo>
                      <a:pt x="5" y="44"/>
                      <a:pt x="5" y="44"/>
                      <a:pt x="5" y="44"/>
                    </a:cubicBezTo>
                    <a:cubicBezTo>
                      <a:pt x="5" y="43"/>
                      <a:pt x="5" y="43"/>
                      <a:pt x="5" y="43"/>
                    </a:cubicBezTo>
                    <a:cubicBezTo>
                      <a:pt x="5" y="43"/>
                      <a:pt x="5" y="42"/>
                      <a:pt x="4" y="42"/>
                    </a:cubicBezTo>
                    <a:cubicBezTo>
                      <a:pt x="4" y="42"/>
                      <a:pt x="4" y="42"/>
                      <a:pt x="4" y="42"/>
                    </a:cubicBezTo>
                    <a:cubicBezTo>
                      <a:pt x="4" y="41"/>
                      <a:pt x="4" y="41"/>
                      <a:pt x="4" y="41"/>
                    </a:cubicBezTo>
                    <a:cubicBezTo>
                      <a:pt x="4" y="41"/>
                      <a:pt x="4" y="41"/>
                      <a:pt x="3" y="41"/>
                    </a:cubicBezTo>
                    <a:cubicBezTo>
                      <a:pt x="2" y="38"/>
                      <a:pt x="1" y="35"/>
                      <a:pt x="0" y="33"/>
                    </a:cubicBezTo>
                    <a:cubicBezTo>
                      <a:pt x="0" y="31"/>
                      <a:pt x="0" y="30"/>
                      <a:pt x="0" y="29"/>
                    </a:cubicBezTo>
                    <a:cubicBezTo>
                      <a:pt x="0" y="28"/>
                      <a:pt x="0" y="27"/>
                      <a:pt x="0" y="27"/>
                    </a:cubicBezTo>
                    <a:cubicBezTo>
                      <a:pt x="0" y="26"/>
                      <a:pt x="0" y="26"/>
                      <a:pt x="0" y="26"/>
                    </a:cubicBezTo>
                    <a:cubicBezTo>
                      <a:pt x="0" y="25"/>
                      <a:pt x="0" y="25"/>
                      <a:pt x="0" y="25"/>
                    </a:cubicBezTo>
                    <a:cubicBezTo>
                      <a:pt x="0" y="24"/>
                      <a:pt x="0" y="23"/>
                      <a:pt x="0" y="23"/>
                    </a:cubicBezTo>
                    <a:cubicBezTo>
                      <a:pt x="0" y="22"/>
                      <a:pt x="0" y="22"/>
                      <a:pt x="0" y="22"/>
                    </a:cubicBezTo>
                    <a:cubicBezTo>
                      <a:pt x="0" y="21"/>
                      <a:pt x="0" y="21"/>
                      <a:pt x="0" y="21"/>
                    </a:cubicBezTo>
                    <a:cubicBezTo>
                      <a:pt x="0" y="21"/>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1" y="19"/>
                      <a:pt x="1" y="18"/>
                      <a:pt x="1" y="18"/>
                    </a:cubicBezTo>
                    <a:cubicBezTo>
                      <a:pt x="1" y="18"/>
                      <a:pt x="1" y="18"/>
                      <a:pt x="1" y="17"/>
                    </a:cubicBezTo>
                    <a:cubicBezTo>
                      <a:pt x="1" y="17"/>
                      <a:pt x="1" y="16"/>
                      <a:pt x="1" y="16"/>
                    </a:cubicBezTo>
                    <a:cubicBezTo>
                      <a:pt x="2" y="15"/>
                      <a:pt x="2" y="15"/>
                      <a:pt x="2" y="15"/>
                    </a:cubicBezTo>
                    <a:cubicBezTo>
                      <a:pt x="2" y="15"/>
                      <a:pt x="2" y="14"/>
                      <a:pt x="2" y="14"/>
                    </a:cubicBezTo>
                    <a:cubicBezTo>
                      <a:pt x="2" y="14"/>
                      <a:pt x="2" y="14"/>
                      <a:pt x="2" y="14"/>
                    </a:cubicBezTo>
                    <a:cubicBezTo>
                      <a:pt x="2" y="13"/>
                      <a:pt x="2" y="13"/>
                      <a:pt x="3" y="12"/>
                    </a:cubicBezTo>
                    <a:cubicBezTo>
                      <a:pt x="3" y="12"/>
                      <a:pt x="3" y="11"/>
                      <a:pt x="3" y="11"/>
                    </a:cubicBezTo>
                    <a:cubicBezTo>
                      <a:pt x="4" y="9"/>
                      <a:pt x="5" y="8"/>
                      <a:pt x="6" y="6"/>
                    </a:cubicBezTo>
                    <a:cubicBezTo>
                      <a:pt x="7" y="5"/>
                      <a:pt x="8" y="4"/>
                      <a:pt x="9" y="3"/>
                    </a:cubicBezTo>
                    <a:cubicBezTo>
                      <a:pt x="9" y="3"/>
                      <a:pt x="9" y="3"/>
                      <a:pt x="9" y="2"/>
                    </a:cubicBezTo>
                    <a:cubicBezTo>
                      <a:pt x="9" y="2"/>
                      <a:pt x="10" y="2"/>
                      <a:pt x="10" y="2"/>
                    </a:cubicBezTo>
                    <a:cubicBezTo>
                      <a:pt x="10" y="1"/>
                      <a:pt x="10" y="1"/>
                      <a:pt x="10" y="1"/>
                    </a:cubicBezTo>
                    <a:cubicBezTo>
                      <a:pt x="11" y="1"/>
                      <a:pt x="11" y="0"/>
                      <a:pt x="11" y="0"/>
                    </a:cubicBezTo>
                    <a:cubicBezTo>
                      <a:pt x="11" y="0"/>
                      <a:pt x="11" y="1"/>
                      <a:pt x="11" y="1"/>
                    </a:cubicBezTo>
                    <a:cubicBezTo>
                      <a:pt x="11" y="2"/>
                      <a:pt x="10" y="3"/>
                      <a:pt x="10" y="4"/>
                    </a:cubicBezTo>
                    <a:cubicBezTo>
                      <a:pt x="9" y="5"/>
                      <a:pt x="9" y="6"/>
                      <a:pt x="8" y="7"/>
                    </a:cubicBezTo>
                    <a:cubicBezTo>
                      <a:pt x="8" y="9"/>
                      <a:pt x="7" y="11"/>
                      <a:pt x="7" y="12"/>
                    </a:cubicBezTo>
                    <a:cubicBezTo>
                      <a:pt x="7" y="13"/>
                      <a:pt x="7" y="13"/>
                      <a:pt x="7" y="13"/>
                    </a:cubicBezTo>
                    <a:cubicBezTo>
                      <a:pt x="6" y="13"/>
                      <a:pt x="6" y="13"/>
                      <a:pt x="6" y="14"/>
                    </a:cubicBezTo>
                    <a:cubicBezTo>
                      <a:pt x="6" y="14"/>
                      <a:pt x="6" y="15"/>
                      <a:pt x="6" y="15"/>
                    </a:cubicBezTo>
                    <a:cubicBezTo>
                      <a:pt x="6" y="16"/>
                      <a:pt x="6" y="16"/>
                      <a:pt x="6" y="17"/>
                    </a:cubicBezTo>
                    <a:cubicBezTo>
                      <a:pt x="6" y="17"/>
                      <a:pt x="6" y="18"/>
                      <a:pt x="6" y="18"/>
                    </a:cubicBezTo>
                    <a:cubicBezTo>
                      <a:pt x="6" y="18"/>
                      <a:pt x="6" y="19"/>
                      <a:pt x="5" y="19"/>
                    </a:cubicBezTo>
                    <a:cubicBezTo>
                      <a:pt x="5" y="19"/>
                      <a:pt x="5" y="19"/>
                      <a:pt x="5" y="20"/>
                    </a:cubicBezTo>
                    <a:cubicBezTo>
                      <a:pt x="5" y="20"/>
                      <a:pt x="5" y="20"/>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2"/>
                      <a:pt x="5" y="22"/>
                      <a:pt x="5" y="22"/>
                    </a:cubicBezTo>
                    <a:cubicBezTo>
                      <a:pt x="5" y="22"/>
                      <a:pt x="5" y="23"/>
                      <a:pt x="5" y="23"/>
                    </a:cubicBezTo>
                    <a:cubicBezTo>
                      <a:pt x="5" y="24"/>
                      <a:pt x="5" y="24"/>
                      <a:pt x="5" y="25"/>
                    </a:cubicBezTo>
                    <a:cubicBezTo>
                      <a:pt x="5" y="27"/>
                      <a:pt x="6" y="29"/>
                      <a:pt x="6" y="31"/>
                    </a:cubicBezTo>
                    <a:cubicBezTo>
                      <a:pt x="7" y="34"/>
                      <a:pt x="8" y="36"/>
                      <a:pt x="9" y="38"/>
                    </a:cubicBezTo>
                    <a:cubicBezTo>
                      <a:pt x="9" y="38"/>
                      <a:pt x="9" y="38"/>
                      <a:pt x="9" y="38"/>
                    </a:cubicBezTo>
                    <a:cubicBezTo>
                      <a:pt x="9" y="38"/>
                      <a:pt x="9" y="38"/>
                      <a:pt x="9" y="38"/>
                    </a:cubicBezTo>
                    <a:cubicBezTo>
                      <a:pt x="9" y="39"/>
                      <a:pt x="9" y="39"/>
                      <a:pt x="9" y="39"/>
                    </a:cubicBezTo>
                    <a:cubicBezTo>
                      <a:pt x="10" y="39"/>
                      <a:pt x="10" y="39"/>
                      <a:pt x="10" y="39"/>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1" y="40"/>
                      <a:pt x="11" y="40"/>
                      <a:pt x="11" y="40"/>
                    </a:cubicBezTo>
                    <a:cubicBezTo>
                      <a:pt x="11" y="40"/>
                      <a:pt x="11" y="40"/>
                      <a:pt x="11" y="40"/>
                    </a:cubicBezTo>
                    <a:cubicBezTo>
                      <a:pt x="11" y="41"/>
                      <a:pt x="12" y="41"/>
                      <a:pt x="12" y="41"/>
                    </a:cubicBezTo>
                    <a:cubicBezTo>
                      <a:pt x="12" y="42"/>
                      <a:pt x="13" y="42"/>
                      <a:pt x="13" y="43"/>
                    </a:cubicBezTo>
                    <a:cubicBezTo>
                      <a:pt x="14" y="44"/>
                      <a:pt x="15" y="45"/>
                      <a:pt x="16" y="46"/>
                    </a:cubicBezTo>
                    <a:cubicBezTo>
                      <a:pt x="16" y="46"/>
                      <a:pt x="16" y="46"/>
                      <a:pt x="16" y="46"/>
                    </a:cubicBezTo>
                    <a:cubicBezTo>
                      <a:pt x="16" y="46"/>
                      <a:pt x="16" y="46"/>
                      <a:pt x="16" y="46"/>
                    </a:cubicBezTo>
                    <a:cubicBezTo>
                      <a:pt x="16" y="46"/>
                      <a:pt x="16" y="46"/>
                      <a:pt x="16" y="46"/>
                    </a:cubicBezTo>
                    <a:cubicBezTo>
                      <a:pt x="17" y="47"/>
                      <a:pt x="17" y="47"/>
                      <a:pt x="17" y="47"/>
                    </a:cubicBezTo>
                    <a:cubicBezTo>
                      <a:pt x="17" y="47"/>
                      <a:pt x="17" y="47"/>
                      <a:pt x="17" y="47"/>
                    </a:cubicBezTo>
                    <a:cubicBezTo>
                      <a:pt x="17" y="47"/>
                      <a:pt x="17" y="47"/>
                      <a:pt x="17" y="47"/>
                    </a:cubicBezTo>
                    <a:cubicBezTo>
                      <a:pt x="17" y="47"/>
                      <a:pt x="17" y="47"/>
                      <a:pt x="17" y="47"/>
                    </a:cubicBezTo>
                    <a:cubicBezTo>
                      <a:pt x="17" y="48"/>
                      <a:pt x="17" y="48"/>
                      <a:pt x="17" y="48"/>
                    </a:cubicBezTo>
                    <a:cubicBezTo>
                      <a:pt x="18" y="48"/>
                      <a:pt x="18" y="48"/>
                      <a:pt x="18" y="49"/>
                    </a:cubicBezTo>
                    <a:cubicBezTo>
                      <a:pt x="18" y="49"/>
                      <a:pt x="18" y="49"/>
                      <a:pt x="18" y="50"/>
                    </a:cubicBezTo>
                    <a:cubicBezTo>
                      <a:pt x="19" y="51"/>
                      <a:pt x="19" y="52"/>
                      <a:pt x="19" y="54"/>
                    </a:cubicBezTo>
                    <a:cubicBezTo>
                      <a:pt x="19" y="54"/>
                      <a:pt x="20" y="54"/>
                      <a:pt x="20" y="55"/>
                    </a:cubicBezTo>
                    <a:cubicBezTo>
                      <a:pt x="20" y="55"/>
                      <a:pt x="20" y="55"/>
                      <a:pt x="20" y="56"/>
                    </a:cubicBezTo>
                    <a:cubicBezTo>
                      <a:pt x="20" y="56"/>
                      <a:pt x="20" y="57"/>
                      <a:pt x="20" y="57"/>
                    </a:cubicBezTo>
                    <a:cubicBezTo>
                      <a:pt x="20" y="59"/>
                      <a:pt x="20" y="60"/>
                      <a:pt x="20" y="61"/>
                    </a:cubicBezTo>
                    <a:cubicBezTo>
                      <a:pt x="20" y="61"/>
                      <a:pt x="20" y="62"/>
                      <a:pt x="20" y="62"/>
                    </a:cubicBezTo>
                    <a:cubicBezTo>
                      <a:pt x="19" y="62"/>
                      <a:pt x="19" y="62"/>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3"/>
                      <a:pt x="19" y="63"/>
                      <a:pt x="19" y="63"/>
                    </a:cubicBezTo>
                    <a:cubicBezTo>
                      <a:pt x="19" y="64"/>
                      <a:pt x="19" y="64"/>
                      <a:pt x="19" y="64"/>
                    </a:cubicBezTo>
                    <a:cubicBezTo>
                      <a:pt x="19" y="66"/>
                      <a:pt x="18" y="68"/>
                      <a:pt x="18" y="69"/>
                    </a:cubicBezTo>
                    <a:cubicBezTo>
                      <a:pt x="17" y="71"/>
                      <a:pt x="16" y="72"/>
                      <a:pt x="16" y="73"/>
                    </a:cubicBezTo>
                    <a:cubicBezTo>
                      <a:pt x="15" y="74"/>
                      <a:pt x="15" y="75"/>
                      <a:pt x="15" y="76"/>
                    </a:cubicBezTo>
                    <a:cubicBezTo>
                      <a:pt x="14" y="76"/>
                      <a:pt x="14" y="76"/>
                      <a:pt x="1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2" name="Title 1">
            <a:extLst>
              <a:ext uri="{FF2B5EF4-FFF2-40B4-BE49-F238E27FC236}">
                <a16:creationId xmlns:a16="http://schemas.microsoft.com/office/drawing/2014/main" id="{290C92E3-3B64-400E-945F-A7AD6D6B45BA}"/>
              </a:ext>
            </a:extLst>
          </p:cNvPr>
          <p:cNvSpPr>
            <a:spLocks noGrp="1"/>
          </p:cNvSpPr>
          <p:nvPr>
            <p:ph type="title"/>
          </p:nvPr>
        </p:nvSpPr>
        <p:spPr/>
        <p:txBody>
          <a:bodyPr/>
          <a:lstStyle/>
          <a:p>
            <a:r>
              <a:rPr lang="en-US"/>
              <a:t>Advances in PV solar technologies</a:t>
            </a:r>
          </a:p>
        </p:txBody>
      </p:sp>
      <p:sp>
        <p:nvSpPr>
          <p:cNvPr id="75" name="ZoneTexte 157">
            <a:extLst>
              <a:ext uri="{FF2B5EF4-FFF2-40B4-BE49-F238E27FC236}">
                <a16:creationId xmlns:a16="http://schemas.microsoft.com/office/drawing/2014/main" id="{BA1EFEB8-1221-4A23-AE8E-96B6A112B7E8}"/>
              </a:ext>
            </a:extLst>
          </p:cNvPr>
          <p:cNvSpPr txBox="1"/>
          <p:nvPr/>
        </p:nvSpPr>
        <p:spPr>
          <a:xfrm>
            <a:off x="3120123" y="2970410"/>
            <a:ext cx="1281331"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prstClr val="black"/>
                </a:solidFill>
                <a:latin typeface="Ubuntu"/>
              </a:rPr>
              <a:t>Total capac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Ubuntu"/>
                <a:ea typeface="+mn-ea"/>
                <a:cs typeface="+mn-cs"/>
              </a:rPr>
              <a:t>843 GW </a:t>
            </a:r>
            <a:r>
              <a:rPr kumimoji="0" lang="en-US" sz="1800" b="0" i="0" u="none" strike="noStrike" kern="1200" cap="none" spc="0" normalizeH="0" baseline="0" noProof="0">
                <a:ln>
                  <a:noFill/>
                </a:ln>
                <a:solidFill>
                  <a:prstClr val="black"/>
                </a:solidFill>
                <a:effectLst/>
                <a:uLnTx/>
                <a:uFillTx/>
                <a:latin typeface="Ubuntu"/>
                <a:ea typeface="+mn-ea"/>
                <a:cs typeface="+mn-cs"/>
              </a:rPr>
              <a:t>in 2021</a:t>
            </a:r>
          </a:p>
        </p:txBody>
      </p:sp>
      <p:pic>
        <p:nvPicPr>
          <p:cNvPr id="77" name="Picture 2" descr="A picture containing sky, outdoor, water, beach&#10;&#10;Description automatically generated">
            <a:extLst>
              <a:ext uri="{FF2B5EF4-FFF2-40B4-BE49-F238E27FC236}">
                <a16:creationId xmlns:a16="http://schemas.microsoft.com/office/drawing/2014/main" id="{7CC2C222-49A7-4AAE-B996-5A9D8E7FAE9E}"/>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235952" y="0"/>
            <a:ext cx="4956048" cy="6858000"/>
          </a:xfrm>
          <a:prstGeom prst="rect">
            <a:avLst/>
          </a:prstGeom>
        </p:spPr>
      </p:pic>
      <p:grpSp>
        <p:nvGrpSpPr>
          <p:cNvPr id="78" name="Group 37">
            <a:extLst>
              <a:ext uri="{FF2B5EF4-FFF2-40B4-BE49-F238E27FC236}">
                <a16:creationId xmlns:a16="http://schemas.microsoft.com/office/drawing/2014/main" id="{3A94CE3B-7E21-4E10-8BF4-4B4CBE9604C4}"/>
              </a:ext>
            </a:extLst>
          </p:cNvPr>
          <p:cNvGrpSpPr/>
          <p:nvPr/>
        </p:nvGrpSpPr>
        <p:grpSpPr>
          <a:xfrm>
            <a:off x="11562864" y="207688"/>
            <a:ext cx="418487" cy="387209"/>
            <a:chOff x="5481638" y="2859088"/>
            <a:chExt cx="1231900" cy="1139825"/>
          </a:xfrm>
          <a:solidFill>
            <a:schemeClr val="bg1"/>
          </a:solidFill>
        </p:grpSpPr>
        <p:sp>
          <p:nvSpPr>
            <p:cNvPr id="79" name="Freeform 320">
              <a:extLst>
                <a:ext uri="{FF2B5EF4-FFF2-40B4-BE49-F238E27FC236}">
                  <a16:creationId xmlns:a16="http://schemas.microsoft.com/office/drawing/2014/main" id="{54EAD3C7-400E-4575-A3A6-79150C18F9C6}"/>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0" name="Freeform 321">
              <a:extLst>
                <a:ext uri="{FF2B5EF4-FFF2-40B4-BE49-F238E27FC236}">
                  <a16:creationId xmlns:a16="http://schemas.microsoft.com/office/drawing/2014/main" id="{4632885A-9464-4029-8C24-9BB018166B5D}"/>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1" name="Ellipse 1">
            <a:extLst>
              <a:ext uri="{FF2B5EF4-FFF2-40B4-BE49-F238E27FC236}">
                <a16:creationId xmlns:a16="http://schemas.microsoft.com/office/drawing/2014/main" id="{F3616CC4-35DA-47F9-A6D6-BF1874DC47AB}"/>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84" name="Group 163">
            <a:extLst>
              <a:ext uri="{FF2B5EF4-FFF2-40B4-BE49-F238E27FC236}">
                <a16:creationId xmlns:a16="http://schemas.microsoft.com/office/drawing/2014/main" id="{DB933287-DA75-421B-B549-711A3DDFB75C}"/>
              </a:ext>
            </a:extLst>
          </p:cNvPr>
          <p:cNvGrpSpPr/>
          <p:nvPr/>
        </p:nvGrpSpPr>
        <p:grpSpPr>
          <a:xfrm>
            <a:off x="2508118" y="2896311"/>
            <a:ext cx="229240" cy="358093"/>
            <a:chOff x="6337993" y="1466408"/>
            <a:chExt cx="214320" cy="334785"/>
          </a:xfrm>
          <a:solidFill>
            <a:srgbClr val="0F6A71"/>
          </a:solidFill>
        </p:grpSpPr>
        <p:sp>
          <p:nvSpPr>
            <p:cNvPr id="85" name="Freeform 91">
              <a:extLst>
                <a:ext uri="{FF2B5EF4-FFF2-40B4-BE49-F238E27FC236}">
                  <a16:creationId xmlns:a16="http://schemas.microsoft.com/office/drawing/2014/main" id="{9BBFB1A5-EEF4-4C9D-807E-EB2D88B1CBCD}"/>
                </a:ext>
              </a:extLst>
            </p:cNvPr>
            <p:cNvSpPr>
              <a:spLocks/>
            </p:cNvSpPr>
            <p:nvPr/>
          </p:nvSpPr>
          <p:spPr bwMode="auto">
            <a:xfrm>
              <a:off x="6337993" y="1466408"/>
              <a:ext cx="214320" cy="179300"/>
            </a:xfrm>
            <a:custGeom>
              <a:avLst/>
              <a:gdLst>
                <a:gd name="T0" fmla="*/ 31 w 65"/>
                <a:gd name="T1" fmla="*/ 43 h 54"/>
                <a:gd name="T2" fmla="*/ 0 w 65"/>
                <a:gd name="T3" fmla="*/ 21 h 54"/>
                <a:gd name="T4" fmla="*/ 30 w 65"/>
                <a:gd name="T5" fmla="*/ 0 h 54"/>
                <a:gd name="T6" fmla="*/ 31 w 65"/>
                <a:gd name="T7" fmla="*/ 12 h 54"/>
                <a:gd name="T8" fmla="*/ 42 w 65"/>
                <a:gd name="T9" fmla="*/ 12 h 54"/>
                <a:gd name="T10" fmla="*/ 65 w 65"/>
                <a:gd name="T11" fmla="*/ 32 h 54"/>
                <a:gd name="T12" fmla="*/ 52 w 65"/>
                <a:gd name="T13" fmla="*/ 54 h 54"/>
                <a:gd name="T14" fmla="*/ 52 w 65"/>
                <a:gd name="T15" fmla="*/ 39 h 54"/>
                <a:gd name="T16" fmla="*/ 41 w 65"/>
                <a:gd name="T17" fmla="*/ 31 h 54"/>
                <a:gd name="T18" fmla="*/ 31 w 65"/>
                <a:gd name="T19" fmla="*/ 31 h 54"/>
                <a:gd name="T20" fmla="*/ 31 w 65"/>
                <a:gd name="T21" fmla="*/ 4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4">
                  <a:moveTo>
                    <a:pt x="31" y="43"/>
                  </a:moveTo>
                  <a:cubicBezTo>
                    <a:pt x="0" y="21"/>
                    <a:pt x="0" y="21"/>
                    <a:pt x="0" y="21"/>
                  </a:cubicBezTo>
                  <a:cubicBezTo>
                    <a:pt x="30" y="0"/>
                    <a:pt x="30" y="0"/>
                    <a:pt x="30" y="0"/>
                  </a:cubicBezTo>
                  <a:cubicBezTo>
                    <a:pt x="31" y="12"/>
                    <a:pt x="31" y="12"/>
                    <a:pt x="31" y="12"/>
                  </a:cubicBezTo>
                  <a:cubicBezTo>
                    <a:pt x="31" y="12"/>
                    <a:pt x="36" y="12"/>
                    <a:pt x="42" y="12"/>
                  </a:cubicBezTo>
                  <a:cubicBezTo>
                    <a:pt x="51" y="12"/>
                    <a:pt x="65" y="19"/>
                    <a:pt x="65" y="32"/>
                  </a:cubicBezTo>
                  <a:cubicBezTo>
                    <a:pt x="65" y="43"/>
                    <a:pt x="56" y="53"/>
                    <a:pt x="52" y="54"/>
                  </a:cubicBezTo>
                  <a:cubicBezTo>
                    <a:pt x="52" y="54"/>
                    <a:pt x="53" y="42"/>
                    <a:pt x="52" y="39"/>
                  </a:cubicBezTo>
                  <a:cubicBezTo>
                    <a:pt x="52" y="38"/>
                    <a:pt x="51" y="31"/>
                    <a:pt x="41" y="31"/>
                  </a:cubicBezTo>
                  <a:cubicBezTo>
                    <a:pt x="31" y="31"/>
                    <a:pt x="31" y="31"/>
                    <a:pt x="31" y="31"/>
                  </a:cubicBezTo>
                  <a:lnTo>
                    <a:pt x="31"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92">
              <a:extLst>
                <a:ext uri="{FF2B5EF4-FFF2-40B4-BE49-F238E27FC236}">
                  <a16:creationId xmlns:a16="http://schemas.microsoft.com/office/drawing/2014/main" id="{79ADAE8A-07F7-4747-AB26-4B061E514751}"/>
                </a:ext>
              </a:extLst>
            </p:cNvPr>
            <p:cNvSpPr>
              <a:spLocks/>
            </p:cNvSpPr>
            <p:nvPr/>
          </p:nvSpPr>
          <p:spPr bwMode="auto">
            <a:xfrm>
              <a:off x="6337993" y="1619092"/>
              <a:ext cx="214320" cy="182101"/>
            </a:xfrm>
            <a:custGeom>
              <a:avLst/>
              <a:gdLst>
                <a:gd name="T0" fmla="*/ 34 w 65"/>
                <a:gd name="T1" fmla="*/ 24 h 55"/>
                <a:gd name="T2" fmla="*/ 24 w 65"/>
                <a:gd name="T3" fmla="*/ 24 h 55"/>
                <a:gd name="T4" fmla="*/ 12 w 65"/>
                <a:gd name="T5" fmla="*/ 15 h 55"/>
                <a:gd name="T6" fmla="*/ 13 w 65"/>
                <a:gd name="T7" fmla="*/ 0 h 55"/>
                <a:gd name="T8" fmla="*/ 0 w 65"/>
                <a:gd name="T9" fmla="*/ 22 h 55"/>
                <a:gd name="T10" fmla="*/ 22 w 65"/>
                <a:gd name="T11" fmla="*/ 43 h 55"/>
                <a:gd name="T12" fmla="*/ 34 w 65"/>
                <a:gd name="T13" fmla="*/ 43 h 55"/>
                <a:gd name="T14" fmla="*/ 34 w 65"/>
                <a:gd name="T15" fmla="*/ 55 h 55"/>
                <a:gd name="T16" fmla="*/ 65 w 65"/>
                <a:gd name="T17" fmla="*/ 33 h 55"/>
                <a:gd name="T18" fmla="*/ 34 w 65"/>
                <a:gd name="T19" fmla="*/ 12 h 55"/>
                <a:gd name="T20" fmla="*/ 34 w 65"/>
                <a:gd name="T21" fmla="*/ 2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5">
                  <a:moveTo>
                    <a:pt x="34" y="24"/>
                  </a:moveTo>
                  <a:cubicBezTo>
                    <a:pt x="24" y="24"/>
                    <a:pt x="24" y="24"/>
                    <a:pt x="24" y="24"/>
                  </a:cubicBezTo>
                  <a:cubicBezTo>
                    <a:pt x="13" y="24"/>
                    <a:pt x="13" y="17"/>
                    <a:pt x="12" y="15"/>
                  </a:cubicBezTo>
                  <a:cubicBezTo>
                    <a:pt x="12" y="13"/>
                    <a:pt x="13" y="0"/>
                    <a:pt x="13" y="0"/>
                  </a:cubicBezTo>
                  <a:cubicBezTo>
                    <a:pt x="8" y="2"/>
                    <a:pt x="0" y="12"/>
                    <a:pt x="0" y="22"/>
                  </a:cubicBezTo>
                  <a:cubicBezTo>
                    <a:pt x="0" y="36"/>
                    <a:pt x="14" y="43"/>
                    <a:pt x="22" y="43"/>
                  </a:cubicBezTo>
                  <a:cubicBezTo>
                    <a:pt x="28" y="43"/>
                    <a:pt x="34" y="43"/>
                    <a:pt x="34" y="43"/>
                  </a:cubicBezTo>
                  <a:cubicBezTo>
                    <a:pt x="34" y="55"/>
                    <a:pt x="34" y="55"/>
                    <a:pt x="34" y="55"/>
                  </a:cubicBezTo>
                  <a:cubicBezTo>
                    <a:pt x="65" y="33"/>
                    <a:pt x="65" y="33"/>
                    <a:pt x="65" y="33"/>
                  </a:cubicBezTo>
                  <a:cubicBezTo>
                    <a:pt x="34" y="12"/>
                    <a:pt x="34" y="12"/>
                    <a:pt x="34" y="12"/>
                  </a:cubicBezTo>
                  <a:lnTo>
                    <a:pt x="3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060911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6E2BE35A-BDED-4672-AA0E-F0A1768C5050}"/>
              </a:ext>
            </a:extLst>
          </p:cNvPr>
          <p:cNvGrpSpPr/>
          <p:nvPr/>
        </p:nvGrpSpPr>
        <p:grpSpPr>
          <a:xfrm>
            <a:off x="6016066" y="1387595"/>
            <a:ext cx="5406796" cy="424715"/>
            <a:chOff x="6089804" y="404664"/>
            <a:chExt cx="5406796" cy="424715"/>
          </a:xfrm>
        </p:grpSpPr>
        <p:sp>
          <p:nvSpPr>
            <p:cNvPr id="6" name="TextBox 5">
              <a:extLst>
                <a:ext uri="{FF2B5EF4-FFF2-40B4-BE49-F238E27FC236}">
                  <a16:creationId xmlns:a16="http://schemas.microsoft.com/office/drawing/2014/main" id="{0D8869F2-BC98-4E1B-8A15-DE252AC93987}"/>
                </a:ext>
              </a:extLst>
            </p:cNvPr>
            <p:cNvSpPr txBox="1"/>
            <p:nvPr/>
          </p:nvSpPr>
          <p:spPr>
            <a:xfrm>
              <a:off x="6698536" y="466219"/>
              <a:ext cx="4798064" cy="307777"/>
            </a:xfrm>
            <a:prstGeom prst="rect">
              <a:avLst/>
            </a:prstGeom>
            <a:noFill/>
          </p:spPr>
          <p:txBody>
            <a:bodyPr wrap="square" lIns="0" tIns="0" rIns="0" bIns="0" rtlCol="0" anchor="ctr" anchorCtr="0">
              <a:spAutoFit/>
            </a:bodyPr>
            <a:lstStyle/>
            <a:p>
              <a:r>
                <a:rPr lang="en-US" sz="2000">
                  <a:solidFill>
                    <a:schemeClr val="bg1"/>
                  </a:solidFill>
                  <a:latin typeface="Ubuntu Light" panose="020B0304030602030204" pitchFamily="34" charset="0"/>
                </a:rPr>
                <a:t>Energy crises</a:t>
              </a:r>
            </a:p>
          </p:txBody>
        </p:sp>
        <p:grpSp>
          <p:nvGrpSpPr>
            <p:cNvPr id="10" name="Group 9">
              <a:extLst>
                <a:ext uri="{FF2B5EF4-FFF2-40B4-BE49-F238E27FC236}">
                  <a16:creationId xmlns:a16="http://schemas.microsoft.com/office/drawing/2014/main" id="{F6FF54B4-17C5-4074-9247-FF7859B94B80}"/>
                </a:ext>
              </a:extLst>
            </p:cNvPr>
            <p:cNvGrpSpPr/>
            <p:nvPr/>
          </p:nvGrpSpPr>
          <p:grpSpPr>
            <a:xfrm>
              <a:off x="6089804" y="404664"/>
              <a:ext cx="406351" cy="424715"/>
              <a:chOff x="4728552" y="2501364"/>
              <a:chExt cx="406351" cy="424715"/>
            </a:xfrm>
          </p:grpSpPr>
          <p:sp>
            <p:nvSpPr>
              <p:cNvPr id="7" name="Rectangle: Rounded Corners 6">
                <a:extLst>
                  <a:ext uri="{FF2B5EF4-FFF2-40B4-BE49-F238E27FC236}">
                    <a16:creationId xmlns:a16="http://schemas.microsoft.com/office/drawing/2014/main" id="{282775CF-9858-4B63-9D61-C3779B45FAE2}"/>
                  </a:ext>
                </a:extLst>
              </p:cNvPr>
              <p:cNvSpPr/>
              <p:nvPr/>
            </p:nvSpPr>
            <p:spPr>
              <a:xfrm>
                <a:off x="4728552" y="2501364"/>
                <a:ext cx="406351" cy="406351"/>
              </a:xfrm>
              <a:custGeom>
                <a:avLst/>
                <a:gdLst>
                  <a:gd name="connsiteX0" fmla="*/ 0 w 404446"/>
                  <a:gd name="connsiteY0" fmla="*/ 67409 h 404446"/>
                  <a:gd name="connsiteX1" fmla="*/ 67409 w 404446"/>
                  <a:gd name="connsiteY1" fmla="*/ 0 h 404446"/>
                  <a:gd name="connsiteX2" fmla="*/ 337037 w 404446"/>
                  <a:gd name="connsiteY2" fmla="*/ 0 h 404446"/>
                  <a:gd name="connsiteX3" fmla="*/ 404446 w 404446"/>
                  <a:gd name="connsiteY3" fmla="*/ 67409 h 404446"/>
                  <a:gd name="connsiteX4" fmla="*/ 404446 w 404446"/>
                  <a:gd name="connsiteY4" fmla="*/ 337037 h 404446"/>
                  <a:gd name="connsiteX5" fmla="*/ 337037 w 404446"/>
                  <a:gd name="connsiteY5" fmla="*/ 404446 h 404446"/>
                  <a:gd name="connsiteX6" fmla="*/ 67409 w 404446"/>
                  <a:gd name="connsiteY6" fmla="*/ 404446 h 404446"/>
                  <a:gd name="connsiteX7" fmla="*/ 0 w 404446"/>
                  <a:gd name="connsiteY7" fmla="*/ 337037 h 404446"/>
                  <a:gd name="connsiteX8" fmla="*/ 0 w 404446"/>
                  <a:gd name="connsiteY8" fmla="*/ 67409 h 404446"/>
                  <a:gd name="connsiteX0" fmla="*/ 0 w 404446"/>
                  <a:gd name="connsiteY0" fmla="*/ 337037 h 428477"/>
                  <a:gd name="connsiteX1" fmla="*/ 0 w 404446"/>
                  <a:gd name="connsiteY1" fmla="*/ 67409 h 428477"/>
                  <a:gd name="connsiteX2" fmla="*/ 67409 w 404446"/>
                  <a:gd name="connsiteY2" fmla="*/ 0 h 428477"/>
                  <a:gd name="connsiteX3" fmla="*/ 337037 w 404446"/>
                  <a:gd name="connsiteY3" fmla="*/ 0 h 428477"/>
                  <a:gd name="connsiteX4" fmla="*/ 404446 w 404446"/>
                  <a:gd name="connsiteY4" fmla="*/ 67409 h 428477"/>
                  <a:gd name="connsiteX5" fmla="*/ 404446 w 404446"/>
                  <a:gd name="connsiteY5" fmla="*/ 337037 h 428477"/>
                  <a:gd name="connsiteX6" fmla="*/ 337037 w 404446"/>
                  <a:gd name="connsiteY6" fmla="*/ 404446 h 428477"/>
                  <a:gd name="connsiteX7" fmla="*/ 67409 w 404446"/>
                  <a:gd name="connsiteY7" fmla="*/ 404446 h 428477"/>
                  <a:gd name="connsiteX8" fmla="*/ 91440 w 404446"/>
                  <a:gd name="connsiteY8" fmla="*/ 428477 h 428477"/>
                  <a:gd name="connsiteX0" fmla="*/ 0 w 404446"/>
                  <a:gd name="connsiteY0" fmla="*/ 337037 h 404446"/>
                  <a:gd name="connsiteX1" fmla="*/ 0 w 404446"/>
                  <a:gd name="connsiteY1" fmla="*/ 67409 h 404446"/>
                  <a:gd name="connsiteX2" fmla="*/ 67409 w 404446"/>
                  <a:gd name="connsiteY2" fmla="*/ 0 h 404446"/>
                  <a:gd name="connsiteX3" fmla="*/ 337037 w 404446"/>
                  <a:gd name="connsiteY3" fmla="*/ 0 h 404446"/>
                  <a:gd name="connsiteX4" fmla="*/ 404446 w 404446"/>
                  <a:gd name="connsiteY4" fmla="*/ 67409 h 404446"/>
                  <a:gd name="connsiteX5" fmla="*/ 404446 w 404446"/>
                  <a:gd name="connsiteY5" fmla="*/ 337037 h 404446"/>
                  <a:gd name="connsiteX6" fmla="*/ 337037 w 404446"/>
                  <a:gd name="connsiteY6" fmla="*/ 404446 h 404446"/>
                  <a:gd name="connsiteX7" fmla="*/ 67409 w 404446"/>
                  <a:gd name="connsiteY7" fmla="*/ 404446 h 404446"/>
                  <a:gd name="connsiteX0" fmla="*/ 0 w 404446"/>
                  <a:gd name="connsiteY0" fmla="*/ 337037 h 406351"/>
                  <a:gd name="connsiteX1" fmla="*/ 0 w 404446"/>
                  <a:gd name="connsiteY1" fmla="*/ 67409 h 406351"/>
                  <a:gd name="connsiteX2" fmla="*/ 67409 w 404446"/>
                  <a:gd name="connsiteY2" fmla="*/ 0 h 406351"/>
                  <a:gd name="connsiteX3" fmla="*/ 337037 w 404446"/>
                  <a:gd name="connsiteY3" fmla="*/ 0 h 406351"/>
                  <a:gd name="connsiteX4" fmla="*/ 404446 w 404446"/>
                  <a:gd name="connsiteY4" fmla="*/ 67409 h 406351"/>
                  <a:gd name="connsiteX5" fmla="*/ 404446 w 404446"/>
                  <a:gd name="connsiteY5" fmla="*/ 337037 h 406351"/>
                  <a:gd name="connsiteX6" fmla="*/ 337037 w 404446"/>
                  <a:gd name="connsiteY6" fmla="*/ 404446 h 406351"/>
                  <a:gd name="connsiteX7" fmla="*/ 122654 w 404446"/>
                  <a:gd name="connsiteY7" fmla="*/ 406351 h 406351"/>
                  <a:gd name="connsiteX0" fmla="*/ 0 w 406351"/>
                  <a:gd name="connsiteY0" fmla="*/ 236072 h 406351"/>
                  <a:gd name="connsiteX1" fmla="*/ 1905 w 406351"/>
                  <a:gd name="connsiteY1" fmla="*/ 67409 h 406351"/>
                  <a:gd name="connsiteX2" fmla="*/ 69314 w 406351"/>
                  <a:gd name="connsiteY2" fmla="*/ 0 h 406351"/>
                  <a:gd name="connsiteX3" fmla="*/ 338942 w 406351"/>
                  <a:gd name="connsiteY3" fmla="*/ 0 h 406351"/>
                  <a:gd name="connsiteX4" fmla="*/ 406351 w 406351"/>
                  <a:gd name="connsiteY4" fmla="*/ 67409 h 406351"/>
                  <a:gd name="connsiteX5" fmla="*/ 406351 w 406351"/>
                  <a:gd name="connsiteY5" fmla="*/ 337037 h 406351"/>
                  <a:gd name="connsiteX6" fmla="*/ 338942 w 406351"/>
                  <a:gd name="connsiteY6" fmla="*/ 404446 h 406351"/>
                  <a:gd name="connsiteX7" fmla="*/ 124559 w 406351"/>
                  <a:gd name="connsiteY7" fmla="*/ 406351 h 40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351" h="406351">
                    <a:moveTo>
                      <a:pt x="0" y="236072"/>
                    </a:moveTo>
                    <a:lnTo>
                      <a:pt x="1905" y="67409"/>
                    </a:lnTo>
                    <a:cubicBezTo>
                      <a:pt x="1905" y="30180"/>
                      <a:pt x="32085" y="0"/>
                      <a:pt x="69314" y="0"/>
                    </a:cubicBezTo>
                    <a:lnTo>
                      <a:pt x="338942" y="0"/>
                    </a:lnTo>
                    <a:cubicBezTo>
                      <a:pt x="376171" y="0"/>
                      <a:pt x="406351" y="30180"/>
                      <a:pt x="406351" y="67409"/>
                    </a:cubicBezTo>
                    <a:lnTo>
                      <a:pt x="406351" y="337037"/>
                    </a:lnTo>
                    <a:cubicBezTo>
                      <a:pt x="406351" y="374266"/>
                      <a:pt x="376171" y="404446"/>
                      <a:pt x="338942" y="404446"/>
                    </a:cubicBezTo>
                    <a:lnTo>
                      <a:pt x="124559" y="406351"/>
                    </a:lnTo>
                  </a:path>
                </a:pathLst>
              </a:cu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2000" b="1"/>
                  <a:t>1</a:t>
                </a:r>
              </a:p>
            </p:txBody>
          </p:sp>
          <p:sp>
            <p:nvSpPr>
              <p:cNvPr id="9" name="Oval 8">
                <a:extLst>
                  <a:ext uri="{FF2B5EF4-FFF2-40B4-BE49-F238E27FC236}">
                    <a16:creationId xmlns:a16="http://schemas.microsoft.com/office/drawing/2014/main" id="{ACB81042-303A-4EF3-84F3-A172EED28978}"/>
                  </a:ext>
                </a:extLst>
              </p:cNvPr>
              <p:cNvSpPr/>
              <p:nvPr/>
            </p:nvSpPr>
            <p:spPr>
              <a:xfrm>
                <a:off x="4813935" y="2880360"/>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sp>
        <p:nvSpPr>
          <p:cNvPr id="40" name="TextBox 39">
            <a:extLst>
              <a:ext uri="{FF2B5EF4-FFF2-40B4-BE49-F238E27FC236}">
                <a16:creationId xmlns:a16="http://schemas.microsoft.com/office/drawing/2014/main" id="{5D21D22E-8EA6-4C29-A722-FD506F7C9EFB}"/>
              </a:ext>
            </a:extLst>
          </p:cNvPr>
          <p:cNvSpPr txBox="1"/>
          <p:nvPr/>
        </p:nvSpPr>
        <p:spPr>
          <a:xfrm>
            <a:off x="7318499" y="251595"/>
            <a:ext cx="2145139" cy="646331"/>
          </a:xfrm>
          <a:prstGeom prst="rect">
            <a:avLst/>
          </a:prstGeom>
          <a:noFill/>
        </p:spPr>
        <p:txBody>
          <a:bodyPr wrap="none" rtlCol="0">
            <a:spAutoFit/>
          </a:bodyPr>
          <a:lstStyle/>
          <a:p>
            <a:r>
              <a:rPr lang="en-IN" sz="3600" b="1">
                <a:solidFill>
                  <a:schemeClr val="bg1"/>
                </a:solidFill>
              </a:rPr>
              <a:t>AGENDA</a:t>
            </a:r>
          </a:p>
        </p:txBody>
      </p:sp>
      <p:cxnSp>
        <p:nvCxnSpPr>
          <p:cNvPr id="43" name="Straight Connector 42">
            <a:extLst>
              <a:ext uri="{FF2B5EF4-FFF2-40B4-BE49-F238E27FC236}">
                <a16:creationId xmlns:a16="http://schemas.microsoft.com/office/drawing/2014/main" id="{D27D88B0-D5A8-4E93-9E15-AA12E1E03015}"/>
              </a:ext>
            </a:extLst>
          </p:cNvPr>
          <p:cNvCxnSpPr>
            <a:cxnSpLocks/>
          </p:cNvCxnSpPr>
          <p:nvPr/>
        </p:nvCxnSpPr>
        <p:spPr>
          <a:xfrm flipV="1">
            <a:off x="6228301" y="6938129"/>
            <a:ext cx="1024080" cy="25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DAD498D-C190-4421-8B93-6AF5C9E53C4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rot="20975217">
            <a:off x="-4166380" y="337511"/>
            <a:ext cx="9680312" cy="6844360"/>
          </a:xfrm>
          <a:prstGeom prst="rect">
            <a:avLst/>
          </a:prstGeom>
        </p:spPr>
      </p:pic>
      <p:grpSp>
        <p:nvGrpSpPr>
          <p:cNvPr id="54" name="Group 53">
            <a:extLst>
              <a:ext uri="{FF2B5EF4-FFF2-40B4-BE49-F238E27FC236}">
                <a16:creationId xmlns:a16="http://schemas.microsoft.com/office/drawing/2014/main" id="{3EB1DDCB-2FFD-4C1C-933A-134134EB741A}"/>
              </a:ext>
            </a:extLst>
          </p:cNvPr>
          <p:cNvGrpSpPr/>
          <p:nvPr/>
        </p:nvGrpSpPr>
        <p:grpSpPr>
          <a:xfrm>
            <a:off x="6011600" y="2580773"/>
            <a:ext cx="2995604" cy="424715"/>
            <a:chOff x="6011600" y="2026700"/>
            <a:chExt cx="2995604" cy="424715"/>
          </a:xfrm>
        </p:grpSpPr>
        <p:sp>
          <p:nvSpPr>
            <p:cNvPr id="41" name="TextBox 40">
              <a:extLst>
                <a:ext uri="{FF2B5EF4-FFF2-40B4-BE49-F238E27FC236}">
                  <a16:creationId xmlns:a16="http://schemas.microsoft.com/office/drawing/2014/main" id="{938644A9-DE1D-45E3-9FEF-EFF44D7DE159}"/>
                </a:ext>
              </a:extLst>
            </p:cNvPr>
            <p:cNvSpPr txBox="1"/>
            <p:nvPr/>
          </p:nvSpPr>
          <p:spPr>
            <a:xfrm>
              <a:off x="6620332" y="2085169"/>
              <a:ext cx="2386872" cy="307777"/>
            </a:xfrm>
            <a:prstGeom prst="rect">
              <a:avLst/>
            </a:prstGeom>
            <a:noFill/>
          </p:spPr>
          <p:txBody>
            <a:bodyPr wrap="none" lIns="0" tIns="0" rIns="0" bIns="0" rtlCol="0" anchor="ctr" anchorCtr="0">
              <a:spAutoFit/>
            </a:bodyPr>
            <a:lstStyle/>
            <a:p>
              <a:r>
                <a:rPr lang="en-US" sz="2000">
                  <a:solidFill>
                    <a:schemeClr val="bg1"/>
                  </a:solidFill>
                  <a:latin typeface="Ubuntu Light" panose="020B0304030602030204" pitchFamily="34" charset="0"/>
                </a:rPr>
                <a:t>Technologies update</a:t>
              </a:r>
            </a:p>
          </p:txBody>
        </p:sp>
        <p:sp>
          <p:nvSpPr>
            <p:cNvPr id="44" name="Rectangle: Rounded Corners 6">
              <a:extLst>
                <a:ext uri="{FF2B5EF4-FFF2-40B4-BE49-F238E27FC236}">
                  <a16:creationId xmlns:a16="http://schemas.microsoft.com/office/drawing/2014/main" id="{890A7534-C7E1-4C0C-9B22-9E061B21B2E7}"/>
                </a:ext>
              </a:extLst>
            </p:cNvPr>
            <p:cNvSpPr/>
            <p:nvPr/>
          </p:nvSpPr>
          <p:spPr>
            <a:xfrm>
              <a:off x="6011600" y="2026700"/>
              <a:ext cx="406351" cy="406351"/>
            </a:xfrm>
            <a:custGeom>
              <a:avLst/>
              <a:gdLst>
                <a:gd name="connsiteX0" fmla="*/ 0 w 404446"/>
                <a:gd name="connsiteY0" fmla="*/ 67409 h 404446"/>
                <a:gd name="connsiteX1" fmla="*/ 67409 w 404446"/>
                <a:gd name="connsiteY1" fmla="*/ 0 h 404446"/>
                <a:gd name="connsiteX2" fmla="*/ 337037 w 404446"/>
                <a:gd name="connsiteY2" fmla="*/ 0 h 404446"/>
                <a:gd name="connsiteX3" fmla="*/ 404446 w 404446"/>
                <a:gd name="connsiteY3" fmla="*/ 67409 h 404446"/>
                <a:gd name="connsiteX4" fmla="*/ 404446 w 404446"/>
                <a:gd name="connsiteY4" fmla="*/ 337037 h 404446"/>
                <a:gd name="connsiteX5" fmla="*/ 337037 w 404446"/>
                <a:gd name="connsiteY5" fmla="*/ 404446 h 404446"/>
                <a:gd name="connsiteX6" fmla="*/ 67409 w 404446"/>
                <a:gd name="connsiteY6" fmla="*/ 404446 h 404446"/>
                <a:gd name="connsiteX7" fmla="*/ 0 w 404446"/>
                <a:gd name="connsiteY7" fmla="*/ 337037 h 404446"/>
                <a:gd name="connsiteX8" fmla="*/ 0 w 404446"/>
                <a:gd name="connsiteY8" fmla="*/ 67409 h 404446"/>
                <a:gd name="connsiteX0" fmla="*/ 0 w 404446"/>
                <a:gd name="connsiteY0" fmla="*/ 337037 h 428477"/>
                <a:gd name="connsiteX1" fmla="*/ 0 w 404446"/>
                <a:gd name="connsiteY1" fmla="*/ 67409 h 428477"/>
                <a:gd name="connsiteX2" fmla="*/ 67409 w 404446"/>
                <a:gd name="connsiteY2" fmla="*/ 0 h 428477"/>
                <a:gd name="connsiteX3" fmla="*/ 337037 w 404446"/>
                <a:gd name="connsiteY3" fmla="*/ 0 h 428477"/>
                <a:gd name="connsiteX4" fmla="*/ 404446 w 404446"/>
                <a:gd name="connsiteY4" fmla="*/ 67409 h 428477"/>
                <a:gd name="connsiteX5" fmla="*/ 404446 w 404446"/>
                <a:gd name="connsiteY5" fmla="*/ 337037 h 428477"/>
                <a:gd name="connsiteX6" fmla="*/ 337037 w 404446"/>
                <a:gd name="connsiteY6" fmla="*/ 404446 h 428477"/>
                <a:gd name="connsiteX7" fmla="*/ 67409 w 404446"/>
                <a:gd name="connsiteY7" fmla="*/ 404446 h 428477"/>
                <a:gd name="connsiteX8" fmla="*/ 91440 w 404446"/>
                <a:gd name="connsiteY8" fmla="*/ 428477 h 428477"/>
                <a:gd name="connsiteX0" fmla="*/ 0 w 404446"/>
                <a:gd name="connsiteY0" fmla="*/ 337037 h 404446"/>
                <a:gd name="connsiteX1" fmla="*/ 0 w 404446"/>
                <a:gd name="connsiteY1" fmla="*/ 67409 h 404446"/>
                <a:gd name="connsiteX2" fmla="*/ 67409 w 404446"/>
                <a:gd name="connsiteY2" fmla="*/ 0 h 404446"/>
                <a:gd name="connsiteX3" fmla="*/ 337037 w 404446"/>
                <a:gd name="connsiteY3" fmla="*/ 0 h 404446"/>
                <a:gd name="connsiteX4" fmla="*/ 404446 w 404446"/>
                <a:gd name="connsiteY4" fmla="*/ 67409 h 404446"/>
                <a:gd name="connsiteX5" fmla="*/ 404446 w 404446"/>
                <a:gd name="connsiteY5" fmla="*/ 337037 h 404446"/>
                <a:gd name="connsiteX6" fmla="*/ 337037 w 404446"/>
                <a:gd name="connsiteY6" fmla="*/ 404446 h 404446"/>
                <a:gd name="connsiteX7" fmla="*/ 67409 w 404446"/>
                <a:gd name="connsiteY7" fmla="*/ 404446 h 404446"/>
                <a:gd name="connsiteX0" fmla="*/ 0 w 404446"/>
                <a:gd name="connsiteY0" fmla="*/ 337037 h 406351"/>
                <a:gd name="connsiteX1" fmla="*/ 0 w 404446"/>
                <a:gd name="connsiteY1" fmla="*/ 67409 h 406351"/>
                <a:gd name="connsiteX2" fmla="*/ 67409 w 404446"/>
                <a:gd name="connsiteY2" fmla="*/ 0 h 406351"/>
                <a:gd name="connsiteX3" fmla="*/ 337037 w 404446"/>
                <a:gd name="connsiteY3" fmla="*/ 0 h 406351"/>
                <a:gd name="connsiteX4" fmla="*/ 404446 w 404446"/>
                <a:gd name="connsiteY4" fmla="*/ 67409 h 406351"/>
                <a:gd name="connsiteX5" fmla="*/ 404446 w 404446"/>
                <a:gd name="connsiteY5" fmla="*/ 337037 h 406351"/>
                <a:gd name="connsiteX6" fmla="*/ 337037 w 404446"/>
                <a:gd name="connsiteY6" fmla="*/ 404446 h 406351"/>
                <a:gd name="connsiteX7" fmla="*/ 122654 w 404446"/>
                <a:gd name="connsiteY7" fmla="*/ 406351 h 406351"/>
                <a:gd name="connsiteX0" fmla="*/ 0 w 406351"/>
                <a:gd name="connsiteY0" fmla="*/ 236072 h 406351"/>
                <a:gd name="connsiteX1" fmla="*/ 1905 w 406351"/>
                <a:gd name="connsiteY1" fmla="*/ 67409 h 406351"/>
                <a:gd name="connsiteX2" fmla="*/ 69314 w 406351"/>
                <a:gd name="connsiteY2" fmla="*/ 0 h 406351"/>
                <a:gd name="connsiteX3" fmla="*/ 338942 w 406351"/>
                <a:gd name="connsiteY3" fmla="*/ 0 h 406351"/>
                <a:gd name="connsiteX4" fmla="*/ 406351 w 406351"/>
                <a:gd name="connsiteY4" fmla="*/ 67409 h 406351"/>
                <a:gd name="connsiteX5" fmla="*/ 406351 w 406351"/>
                <a:gd name="connsiteY5" fmla="*/ 337037 h 406351"/>
                <a:gd name="connsiteX6" fmla="*/ 338942 w 406351"/>
                <a:gd name="connsiteY6" fmla="*/ 404446 h 406351"/>
                <a:gd name="connsiteX7" fmla="*/ 124559 w 406351"/>
                <a:gd name="connsiteY7" fmla="*/ 406351 h 40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351" h="406351">
                  <a:moveTo>
                    <a:pt x="0" y="236072"/>
                  </a:moveTo>
                  <a:lnTo>
                    <a:pt x="1905" y="67409"/>
                  </a:lnTo>
                  <a:cubicBezTo>
                    <a:pt x="1905" y="30180"/>
                    <a:pt x="32085" y="0"/>
                    <a:pt x="69314" y="0"/>
                  </a:cubicBezTo>
                  <a:lnTo>
                    <a:pt x="338942" y="0"/>
                  </a:lnTo>
                  <a:cubicBezTo>
                    <a:pt x="376171" y="0"/>
                    <a:pt x="406351" y="30180"/>
                    <a:pt x="406351" y="67409"/>
                  </a:cubicBezTo>
                  <a:lnTo>
                    <a:pt x="406351" y="337037"/>
                  </a:lnTo>
                  <a:cubicBezTo>
                    <a:pt x="406351" y="374266"/>
                    <a:pt x="376171" y="404446"/>
                    <a:pt x="338942" y="404446"/>
                  </a:cubicBezTo>
                  <a:lnTo>
                    <a:pt x="124559" y="406351"/>
                  </a:lnTo>
                </a:path>
              </a:pathLst>
            </a:cu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2400" b="1"/>
                <a:t>2</a:t>
              </a:r>
            </a:p>
          </p:txBody>
        </p:sp>
        <p:sp>
          <p:nvSpPr>
            <p:cNvPr id="45" name="Oval 44">
              <a:extLst>
                <a:ext uri="{FF2B5EF4-FFF2-40B4-BE49-F238E27FC236}">
                  <a16:creationId xmlns:a16="http://schemas.microsoft.com/office/drawing/2014/main" id="{F6DFEB27-C986-4B30-9D32-075420848E7A}"/>
                </a:ext>
              </a:extLst>
            </p:cNvPr>
            <p:cNvSpPr/>
            <p:nvPr/>
          </p:nvSpPr>
          <p:spPr>
            <a:xfrm>
              <a:off x="6096983" y="2405696"/>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grpSp>
        <p:nvGrpSpPr>
          <p:cNvPr id="55" name="Group 54">
            <a:extLst>
              <a:ext uri="{FF2B5EF4-FFF2-40B4-BE49-F238E27FC236}">
                <a16:creationId xmlns:a16="http://schemas.microsoft.com/office/drawing/2014/main" id="{D3D26632-34A3-426E-9F55-76CA5CD4C03D}"/>
              </a:ext>
            </a:extLst>
          </p:cNvPr>
          <p:cNvGrpSpPr/>
          <p:nvPr/>
        </p:nvGrpSpPr>
        <p:grpSpPr>
          <a:xfrm>
            <a:off x="6011600" y="3773951"/>
            <a:ext cx="4984930" cy="424715"/>
            <a:chOff x="6011600" y="3091498"/>
            <a:chExt cx="4984930" cy="424715"/>
          </a:xfrm>
        </p:grpSpPr>
        <p:sp>
          <p:nvSpPr>
            <p:cNvPr id="13" name="TextBox 12">
              <a:extLst>
                <a:ext uri="{FF2B5EF4-FFF2-40B4-BE49-F238E27FC236}">
                  <a16:creationId xmlns:a16="http://schemas.microsoft.com/office/drawing/2014/main" id="{955D0072-7E2C-4598-B370-B813700ACFDE}"/>
                </a:ext>
              </a:extLst>
            </p:cNvPr>
            <p:cNvSpPr txBox="1"/>
            <p:nvPr/>
          </p:nvSpPr>
          <p:spPr>
            <a:xfrm>
              <a:off x="6620332" y="3149967"/>
              <a:ext cx="4376198" cy="307777"/>
            </a:xfrm>
            <a:prstGeom prst="rect">
              <a:avLst/>
            </a:prstGeom>
            <a:noFill/>
          </p:spPr>
          <p:txBody>
            <a:bodyPr wrap="none" lIns="0" tIns="0" rIns="0" bIns="0" rtlCol="0" anchor="ctr" anchorCtr="0">
              <a:spAutoFit/>
            </a:bodyPr>
            <a:lstStyle/>
            <a:p>
              <a:r>
                <a:rPr lang="en-US" sz="2000">
                  <a:solidFill>
                    <a:schemeClr val="bg1"/>
                  </a:solidFill>
                  <a:latin typeface="Ubuntu Light" panose="020B0304030602030204" pitchFamily="34" charset="0"/>
                </a:rPr>
                <a:t>Have we lost sight on Climate change?</a:t>
              </a:r>
            </a:p>
          </p:txBody>
        </p:sp>
        <p:sp>
          <p:nvSpPr>
            <p:cNvPr id="15" name="Rectangle: Rounded Corners 6">
              <a:extLst>
                <a:ext uri="{FF2B5EF4-FFF2-40B4-BE49-F238E27FC236}">
                  <a16:creationId xmlns:a16="http://schemas.microsoft.com/office/drawing/2014/main" id="{9AD0AB84-E659-45A9-92D7-52C0758DE24C}"/>
                </a:ext>
              </a:extLst>
            </p:cNvPr>
            <p:cNvSpPr/>
            <p:nvPr/>
          </p:nvSpPr>
          <p:spPr>
            <a:xfrm>
              <a:off x="6011600" y="3091498"/>
              <a:ext cx="406351" cy="406351"/>
            </a:xfrm>
            <a:custGeom>
              <a:avLst/>
              <a:gdLst>
                <a:gd name="connsiteX0" fmla="*/ 0 w 404446"/>
                <a:gd name="connsiteY0" fmla="*/ 67409 h 404446"/>
                <a:gd name="connsiteX1" fmla="*/ 67409 w 404446"/>
                <a:gd name="connsiteY1" fmla="*/ 0 h 404446"/>
                <a:gd name="connsiteX2" fmla="*/ 337037 w 404446"/>
                <a:gd name="connsiteY2" fmla="*/ 0 h 404446"/>
                <a:gd name="connsiteX3" fmla="*/ 404446 w 404446"/>
                <a:gd name="connsiteY3" fmla="*/ 67409 h 404446"/>
                <a:gd name="connsiteX4" fmla="*/ 404446 w 404446"/>
                <a:gd name="connsiteY4" fmla="*/ 337037 h 404446"/>
                <a:gd name="connsiteX5" fmla="*/ 337037 w 404446"/>
                <a:gd name="connsiteY5" fmla="*/ 404446 h 404446"/>
                <a:gd name="connsiteX6" fmla="*/ 67409 w 404446"/>
                <a:gd name="connsiteY6" fmla="*/ 404446 h 404446"/>
                <a:gd name="connsiteX7" fmla="*/ 0 w 404446"/>
                <a:gd name="connsiteY7" fmla="*/ 337037 h 404446"/>
                <a:gd name="connsiteX8" fmla="*/ 0 w 404446"/>
                <a:gd name="connsiteY8" fmla="*/ 67409 h 404446"/>
                <a:gd name="connsiteX0" fmla="*/ 0 w 404446"/>
                <a:gd name="connsiteY0" fmla="*/ 337037 h 428477"/>
                <a:gd name="connsiteX1" fmla="*/ 0 w 404446"/>
                <a:gd name="connsiteY1" fmla="*/ 67409 h 428477"/>
                <a:gd name="connsiteX2" fmla="*/ 67409 w 404446"/>
                <a:gd name="connsiteY2" fmla="*/ 0 h 428477"/>
                <a:gd name="connsiteX3" fmla="*/ 337037 w 404446"/>
                <a:gd name="connsiteY3" fmla="*/ 0 h 428477"/>
                <a:gd name="connsiteX4" fmla="*/ 404446 w 404446"/>
                <a:gd name="connsiteY4" fmla="*/ 67409 h 428477"/>
                <a:gd name="connsiteX5" fmla="*/ 404446 w 404446"/>
                <a:gd name="connsiteY5" fmla="*/ 337037 h 428477"/>
                <a:gd name="connsiteX6" fmla="*/ 337037 w 404446"/>
                <a:gd name="connsiteY6" fmla="*/ 404446 h 428477"/>
                <a:gd name="connsiteX7" fmla="*/ 67409 w 404446"/>
                <a:gd name="connsiteY7" fmla="*/ 404446 h 428477"/>
                <a:gd name="connsiteX8" fmla="*/ 91440 w 404446"/>
                <a:gd name="connsiteY8" fmla="*/ 428477 h 428477"/>
                <a:gd name="connsiteX0" fmla="*/ 0 w 404446"/>
                <a:gd name="connsiteY0" fmla="*/ 337037 h 404446"/>
                <a:gd name="connsiteX1" fmla="*/ 0 w 404446"/>
                <a:gd name="connsiteY1" fmla="*/ 67409 h 404446"/>
                <a:gd name="connsiteX2" fmla="*/ 67409 w 404446"/>
                <a:gd name="connsiteY2" fmla="*/ 0 h 404446"/>
                <a:gd name="connsiteX3" fmla="*/ 337037 w 404446"/>
                <a:gd name="connsiteY3" fmla="*/ 0 h 404446"/>
                <a:gd name="connsiteX4" fmla="*/ 404446 w 404446"/>
                <a:gd name="connsiteY4" fmla="*/ 67409 h 404446"/>
                <a:gd name="connsiteX5" fmla="*/ 404446 w 404446"/>
                <a:gd name="connsiteY5" fmla="*/ 337037 h 404446"/>
                <a:gd name="connsiteX6" fmla="*/ 337037 w 404446"/>
                <a:gd name="connsiteY6" fmla="*/ 404446 h 404446"/>
                <a:gd name="connsiteX7" fmla="*/ 67409 w 404446"/>
                <a:gd name="connsiteY7" fmla="*/ 404446 h 404446"/>
                <a:gd name="connsiteX0" fmla="*/ 0 w 404446"/>
                <a:gd name="connsiteY0" fmla="*/ 337037 h 406351"/>
                <a:gd name="connsiteX1" fmla="*/ 0 w 404446"/>
                <a:gd name="connsiteY1" fmla="*/ 67409 h 406351"/>
                <a:gd name="connsiteX2" fmla="*/ 67409 w 404446"/>
                <a:gd name="connsiteY2" fmla="*/ 0 h 406351"/>
                <a:gd name="connsiteX3" fmla="*/ 337037 w 404446"/>
                <a:gd name="connsiteY3" fmla="*/ 0 h 406351"/>
                <a:gd name="connsiteX4" fmla="*/ 404446 w 404446"/>
                <a:gd name="connsiteY4" fmla="*/ 67409 h 406351"/>
                <a:gd name="connsiteX5" fmla="*/ 404446 w 404446"/>
                <a:gd name="connsiteY5" fmla="*/ 337037 h 406351"/>
                <a:gd name="connsiteX6" fmla="*/ 337037 w 404446"/>
                <a:gd name="connsiteY6" fmla="*/ 404446 h 406351"/>
                <a:gd name="connsiteX7" fmla="*/ 122654 w 404446"/>
                <a:gd name="connsiteY7" fmla="*/ 406351 h 406351"/>
                <a:gd name="connsiteX0" fmla="*/ 0 w 406351"/>
                <a:gd name="connsiteY0" fmla="*/ 236072 h 406351"/>
                <a:gd name="connsiteX1" fmla="*/ 1905 w 406351"/>
                <a:gd name="connsiteY1" fmla="*/ 67409 h 406351"/>
                <a:gd name="connsiteX2" fmla="*/ 69314 w 406351"/>
                <a:gd name="connsiteY2" fmla="*/ 0 h 406351"/>
                <a:gd name="connsiteX3" fmla="*/ 338942 w 406351"/>
                <a:gd name="connsiteY3" fmla="*/ 0 h 406351"/>
                <a:gd name="connsiteX4" fmla="*/ 406351 w 406351"/>
                <a:gd name="connsiteY4" fmla="*/ 67409 h 406351"/>
                <a:gd name="connsiteX5" fmla="*/ 406351 w 406351"/>
                <a:gd name="connsiteY5" fmla="*/ 337037 h 406351"/>
                <a:gd name="connsiteX6" fmla="*/ 338942 w 406351"/>
                <a:gd name="connsiteY6" fmla="*/ 404446 h 406351"/>
                <a:gd name="connsiteX7" fmla="*/ 124559 w 406351"/>
                <a:gd name="connsiteY7" fmla="*/ 406351 h 40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351" h="406351">
                  <a:moveTo>
                    <a:pt x="0" y="236072"/>
                  </a:moveTo>
                  <a:lnTo>
                    <a:pt x="1905" y="67409"/>
                  </a:lnTo>
                  <a:cubicBezTo>
                    <a:pt x="1905" y="30180"/>
                    <a:pt x="32085" y="0"/>
                    <a:pt x="69314" y="0"/>
                  </a:cubicBezTo>
                  <a:lnTo>
                    <a:pt x="338942" y="0"/>
                  </a:lnTo>
                  <a:cubicBezTo>
                    <a:pt x="376171" y="0"/>
                    <a:pt x="406351" y="30180"/>
                    <a:pt x="406351" y="67409"/>
                  </a:cubicBezTo>
                  <a:lnTo>
                    <a:pt x="406351" y="337037"/>
                  </a:lnTo>
                  <a:cubicBezTo>
                    <a:pt x="406351" y="374266"/>
                    <a:pt x="376171" y="404446"/>
                    <a:pt x="338942" y="404446"/>
                  </a:cubicBezTo>
                  <a:lnTo>
                    <a:pt x="124559" y="406351"/>
                  </a:lnTo>
                </a:path>
              </a:pathLst>
            </a:cu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2400" b="1"/>
                <a:t>3</a:t>
              </a:r>
            </a:p>
          </p:txBody>
        </p:sp>
        <p:sp>
          <p:nvSpPr>
            <p:cNvPr id="16" name="Oval 15">
              <a:extLst>
                <a:ext uri="{FF2B5EF4-FFF2-40B4-BE49-F238E27FC236}">
                  <a16:creationId xmlns:a16="http://schemas.microsoft.com/office/drawing/2014/main" id="{41F2436B-3C3D-4538-8355-FC16ECB5468B}"/>
                </a:ext>
              </a:extLst>
            </p:cNvPr>
            <p:cNvSpPr/>
            <p:nvPr/>
          </p:nvSpPr>
          <p:spPr>
            <a:xfrm>
              <a:off x="6096983" y="3470494"/>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cxnSp>
        <p:nvCxnSpPr>
          <p:cNvPr id="47" name="Straight Connector 46">
            <a:extLst>
              <a:ext uri="{FF2B5EF4-FFF2-40B4-BE49-F238E27FC236}">
                <a16:creationId xmlns:a16="http://schemas.microsoft.com/office/drawing/2014/main" id="{40536DA2-4632-4364-8CC0-D41670938C58}"/>
              </a:ext>
            </a:extLst>
          </p:cNvPr>
          <p:cNvCxnSpPr>
            <a:cxnSpLocks/>
          </p:cNvCxnSpPr>
          <p:nvPr/>
        </p:nvCxnSpPr>
        <p:spPr>
          <a:xfrm>
            <a:off x="6062547" y="2174858"/>
            <a:ext cx="2834640" cy="0"/>
          </a:xfrm>
          <a:prstGeom prst="line">
            <a:avLst/>
          </a:prstGeom>
          <a:ln w="3175">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F09F2EB2-E967-4974-B720-E49B8484842D}"/>
              </a:ext>
            </a:extLst>
          </p:cNvPr>
          <p:cNvGrpSpPr/>
          <p:nvPr/>
        </p:nvGrpSpPr>
        <p:grpSpPr>
          <a:xfrm>
            <a:off x="6083187" y="4967128"/>
            <a:ext cx="4656304" cy="424715"/>
            <a:chOff x="6083187" y="2669978"/>
            <a:chExt cx="4656304" cy="424715"/>
          </a:xfrm>
        </p:grpSpPr>
        <p:sp>
          <p:nvSpPr>
            <p:cNvPr id="51" name="Rectangle: Rounded Corners 6">
              <a:extLst>
                <a:ext uri="{FF2B5EF4-FFF2-40B4-BE49-F238E27FC236}">
                  <a16:creationId xmlns:a16="http://schemas.microsoft.com/office/drawing/2014/main" id="{60C37C4A-1D1B-45B7-B5BC-83346D464D89}"/>
                </a:ext>
              </a:extLst>
            </p:cNvPr>
            <p:cNvSpPr/>
            <p:nvPr/>
          </p:nvSpPr>
          <p:spPr>
            <a:xfrm>
              <a:off x="6083187" y="2669978"/>
              <a:ext cx="406351" cy="406351"/>
            </a:xfrm>
            <a:custGeom>
              <a:avLst/>
              <a:gdLst>
                <a:gd name="connsiteX0" fmla="*/ 0 w 404446"/>
                <a:gd name="connsiteY0" fmla="*/ 67409 h 404446"/>
                <a:gd name="connsiteX1" fmla="*/ 67409 w 404446"/>
                <a:gd name="connsiteY1" fmla="*/ 0 h 404446"/>
                <a:gd name="connsiteX2" fmla="*/ 337037 w 404446"/>
                <a:gd name="connsiteY2" fmla="*/ 0 h 404446"/>
                <a:gd name="connsiteX3" fmla="*/ 404446 w 404446"/>
                <a:gd name="connsiteY3" fmla="*/ 67409 h 404446"/>
                <a:gd name="connsiteX4" fmla="*/ 404446 w 404446"/>
                <a:gd name="connsiteY4" fmla="*/ 337037 h 404446"/>
                <a:gd name="connsiteX5" fmla="*/ 337037 w 404446"/>
                <a:gd name="connsiteY5" fmla="*/ 404446 h 404446"/>
                <a:gd name="connsiteX6" fmla="*/ 67409 w 404446"/>
                <a:gd name="connsiteY6" fmla="*/ 404446 h 404446"/>
                <a:gd name="connsiteX7" fmla="*/ 0 w 404446"/>
                <a:gd name="connsiteY7" fmla="*/ 337037 h 404446"/>
                <a:gd name="connsiteX8" fmla="*/ 0 w 404446"/>
                <a:gd name="connsiteY8" fmla="*/ 67409 h 404446"/>
                <a:gd name="connsiteX0" fmla="*/ 0 w 404446"/>
                <a:gd name="connsiteY0" fmla="*/ 337037 h 428477"/>
                <a:gd name="connsiteX1" fmla="*/ 0 w 404446"/>
                <a:gd name="connsiteY1" fmla="*/ 67409 h 428477"/>
                <a:gd name="connsiteX2" fmla="*/ 67409 w 404446"/>
                <a:gd name="connsiteY2" fmla="*/ 0 h 428477"/>
                <a:gd name="connsiteX3" fmla="*/ 337037 w 404446"/>
                <a:gd name="connsiteY3" fmla="*/ 0 h 428477"/>
                <a:gd name="connsiteX4" fmla="*/ 404446 w 404446"/>
                <a:gd name="connsiteY4" fmla="*/ 67409 h 428477"/>
                <a:gd name="connsiteX5" fmla="*/ 404446 w 404446"/>
                <a:gd name="connsiteY5" fmla="*/ 337037 h 428477"/>
                <a:gd name="connsiteX6" fmla="*/ 337037 w 404446"/>
                <a:gd name="connsiteY6" fmla="*/ 404446 h 428477"/>
                <a:gd name="connsiteX7" fmla="*/ 67409 w 404446"/>
                <a:gd name="connsiteY7" fmla="*/ 404446 h 428477"/>
                <a:gd name="connsiteX8" fmla="*/ 91440 w 404446"/>
                <a:gd name="connsiteY8" fmla="*/ 428477 h 428477"/>
                <a:gd name="connsiteX0" fmla="*/ 0 w 404446"/>
                <a:gd name="connsiteY0" fmla="*/ 337037 h 404446"/>
                <a:gd name="connsiteX1" fmla="*/ 0 w 404446"/>
                <a:gd name="connsiteY1" fmla="*/ 67409 h 404446"/>
                <a:gd name="connsiteX2" fmla="*/ 67409 w 404446"/>
                <a:gd name="connsiteY2" fmla="*/ 0 h 404446"/>
                <a:gd name="connsiteX3" fmla="*/ 337037 w 404446"/>
                <a:gd name="connsiteY3" fmla="*/ 0 h 404446"/>
                <a:gd name="connsiteX4" fmla="*/ 404446 w 404446"/>
                <a:gd name="connsiteY4" fmla="*/ 67409 h 404446"/>
                <a:gd name="connsiteX5" fmla="*/ 404446 w 404446"/>
                <a:gd name="connsiteY5" fmla="*/ 337037 h 404446"/>
                <a:gd name="connsiteX6" fmla="*/ 337037 w 404446"/>
                <a:gd name="connsiteY6" fmla="*/ 404446 h 404446"/>
                <a:gd name="connsiteX7" fmla="*/ 67409 w 404446"/>
                <a:gd name="connsiteY7" fmla="*/ 404446 h 404446"/>
                <a:gd name="connsiteX0" fmla="*/ 0 w 404446"/>
                <a:gd name="connsiteY0" fmla="*/ 337037 h 406351"/>
                <a:gd name="connsiteX1" fmla="*/ 0 w 404446"/>
                <a:gd name="connsiteY1" fmla="*/ 67409 h 406351"/>
                <a:gd name="connsiteX2" fmla="*/ 67409 w 404446"/>
                <a:gd name="connsiteY2" fmla="*/ 0 h 406351"/>
                <a:gd name="connsiteX3" fmla="*/ 337037 w 404446"/>
                <a:gd name="connsiteY3" fmla="*/ 0 h 406351"/>
                <a:gd name="connsiteX4" fmla="*/ 404446 w 404446"/>
                <a:gd name="connsiteY4" fmla="*/ 67409 h 406351"/>
                <a:gd name="connsiteX5" fmla="*/ 404446 w 404446"/>
                <a:gd name="connsiteY5" fmla="*/ 337037 h 406351"/>
                <a:gd name="connsiteX6" fmla="*/ 337037 w 404446"/>
                <a:gd name="connsiteY6" fmla="*/ 404446 h 406351"/>
                <a:gd name="connsiteX7" fmla="*/ 122654 w 404446"/>
                <a:gd name="connsiteY7" fmla="*/ 406351 h 406351"/>
                <a:gd name="connsiteX0" fmla="*/ 0 w 406351"/>
                <a:gd name="connsiteY0" fmla="*/ 236072 h 406351"/>
                <a:gd name="connsiteX1" fmla="*/ 1905 w 406351"/>
                <a:gd name="connsiteY1" fmla="*/ 67409 h 406351"/>
                <a:gd name="connsiteX2" fmla="*/ 69314 w 406351"/>
                <a:gd name="connsiteY2" fmla="*/ 0 h 406351"/>
                <a:gd name="connsiteX3" fmla="*/ 338942 w 406351"/>
                <a:gd name="connsiteY3" fmla="*/ 0 h 406351"/>
                <a:gd name="connsiteX4" fmla="*/ 406351 w 406351"/>
                <a:gd name="connsiteY4" fmla="*/ 67409 h 406351"/>
                <a:gd name="connsiteX5" fmla="*/ 406351 w 406351"/>
                <a:gd name="connsiteY5" fmla="*/ 337037 h 406351"/>
                <a:gd name="connsiteX6" fmla="*/ 338942 w 406351"/>
                <a:gd name="connsiteY6" fmla="*/ 404446 h 406351"/>
                <a:gd name="connsiteX7" fmla="*/ 124559 w 406351"/>
                <a:gd name="connsiteY7" fmla="*/ 406351 h 40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351" h="406351">
                  <a:moveTo>
                    <a:pt x="0" y="236072"/>
                  </a:moveTo>
                  <a:lnTo>
                    <a:pt x="1905" y="67409"/>
                  </a:lnTo>
                  <a:cubicBezTo>
                    <a:pt x="1905" y="30180"/>
                    <a:pt x="32085" y="0"/>
                    <a:pt x="69314" y="0"/>
                  </a:cubicBezTo>
                  <a:lnTo>
                    <a:pt x="338942" y="0"/>
                  </a:lnTo>
                  <a:cubicBezTo>
                    <a:pt x="376171" y="0"/>
                    <a:pt x="406351" y="30180"/>
                    <a:pt x="406351" y="67409"/>
                  </a:cubicBezTo>
                  <a:lnTo>
                    <a:pt x="406351" y="337037"/>
                  </a:lnTo>
                  <a:cubicBezTo>
                    <a:pt x="406351" y="374266"/>
                    <a:pt x="376171" y="404446"/>
                    <a:pt x="338942" y="404446"/>
                  </a:cubicBezTo>
                  <a:lnTo>
                    <a:pt x="124559" y="406351"/>
                  </a:lnTo>
                </a:path>
              </a:pathLst>
            </a:cu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2400" b="1"/>
                <a:t>4</a:t>
              </a:r>
            </a:p>
          </p:txBody>
        </p:sp>
        <p:sp>
          <p:nvSpPr>
            <p:cNvPr id="52" name="Oval 51">
              <a:extLst>
                <a:ext uri="{FF2B5EF4-FFF2-40B4-BE49-F238E27FC236}">
                  <a16:creationId xmlns:a16="http://schemas.microsoft.com/office/drawing/2014/main" id="{90FA898C-C969-420B-AFDE-7B8588B513E3}"/>
                </a:ext>
              </a:extLst>
            </p:cNvPr>
            <p:cNvSpPr/>
            <p:nvPr/>
          </p:nvSpPr>
          <p:spPr>
            <a:xfrm>
              <a:off x="6168570" y="3048974"/>
              <a:ext cx="45719" cy="457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62" name="TextBox 61">
              <a:extLst>
                <a:ext uri="{FF2B5EF4-FFF2-40B4-BE49-F238E27FC236}">
                  <a16:creationId xmlns:a16="http://schemas.microsoft.com/office/drawing/2014/main" id="{D65E9D99-E232-4FFB-808E-1870F54CBAAF}"/>
                </a:ext>
              </a:extLst>
            </p:cNvPr>
            <p:cNvSpPr txBox="1"/>
            <p:nvPr/>
          </p:nvSpPr>
          <p:spPr>
            <a:xfrm>
              <a:off x="6704732" y="2716243"/>
              <a:ext cx="4034759" cy="307777"/>
            </a:xfrm>
            <a:prstGeom prst="rect">
              <a:avLst/>
            </a:prstGeom>
            <a:noFill/>
          </p:spPr>
          <p:txBody>
            <a:bodyPr wrap="none" lIns="0" tIns="0" rIns="0" bIns="0" rtlCol="0" anchor="ctr" anchorCtr="0">
              <a:spAutoFit/>
            </a:bodyPr>
            <a:lstStyle/>
            <a:p>
              <a:r>
                <a:rPr lang="en-US" sz="2000">
                  <a:solidFill>
                    <a:schemeClr val="bg1"/>
                  </a:solidFill>
                  <a:latin typeface="Ubuntu Light" panose="020B0304030602030204" pitchFamily="34" charset="0"/>
                </a:rPr>
                <a:t>Conclusions and Recommendations</a:t>
              </a:r>
            </a:p>
          </p:txBody>
        </p:sp>
      </p:grpSp>
      <p:cxnSp>
        <p:nvCxnSpPr>
          <p:cNvPr id="66" name="Straight Connector 65">
            <a:extLst>
              <a:ext uri="{FF2B5EF4-FFF2-40B4-BE49-F238E27FC236}">
                <a16:creationId xmlns:a16="http://schemas.microsoft.com/office/drawing/2014/main" id="{96743E68-CDA7-4C36-AEE9-E23A21A80BF0}"/>
              </a:ext>
            </a:extLst>
          </p:cNvPr>
          <p:cNvCxnSpPr>
            <a:cxnSpLocks/>
          </p:cNvCxnSpPr>
          <p:nvPr/>
        </p:nvCxnSpPr>
        <p:spPr>
          <a:xfrm>
            <a:off x="6062547" y="3342017"/>
            <a:ext cx="2834640" cy="0"/>
          </a:xfrm>
          <a:prstGeom prst="line">
            <a:avLst/>
          </a:prstGeom>
          <a:ln w="3175">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43F75F9-4EB9-409D-9435-863197246C77}"/>
              </a:ext>
            </a:extLst>
          </p:cNvPr>
          <p:cNvCxnSpPr>
            <a:cxnSpLocks/>
          </p:cNvCxnSpPr>
          <p:nvPr/>
        </p:nvCxnSpPr>
        <p:spPr>
          <a:xfrm>
            <a:off x="6062547" y="4609539"/>
            <a:ext cx="2834640" cy="0"/>
          </a:xfrm>
          <a:prstGeom prst="line">
            <a:avLst/>
          </a:prstGeom>
          <a:ln w="3175">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4B1FDE3-D8BB-4CD1-A5B6-BA15F86FB061}"/>
              </a:ext>
            </a:extLst>
          </p:cNvPr>
          <p:cNvSpPr txBox="1"/>
          <p:nvPr/>
        </p:nvSpPr>
        <p:spPr>
          <a:xfrm>
            <a:off x="985769" y="4759517"/>
            <a:ext cx="3492944" cy="1231106"/>
          </a:xfrm>
          <a:prstGeom prst="rect">
            <a:avLst/>
          </a:prstGeom>
          <a:noFill/>
        </p:spPr>
        <p:txBody>
          <a:bodyPr wrap="none" lIns="0" tIns="0" rIns="0" bIns="0">
            <a:spAutoFit/>
          </a:bodyPr>
          <a:lstStyle/>
          <a:p>
            <a:pPr algn="r">
              <a:lnSpc>
                <a:spcPts val="3200"/>
              </a:lnSpc>
            </a:pPr>
            <a:r>
              <a:rPr lang="en-US" sz="3600" cap="all" baseline="0">
                <a:solidFill>
                  <a:schemeClr val="bg1"/>
                </a:solidFill>
                <a:latin typeface="Ubuntu" panose="020B0504030602030204" pitchFamily="34" charset="0"/>
              </a:rPr>
              <a:t>World Energy</a:t>
            </a:r>
            <a:br>
              <a:rPr lang="en-US" sz="3600" cap="all" baseline="0">
                <a:solidFill>
                  <a:schemeClr val="bg1"/>
                </a:solidFill>
                <a:latin typeface="Ubuntu" panose="020B0504030602030204" pitchFamily="34" charset="0"/>
              </a:rPr>
            </a:br>
            <a:r>
              <a:rPr lang="en-US" sz="3600" cap="all" baseline="0">
                <a:solidFill>
                  <a:schemeClr val="bg1"/>
                </a:solidFill>
                <a:latin typeface="Ubuntu" panose="020B0504030602030204" pitchFamily="34" charset="0"/>
              </a:rPr>
              <a:t>Markets</a:t>
            </a:r>
            <a:br>
              <a:rPr lang="en-US" sz="3600" cap="all" baseline="0">
                <a:solidFill>
                  <a:schemeClr val="bg1"/>
                </a:solidFill>
                <a:latin typeface="Ubuntu" panose="020B0504030602030204" pitchFamily="34" charset="0"/>
              </a:rPr>
            </a:br>
            <a:r>
              <a:rPr lang="en-US" sz="3600" cap="all" baseline="0">
                <a:solidFill>
                  <a:schemeClr val="bg1"/>
                </a:solidFill>
                <a:latin typeface="Ubuntu" panose="020B0504030602030204" pitchFamily="34" charset="0"/>
              </a:rPr>
              <a:t>Observatory</a:t>
            </a:r>
          </a:p>
        </p:txBody>
      </p:sp>
      <p:sp>
        <p:nvSpPr>
          <p:cNvPr id="69" name="Subtitle 1">
            <a:extLst>
              <a:ext uri="{FF2B5EF4-FFF2-40B4-BE49-F238E27FC236}">
                <a16:creationId xmlns:a16="http://schemas.microsoft.com/office/drawing/2014/main" id="{C4A7DD0A-451F-40AC-9A42-F3439B314467}"/>
              </a:ext>
            </a:extLst>
          </p:cNvPr>
          <p:cNvSpPr txBox="1">
            <a:spLocks/>
          </p:cNvSpPr>
          <p:nvPr/>
        </p:nvSpPr>
        <p:spPr>
          <a:xfrm>
            <a:off x="2571349" y="6091015"/>
            <a:ext cx="1873911" cy="276999"/>
          </a:xfrm>
          <a:prstGeom prst="rect">
            <a:avLst/>
          </a:prstGeom>
        </p:spPr>
        <p:txBody>
          <a:bodyPr vert="horz" wrap="non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800">
                <a:latin typeface="Ubuntu Light" panose="020B0304030602030204" pitchFamily="34" charset="0"/>
              </a:rPr>
              <a:t>24</a:t>
            </a:r>
            <a:r>
              <a:rPr lang="en-GB" sz="1800" baseline="30000">
                <a:latin typeface="Ubuntu Light" panose="020B0304030602030204" pitchFamily="34" charset="0"/>
              </a:rPr>
              <a:t>th</a:t>
            </a:r>
            <a:r>
              <a:rPr lang="en-GB" sz="1800">
                <a:latin typeface="Ubuntu Light" panose="020B0304030602030204" pitchFamily="34" charset="0"/>
              </a:rPr>
              <a:t> Edition | 2022</a:t>
            </a:r>
          </a:p>
        </p:txBody>
      </p:sp>
      <p:sp>
        <p:nvSpPr>
          <p:cNvPr id="27" name="Ellipse 1">
            <a:extLst>
              <a:ext uri="{FF2B5EF4-FFF2-40B4-BE49-F238E27FC236}">
                <a16:creationId xmlns:a16="http://schemas.microsoft.com/office/drawing/2014/main" id="{215CD4D2-2B48-456B-9F03-C8512CB3483D}"/>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1989502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US"/>
              <a:t>A rise in wind and solar COSTS after 10 years of decrease</a:t>
            </a:r>
            <a:endParaRPr lang="en-IN"/>
          </a:p>
        </p:txBody>
      </p:sp>
      <p:sp>
        <p:nvSpPr>
          <p:cNvPr id="5" name="ZoneTexte 4">
            <a:extLst>
              <a:ext uri="{FF2B5EF4-FFF2-40B4-BE49-F238E27FC236}">
                <a16:creationId xmlns:a16="http://schemas.microsoft.com/office/drawing/2014/main" id="{42C5248C-CE44-4E52-BBEB-0AE772ACE77D}"/>
              </a:ext>
            </a:extLst>
          </p:cNvPr>
          <p:cNvSpPr txBox="1"/>
          <p:nvPr/>
        </p:nvSpPr>
        <p:spPr>
          <a:xfrm>
            <a:off x="310848" y="1250067"/>
            <a:ext cx="10150323" cy="307777"/>
          </a:xfrm>
          <a:prstGeom prst="rect">
            <a:avLst/>
          </a:prstGeom>
          <a:noFill/>
        </p:spPr>
        <p:txBody>
          <a:bodyPr wrap="square" rtlCol="0">
            <a:spAutoFit/>
          </a:bodyPr>
          <a:lstStyle/>
          <a:p>
            <a:pPr>
              <a:spcAft>
                <a:spcPts val="600"/>
              </a:spcAft>
              <a:defRPr/>
            </a:pPr>
            <a:r>
              <a:rPr lang="en-US" sz="1400" b="1">
                <a:solidFill>
                  <a:srgbClr val="12ABDB"/>
                </a:solidFill>
                <a:latin typeface="Ubuntu" panose="020B0504030602030204" pitchFamily="34" charset="0"/>
              </a:rPr>
              <a:t>Renewable costs should increase from 2021 to 2022 up to 25%</a:t>
            </a:r>
          </a:p>
        </p:txBody>
      </p:sp>
      <p:sp>
        <p:nvSpPr>
          <p:cNvPr id="51" name="ZoneTexte 50">
            <a:extLst>
              <a:ext uri="{FF2B5EF4-FFF2-40B4-BE49-F238E27FC236}">
                <a16:creationId xmlns:a16="http://schemas.microsoft.com/office/drawing/2014/main" id="{FB41F9C7-3A66-43FD-8A26-D0C587B41443}"/>
              </a:ext>
            </a:extLst>
          </p:cNvPr>
          <p:cNvSpPr txBox="1"/>
          <p:nvPr/>
        </p:nvSpPr>
        <p:spPr>
          <a:xfrm>
            <a:off x="445147" y="5542676"/>
            <a:ext cx="1050289" cy="646331"/>
          </a:xfrm>
          <a:prstGeom prst="rect">
            <a:avLst/>
          </a:prstGeom>
          <a:noFill/>
          <a:ln>
            <a:solidFill>
              <a:schemeClr val="accent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72936"/>
                </a:solidFill>
                <a:effectLst/>
                <a:uLnTx/>
                <a:uFillTx/>
                <a:latin typeface="Ubuntu"/>
                <a:ea typeface="+mn-ea"/>
                <a:cs typeface="+mn-cs"/>
              </a:rPr>
              <a:t>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272936"/>
                </a:solidFill>
                <a:effectLst/>
                <a:uLnTx/>
                <a:uFillTx/>
                <a:latin typeface="Ubuntu"/>
                <a:ea typeface="+mn-ea"/>
                <a:cs typeface="+mn-cs"/>
              </a:rPr>
              <a:t>H1 2022</a:t>
            </a:r>
          </a:p>
        </p:txBody>
      </p:sp>
      <p:sp>
        <p:nvSpPr>
          <p:cNvPr id="14" name="TextBox 8">
            <a:extLst>
              <a:ext uri="{FF2B5EF4-FFF2-40B4-BE49-F238E27FC236}">
                <a16:creationId xmlns:a16="http://schemas.microsoft.com/office/drawing/2014/main" id="{D2311229-CCD8-475F-90EE-7BDBDF3C7ECA}"/>
              </a:ext>
            </a:extLst>
          </p:cNvPr>
          <p:cNvSpPr txBox="1"/>
          <p:nvPr/>
        </p:nvSpPr>
        <p:spPr>
          <a:xfrm>
            <a:off x="409422" y="6334795"/>
            <a:ext cx="4485202"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 IEA, Lazard - Levelized Cost of Energy, Version 14.0 (October 2020)</a:t>
            </a:r>
          </a:p>
        </p:txBody>
      </p:sp>
      <p:sp>
        <p:nvSpPr>
          <p:cNvPr id="16" name="ZoneTexte 15">
            <a:extLst>
              <a:ext uri="{FF2B5EF4-FFF2-40B4-BE49-F238E27FC236}">
                <a16:creationId xmlns:a16="http://schemas.microsoft.com/office/drawing/2014/main" id="{03FB80B4-DA35-4145-93F2-D0F86442D8B7}"/>
              </a:ext>
            </a:extLst>
          </p:cNvPr>
          <p:cNvSpPr txBox="1"/>
          <p:nvPr/>
        </p:nvSpPr>
        <p:spPr>
          <a:xfrm>
            <a:off x="2447159" y="5596591"/>
            <a:ext cx="111707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72936"/>
                </a:solidFill>
                <a:effectLst/>
                <a:uLnTx/>
                <a:uFillTx/>
                <a:latin typeface="Ubuntu"/>
                <a:ea typeface="+mn-ea"/>
                <a:cs typeface="+mn-cs"/>
              </a:rPr>
              <a:t>Cost of capital</a:t>
            </a:r>
          </a:p>
        </p:txBody>
      </p:sp>
      <p:sp>
        <p:nvSpPr>
          <p:cNvPr id="23" name="Shape 5070">
            <a:extLst>
              <a:ext uri="{FF2B5EF4-FFF2-40B4-BE49-F238E27FC236}">
                <a16:creationId xmlns:a16="http://schemas.microsoft.com/office/drawing/2014/main" id="{5AE4BAD2-E125-46A0-B21E-A8D177F71FFA}"/>
              </a:ext>
            </a:extLst>
          </p:cNvPr>
          <p:cNvSpPr/>
          <p:nvPr/>
        </p:nvSpPr>
        <p:spPr>
          <a:xfrm>
            <a:off x="6455445" y="5656253"/>
            <a:ext cx="390671" cy="405243"/>
          </a:xfrm>
          <a:custGeom>
            <a:avLst/>
            <a:gdLst/>
            <a:ahLst/>
            <a:cxnLst/>
            <a:rect l="0" t="0" r="0" b="0"/>
            <a:pathLst>
              <a:path w="120000" h="120000" extrusionOk="0">
                <a:moveTo>
                  <a:pt x="111578" y="51020"/>
                </a:moveTo>
                <a:lnTo>
                  <a:pt x="111578" y="51020"/>
                </a:lnTo>
                <a:cubicBezTo>
                  <a:pt x="70736" y="51020"/>
                  <a:pt x="70736" y="51020"/>
                  <a:pt x="70736" y="51020"/>
                </a:cubicBezTo>
                <a:cubicBezTo>
                  <a:pt x="70736" y="7346"/>
                  <a:pt x="70736" y="7346"/>
                  <a:pt x="70736" y="7346"/>
                </a:cubicBezTo>
                <a:cubicBezTo>
                  <a:pt x="70736" y="0"/>
                  <a:pt x="63157" y="0"/>
                  <a:pt x="59368" y="0"/>
                </a:cubicBezTo>
                <a:cubicBezTo>
                  <a:pt x="52210" y="0"/>
                  <a:pt x="48421" y="0"/>
                  <a:pt x="48421" y="7346"/>
                </a:cubicBezTo>
                <a:cubicBezTo>
                  <a:pt x="48421" y="51020"/>
                  <a:pt x="48421" y="51020"/>
                  <a:pt x="48421" y="51020"/>
                </a:cubicBezTo>
                <a:cubicBezTo>
                  <a:pt x="3789" y="51020"/>
                  <a:pt x="3789" y="51020"/>
                  <a:pt x="3789" y="51020"/>
                </a:cubicBezTo>
                <a:cubicBezTo>
                  <a:pt x="0" y="51020"/>
                  <a:pt x="0" y="54285"/>
                  <a:pt x="0" y="57959"/>
                </a:cubicBezTo>
                <a:cubicBezTo>
                  <a:pt x="0" y="65306"/>
                  <a:pt x="0" y="68979"/>
                  <a:pt x="3789" y="68979"/>
                </a:cubicBezTo>
                <a:cubicBezTo>
                  <a:pt x="48421" y="68979"/>
                  <a:pt x="48421" y="68979"/>
                  <a:pt x="48421" y="68979"/>
                </a:cubicBezTo>
                <a:cubicBezTo>
                  <a:pt x="48421" y="112244"/>
                  <a:pt x="48421" y="112244"/>
                  <a:pt x="48421" y="112244"/>
                </a:cubicBezTo>
                <a:cubicBezTo>
                  <a:pt x="48421" y="115918"/>
                  <a:pt x="52210" y="119591"/>
                  <a:pt x="59368" y="119591"/>
                </a:cubicBezTo>
                <a:cubicBezTo>
                  <a:pt x="63157" y="119591"/>
                  <a:pt x="70736" y="115918"/>
                  <a:pt x="70736" y="112244"/>
                </a:cubicBezTo>
                <a:cubicBezTo>
                  <a:pt x="70736" y="68979"/>
                  <a:pt x="70736" y="68979"/>
                  <a:pt x="70736" y="68979"/>
                </a:cubicBezTo>
                <a:cubicBezTo>
                  <a:pt x="111578" y="68979"/>
                  <a:pt x="111578" y="68979"/>
                  <a:pt x="111578" y="68979"/>
                </a:cubicBezTo>
                <a:cubicBezTo>
                  <a:pt x="119578" y="68979"/>
                  <a:pt x="119578" y="65306"/>
                  <a:pt x="119578" y="57959"/>
                </a:cubicBezTo>
                <a:cubicBezTo>
                  <a:pt x="119578" y="54285"/>
                  <a:pt x="119578" y="51020"/>
                  <a:pt x="111578" y="51020"/>
                </a:cubicBezTo>
              </a:path>
            </a:pathLst>
          </a:custGeom>
          <a:solidFill>
            <a:schemeClr val="accent2"/>
          </a:solidFill>
          <a:ln>
            <a:noFill/>
          </a:ln>
        </p:spPr>
        <p:txBody>
          <a:bodyPr lIns="34275" tIns="17138" rIns="34275" bIns="17138"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Arial" panose="020B0604020202020204" pitchFamily="34" charset="0"/>
              <a:ea typeface="Roboto"/>
              <a:cs typeface="Arial" panose="020B0604020202020204" pitchFamily="34" charset="0"/>
              <a:sym typeface="Roboto"/>
            </a:endParaRPr>
          </a:p>
        </p:txBody>
      </p:sp>
      <p:sp>
        <p:nvSpPr>
          <p:cNvPr id="25" name="Freeform 23">
            <a:extLst>
              <a:ext uri="{FF2B5EF4-FFF2-40B4-BE49-F238E27FC236}">
                <a16:creationId xmlns:a16="http://schemas.microsoft.com/office/drawing/2014/main" id="{8508BC33-C4CC-49C1-A163-E842F6ED5E2F}"/>
              </a:ext>
            </a:extLst>
          </p:cNvPr>
          <p:cNvSpPr>
            <a:spLocks noChangeAspect="1"/>
          </p:cNvSpPr>
          <p:nvPr/>
        </p:nvSpPr>
        <p:spPr bwMode="auto">
          <a:xfrm>
            <a:off x="6932514" y="5528792"/>
            <a:ext cx="709769" cy="660164"/>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6" name="Gruppieren 39">
            <a:extLst>
              <a:ext uri="{FF2B5EF4-FFF2-40B4-BE49-F238E27FC236}">
                <a16:creationId xmlns:a16="http://schemas.microsoft.com/office/drawing/2014/main" id="{8B5E7768-C4AD-4B8F-BA9C-6E20CC7DA5B1}"/>
              </a:ext>
            </a:extLst>
          </p:cNvPr>
          <p:cNvGrpSpPr>
            <a:grpSpLocks noChangeAspect="1"/>
          </p:cNvGrpSpPr>
          <p:nvPr/>
        </p:nvGrpSpPr>
        <p:grpSpPr>
          <a:xfrm>
            <a:off x="7084963" y="5645525"/>
            <a:ext cx="404854" cy="426685"/>
            <a:chOff x="4227816" y="3171982"/>
            <a:chExt cx="455075" cy="479612"/>
          </a:xfrm>
          <a:solidFill>
            <a:schemeClr val="bg1"/>
          </a:solidFill>
        </p:grpSpPr>
        <p:sp>
          <p:nvSpPr>
            <p:cNvPr id="27" name="Freeform 1074">
              <a:extLst>
                <a:ext uri="{FF2B5EF4-FFF2-40B4-BE49-F238E27FC236}">
                  <a16:creationId xmlns:a16="http://schemas.microsoft.com/office/drawing/2014/main" id="{32E4363B-9843-49B3-AE91-31C14638EB26}"/>
                </a:ext>
              </a:extLst>
            </p:cNvPr>
            <p:cNvSpPr>
              <a:spLocks/>
            </p:cNvSpPr>
            <p:nvPr/>
          </p:nvSpPr>
          <p:spPr bwMode="auto">
            <a:xfrm>
              <a:off x="4412969" y="3321443"/>
              <a:ext cx="269922" cy="330151"/>
            </a:xfrm>
            <a:custGeom>
              <a:avLst/>
              <a:gdLst>
                <a:gd name="T0" fmla="*/ 52 w 169"/>
                <a:gd name="T1" fmla="*/ 207 h 207"/>
                <a:gd name="T2" fmla="*/ 0 w 169"/>
                <a:gd name="T3" fmla="*/ 207 h 207"/>
                <a:gd name="T4" fmla="*/ 2 w 169"/>
                <a:gd name="T5" fmla="*/ 185 h 207"/>
                <a:gd name="T6" fmla="*/ 13 w 169"/>
                <a:gd name="T7" fmla="*/ 129 h 207"/>
                <a:gd name="T8" fmla="*/ 78 w 169"/>
                <a:gd name="T9" fmla="*/ 42 h 207"/>
                <a:gd name="T10" fmla="*/ 104 w 169"/>
                <a:gd name="T11" fmla="*/ 27 h 207"/>
                <a:gd name="T12" fmla="*/ 93 w 169"/>
                <a:gd name="T13" fmla="*/ 0 h 207"/>
                <a:gd name="T14" fmla="*/ 169 w 169"/>
                <a:gd name="T15" fmla="*/ 30 h 207"/>
                <a:gd name="T16" fmla="*/ 135 w 169"/>
                <a:gd name="T17" fmla="*/ 104 h 207"/>
                <a:gd name="T18" fmla="*/ 123 w 169"/>
                <a:gd name="T19" fmla="*/ 76 h 207"/>
                <a:gd name="T20" fmla="*/ 104 w 169"/>
                <a:gd name="T21" fmla="*/ 89 h 207"/>
                <a:gd name="T22" fmla="*/ 57 w 169"/>
                <a:gd name="T23" fmla="*/ 167 h 207"/>
                <a:gd name="T24" fmla="*/ 52 w 169"/>
                <a:gd name="T25"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207">
                  <a:moveTo>
                    <a:pt x="52" y="207"/>
                  </a:moveTo>
                  <a:cubicBezTo>
                    <a:pt x="35" y="207"/>
                    <a:pt x="18" y="207"/>
                    <a:pt x="0" y="207"/>
                  </a:cubicBezTo>
                  <a:cubicBezTo>
                    <a:pt x="0" y="199"/>
                    <a:pt x="1" y="192"/>
                    <a:pt x="2" y="185"/>
                  </a:cubicBezTo>
                  <a:cubicBezTo>
                    <a:pt x="4" y="166"/>
                    <a:pt x="7" y="147"/>
                    <a:pt x="13" y="129"/>
                  </a:cubicBezTo>
                  <a:cubicBezTo>
                    <a:pt x="25" y="92"/>
                    <a:pt x="46" y="63"/>
                    <a:pt x="78" y="42"/>
                  </a:cubicBezTo>
                  <a:cubicBezTo>
                    <a:pt x="86" y="37"/>
                    <a:pt x="95" y="32"/>
                    <a:pt x="104" y="27"/>
                  </a:cubicBezTo>
                  <a:cubicBezTo>
                    <a:pt x="100" y="19"/>
                    <a:pt x="97" y="10"/>
                    <a:pt x="93" y="0"/>
                  </a:cubicBezTo>
                  <a:cubicBezTo>
                    <a:pt x="118" y="10"/>
                    <a:pt x="143" y="20"/>
                    <a:pt x="169" y="30"/>
                  </a:cubicBezTo>
                  <a:cubicBezTo>
                    <a:pt x="157" y="55"/>
                    <a:pt x="146" y="79"/>
                    <a:pt x="135" y="104"/>
                  </a:cubicBezTo>
                  <a:cubicBezTo>
                    <a:pt x="131" y="95"/>
                    <a:pt x="127" y="86"/>
                    <a:pt x="123" y="76"/>
                  </a:cubicBezTo>
                  <a:cubicBezTo>
                    <a:pt x="117" y="81"/>
                    <a:pt x="110" y="84"/>
                    <a:pt x="104" y="89"/>
                  </a:cubicBezTo>
                  <a:cubicBezTo>
                    <a:pt x="77" y="108"/>
                    <a:pt x="63" y="135"/>
                    <a:pt x="57" y="167"/>
                  </a:cubicBezTo>
                  <a:cubicBezTo>
                    <a:pt x="55" y="180"/>
                    <a:pt x="54" y="193"/>
                    <a:pt x="52"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8" name="Freeform 1075">
              <a:extLst>
                <a:ext uri="{FF2B5EF4-FFF2-40B4-BE49-F238E27FC236}">
                  <a16:creationId xmlns:a16="http://schemas.microsoft.com/office/drawing/2014/main" id="{099ACE4F-9735-4B84-A244-A2FF5BF538F1}"/>
                </a:ext>
              </a:extLst>
            </p:cNvPr>
            <p:cNvSpPr>
              <a:spLocks/>
            </p:cNvSpPr>
            <p:nvPr/>
          </p:nvSpPr>
          <p:spPr bwMode="auto">
            <a:xfrm>
              <a:off x="4227816" y="3321443"/>
              <a:ext cx="205229" cy="220844"/>
            </a:xfrm>
            <a:custGeom>
              <a:avLst/>
              <a:gdLst>
                <a:gd name="T0" fmla="*/ 46 w 129"/>
                <a:gd name="T1" fmla="*/ 76 h 138"/>
                <a:gd name="T2" fmla="*/ 34 w 129"/>
                <a:gd name="T3" fmla="*/ 103 h 138"/>
                <a:gd name="T4" fmla="*/ 0 w 129"/>
                <a:gd name="T5" fmla="*/ 28 h 138"/>
                <a:gd name="T6" fmla="*/ 77 w 129"/>
                <a:gd name="T7" fmla="*/ 0 h 138"/>
                <a:gd name="T8" fmla="*/ 66 w 129"/>
                <a:gd name="T9" fmla="*/ 27 h 138"/>
                <a:gd name="T10" fmla="*/ 83 w 129"/>
                <a:gd name="T11" fmla="*/ 37 h 138"/>
                <a:gd name="T12" fmla="*/ 127 w 129"/>
                <a:gd name="T13" fmla="*/ 75 h 138"/>
                <a:gd name="T14" fmla="*/ 128 w 129"/>
                <a:gd name="T15" fmla="*/ 79 h 138"/>
                <a:gd name="T16" fmla="*/ 104 w 129"/>
                <a:gd name="T17" fmla="*/ 136 h 138"/>
                <a:gd name="T18" fmla="*/ 103 w 129"/>
                <a:gd name="T19" fmla="*/ 138 h 138"/>
                <a:gd name="T20" fmla="*/ 46 w 129"/>
                <a:gd name="T21" fmla="*/ 7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 h="138">
                  <a:moveTo>
                    <a:pt x="46" y="76"/>
                  </a:moveTo>
                  <a:cubicBezTo>
                    <a:pt x="42" y="85"/>
                    <a:pt x="38" y="94"/>
                    <a:pt x="34" y="103"/>
                  </a:cubicBezTo>
                  <a:cubicBezTo>
                    <a:pt x="23" y="78"/>
                    <a:pt x="11" y="53"/>
                    <a:pt x="0" y="28"/>
                  </a:cubicBezTo>
                  <a:cubicBezTo>
                    <a:pt x="25" y="19"/>
                    <a:pt x="51" y="9"/>
                    <a:pt x="77" y="0"/>
                  </a:cubicBezTo>
                  <a:cubicBezTo>
                    <a:pt x="73" y="9"/>
                    <a:pt x="69" y="18"/>
                    <a:pt x="66" y="27"/>
                  </a:cubicBezTo>
                  <a:cubicBezTo>
                    <a:pt x="71" y="30"/>
                    <a:pt x="77" y="33"/>
                    <a:pt x="83" y="37"/>
                  </a:cubicBezTo>
                  <a:cubicBezTo>
                    <a:pt x="100" y="47"/>
                    <a:pt x="115" y="60"/>
                    <a:pt x="127" y="75"/>
                  </a:cubicBezTo>
                  <a:cubicBezTo>
                    <a:pt x="128" y="76"/>
                    <a:pt x="129" y="77"/>
                    <a:pt x="128" y="79"/>
                  </a:cubicBezTo>
                  <a:cubicBezTo>
                    <a:pt x="117" y="97"/>
                    <a:pt x="109" y="116"/>
                    <a:pt x="104" y="136"/>
                  </a:cubicBezTo>
                  <a:cubicBezTo>
                    <a:pt x="104" y="136"/>
                    <a:pt x="104" y="137"/>
                    <a:pt x="103" y="138"/>
                  </a:cubicBezTo>
                  <a:cubicBezTo>
                    <a:pt x="92" y="110"/>
                    <a:pt x="72" y="90"/>
                    <a:pt x="46"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9" name="Freeform 1076">
              <a:extLst>
                <a:ext uri="{FF2B5EF4-FFF2-40B4-BE49-F238E27FC236}">
                  <a16:creationId xmlns:a16="http://schemas.microsoft.com/office/drawing/2014/main" id="{52F016CB-A11C-4DCA-A3F8-BE2E3A6BE31C}"/>
                </a:ext>
              </a:extLst>
            </p:cNvPr>
            <p:cNvSpPr>
              <a:spLocks/>
            </p:cNvSpPr>
            <p:nvPr/>
          </p:nvSpPr>
          <p:spPr bwMode="auto">
            <a:xfrm>
              <a:off x="4366123" y="3171982"/>
              <a:ext cx="178460" cy="243151"/>
            </a:xfrm>
            <a:custGeom>
              <a:avLst/>
              <a:gdLst>
                <a:gd name="T0" fmla="*/ 30 w 112"/>
                <a:gd name="T1" fmla="*/ 61 h 152"/>
                <a:gd name="T2" fmla="*/ 0 w 112"/>
                <a:gd name="T3" fmla="*/ 61 h 152"/>
                <a:gd name="T4" fmla="*/ 57 w 112"/>
                <a:gd name="T5" fmla="*/ 0 h 152"/>
                <a:gd name="T6" fmla="*/ 112 w 112"/>
                <a:gd name="T7" fmla="*/ 61 h 152"/>
                <a:gd name="T8" fmla="*/ 82 w 112"/>
                <a:gd name="T9" fmla="*/ 61 h 152"/>
                <a:gd name="T10" fmla="*/ 82 w 112"/>
                <a:gd name="T11" fmla="*/ 66 h 152"/>
                <a:gd name="T12" fmla="*/ 82 w 112"/>
                <a:gd name="T13" fmla="*/ 124 h 152"/>
                <a:gd name="T14" fmla="*/ 81 w 112"/>
                <a:gd name="T15" fmla="*/ 129 h 152"/>
                <a:gd name="T16" fmla="*/ 57 w 112"/>
                <a:gd name="T17" fmla="*/ 152 h 152"/>
                <a:gd name="T18" fmla="*/ 57 w 112"/>
                <a:gd name="T19" fmla="*/ 152 h 152"/>
                <a:gd name="T20" fmla="*/ 37 w 112"/>
                <a:gd name="T21" fmla="*/ 133 h 152"/>
                <a:gd name="T22" fmla="*/ 30 w 112"/>
                <a:gd name="T23" fmla="*/ 118 h 152"/>
                <a:gd name="T24" fmla="*/ 30 w 112"/>
                <a:gd name="T25" fmla="*/ 66 h 152"/>
                <a:gd name="T26" fmla="*/ 30 w 112"/>
                <a:gd name="T27" fmla="*/ 61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152">
                  <a:moveTo>
                    <a:pt x="30" y="61"/>
                  </a:moveTo>
                  <a:cubicBezTo>
                    <a:pt x="20" y="61"/>
                    <a:pt x="11" y="61"/>
                    <a:pt x="0" y="61"/>
                  </a:cubicBezTo>
                  <a:cubicBezTo>
                    <a:pt x="20" y="41"/>
                    <a:pt x="38" y="21"/>
                    <a:pt x="57" y="0"/>
                  </a:cubicBezTo>
                  <a:cubicBezTo>
                    <a:pt x="76" y="21"/>
                    <a:pt x="94" y="41"/>
                    <a:pt x="112" y="61"/>
                  </a:cubicBezTo>
                  <a:cubicBezTo>
                    <a:pt x="102" y="61"/>
                    <a:pt x="92" y="61"/>
                    <a:pt x="82" y="61"/>
                  </a:cubicBezTo>
                  <a:cubicBezTo>
                    <a:pt x="82" y="63"/>
                    <a:pt x="82" y="64"/>
                    <a:pt x="82" y="66"/>
                  </a:cubicBezTo>
                  <a:cubicBezTo>
                    <a:pt x="82" y="85"/>
                    <a:pt x="83" y="105"/>
                    <a:pt x="82" y="124"/>
                  </a:cubicBezTo>
                  <a:cubicBezTo>
                    <a:pt x="82" y="126"/>
                    <a:pt x="82" y="128"/>
                    <a:pt x="81" y="129"/>
                  </a:cubicBezTo>
                  <a:cubicBezTo>
                    <a:pt x="73" y="136"/>
                    <a:pt x="65" y="144"/>
                    <a:pt x="57" y="152"/>
                  </a:cubicBezTo>
                  <a:cubicBezTo>
                    <a:pt x="57" y="152"/>
                    <a:pt x="56" y="152"/>
                    <a:pt x="57" y="152"/>
                  </a:cubicBezTo>
                  <a:cubicBezTo>
                    <a:pt x="50" y="146"/>
                    <a:pt x="44" y="139"/>
                    <a:pt x="37" y="133"/>
                  </a:cubicBezTo>
                  <a:cubicBezTo>
                    <a:pt x="31" y="129"/>
                    <a:pt x="30" y="125"/>
                    <a:pt x="30" y="118"/>
                  </a:cubicBezTo>
                  <a:cubicBezTo>
                    <a:pt x="30" y="101"/>
                    <a:pt x="30" y="83"/>
                    <a:pt x="30" y="66"/>
                  </a:cubicBezTo>
                  <a:cubicBezTo>
                    <a:pt x="30" y="64"/>
                    <a:pt x="30" y="63"/>
                    <a:pt x="3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32" name="Freeform 23">
            <a:extLst>
              <a:ext uri="{FF2B5EF4-FFF2-40B4-BE49-F238E27FC236}">
                <a16:creationId xmlns:a16="http://schemas.microsoft.com/office/drawing/2014/main" id="{EC6CF5AC-5A39-4917-9DAC-F9588256710E}"/>
              </a:ext>
            </a:extLst>
          </p:cNvPr>
          <p:cNvSpPr>
            <a:spLocks noChangeAspect="1"/>
          </p:cNvSpPr>
          <p:nvPr/>
        </p:nvSpPr>
        <p:spPr bwMode="auto">
          <a:xfrm>
            <a:off x="1835167" y="5528792"/>
            <a:ext cx="709769" cy="660164"/>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33" name="Group 197">
            <a:extLst>
              <a:ext uri="{FF2B5EF4-FFF2-40B4-BE49-F238E27FC236}">
                <a16:creationId xmlns:a16="http://schemas.microsoft.com/office/drawing/2014/main" id="{B2D6F759-1B18-46DF-A260-290E7DC96B92}"/>
              </a:ext>
            </a:extLst>
          </p:cNvPr>
          <p:cNvGrpSpPr/>
          <p:nvPr/>
        </p:nvGrpSpPr>
        <p:grpSpPr>
          <a:xfrm>
            <a:off x="2023326" y="5694626"/>
            <a:ext cx="270124" cy="301771"/>
            <a:chOff x="697434" y="5564478"/>
            <a:chExt cx="324069" cy="362035"/>
          </a:xfrm>
          <a:solidFill>
            <a:schemeClr val="bg1"/>
          </a:solidFill>
        </p:grpSpPr>
        <p:sp>
          <p:nvSpPr>
            <p:cNvPr id="34" name="Freeform 126">
              <a:extLst>
                <a:ext uri="{FF2B5EF4-FFF2-40B4-BE49-F238E27FC236}">
                  <a16:creationId xmlns:a16="http://schemas.microsoft.com/office/drawing/2014/main" id="{EA62DFE4-970C-4961-AA24-31CA1584F691}"/>
                </a:ext>
              </a:extLst>
            </p:cNvPr>
            <p:cNvSpPr>
              <a:spLocks/>
            </p:cNvSpPr>
            <p:nvPr/>
          </p:nvSpPr>
          <p:spPr bwMode="auto">
            <a:xfrm>
              <a:off x="965909" y="5637699"/>
              <a:ext cx="55594" cy="28881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5" name="Freeform 127">
              <a:extLst>
                <a:ext uri="{FF2B5EF4-FFF2-40B4-BE49-F238E27FC236}">
                  <a16:creationId xmlns:a16="http://schemas.microsoft.com/office/drawing/2014/main" id="{6E856F5D-902A-42B3-84FB-BA481E920A32}"/>
                </a:ext>
              </a:extLst>
            </p:cNvPr>
            <p:cNvSpPr>
              <a:spLocks/>
            </p:cNvSpPr>
            <p:nvPr/>
          </p:nvSpPr>
          <p:spPr bwMode="auto">
            <a:xfrm>
              <a:off x="885909" y="5719055"/>
              <a:ext cx="51525" cy="20745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6" name="Freeform 128">
              <a:extLst>
                <a:ext uri="{FF2B5EF4-FFF2-40B4-BE49-F238E27FC236}">
                  <a16:creationId xmlns:a16="http://schemas.microsoft.com/office/drawing/2014/main" id="{A7F1D001-742C-41A5-8D56-349F66287EF3}"/>
                </a:ext>
              </a:extLst>
            </p:cNvPr>
            <p:cNvSpPr>
              <a:spLocks/>
            </p:cNvSpPr>
            <p:nvPr/>
          </p:nvSpPr>
          <p:spPr bwMode="auto">
            <a:xfrm>
              <a:off x="805909" y="5763801"/>
              <a:ext cx="51525" cy="162712"/>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7" name="Freeform 129">
              <a:extLst>
                <a:ext uri="{FF2B5EF4-FFF2-40B4-BE49-F238E27FC236}">
                  <a16:creationId xmlns:a16="http://schemas.microsoft.com/office/drawing/2014/main" id="{58F6F053-9AD7-409C-941D-016DB1AB165C}"/>
                </a:ext>
              </a:extLst>
            </p:cNvPr>
            <p:cNvSpPr>
              <a:spLocks/>
            </p:cNvSpPr>
            <p:nvPr/>
          </p:nvSpPr>
          <p:spPr bwMode="auto">
            <a:xfrm>
              <a:off x="725909" y="5811258"/>
              <a:ext cx="51525" cy="11525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8" name="Freeform 130">
              <a:extLst>
                <a:ext uri="{FF2B5EF4-FFF2-40B4-BE49-F238E27FC236}">
                  <a16:creationId xmlns:a16="http://schemas.microsoft.com/office/drawing/2014/main" id="{F427DCAA-29CF-4566-BBA3-C088C97A2419}"/>
                </a:ext>
              </a:extLst>
            </p:cNvPr>
            <p:cNvSpPr>
              <a:spLocks/>
            </p:cNvSpPr>
            <p:nvPr/>
          </p:nvSpPr>
          <p:spPr bwMode="auto">
            <a:xfrm>
              <a:off x="697434" y="5564478"/>
              <a:ext cx="275255" cy="21830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39" name="ZoneTexte 38">
            <a:extLst>
              <a:ext uri="{FF2B5EF4-FFF2-40B4-BE49-F238E27FC236}">
                <a16:creationId xmlns:a16="http://schemas.microsoft.com/office/drawing/2014/main" id="{EDEE5519-9FDB-42D5-9D13-06FC874771DF}"/>
              </a:ext>
            </a:extLst>
          </p:cNvPr>
          <p:cNvSpPr txBox="1"/>
          <p:nvPr/>
        </p:nvSpPr>
        <p:spPr>
          <a:xfrm>
            <a:off x="7486142" y="5596591"/>
            <a:ext cx="145913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a:ln>
                  <a:noFill/>
                </a:ln>
                <a:solidFill>
                  <a:srgbClr val="272936"/>
                </a:solidFill>
                <a:effectLst/>
                <a:uLnTx/>
                <a:uFillTx/>
                <a:latin typeface="Ubuntu"/>
                <a:ea typeface="+mn-ea"/>
                <a:cs typeface="+mn-cs"/>
              </a:rPr>
              <a:t>Increase in freight rates </a:t>
            </a:r>
          </a:p>
        </p:txBody>
      </p:sp>
      <p:sp>
        <p:nvSpPr>
          <p:cNvPr id="40" name="Flèche : droite 39">
            <a:extLst>
              <a:ext uri="{FF2B5EF4-FFF2-40B4-BE49-F238E27FC236}">
                <a16:creationId xmlns:a16="http://schemas.microsoft.com/office/drawing/2014/main" id="{AFA53AA1-E6C5-4B61-ACD3-483622254473}"/>
              </a:ext>
            </a:extLst>
          </p:cNvPr>
          <p:cNvSpPr/>
          <p:nvPr/>
        </p:nvSpPr>
        <p:spPr>
          <a:xfrm>
            <a:off x="8856134" y="5509554"/>
            <a:ext cx="565526" cy="66016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44" name="ZoneTexte 43">
            <a:extLst>
              <a:ext uri="{FF2B5EF4-FFF2-40B4-BE49-F238E27FC236}">
                <a16:creationId xmlns:a16="http://schemas.microsoft.com/office/drawing/2014/main" id="{E48F1C70-32F7-4E26-804B-B58EA3AE617B}"/>
              </a:ext>
            </a:extLst>
          </p:cNvPr>
          <p:cNvSpPr txBox="1"/>
          <p:nvPr/>
        </p:nvSpPr>
        <p:spPr>
          <a:xfrm>
            <a:off x="9281812" y="5585705"/>
            <a:ext cx="245461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72936"/>
                </a:solidFill>
                <a:effectLst/>
                <a:uLnTx/>
                <a:uFillTx/>
                <a:latin typeface="Ubuntu"/>
                <a:ea typeface="+mn-ea"/>
                <a:cs typeface="+mn-cs"/>
              </a:rPr>
              <a:t>Solar PV and wind installations costs increase</a:t>
            </a:r>
            <a:endParaRPr kumimoji="0" lang="fr-FR" sz="1400" b="0" i="0" u="none" strike="noStrike" kern="1200" cap="none" spc="0" normalizeH="0" baseline="0" noProof="0">
              <a:ln>
                <a:noFill/>
              </a:ln>
              <a:solidFill>
                <a:srgbClr val="272936"/>
              </a:solidFill>
              <a:effectLst/>
              <a:uLnTx/>
              <a:uFillTx/>
              <a:latin typeface="Ubuntu"/>
              <a:ea typeface="+mn-ea"/>
              <a:cs typeface="+mn-cs"/>
            </a:endParaRPr>
          </a:p>
        </p:txBody>
      </p:sp>
      <p:sp>
        <p:nvSpPr>
          <p:cNvPr id="48" name="Rectangle 47">
            <a:extLst>
              <a:ext uri="{FF2B5EF4-FFF2-40B4-BE49-F238E27FC236}">
                <a16:creationId xmlns:a16="http://schemas.microsoft.com/office/drawing/2014/main" id="{416EFAD4-8C10-4405-A5BD-5F5659989E02}"/>
              </a:ext>
            </a:extLst>
          </p:cNvPr>
          <p:cNvSpPr/>
          <p:nvPr/>
        </p:nvSpPr>
        <p:spPr>
          <a:xfrm>
            <a:off x="1729648" y="5467246"/>
            <a:ext cx="9982717" cy="76185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41" name="Shape 5070">
            <a:extLst>
              <a:ext uri="{FF2B5EF4-FFF2-40B4-BE49-F238E27FC236}">
                <a16:creationId xmlns:a16="http://schemas.microsoft.com/office/drawing/2014/main" id="{AC6D62EB-790F-4454-ABB3-6D2E8071D5BB}"/>
              </a:ext>
            </a:extLst>
          </p:cNvPr>
          <p:cNvSpPr/>
          <p:nvPr/>
        </p:nvSpPr>
        <p:spPr>
          <a:xfrm>
            <a:off x="3488728" y="5656253"/>
            <a:ext cx="390671" cy="405243"/>
          </a:xfrm>
          <a:custGeom>
            <a:avLst/>
            <a:gdLst/>
            <a:ahLst/>
            <a:cxnLst/>
            <a:rect l="0" t="0" r="0" b="0"/>
            <a:pathLst>
              <a:path w="120000" h="120000" extrusionOk="0">
                <a:moveTo>
                  <a:pt x="111578" y="51020"/>
                </a:moveTo>
                <a:lnTo>
                  <a:pt x="111578" y="51020"/>
                </a:lnTo>
                <a:cubicBezTo>
                  <a:pt x="70736" y="51020"/>
                  <a:pt x="70736" y="51020"/>
                  <a:pt x="70736" y="51020"/>
                </a:cubicBezTo>
                <a:cubicBezTo>
                  <a:pt x="70736" y="7346"/>
                  <a:pt x="70736" y="7346"/>
                  <a:pt x="70736" y="7346"/>
                </a:cubicBezTo>
                <a:cubicBezTo>
                  <a:pt x="70736" y="0"/>
                  <a:pt x="63157" y="0"/>
                  <a:pt x="59368" y="0"/>
                </a:cubicBezTo>
                <a:cubicBezTo>
                  <a:pt x="52210" y="0"/>
                  <a:pt x="48421" y="0"/>
                  <a:pt x="48421" y="7346"/>
                </a:cubicBezTo>
                <a:cubicBezTo>
                  <a:pt x="48421" y="51020"/>
                  <a:pt x="48421" y="51020"/>
                  <a:pt x="48421" y="51020"/>
                </a:cubicBezTo>
                <a:cubicBezTo>
                  <a:pt x="3789" y="51020"/>
                  <a:pt x="3789" y="51020"/>
                  <a:pt x="3789" y="51020"/>
                </a:cubicBezTo>
                <a:cubicBezTo>
                  <a:pt x="0" y="51020"/>
                  <a:pt x="0" y="54285"/>
                  <a:pt x="0" y="57959"/>
                </a:cubicBezTo>
                <a:cubicBezTo>
                  <a:pt x="0" y="65306"/>
                  <a:pt x="0" y="68979"/>
                  <a:pt x="3789" y="68979"/>
                </a:cubicBezTo>
                <a:cubicBezTo>
                  <a:pt x="48421" y="68979"/>
                  <a:pt x="48421" y="68979"/>
                  <a:pt x="48421" y="68979"/>
                </a:cubicBezTo>
                <a:cubicBezTo>
                  <a:pt x="48421" y="112244"/>
                  <a:pt x="48421" y="112244"/>
                  <a:pt x="48421" y="112244"/>
                </a:cubicBezTo>
                <a:cubicBezTo>
                  <a:pt x="48421" y="115918"/>
                  <a:pt x="52210" y="119591"/>
                  <a:pt x="59368" y="119591"/>
                </a:cubicBezTo>
                <a:cubicBezTo>
                  <a:pt x="63157" y="119591"/>
                  <a:pt x="70736" y="115918"/>
                  <a:pt x="70736" y="112244"/>
                </a:cubicBezTo>
                <a:cubicBezTo>
                  <a:pt x="70736" y="68979"/>
                  <a:pt x="70736" y="68979"/>
                  <a:pt x="70736" y="68979"/>
                </a:cubicBezTo>
                <a:cubicBezTo>
                  <a:pt x="111578" y="68979"/>
                  <a:pt x="111578" y="68979"/>
                  <a:pt x="111578" y="68979"/>
                </a:cubicBezTo>
                <a:cubicBezTo>
                  <a:pt x="119578" y="68979"/>
                  <a:pt x="119578" y="65306"/>
                  <a:pt x="119578" y="57959"/>
                </a:cubicBezTo>
                <a:cubicBezTo>
                  <a:pt x="119578" y="54285"/>
                  <a:pt x="119578" y="51020"/>
                  <a:pt x="111578" y="51020"/>
                </a:cubicBezTo>
              </a:path>
            </a:pathLst>
          </a:custGeom>
          <a:solidFill>
            <a:schemeClr val="accent2"/>
          </a:solidFill>
          <a:ln>
            <a:noFill/>
          </a:ln>
        </p:spPr>
        <p:txBody>
          <a:bodyPr lIns="34275" tIns="17138" rIns="34275" bIns="17138"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Arial" panose="020B0604020202020204" pitchFamily="34" charset="0"/>
              <a:ea typeface="Roboto"/>
              <a:cs typeface="Arial" panose="020B0604020202020204" pitchFamily="34" charset="0"/>
              <a:sym typeface="Roboto"/>
            </a:endParaRPr>
          </a:p>
        </p:txBody>
      </p:sp>
      <p:sp>
        <p:nvSpPr>
          <p:cNvPr id="58" name="ZoneTexte 57">
            <a:extLst>
              <a:ext uri="{FF2B5EF4-FFF2-40B4-BE49-F238E27FC236}">
                <a16:creationId xmlns:a16="http://schemas.microsoft.com/office/drawing/2014/main" id="{B9D45F99-7030-4E27-8641-79A1B0697E6D}"/>
              </a:ext>
            </a:extLst>
          </p:cNvPr>
          <p:cNvSpPr txBox="1"/>
          <p:nvPr/>
        </p:nvSpPr>
        <p:spPr>
          <a:xfrm>
            <a:off x="4760539" y="5596591"/>
            <a:ext cx="165365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72936"/>
                </a:solidFill>
                <a:effectLst/>
                <a:uLnTx/>
                <a:uFillTx/>
                <a:latin typeface="Ubuntu"/>
                <a:ea typeface="+mn-ea"/>
                <a:cs typeface="+mn-cs"/>
              </a:rPr>
              <a:t>Cost of raw materials increase</a:t>
            </a:r>
          </a:p>
        </p:txBody>
      </p:sp>
      <p:sp>
        <p:nvSpPr>
          <p:cNvPr id="60" name="Freeform 23">
            <a:extLst>
              <a:ext uri="{FF2B5EF4-FFF2-40B4-BE49-F238E27FC236}">
                <a16:creationId xmlns:a16="http://schemas.microsoft.com/office/drawing/2014/main" id="{DF82F33C-9B57-458C-8B96-10E7FDD818EB}"/>
              </a:ext>
            </a:extLst>
          </p:cNvPr>
          <p:cNvSpPr>
            <a:spLocks noChangeAspect="1"/>
          </p:cNvSpPr>
          <p:nvPr/>
        </p:nvSpPr>
        <p:spPr bwMode="auto">
          <a:xfrm>
            <a:off x="4042915" y="5528792"/>
            <a:ext cx="709769" cy="660164"/>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61" name="Group 197">
            <a:extLst>
              <a:ext uri="{FF2B5EF4-FFF2-40B4-BE49-F238E27FC236}">
                <a16:creationId xmlns:a16="http://schemas.microsoft.com/office/drawing/2014/main" id="{808BAAFC-0342-4906-BD06-D53A197FAA37}"/>
              </a:ext>
            </a:extLst>
          </p:cNvPr>
          <p:cNvGrpSpPr/>
          <p:nvPr/>
        </p:nvGrpSpPr>
        <p:grpSpPr>
          <a:xfrm>
            <a:off x="4231074" y="5694626"/>
            <a:ext cx="270124" cy="301771"/>
            <a:chOff x="697434" y="5564478"/>
            <a:chExt cx="324069" cy="362035"/>
          </a:xfrm>
          <a:solidFill>
            <a:schemeClr val="bg1"/>
          </a:solidFill>
        </p:grpSpPr>
        <p:sp>
          <p:nvSpPr>
            <p:cNvPr id="62" name="Freeform 126">
              <a:extLst>
                <a:ext uri="{FF2B5EF4-FFF2-40B4-BE49-F238E27FC236}">
                  <a16:creationId xmlns:a16="http://schemas.microsoft.com/office/drawing/2014/main" id="{862A8A7C-5316-4F5D-AF6A-46D61BE92DC4}"/>
                </a:ext>
              </a:extLst>
            </p:cNvPr>
            <p:cNvSpPr>
              <a:spLocks/>
            </p:cNvSpPr>
            <p:nvPr/>
          </p:nvSpPr>
          <p:spPr bwMode="auto">
            <a:xfrm>
              <a:off x="965909" y="5637699"/>
              <a:ext cx="55594" cy="28881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3" name="Freeform 127">
              <a:extLst>
                <a:ext uri="{FF2B5EF4-FFF2-40B4-BE49-F238E27FC236}">
                  <a16:creationId xmlns:a16="http://schemas.microsoft.com/office/drawing/2014/main" id="{7953857B-7609-4291-9EF1-0FE8EFE10E7F}"/>
                </a:ext>
              </a:extLst>
            </p:cNvPr>
            <p:cNvSpPr>
              <a:spLocks/>
            </p:cNvSpPr>
            <p:nvPr/>
          </p:nvSpPr>
          <p:spPr bwMode="auto">
            <a:xfrm>
              <a:off x="885909" y="5719055"/>
              <a:ext cx="51525" cy="20745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4" name="Freeform 128">
              <a:extLst>
                <a:ext uri="{FF2B5EF4-FFF2-40B4-BE49-F238E27FC236}">
                  <a16:creationId xmlns:a16="http://schemas.microsoft.com/office/drawing/2014/main" id="{CCA3B802-42C7-4DAB-907E-5C35A486F926}"/>
                </a:ext>
              </a:extLst>
            </p:cNvPr>
            <p:cNvSpPr>
              <a:spLocks/>
            </p:cNvSpPr>
            <p:nvPr/>
          </p:nvSpPr>
          <p:spPr bwMode="auto">
            <a:xfrm>
              <a:off x="805909" y="5763801"/>
              <a:ext cx="51525" cy="162712"/>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5" name="Freeform 129">
              <a:extLst>
                <a:ext uri="{FF2B5EF4-FFF2-40B4-BE49-F238E27FC236}">
                  <a16:creationId xmlns:a16="http://schemas.microsoft.com/office/drawing/2014/main" id="{FB0618BD-3716-494B-9394-B81017837E8C}"/>
                </a:ext>
              </a:extLst>
            </p:cNvPr>
            <p:cNvSpPr>
              <a:spLocks/>
            </p:cNvSpPr>
            <p:nvPr/>
          </p:nvSpPr>
          <p:spPr bwMode="auto">
            <a:xfrm>
              <a:off x="725909" y="5811258"/>
              <a:ext cx="51525" cy="11525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6" name="Freeform 130">
              <a:extLst>
                <a:ext uri="{FF2B5EF4-FFF2-40B4-BE49-F238E27FC236}">
                  <a16:creationId xmlns:a16="http://schemas.microsoft.com/office/drawing/2014/main" id="{ABCAAC2B-6A8F-4A23-9413-41BADF88F73C}"/>
                </a:ext>
              </a:extLst>
            </p:cNvPr>
            <p:cNvSpPr>
              <a:spLocks/>
            </p:cNvSpPr>
            <p:nvPr/>
          </p:nvSpPr>
          <p:spPr bwMode="auto">
            <a:xfrm>
              <a:off x="697434" y="5564478"/>
              <a:ext cx="275255" cy="21830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1" name="Text Placeholder 5">
            <a:extLst>
              <a:ext uri="{FF2B5EF4-FFF2-40B4-BE49-F238E27FC236}">
                <a16:creationId xmlns:a16="http://schemas.microsoft.com/office/drawing/2014/main" id="{9AB75090-95EC-49C5-AD62-C119C847E569}"/>
              </a:ext>
            </a:extLst>
          </p:cNvPr>
          <p:cNvSpPr txBox="1">
            <a:spLocks/>
          </p:cNvSpPr>
          <p:nvPr/>
        </p:nvSpPr>
        <p:spPr>
          <a:xfrm>
            <a:off x="359037" y="1650177"/>
            <a:ext cx="6974901" cy="42763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Ubuntu" panose="020B0504030602030204" pitchFamily="34" charset="0"/>
                <a:ea typeface="+mn-ea"/>
                <a:cs typeface="+mn-cs"/>
              </a:rPr>
              <a:t>US historical Alternative Energy LCOE Declines, 2009-2020 (US$/MWh)</a:t>
            </a:r>
          </a:p>
        </p:txBody>
      </p:sp>
      <p:grpSp>
        <p:nvGrpSpPr>
          <p:cNvPr id="50" name="Groupe 49">
            <a:extLst>
              <a:ext uri="{FF2B5EF4-FFF2-40B4-BE49-F238E27FC236}">
                <a16:creationId xmlns:a16="http://schemas.microsoft.com/office/drawing/2014/main" id="{20C6EB29-772F-4014-A842-B70C2382D279}"/>
              </a:ext>
            </a:extLst>
          </p:cNvPr>
          <p:cNvGrpSpPr/>
          <p:nvPr/>
        </p:nvGrpSpPr>
        <p:grpSpPr>
          <a:xfrm>
            <a:off x="788286" y="2128977"/>
            <a:ext cx="4268652" cy="3183092"/>
            <a:chOff x="972704" y="1721744"/>
            <a:chExt cx="4568689" cy="3406826"/>
          </a:xfrm>
        </p:grpSpPr>
        <p:pic>
          <p:nvPicPr>
            <p:cNvPr id="7" name="Image 6">
              <a:extLst>
                <a:ext uri="{FF2B5EF4-FFF2-40B4-BE49-F238E27FC236}">
                  <a16:creationId xmlns:a16="http://schemas.microsoft.com/office/drawing/2014/main" id="{47E2C7A7-D2E9-4D03-A2E9-5711A396332E}"/>
                </a:ext>
              </a:extLst>
            </p:cNvPr>
            <p:cNvPicPr>
              <a:picLocks noChangeAspect="1"/>
            </p:cNvPicPr>
            <p:nvPr/>
          </p:nvPicPr>
          <p:blipFill rotWithShape="1">
            <a:blip r:embed="rId3"/>
            <a:srcRect l="2262" t="1483" r="1229" b="1918"/>
            <a:stretch/>
          </p:blipFill>
          <p:spPr>
            <a:xfrm>
              <a:off x="972704" y="1844824"/>
              <a:ext cx="4568689" cy="3283746"/>
            </a:xfrm>
            <a:prstGeom prst="rect">
              <a:avLst/>
            </a:prstGeom>
          </p:spPr>
        </p:pic>
        <p:sp>
          <p:nvSpPr>
            <p:cNvPr id="46" name="Rectangle 45">
              <a:extLst>
                <a:ext uri="{FF2B5EF4-FFF2-40B4-BE49-F238E27FC236}">
                  <a16:creationId xmlns:a16="http://schemas.microsoft.com/office/drawing/2014/main" id="{3B67743A-D4AC-4972-8535-C0E7B034C041}"/>
                </a:ext>
              </a:extLst>
            </p:cNvPr>
            <p:cNvSpPr/>
            <p:nvPr/>
          </p:nvSpPr>
          <p:spPr>
            <a:xfrm>
              <a:off x="983432" y="1721744"/>
              <a:ext cx="4557961" cy="252700"/>
            </a:xfrm>
            <a:prstGeom prst="rect">
              <a:avLst/>
            </a:prstGeom>
            <a:solidFill>
              <a:srgbClr val="66CE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Ubuntu"/>
                  <a:ea typeface="+mn-ea"/>
                  <a:cs typeface="+mn-cs"/>
                </a:rPr>
                <a:t>Wind Energy</a:t>
              </a:r>
            </a:p>
          </p:txBody>
        </p:sp>
      </p:grpSp>
      <p:grpSp>
        <p:nvGrpSpPr>
          <p:cNvPr id="49" name="Groupe 48">
            <a:extLst>
              <a:ext uri="{FF2B5EF4-FFF2-40B4-BE49-F238E27FC236}">
                <a16:creationId xmlns:a16="http://schemas.microsoft.com/office/drawing/2014/main" id="{4115F6FE-3E42-489C-8B02-5277F16F7195}"/>
              </a:ext>
            </a:extLst>
          </p:cNvPr>
          <p:cNvGrpSpPr/>
          <p:nvPr/>
        </p:nvGrpSpPr>
        <p:grpSpPr>
          <a:xfrm>
            <a:off x="6590848" y="2128977"/>
            <a:ext cx="4402488" cy="3183682"/>
            <a:chOff x="6640653" y="1721744"/>
            <a:chExt cx="4711932" cy="3407458"/>
          </a:xfrm>
        </p:grpSpPr>
        <p:pic>
          <p:nvPicPr>
            <p:cNvPr id="13" name="Image 12">
              <a:extLst>
                <a:ext uri="{FF2B5EF4-FFF2-40B4-BE49-F238E27FC236}">
                  <a16:creationId xmlns:a16="http://schemas.microsoft.com/office/drawing/2014/main" id="{127F7449-ED0A-4379-9267-C0D1C02FE878}"/>
                </a:ext>
              </a:extLst>
            </p:cNvPr>
            <p:cNvPicPr>
              <a:picLocks noChangeAspect="1"/>
            </p:cNvPicPr>
            <p:nvPr/>
          </p:nvPicPr>
          <p:blipFill rotWithShape="1">
            <a:blip r:embed="rId4"/>
            <a:srcRect t="2151"/>
            <a:stretch/>
          </p:blipFill>
          <p:spPr>
            <a:xfrm>
              <a:off x="6640653" y="1845456"/>
              <a:ext cx="4711932" cy="3283746"/>
            </a:xfrm>
            <a:prstGeom prst="rect">
              <a:avLst/>
            </a:prstGeom>
          </p:spPr>
        </p:pic>
        <p:sp>
          <p:nvSpPr>
            <p:cNvPr id="47" name="Rectangle 46">
              <a:extLst>
                <a:ext uri="{FF2B5EF4-FFF2-40B4-BE49-F238E27FC236}">
                  <a16:creationId xmlns:a16="http://schemas.microsoft.com/office/drawing/2014/main" id="{4494A93F-8B1C-47D4-9364-8190593AED95}"/>
                </a:ext>
              </a:extLst>
            </p:cNvPr>
            <p:cNvSpPr/>
            <p:nvPr/>
          </p:nvSpPr>
          <p:spPr>
            <a:xfrm>
              <a:off x="6672063" y="1721744"/>
              <a:ext cx="4680521" cy="252700"/>
            </a:xfrm>
            <a:prstGeom prst="rect">
              <a:avLst/>
            </a:prstGeom>
            <a:solidFill>
              <a:srgbClr val="FE71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Ubuntu"/>
                  <a:ea typeface="+mn-ea"/>
                  <a:cs typeface="+mn-cs"/>
                </a:rPr>
                <a:t>Solar Energy</a:t>
              </a:r>
            </a:p>
          </p:txBody>
        </p:sp>
      </p:grpSp>
      <p:sp>
        <p:nvSpPr>
          <p:cNvPr id="4" name="ZoneTexte 3">
            <a:extLst>
              <a:ext uri="{FF2B5EF4-FFF2-40B4-BE49-F238E27FC236}">
                <a16:creationId xmlns:a16="http://schemas.microsoft.com/office/drawing/2014/main" id="{D0CCEEE5-B36B-4AA0-A7BA-251EEAC54356}"/>
              </a:ext>
            </a:extLst>
          </p:cNvPr>
          <p:cNvSpPr txBox="1"/>
          <p:nvPr/>
        </p:nvSpPr>
        <p:spPr>
          <a:xfrm>
            <a:off x="3305061" y="3519426"/>
            <a:ext cx="180091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Cost of capital: </a:t>
            </a:r>
            <a:r>
              <a:rPr kumimoji="0" lang="en-US" sz="1600" b="1" i="0" u="none" strike="noStrike" kern="1200" cap="none" spc="0" normalizeH="0" baseline="0" noProof="0">
                <a:ln>
                  <a:noFill/>
                </a:ln>
                <a:solidFill>
                  <a:prstClr val="black"/>
                </a:solidFill>
                <a:effectLst/>
                <a:uLnTx/>
                <a:uFillTx/>
                <a:latin typeface="Ubuntu"/>
                <a:ea typeface="+mn-ea"/>
                <a:cs typeface="+mn-cs"/>
              </a:rPr>
              <a:t>70-80%</a:t>
            </a:r>
            <a:endParaRPr kumimoji="0" lang="en-US" sz="1600" b="0" i="0" u="none" strike="noStrike" kern="1200" cap="none" spc="0" normalizeH="0" baseline="0" noProof="0">
              <a:ln>
                <a:noFill/>
              </a:ln>
              <a:solidFill>
                <a:prstClr val="black"/>
              </a:solidFill>
              <a:effectLst/>
              <a:uLnTx/>
              <a:uFillTx/>
              <a:latin typeface="Ubuntu"/>
              <a:ea typeface="+mn-ea"/>
              <a:cs typeface="+mn-cs"/>
            </a:endParaRPr>
          </a:p>
        </p:txBody>
      </p:sp>
      <p:sp>
        <p:nvSpPr>
          <p:cNvPr id="67" name="ZoneTexte 66">
            <a:extLst>
              <a:ext uri="{FF2B5EF4-FFF2-40B4-BE49-F238E27FC236}">
                <a16:creationId xmlns:a16="http://schemas.microsoft.com/office/drawing/2014/main" id="{6D31E6E5-88FD-4AD6-81E6-29BEABEFC7FE}"/>
              </a:ext>
            </a:extLst>
          </p:cNvPr>
          <p:cNvSpPr txBox="1"/>
          <p:nvPr/>
        </p:nvSpPr>
        <p:spPr>
          <a:xfrm>
            <a:off x="9155828" y="3504835"/>
            <a:ext cx="1588485" cy="5463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Cost of capital: </a:t>
            </a:r>
            <a:r>
              <a:rPr kumimoji="0" lang="en-US" sz="1600" b="1" i="0" u="none" strike="noStrike" kern="1200" cap="none" spc="0" normalizeH="0" baseline="0" noProof="0">
                <a:ln>
                  <a:noFill/>
                </a:ln>
                <a:solidFill>
                  <a:prstClr val="black"/>
                </a:solidFill>
                <a:effectLst/>
                <a:uLnTx/>
                <a:uFillTx/>
                <a:latin typeface="Ubuntu"/>
                <a:ea typeface="+mn-ea"/>
                <a:cs typeface="+mn-cs"/>
              </a:rPr>
              <a:t>80-90%</a:t>
            </a:r>
            <a:endParaRPr kumimoji="0" lang="en-US" sz="1600" b="0" i="0" u="none" strike="noStrike" kern="1200" cap="none" spc="0" normalizeH="0" baseline="0" noProof="0">
              <a:ln>
                <a:noFill/>
              </a:ln>
              <a:solidFill>
                <a:prstClr val="black"/>
              </a:solidFill>
              <a:effectLst/>
              <a:uLnTx/>
              <a:uFillTx/>
              <a:latin typeface="Ubuntu"/>
              <a:ea typeface="+mn-ea"/>
              <a:cs typeface="+mn-cs"/>
            </a:endParaRPr>
          </a:p>
        </p:txBody>
      </p:sp>
      <p:sp>
        <p:nvSpPr>
          <p:cNvPr id="42" name="Ellipse 1">
            <a:extLst>
              <a:ext uri="{FF2B5EF4-FFF2-40B4-BE49-F238E27FC236}">
                <a16:creationId xmlns:a16="http://schemas.microsoft.com/office/drawing/2014/main" id="{194D2EBE-78AE-4456-953F-E1011C48E0F4}"/>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031812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B8299FC-770B-A719-9E25-B52FABA26411}"/>
              </a:ext>
            </a:extLst>
          </p:cNvPr>
          <p:cNvGrpSpPr/>
          <p:nvPr/>
        </p:nvGrpSpPr>
        <p:grpSpPr>
          <a:xfrm>
            <a:off x="322776" y="1238756"/>
            <a:ext cx="7851426" cy="5213217"/>
            <a:chOff x="727566" y="1441770"/>
            <a:chExt cx="7923991" cy="5073512"/>
          </a:xfrm>
        </p:grpSpPr>
        <p:pic>
          <p:nvPicPr>
            <p:cNvPr id="14" name="Image 4">
              <a:extLst>
                <a:ext uri="{FF2B5EF4-FFF2-40B4-BE49-F238E27FC236}">
                  <a16:creationId xmlns:a16="http://schemas.microsoft.com/office/drawing/2014/main" id="{AF1EBFC0-989F-4A09-8FD5-E06C7F644991}"/>
                </a:ext>
              </a:extLst>
            </p:cNvPr>
            <p:cNvPicPr>
              <a:picLocks noChangeAspect="1"/>
            </p:cNvPicPr>
            <p:nvPr/>
          </p:nvPicPr>
          <p:blipFill rotWithShape="1">
            <a:blip r:embed="rId3"/>
            <a:srcRect b="8269"/>
            <a:stretch/>
          </p:blipFill>
          <p:spPr>
            <a:xfrm>
              <a:off x="727566" y="1441770"/>
              <a:ext cx="7923991" cy="5073512"/>
            </a:xfrm>
            <a:prstGeom prst="rect">
              <a:avLst/>
            </a:prstGeom>
            <a:ln>
              <a:noFill/>
            </a:ln>
          </p:spPr>
        </p:pic>
        <p:pic>
          <p:nvPicPr>
            <p:cNvPr id="18" name="Image 4">
              <a:extLst>
                <a:ext uri="{FF2B5EF4-FFF2-40B4-BE49-F238E27FC236}">
                  <a16:creationId xmlns:a16="http://schemas.microsoft.com/office/drawing/2014/main" id="{ECFB0ED1-D2DD-4206-BBEA-CB4B2C5928C3}"/>
                </a:ext>
              </a:extLst>
            </p:cNvPr>
            <p:cNvPicPr>
              <a:picLocks noChangeAspect="1"/>
            </p:cNvPicPr>
            <p:nvPr/>
          </p:nvPicPr>
          <p:blipFill rotWithShape="1">
            <a:blip r:embed="rId3"/>
            <a:srcRect l="31416" t="94384" r="25678" b="2286"/>
            <a:stretch/>
          </p:blipFill>
          <p:spPr>
            <a:xfrm>
              <a:off x="4196318" y="5490781"/>
              <a:ext cx="2931372" cy="158824"/>
            </a:xfrm>
            <a:prstGeom prst="rect">
              <a:avLst/>
            </a:prstGeom>
            <a:ln>
              <a:noFill/>
            </a:ln>
          </p:spPr>
        </p:pic>
      </p:grpSp>
      <p:sp>
        <p:nvSpPr>
          <p:cNvPr id="4" name="Titre 3">
            <a:extLst>
              <a:ext uri="{FF2B5EF4-FFF2-40B4-BE49-F238E27FC236}">
                <a16:creationId xmlns:a16="http://schemas.microsoft.com/office/drawing/2014/main" id="{2F353AA7-E730-46C1-8A91-7964FB060B1A}"/>
              </a:ext>
            </a:extLst>
          </p:cNvPr>
          <p:cNvSpPr>
            <a:spLocks noGrp="1"/>
          </p:cNvSpPr>
          <p:nvPr>
            <p:ph type="title"/>
          </p:nvPr>
        </p:nvSpPr>
        <p:spPr>
          <a:xfrm>
            <a:off x="404813" y="388188"/>
            <a:ext cx="7851427" cy="716711"/>
          </a:xfrm>
        </p:spPr>
        <p:txBody>
          <a:bodyPr/>
          <a:lstStyle/>
          <a:p>
            <a:pPr algn="just"/>
            <a:r>
              <a:rPr lang="en-GB"/>
              <a:t>NUCLEAR RENAISSANCE</a:t>
            </a:r>
            <a:endParaRPr lang="fr-FR"/>
          </a:p>
        </p:txBody>
      </p:sp>
      <p:sp>
        <p:nvSpPr>
          <p:cNvPr id="10" name="Text Placeholder 5">
            <a:extLst>
              <a:ext uri="{FF2B5EF4-FFF2-40B4-BE49-F238E27FC236}">
                <a16:creationId xmlns:a16="http://schemas.microsoft.com/office/drawing/2014/main" id="{4CE8C9DD-D15B-468E-B8B5-8A41B950040C}"/>
              </a:ext>
            </a:extLst>
          </p:cNvPr>
          <p:cNvSpPr txBox="1">
            <a:spLocks/>
          </p:cNvSpPr>
          <p:nvPr/>
        </p:nvSpPr>
        <p:spPr>
          <a:xfrm>
            <a:off x="416187" y="1069875"/>
            <a:ext cx="2439770" cy="215444"/>
          </a:xfrm>
          <a:prstGeom prst="rect">
            <a:avLst/>
          </a:prstGeom>
          <a:solidFill>
            <a:schemeClr val="bg1"/>
          </a:solidFill>
        </p:spPr>
        <p:txBody>
          <a:bodyPr wrap="non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Reactors under construction</a:t>
            </a:r>
          </a:p>
        </p:txBody>
      </p:sp>
      <p:sp>
        <p:nvSpPr>
          <p:cNvPr id="11" name="TextBox 10">
            <a:extLst>
              <a:ext uri="{FF2B5EF4-FFF2-40B4-BE49-F238E27FC236}">
                <a16:creationId xmlns:a16="http://schemas.microsoft.com/office/drawing/2014/main" id="{7740C968-8F0E-4630-AE7B-45D1D20C7CD8}"/>
              </a:ext>
            </a:extLst>
          </p:cNvPr>
          <p:cNvSpPr txBox="1"/>
          <p:nvPr/>
        </p:nvSpPr>
        <p:spPr>
          <a:xfrm>
            <a:off x="404813" y="6400562"/>
            <a:ext cx="3893695"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 IAEA PRIS (Power Reactor Information System) Database </a:t>
            </a:r>
          </a:p>
        </p:txBody>
      </p:sp>
      <p:sp>
        <p:nvSpPr>
          <p:cNvPr id="12" name="Text Placeholder 8">
            <a:extLst>
              <a:ext uri="{FF2B5EF4-FFF2-40B4-BE49-F238E27FC236}">
                <a16:creationId xmlns:a16="http://schemas.microsoft.com/office/drawing/2014/main" id="{166EFD15-9CF1-4A30-B89B-D837FD513781}"/>
              </a:ext>
            </a:extLst>
          </p:cNvPr>
          <p:cNvSpPr txBox="1">
            <a:spLocks/>
          </p:cNvSpPr>
          <p:nvPr/>
        </p:nvSpPr>
        <p:spPr>
          <a:xfrm>
            <a:off x="8550424" y="1069875"/>
            <a:ext cx="3328459" cy="5024452"/>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The role of nuclear in the fight against climate change Is recognized worldwide and recently in Europe (European “taxonomy delegated act”)</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The number of new nuclear projects is increasing while Utilities are extending their existing reactors’ operating lifetime</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lang="en-US" sz="1600" dirty="0">
                <a:solidFill>
                  <a:srgbClr val="FFFFFF"/>
                </a:solidFill>
                <a:latin typeface="Ubuntu Light" panose="020B0304030602030204" pitchFamily="34" charset="0"/>
              </a:rPr>
              <a:t>In Europe many countries are announcing new nuclear plant construction (Poland, Czech Republic, NL, Sweden, Finland, Hungary, Romania , Bulgaria, France, UK)</a:t>
            </a:r>
            <a:endParaRPr kumimoji="0" lang="en-US" sz="16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IEA perspective:  world will be falling short. Expectations to 2050 (+400GW)</a:t>
            </a:r>
          </a:p>
        </p:txBody>
      </p:sp>
      <p:sp>
        <p:nvSpPr>
          <p:cNvPr id="9" name="Ellipse 1">
            <a:extLst>
              <a:ext uri="{FF2B5EF4-FFF2-40B4-BE49-F238E27FC236}">
                <a16:creationId xmlns:a16="http://schemas.microsoft.com/office/drawing/2014/main" id="{F30695D9-66A2-4C6D-B157-71CB05AE8D57}"/>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10075278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F353AA7-E730-46C1-8A91-7964FB060B1A}"/>
              </a:ext>
            </a:extLst>
          </p:cNvPr>
          <p:cNvSpPr>
            <a:spLocks noGrp="1"/>
          </p:cNvSpPr>
          <p:nvPr>
            <p:ph type="title"/>
          </p:nvPr>
        </p:nvSpPr>
        <p:spPr/>
        <p:txBody>
          <a:bodyPr/>
          <a:lstStyle/>
          <a:p>
            <a:pPr algn="just"/>
            <a:r>
              <a:rPr lang="en-GB" b="1">
                <a:solidFill>
                  <a:schemeClr val="bg1"/>
                </a:solidFill>
              </a:rPr>
              <a:t>NUCLEAR RENAISSANCE</a:t>
            </a:r>
            <a:endParaRPr lang="fr-FR" b="1">
              <a:solidFill>
                <a:schemeClr val="bg1"/>
              </a:solidFill>
            </a:endParaRPr>
          </a:p>
        </p:txBody>
      </p:sp>
      <p:sp>
        <p:nvSpPr>
          <p:cNvPr id="72" name="Rectangle 71">
            <a:extLst>
              <a:ext uri="{FF2B5EF4-FFF2-40B4-BE49-F238E27FC236}">
                <a16:creationId xmlns:a16="http://schemas.microsoft.com/office/drawing/2014/main" id="{17EE1B80-4ED2-4FA5-84A3-0046CDFF2B33}"/>
              </a:ext>
            </a:extLst>
          </p:cNvPr>
          <p:cNvSpPr/>
          <p:nvPr/>
        </p:nvSpPr>
        <p:spPr>
          <a:xfrm>
            <a:off x="894444" y="4531014"/>
            <a:ext cx="6816403" cy="1169970"/>
          </a:xfrm>
          <a:prstGeom prst="rect">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a:ea typeface="+mn-ea"/>
              <a:cs typeface="+mn-cs"/>
            </a:endParaRPr>
          </a:p>
        </p:txBody>
      </p:sp>
      <p:grpSp>
        <p:nvGrpSpPr>
          <p:cNvPr id="6" name="Groupe 5">
            <a:extLst>
              <a:ext uri="{FF2B5EF4-FFF2-40B4-BE49-F238E27FC236}">
                <a16:creationId xmlns:a16="http://schemas.microsoft.com/office/drawing/2014/main" id="{2D4E52C9-CE8B-4C73-B8A8-6E19D25FE334}"/>
              </a:ext>
            </a:extLst>
          </p:cNvPr>
          <p:cNvGrpSpPr/>
          <p:nvPr/>
        </p:nvGrpSpPr>
        <p:grpSpPr>
          <a:xfrm>
            <a:off x="6002198" y="1850031"/>
            <a:ext cx="1874454" cy="1039652"/>
            <a:chOff x="6002198" y="1850031"/>
            <a:chExt cx="1874454" cy="1039652"/>
          </a:xfrm>
        </p:grpSpPr>
        <p:sp>
          <p:nvSpPr>
            <p:cNvPr id="16" name="ZoneTexte 15">
              <a:extLst>
                <a:ext uri="{FF2B5EF4-FFF2-40B4-BE49-F238E27FC236}">
                  <a16:creationId xmlns:a16="http://schemas.microsoft.com/office/drawing/2014/main" id="{31E8A8D3-246B-4BEE-9E05-67FBA6C5998C}"/>
                </a:ext>
              </a:extLst>
            </p:cNvPr>
            <p:cNvSpPr txBox="1"/>
            <p:nvPr/>
          </p:nvSpPr>
          <p:spPr>
            <a:xfrm>
              <a:off x="6002198" y="2304907"/>
              <a:ext cx="1874454" cy="58477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Ubuntu"/>
                  <a:ea typeface="Calibri" panose="020F0502020204030204" pitchFamily="34" charset="0"/>
                  <a:cs typeface="+mn-cs"/>
                </a:rPr>
                <a:t>SMR designs and concepts </a:t>
              </a:r>
            </a:p>
          </p:txBody>
        </p:sp>
        <p:sp>
          <p:nvSpPr>
            <p:cNvPr id="17" name="ZoneTexte 16">
              <a:extLst>
                <a:ext uri="{FF2B5EF4-FFF2-40B4-BE49-F238E27FC236}">
                  <a16:creationId xmlns:a16="http://schemas.microsoft.com/office/drawing/2014/main" id="{C12D3FB0-7946-4A36-924C-F1B26416DD30}"/>
                </a:ext>
              </a:extLst>
            </p:cNvPr>
            <p:cNvSpPr txBox="1"/>
            <p:nvPr/>
          </p:nvSpPr>
          <p:spPr>
            <a:xfrm>
              <a:off x="6616604" y="1850031"/>
              <a:ext cx="64564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070AD">
                      <a:lumMod val="75000"/>
                    </a:srgbClr>
                  </a:solidFill>
                  <a:effectLst/>
                  <a:uLnTx/>
                  <a:uFillTx/>
                  <a:latin typeface="Ubuntu"/>
                  <a:ea typeface="+mn-ea"/>
                  <a:cs typeface="+mn-cs"/>
                </a:rPr>
                <a:t>50</a:t>
              </a:r>
              <a:endParaRPr kumimoji="0" lang="fr-FR" sz="2400" b="0" i="0" u="none" strike="noStrike" kern="1200" cap="none" spc="0" normalizeH="0" baseline="0" noProof="0">
                <a:ln>
                  <a:noFill/>
                </a:ln>
                <a:solidFill>
                  <a:srgbClr val="0070AD">
                    <a:lumMod val="75000"/>
                  </a:srgbClr>
                </a:solidFill>
                <a:effectLst/>
                <a:uLnTx/>
                <a:uFillTx/>
                <a:latin typeface="Ubuntu"/>
                <a:ea typeface="+mn-ea"/>
                <a:cs typeface="+mn-cs"/>
              </a:endParaRPr>
            </a:p>
          </p:txBody>
        </p:sp>
        <p:cxnSp>
          <p:nvCxnSpPr>
            <p:cNvPr id="18" name="Connecteur droit 17">
              <a:extLst>
                <a:ext uri="{FF2B5EF4-FFF2-40B4-BE49-F238E27FC236}">
                  <a16:creationId xmlns:a16="http://schemas.microsoft.com/office/drawing/2014/main" id="{4F695ED3-F30D-4EAE-91A0-9D646093D352}"/>
                </a:ext>
              </a:extLst>
            </p:cNvPr>
            <p:cNvCxnSpPr>
              <a:cxnSpLocks/>
            </p:cNvCxnSpPr>
            <p:nvPr/>
          </p:nvCxnSpPr>
          <p:spPr>
            <a:xfrm>
              <a:off x="6664638" y="2304907"/>
              <a:ext cx="549574"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9" name="Straight Connector 14">
            <a:extLst>
              <a:ext uri="{FF2B5EF4-FFF2-40B4-BE49-F238E27FC236}">
                <a16:creationId xmlns:a16="http://schemas.microsoft.com/office/drawing/2014/main" id="{13240820-42F8-4AFD-84F8-3D6FBF0FC261}"/>
              </a:ext>
            </a:extLst>
          </p:cNvPr>
          <p:cNvCxnSpPr>
            <a:cxnSpLocks/>
          </p:cNvCxnSpPr>
          <p:nvPr/>
        </p:nvCxnSpPr>
        <p:spPr>
          <a:xfrm>
            <a:off x="7878002" y="1656717"/>
            <a:ext cx="0" cy="456213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ZoneTexte 2">
            <a:extLst>
              <a:ext uri="{FF2B5EF4-FFF2-40B4-BE49-F238E27FC236}">
                <a16:creationId xmlns:a16="http://schemas.microsoft.com/office/drawing/2014/main" id="{88C4A13E-B242-4372-B06A-8BB4CB2121CC}"/>
              </a:ext>
            </a:extLst>
          </p:cNvPr>
          <p:cNvSpPr txBox="1"/>
          <p:nvPr/>
        </p:nvSpPr>
        <p:spPr>
          <a:xfrm>
            <a:off x="5499052" y="1437846"/>
            <a:ext cx="6799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black"/>
                </a:solidFill>
                <a:effectLst/>
                <a:uLnTx/>
                <a:uFillTx/>
                <a:latin typeface="Ubuntu"/>
                <a:ea typeface="+mn-ea"/>
                <a:cs typeface="+mn-cs"/>
              </a:rPr>
              <a:t>SMR</a:t>
            </a:r>
          </a:p>
        </p:txBody>
      </p:sp>
      <p:sp>
        <p:nvSpPr>
          <p:cNvPr id="20" name="ZoneTexte 19">
            <a:extLst>
              <a:ext uri="{FF2B5EF4-FFF2-40B4-BE49-F238E27FC236}">
                <a16:creationId xmlns:a16="http://schemas.microsoft.com/office/drawing/2014/main" id="{6FE4B2DE-A250-4B2D-8A7C-D873F8617CEC}"/>
              </a:ext>
            </a:extLst>
          </p:cNvPr>
          <p:cNvSpPr txBox="1"/>
          <p:nvPr/>
        </p:nvSpPr>
        <p:spPr>
          <a:xfrm>
            <a:off x="9339187" y="1437846"/>
            <a:ext cx="90922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a:ln>
                  <a:noFill/>
                </a:ln>
                <a:solidFill>
                  <a:prstClr val="black"/>
                </a:solidFill>
                <a:effectLst/>
                <a:uLnTx/>
                <a:uFillTx/>
                <a:latin typeface="Ubuntu"/>
                <a:ea typeface="+mn-ea"/>
                <a:cs typeface="+mn-cs"/>
              </a:rPr>
              <a:t>Fusion</a:t>
            </a:r>
          </a:p>
        </p:txBody>
      </p:sp>
      <p:grpSp>
        <p:nvGrpSpPr>
          <p:cNvPr id="7" name="Groupe 6">
            <a:extLst>
              <a:ext uri="{FF2B5EF4-FFF2-40B4-BE49-F238E27FC236}">
                <a16:creationId xmlns:a16="http://schemas.microsoft.com/office/drawing/2014/main" id="{4E8602ED-818A-4E40-BB85-F40E1D415EA4}"/>
              </a:ext>
            </a:extLst>
          </p:cNvPr>
          <p:cNvGrpSpPr/>
          <p:nvPr/>
        </p:nvGrpSpPr>
        <p:grpSpPr>
          <a:xfrm>
            <a:off x="4099048" y="1850031"/>
            <a:ext cx="1948775" cy="1285873"/>
            <a:chOff x="4099048" y="1850031"/>
            <a:chExt cx="1948775" cy="1285873"/>
          </a:xfrm>
        </p:grpSpPr>
        <p:sp>
          <p:nvSpPr>
            <p:cNvPr id="22" name="ZoneTexte 21">
              <a:extLst>
                <a:ext uri="{FF2B5EF4-FFF2-40B4-BE49-F238E27FC236}">
                  <a16:creationId xmlns:a16="http://schemas.microsoft.com/office/drawing/2014/main" id="{0BC00153-371D-4173-9E20-882385B775E7}"/>
                </a:ext>
              </a:extLst>
            </p:cNvPr>
            <p:cNvSpPr txBox="1"/>
            <p:nvPr/>
          </p:nvSpPr>
          <p:spPr>
            <a:xfrm>
              <a:off x="4099048" y="2304907"/>
              <a:ext cx="1948775"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Ubuntu"/>
                  <a:ea typeface="Calibri" panose="020F0502020204030204" pitchFamily="34" charset="0"/>
                  <a:cs typeface="+mn-cs"/>
                </a:rPr>
                <a:t>SMRs in advanced stages of construction</a:t>
              </a:r>
            </a:p>
          </p:txBody>
        </p:sp>
        <p:sp>
          <p:nvSpPr>
            <p:cNvPr id="23" name="ZoneTexte 22">
              <a:extLst>
                <a:ext uri="{FF2B5EF4-FFF2-40B4-BE49-F238E27FC236}">
                  <a16:creationId xmlns:a16="http://schemas.microsoft.com/office/drawing/2014/main" id="{EBADA0B4-DAD5-4487-BCFA-733CF1A2D6DE}"/>
                </a:ext>
              </a:extLst>
            </p:cNvPr>
            <p:cNvSpPr txBox="1"/>
            <p:nvPr/>
          </p:nvSpPr>
          <p:spPr>
            <a:xfrm>
              <a:off x="4750614" y="1850031"/>
              <a:ext cx="64564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070AD">
                      <a:lumMod val="75000"/>
                    </a:srgbClr>
                  </a:solidFill>
                  <a:effectLst/>
                  <a:uLnTx/>
                  <a:uFillTx/>
                  <a:latin typeface="Ubuntu"/>
                  <a:ea typeface="+mn-ea"/>
                  <a:cs typeface="+mn-cs"/>
                </a:rPr>
                <a:t>4</a:t>
              </a:r>
              <a:endParaRPr kumimoji="0" lang="fr-FR" sz="2400" b="0" i="0" u="none" strike="noStrike" kern="1200" cap="none" spc="0" normalizeH="0" baseline="0" noProof="0">
                <a:ln>
                  <a:noFill/>
                </a:ln>
                <a:solidFill>
                  <a:srgbClr val="0070AD">
                    <a:lumMod val="75000"/>
                  </a:srgbClr>
                </a:solidFill>
                <a:effectLst/>
                <a:uLnTx/>
                <a:uFillTx/>
                <a:latin typeface="Ubuntu"/>
                <a:ea typeface="+mn-ea"/>
                <a:cs typeface="+mn-cs"/>
              </a:endParaRPr>
            </a:p>
          </p:txBody>
        </p:sp>
        <p:cxnSp>
          <p:nvCxnSpPr>
            <p:cNvPr id="24" name="Connecteur droit 23">
              <a:extLst>
                <a:ext uri="{FF2B5EF4-FFF2-40B4-BE49-F238E27FC236}">
                  <a16:creationId xmlns:a16="http://schemas.microsoft.com/office/drawing/2014/main" id="{D9ECF2B2-2652-418D-BA07-D7E5EE8414FD}"/>
                </a:ext>
              </a:extLst>
            </p:cNvPr>
            <p:cNvCxnSpPr>
              <a:cxnSpLocks/>
            </p:cNvCxnSpPr>
            <p:nvPr/>
          </p:nvCxnSpPr>
          <p:spPr>
            <a:xfrm>
              <a:off x="4798648" y="2304907"/>
              <a:ext cx="549574"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e 4">
            <a:extLst>
              <a:ext uri="{FF2B5EF4-FFF2-40B4-BE49-F238E27FC236}">
                <a16:creationId xmlns:a16="http://schemas.microsoft.com/office/drawing/2014/main" id="{67A8652A-8D52-4467-9EDF-C8C5E52FDD04}"/>
              </a:ext>
            </a:extLst>
          </p:cNvPr>
          <p:cNvGrpSpPr/>
          <p:nvPr/>
        </p:nvGrpSpPr>
        <p:grpSpPr>
          <a:xfrm>
            <a:off x="8162218" y="1850031"/>
            <a:ext cx="3364112" cy="1375748"/>
            <a:chOff x="8162218" y="1932314"/>
            <a:chExt cx="3364112" cy="1375748"/>
          </a:xfrm>
        </p:grpSpPr>
        <p:sp>
          <p:nvSpPr>
            <p:cNvPr id="38" name="ZoneTexte 37">
              <a:extLst>
                <a:ext uri="{FF2B5EF4-FFF2-40B4-BE49-F238E27FC236}">
                  <a16:creationId xmlns:a16="http://schemas.microsoft.com/office/drawing/2014/main" id="{F0A07F36-771E-4D65-AD43-849EF8404E7E}"/>
                </a:ext>
              </a:extLst>
            </p:cNvPr>
            <p:cNvSpPr txBox="1"/>
            <p:nvPr/>
          </p:nvSpPr>
          <p:spPr>
            <a:xfrm>
              <a:off x="8162218" y="2384732"/>
              <a:ext cx="3364112" cy="92333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chemeClr val="accent1"/>
                  </a:solidFill>
                  <a:effectLst/>
                  <a:uLnTx/>
                  <a:uFillTx/>
                  <a:latin typeface="Ubuntu"/>
                  <a:ea typeface="Calibri"/>
                  <a:cs typeface="+mn-cs"/>
                </a:rPr>
                <a:t>ITER construction progressing, first reaction expected by 2025</a:t>
              </a:r>
            </a:p>
          </p:txBody>
        </p:sp>
        <p:sp>
          <p:nvSpPr>
            <p:cNvPr id="39" name="ZoneTexte 38">
              <a:extLst>
                <a:ext uri="{FF2B5EF4-FFF2-40B4-BE49-F238E27FC236}">
                  <a16:creationId xmlns:a16="http://schemas.microsoft.com/office/drawing/2014/main" id="{E94E655D-10A6-4DB4-8660-F835D5A24AC0}"/>
                </a:ext>
              </a:extLst>
            </p:cNvPr>
            <p:cNvSpPr txBox="1"/>
            <p:nvPr/>
          </p:nvSpPr>
          <p:spPr>
            <a:xfrm>
              <a:off x="8437900" y="1932314"/>
              <a:ext cx="2812748"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070AD">
                      <a:lumMod val="75000"/>
                    </a:srgbClr>
                  </a:solidFill>
                  <a:effectLst/>
                  <a:uLnTx/>
                  <a:uFillTx/>
                  <a:latin typeface="Ubuntu"/>
                  <a:ea typeface="+mn-ea"/>
                  <a:cs typeface="+mn-cs"/>
                </a:rPr>
                <a:t>2025</a:t>
              </a:r>
              <a:endParaRPr kumimoji="0" lang="fr-FR" sz="2400" b="0" i="0" u="none" strike="noStrike" kern="1200" cap="none" spc="0" normalizeH="0" baseline="0" noProof="0">
                <a:ln>
                  <a:noFill/>
                </a:ln>
                <a:solidFill>
                  <a:srgbClr val="0070AD">
                    <a:lumMod val="75000"/>
                  </a:srgbClr>
                </a:solidFill>
                <a:effectLst/>
                <a:uLnTx/>
                <a:uFillTx/>
                <a:latin typeface="Ubuntu"/>
                <a:ea typeface="+mn-ea"/>
                <a:cs typeface="+mn-cs"/>
              </a:endParaRPr>
            </a:p>
          </p:txBody>
        </p:sp>
        <p:cxnSp>
          <p:nvCxnSpPr>
            <p:cNvPr id="40" name="Connecteur droit 39">
              <a:extLst>
                <a:ext uri="{FF2B5EF4-FFF2-40B4-BE49-F238E27FC236}">
                  <a16:creationId xmlns:a16="http://schemas.microsoft.com/office/drawing/2014/main" id="{F48194BC-9493-4D90-8AA9-3A221881428C}"/>
                </a:ext>
              </a:extLst>
            </p:cNvPr>
            <p:cNvCxnSpPr>
              <a:cxnSpLocks/>
            </p:cNvCxnSpPr>
            <p:nvPr/>
          </p:nvCxnSpPr>
          <p:spPr>
            <a:xfrm>
              <a:off x="9569487" y="2384732"/>
              <a:ext cx="549574"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1" name="TextBox 8">
            <a:extLst>
              <a:ext uri="{FF2B5EF4-FFF2-40B4-BE49-F238E27FC236}">
                <a16:creationId xmlns:a16="http://schemas.microsoft.com/office/drawing/2014/main" id="{D79563FA-B5E2-44A8-A3E0-9B83F266C23D}"/>
              </a:ext>
            </a:extLst>
          </p:cNvPr>
          <p:cNvSpPr txBox="1"/>
          <p:nvPr/>
        </p:nvSpPr>
        <p:spPr>
          <a:xfrm>
            <a:off x="400102" y="6046805"/>
            <a:ext cx="6860853" cy="41549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s: </a:t>
            </a:r>
            <a:r>
              <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rPr>
              <a:t>1</a:t>
            </a: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Nuclear Power Reactors in the World, IA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rPr>
              <a:t>2</a:t>
            </a: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 Small nuclear power projects may have big waste problems, Reuters, 01/06/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rPr>
              <a:t>3 </a:t>
            </a: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China’s Artificial Sun Just Broke a Record for Longest Sustained Nuclear Fusion, Smithsonian magazine, 10/01/2022</a:t>
            </a:r>
            <a:endPar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endParaRPr>
          </a:p>
        </p:txBody>
      </p:sp>
      <p:sp>
        <p:nvSpPr>
          <p:cNvPr id="46" name="ZoneTexte 2">
            <a:extLst>
              <a:ext uri="{FF2B5EF4-FFF2-40B4-BE49-F238E27FC236}">
                <a16:creationId xmlns:a16="http://schemas.microsoft.com/office/drawing/2014/main" id="{888A2B20-9EE9-4116-BBC1-09445F707B73}"/>
              </a:ext>
            </a:extLst>
          </p:cNvPr>
          <p:cNvSpPr txBox="1"/>
          <p:nvPr/>
        </p:nvSpPr>
        <p:spPr>
          <a:xfrm>
            <a:off x="367135" y="1437846"/>
            <a:ext cx="367179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a:ln>
                  <a:noFill/>
                </a:ln>
                <a:solidFill>
                  <a:prstClr val="black"/>
                </a:solidFill>
                <a:effectLst/>
                <a:uLnTx/>
                <a:uFillTx/>
                <a:latin typeface="Ubuntu"/>
                <a:ea typeface="+mn-ea"/>
                <a:cs typeface="+mn-cs"/>
              </a:rPr>
              <a:t>3</a:t>
            </a:r>
            <a:r>
              <a:rPr kumimoji="0" lang="en-US" sz="1800" b="1" i="0" u="none" strike="noStrike" kern="1200" cap="none" spc="0" normalizeH="0" baseline="30000">
                <a:ln>
                  <a:noFill/>
                </a:ln>
                <a:solidFill>
                  <a:prstClr val="black"/>
                </a:solidFill>
                <a:effectLst/>
                <a:uLnTx/>
                <a:uFillTx/>
                <a:latin typeface="Ubuntu"/>
                <a:ea typeface="+mn-ea"/>
                <a:cs typeface="+mn-cs"/>
              </a:rPr>
              <a:t>rd </a:t>
            </a:r>
            <a:r>
              <a:rPr kumimoji="0" lang="en-US" sz="1800" b="1" i="0" u="none" strike="noStrike" kern="1200" cap="none" spc="0" normalizeH="0" baseline="0">
                <a:ln>
                  <a:noFill/>
                </a:ln>
                <a:solidFill>
                  <a:prstClr val="black"/>
                </a:solidFill>
                <a:effectLst/>
                <a:uLnTx/>
                <a:uFillTx/>
                <a:latin typeface="Ubuntu"/>
                <a:ea typeface="+mn-ea"/>
                <a:cs typeface="+mn-cs"/>
              </a:rPr>
              <a:t>generation reactors</a:t>
            </a:r>
          </a:p>
        </p:txBody>
      </p:sp>
      <p:sp>
        <p:nvSpPr>
          <p:cNvPr id="48" name="ZoneTexte 21">
            <a:extLst>
              <a:ext uri="{FF2B5EF4-FFF2-40B4-BE49-F238E27FC236}">
                <a16:creationId xmlns:a16="http://schemas.microsoft.com/office/drawing/2014/main" id="{7A50AD98-C3ED-4453-8A30-AC3C025B2EBE}"/>
              </a:ext>
            </a:extLst>
          </p:cNvPr>
          <p:cNvSpPr txBox="1"/>
          <p:nvPr/>
        </p:nvSpPr>
        <p:spPr>
          <a:xfrm>
            <a:off x="680967" y="2349394"/>
            <a:ext cx="304413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Ubuntu"/>
                <a:ea typeface="Calibri" panose="020F0502020204030204" pitchFamily="34" charset="0"/>
                <a:cs typeface="+mn-cs"/>
              </a:rPr>
              <a:t>New reactors connected to the network in 2021(+5.2 GW)</a:t>
            </a:r>
            <a:r>
              <a:rPr kumimoji="0" lang="en-US" sz="1600" b="0" i="0" u="none" strike="noStrike" kern="1200" cap="none" spc="0" normalizeH="0" baseline="30000" noProof="0">
                <a:ln>
                  <a:noFill/>
                </a:ln>
                <a:solidFill>
                  <a:srgbClr val="000000"/>
                </a:solidFill>
                <a:effectLst/>
                <a:uLnTx/>
                <a:uFillTx/>
                <a:latin typeface="Ubuntu"/>
                <a:ea typeface="Calibri" panose="020F0502020204030204" pitchFamily="34" charset="0"/>
                <a:cs typeface="+mn-cs"/>
              </a:rPr>
              <a:t>1</a:t>
            </a:r>
            <a:endParaRPr kumimoji="0" lang="en-US" sz="1600" b="0" i="0" u="none" strike="noStrike" kern="1200" cap="none" spc="0" normalizeH="0" baseline="0" noProof="0">
              <a:ln>
                <a:noFill/>
              </a:ln>
              <a:solidFill>
                <a:srgbClr val="000000"/>
              </a:solidFill>
              <a:effectLst/>
              <a:uLnTx/>
              <a:uFillTx/>
              <a:latin typeface="Ubuntu"/>
              <a:ea typeface="Calibri" panose="020F0502020204030204" pitchFamily="34" charset="0"/>
              <a:cs typeface="+mn-cs"/>
            </a:endParaRPr>
          </a:p>
        </p:txBody>
      </p:sp>
      <p:sp>
        <p:nvSpPr>
          <p:cNvPr id="49" name="ZoneTexte 22">
            <a:extLst>
              <a:ext uri="{FF2B5EF4-FFF2-40B4-BE49-F238E27FC236}">
                <a16:creationId xmlns:a16="http://schemas.microsoft.com/office/drawing/2014/main" id="{4F00B913-6B28-4F93-AF34-7EBD44C15266}"/>
              </a:ext>
            </a:extLst>
          </p:cNvPr>
          <p:cNvSpPr txBox="1"/>
          <p:nvPr/>
        </p:nvSpPr>
        <p:spPr>
          <a:xfrm>
            <a:off x="1868651" y="1850031"/>
            <a:ext cx="64564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srgbClr val="0070AD">
                    <a:lumMod val="75000"/>
                  </a:srgbClr>
                </a:solidFill>
                <a:effectLst/>
                <a:uLnTx/>
                <a:uFillTx/>
                <a:latin typeface="Ubuntu"/>
                <a:ea typeface="+mn-ea"/>
                <a:cs typeface="+mn-cs"/>
              </a:rPr>
              <a:t>6</a:t>
            </a:r>
            <a:endParaRPr kumimoji="0" lang="fr-FR" sz="2400" b="0" i="0" u="none" strike="noStrike" kern="1200" cap="none" spc="0" normalizeH="0" baseline="0" noProof="0">
              <a:ln>
                <a:noFill/>
              </a:ln>
              <a:solidFill>
                <a:srgbClr val="0070AD">
                  <a:lumMod val="75000"/>
                </a:srgbClr>
              </a:solidFill>
              <a:effectLst/>
              <a:uLnTx/>
              <a:uFillTx/>
              <a:latin typeface="Ubuntu"/>
              <a:ea typeface="+mn-ea"/>
              <a:cs typeface="+mn-cs"/>
            </a:endParaRPr>
          </a:p>
        </p:txBody>
      </p:sp>
      <p:cxnSp>
        <p:nvCxnSpPr>
          <p:cNvPr id="50" name="Connecteur droit 23">
            <a:extLst>
              <a:ext uri="{FF2B5EF4-FFF2-40B4-BE49-F238E27FC236}">
                <a16:creationId xmlns:a16="http://schemas.microsoft.com/office/drawing/2014/main" id="{57E5F01C-C51D-4AC7-8343-4F5EF4A464FB}"/>
              </a:ext>
            </a:extLst>
          </p:cNvPr>
          <p:cNvCxnSpPr>
            <a:cxnSpLocks/>
          </p:cNvCxnSpPr>
          <p:nvPr/>
        </p:nvCxnSpPr>
        <p:spPr>
          <a:xfrm>
            <a:off x="1916685" y="2304907"/>
            <a:ext cx="549574"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3" name="Groupe 12">
            <a:extLst>
              <a:ext uri="{FF2B5EF4-FFF2-40B4-BE49-F238E27FC236}">
                <a16:creationId xmlns:a16="http://schemas.microsoft.com/office/drawing/2014/main" id="{E3F12F36-CC07-4DBD-81A5-9A86D3622A46}"/>
              </a:ext>
            </a:extLst>
          </p:cNvPr>
          <p:cNvGrpSpPr/>
          <p:nvPr/>
        </p:nvGrpSpPr>
        <p:grpSpPr>
          <a:xfrm>
            <a:off x="413631" y="4915741"/>
            <a:ext cx="416561" cy="416561"/>
            <a:chOff x="249844" y="5200992"/>
            <a:chExt cx="647362" cy="647362"/>
          </a:xfrm>
        </p:grpSpPr>
        <p:sp>
          <p:nvSpPr>
            <p:cNvPr id="56" name="Ellipse 55">
              <a:extLst>
                <a:ext uri="{FF2B5EF4-FFF2-40B4-BE49-F238E27FC236}">
                  <a16:creationId xmlns:a16="http://schemas.microsoft.com/office/drawing/2014/main" id="{E341F395-2379-4762-90AF-6176FE2F5D2D}"/>
                </a:ext>
              </a:extLst>
            </p:cNvPr>
            <p:cNvSpPr/>
            <p:nvPr/>
          </p:nvSpPr>
          <p:spPr>
            <a:xfrm>
              <a:off x="249844" y="5200992"/>
              <a:ext cx="647362" cy="647362"/>
            </a:xfrm>
            <a:prstGeom prst="ellipse">
              <a:avLst/>
            </a:prstGeom>
            <a:noFill/>
            <a:ln w="28575">
              <a:solidFill>
                <a:srgbClr val="1459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7" name="Shape 5071">
              <a:extLst>
                <a:ext uri="{FF2B5EF4-FFF2-40B4-BE49-F238E27FC236}">
                  <a16:creationId xmlns:a16="http://schemas.microsoft.com/office/drawing/2014/main" id="{A8D43A86-8CD2-4E46-9C0E-C4F5DF0DFE31}"/>
                </a:ext>
              </a:extLst>
            </p:cNvPr>
            <p:cNvSpPr/>
            <p:nvPr/>
          </p:nvSpPr>
          <p:spPr>
            <a:xfrm>
              <a:off x="353473" y="5488906"/>
              <a:ext cx="440105" cy="71534"/>
            </a:xfrm>
            <a:custGeom>
              <a:avLst/>
              <a:gdLst/>
              <a:ahLst/>
              <a:cxnLst/>
              <a:rect l="0" t="0" r="0" b="0"/>
              <a:pathLst>
                <a:path w="120000" h="120000" extrusionOk="0">
                  <a:moveTo>
                    <a:pt x="112367" y="0"/>
                  </a:moveTo>
                  <a:lnTo>
                    <a:pt x="112367" y="0"/>
                  </a:lnTo>
                  <a:cubicBezTo>
                    <a:pt x="3816" y="0"/>
                    <a:pt x="3816" y="0"/>
                    <a:pt x="3816" y="0"/>
                  </a:cubicBezTo>
                  <a:cubicBezTo>
                    <a:pt x="0" y="0"/>
                    <a:pt x="0" y="21333"/>
                    <a:pt x="0" y="45333"/>
                  </a:cubicBezTo>
                  <a:cubicBezTo>
                    <a:pt x="0" y="93333"/>
                    <a:pt x="0" y="117333"/>
                    <a:pt x="3816" y="117333"/>
                  </a:cubicBezTo>
                  <a:cubicBezTo>
                    <a:pt x="112367" y="117333"/>
                    <a:pt x="112367" y="117333"/>
                    <a:pt x="112367" y="117333"/>
                  </a:cubicBezTo>
                  <a:cubicBezTo>
                    <a:pt x="119575" y="117333"/>
                    <a:pt x="119575" y="93333"/>
                    <a:pt x="119575" y="45333"/>
                  </a:cubicBezTo>
                  <a:cubicBezTo>
                    <a:pt x="119575" y="21333"/>
                    <a:pt x="119575" y="0"/>
                    <a:pt x="112367" y="0"/>
                  </a:cubicBezTo>
                </a:path>
              </a:pathLst>
            </a:custGeom>
            <a:solidFill>
              <a:srgbClr val="14596B"/>
            </a:solidFill>
            <a:ln>
              <a:noFill/>
            </a:ln>
          </p:spPr>
          <p:txBody>
            <a:bodyPr lIns="34275" tIns="17138" rIns="34275" bIns="17138"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Arial" panose="020B0604020202020204" pitchFamily="34" charset="0"/>
                <a:ea typeface="Roboto"/>
                <a:cs typeface="Arial" panose="020B0604020202020204" pitchFamily="34" charset="0"/>
                <a:sym typeface="Roboto"/>
              </a:endParaRPr>
            </a:p>
          </p:txBody>
        </p:sp>
      </p:grpSp>
      <p:sp>
        <p:nvSpPr>
          <p:cNvPr id="58" name="ZoneTexte 57">
            <a:extLst>
              <a:ext uri="{FF2B5EF4-FFF2-40B4-BE49-F238E27FC236}">
                <a16:creationId xmlns:a16="http://schemas.microsoft.com/office/drawing/2014/main" id="{1C478868-12D3-4387-9332-41409CEB3675}"/>
              </a:ext>
            </a:extLst>
          </p:cNvPr>
          <p:cNvSpPr txBox="1"/>
          <p:nvPr/>
        </p:nvSpPr>
        <p:spPr>
          <a:xfrm>
            <a:off x="1049804" y="4623557"/>
            <a:ext cx="2819157" cy="738664"/>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Char char="§"/>
              <a:tabLst/>
              <a:defRPr/>
            </a:pPr>
            <a:r>
              <a:rPr kumimoji="0" lang="en-US" sz="1600" b="0" i="0" u="none" strike="noStrike" kern="1200" cap="none" spc="0" normalizeH="0" baseline="0" noProof="0">
                <a:ln>
                  <a:noFill/>
                </a:ln>
                <a:solidFill>
                  <a:schemeClr val="bg1"/>
                </a:solidFill>
                <a:effectLst/>
                <a:uLnTx/>
                <a:uFillTx/>
                <a:latin typeface="Ubuntu"/>
                <a:ea typeface="+mn-ea"/>
                <a:cs typeface="+mn-cs"/>
              </a:rPr>
              <a:t>Large delays and cost increase</a:t>
            </a:r>
          </a:p>
          <a:p>
            <a:pPr marL="285750" marR="0" lvl="0" indent="-28575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Char char="§"/>
              <a:tabLst/>
              <a:defRPr/>
            </a:pPr>
            <a:r>
              <a:rPr kumimoji="0" lang="en-US" sz="1600" b="0" i="0" u="none" strike="noStrike" kern="1200" cap="none" spc="0" normalizeH="0" baseline="0" noProof="0">
                <a:ln>
                  <a:noFill/>
                </a:ln>
                <a:solidFill>
                  <a:schemeClr val="bg1"/>
                </a:solidFill>
                <a:effectLst/>
                <a:uLnTx/>
                <a:uFillTx/>
                <a:latin typeface="Ubuntu"/>
                <a:ea typeface="+mn-ea"/>
                <a:cs typeface="+mn-cs"/>
              </a:rPr>
              <a:t>Design complexity</a:t>
            </a:r>
          </a:p>
        </p:txBody>
      </p:sp>
      <p:sp>
        <p:nvSpPr>
          <p:cNvPr id="37" name="Rectangle 36">
            <a:extLst>
              <a:ext uri="{FF2B5EF4-FFF2-40B4-BE49-F238E27FC236}">
                <a16:creationId xmlns:a16="http://schemas.microsoft.com/office/drawing/2014/main" id="{B87B55AA-B28C-4DBD-A2C3-F900964EC6FA}"/>
              </a:ext>
            </a:extLst>
          </p:cNvPr>
          <p:cNvSpPr/>
          <p:nvPr/>
        </p:nvSpPr>
        <p:spPr>
          <a:xfrm>
            <a:off x="894444" y="3228448"/>
            <a:ext cx="6816403" cy="1043174"/>
          </a:xfrm>
          <a:prstGeom prst="rect">
            <a:avLst/>
          </a:prstGeom>
          <a:solidFill>
            <a:srgbClr val="00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10" name="Groupe 9">
            <a:extLst>
              <a:ext uri="{FF2B5EF4-FFF2-40B4-BE49-F238E27FC236}">
                <a16:creationId xmlns:a16="http://schemas.microsoft.com/office/drawing/2014/main" id="{8442C940-A9C0-4CC0-BB55-754FD1405148}"/>
              </a:ext>
            </a:extLst>
          </p:cNvPr>
          <p:cNvGrpSpPr/>
          <p:nvPr/>
        </p:nvGrpSpPr>
        <p:grpSpPr>
          <a:xfrm>
            <a:off x="413631" y="3541755"/>
            <a:ext cx="416560" cy="416561"/>
            <a:chOff x="228956" y="3690480"/>
            <a:chExt cx="647362" cy="647362"/>
          </a:xfrm>
        </p:grpSpPr>
        <p:sp>
          <p:nvSpPr>
            <p:cNvPr id="52" name="Shape 5070">
              <a:extLst>
                <a:ext uri="{FF2B5EF4-FFF2-40B4-BE49-F238E27FC236}">
                  <a16:creationId xmlns:a16="http://schemas.microsoft.com/office/drawing/2014/main" id="{ADC6ACA5-FA4B-4A29-BAA2-B922C9CEAC32}"/>
                </a:ext>
              </a:extLst>
            </p:cNvPr>
            <p:cNvSpPr/>
            <p:nvPr/>
          </p:nvSpPr>
          <p:spPr>
            <a:xfrm>
              <a:off x="318293" y="3771076"/>
              <a:ext cx="468689" cy="486171"/>
            </a:xfrm>
            <a:custGeom>
              <a:avLst/>
              <a:gdLst/>
              <a:ahLst/>
              <a:cxnLst/>
              <a:rect l="0" t="0" r="0" b="0"/>
              <a:pathLst>
                <a:path w="120000" h="120000" extrusionOk="0">
                  <a:moveTo>
                    <a:pt x="111578" y="51020"/>
                  </a:moveTo>
                  <a:lnTo>
                    <a:pt x="111578" y="51020"/>
                  </a:lnTo>
                  <a:cubicBezTo>
                    <a:pt x="70736" y="51020"/>
                    <a:pt x="70736" y="51020"/>
                    <a:pt x="70736" y="51020"/>
                  </a:cubicBezTo>
                  <a:cubicBezTo>
                    <a:pt x="70736" y="7346"/>
                    <a:pt x="70736" y="7346"/>
                    <a:pt x="70736" y="7346"/>
                  </a:cubicBezTo>
                  <a:cubicBezTo>
                    <a:pt x="70736" y="0"/>
                    <a:pt x="63157" y="0"/>
                    <a:pt x="59368" y="0"/>
                  </a:cubicBezTo>
                  <a:cubicBezTo>
                    <a:pt x="52210" y="0"/>
                    <a:pt x="48421" y="0"/>
                    <a:pt x="48421" y="7346"/>
                  </a:cubicBezTo>
                  <a:cubicBezTo>
                    <a:pt x="48421" y="51020"/>
                    <a:pt x="48421" y="51020"/>
                    <a:pt x="48421" y="51020"/>
                  </a:cubicBezTo>
                  <a:cubicBezTo>
                    <a:pt x="3789" y="51020"/>
                    <a:pt x="3789" y="51020"/>
                    <a:pt x="3789" y="51020"/>
                  </a:cubicBezTo>
                  <a:cubicBezTo>
                    <a:pt x="0" y="51020"/>
                    <a:pt x="0" y="54285"/>
                    <a:pt x="0" y="57959"/>
                  </a:cubicBezTo>
                  <a:cubicBezTo>
                    <a:pt x="0" y="65306"/>
                    <a:pt x="0" y="68979"/>
                    <a:pt x="3789" y="68979"/>
                  </a:cubicBezTo>
                  <a:cubicBezTo>
                    <a:pt x="48421" y="68979"/>
                    <a:pt x="48421" y="68979"/>
                    <a:pt x="48421" y="68979"/>
                  </a:cubicBezTo>
                  <a:cubicBezTo>
                    <a:pt x="48421" y="112244"/>
                    <a:pt x="48421" y="112244"/>
                    <a:pt x="48421" y="112244"/>
                  </a:cubicBezTo>
                  <a:cubicBezTo>
                    <a:pt x="48421" y="115918"/>
                    <a:pt x="52210" y="119591"/>
                    <a:pt x="59368" y="119591"/>
                  </a:cubicBezTo>
                  <a:cubicBezTo>
                    <a:pt x="63157" y="119591"/>
                    <a:pt x="70736" y="115918"/>
                    <a:pt x="70736" y="112244"/>
                  </a:cubicBezTo>
                  <a:cubicBezTo>
                    <a:pt x="70736" y="68979"/>
                    <a:pt x="70736" y="68979"/>
                    <a:pt x="70736" y="68979"/>
                  </a:cubicBezTo>
                  <a:cubicBezTo>
                    <a:pt x="111578" y="68979"/>
                    <a:pt x="111578" y="68979"/>
                    <a:pt x="111578" y="68979"/>
                  </a:cubicBezTo>
                  <a:cubicBezTo>
                    <a:pt x="119578" y="68979"/>
                    <a:pt x="119578" y="65306"/>
                    <a:pt x="119578" y="57959"/>
                  </a:cubicBezTo>
                  <a:cubicBezTo>
                    <a:pt x="119578" y="54285"/>
                    <a:pt x="119578" y="51020"/>
                    <a:pt x="111578" y="51020"/>
                  </a:cubicBezTo>
                </a:path>
              </a:pathLst>
            </a:custGeom>
            <a:solidFill>
              <a:srgbClr val="00BFC0"/>
            </a:solidFill>
            <a:ln>
              <a:noFill/>
            </a:ln>
          </p:spPr>
          <p:txBody>
            <a:bodyPr lIns="34275" tIns="17138" rIns="34275" bIns="17138"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Arial" panose="020B0604020202020204" pitchFamily="34" charset="0"/>
                <a:ea typeface="Roboto"/>
                <a:cs typeface="Arial" panose="020B0604020202020204" pitchFamily="34" charset="0"/>
                <a:sym typeface="Roboto"/>
              </a:endParaRPr>
            </a:p>
          </p:txBody>
        </p:sp>
        <p:sp>
          <p:nvSpPr>
            <p:cNvPr id="9" name="Ellipse 8">
              <a:extLst>
                <a:ext uri="{FF2B5EF4-FFF2-40B4-BE49-F238E27FC236}">
                  <a16:creationId xmlns:a16="http://schemas.microsoft.com/office/drawing/2014/main" id="{FD18EA79-69B3-43D4-B554-813CA05973EA}"/>
                </a:ext>
              </a:extLst>
            </p:cNvPr>
            <p:cNvSpPr/>
            <p:nvPr/>
          </p:nvSpPr>
          <p:spPr>
            <a:xfrm>
              <a:off x="228956" y="3690480"/>
              <a:ext cx="647362" cy="647362"/>
            </a:xfrm>
            <a:prstGeom prst="ellipse">
              <a:avLst/>
            </a:prstGeom>
            <a:noFill/>
            <a:ln w="28575">
              <a:solidFill>
                <a:srgbClr val="00BF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11" name="ZoneTexte 10">
            <a:extLst>
              <a:ext uri="{FF2B5EF4-FFF2-40B4-BE49-F238E27FC236}">
                <a16:creationId xmlns:a16="http://schemas.microsoft.com/office/drawing/2014/main" id="{679F716F-E6BF-4BDA-ABFF-2EC8F5BDB163}"/>
              </a:ext>
            </a:extLst>
          </p:cNvPr>
          <p:cNvSpPr txBox="1"/>
          <p:nvPr/>
        </p:nvSpPr>
        <p:spPr>
          <a:xfrm>
            <a:off x="1049804" y="3351346"/>
            <a:ext cx="2031005" cy="492443"/>
          </a:xfrm>
          <a:prstGeom prst="rect">
            <a:avLst/>
          </a:prstGeom>
          <a:noFill/>
        </p:spPr>
        <p:txBody>
          <a:bodyPr wrap="none" lIns="0" tIns="0" rIns="0" bIns="0" rtlCol="0">
            <a:spAutoFit/>
          </a:bodyPr>
          <a:lstStyle/>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Improved security</a:t>
            </a: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Less nuclear waste</a:t>
            </a:r>
          </a:p>
        </p:txBody>
      </p:sp>
      <p:sp>
        <p:nvSpPr>
          <p:cNvPr id="61" name="ZoneTexte 60">
            <a:extLst>
              <a:ext uri="{FF2B5EF4-FFF2-40B4-BE49-F238E27FC236}">
                <a16:creationId xmlns:a16="http://schemas.microsoft.com/office/drawing/2014/main" id="{99CAC857-929A-4CD7-B55A-8B21F8BE4152}"/>
              </a:ext>
            </a:extLst>
          </p:cNvPr>
          <p:cNvSpPr txBox="1"/>
          <p:nvPr/>
        </p:nvSpPr>
        <p:spPr>
          <a:xfrm>
            <a:off x="4097082" y="3351346"/>
            <a:ext cx="3175549" cy="492443"/>
          </a:xfrm>
          <a:prstGeom prst="rect">
            <a:avLst/>
          </a:prstGeom>
          <a:noFill/>
        </p:spPr>
        <p:txBody>
          <a:bodyPr wrap="none" lIns="0" tIns="0" rIns="0" bIns="0" rtlCol="0">
            <a:spAutoFit/>
          </a:bodyPr>
          <a:lstStyle/>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More manageable investment </a:t>
            </a:r>
          </a:p>
          <a:p>
            <a:pPr marL="285750" marR="0" lvl="0" indent="-2857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More advanced safety features</a:t>
            </a:r>
          </a:p>
        </p:txBody>
      </p:sp>
      <p:sp>
        <p:nvSpPr>
          <p:cNvPr id="66" name="ZoneTexte 65">
            <a:extLst>
              <a:ext uri="{FF2B5EF4-FFF2-40B4-BE49-F238E27FC236}">
                <a16:creationId xmlns:a16="http://schemas.microsoft.com/office/drawing/2014/main" id="{552E0B03-9743-4808-9D28-72F01661F6DC}"/>
              </a:ext>
            </a:extLst>
          </p:cNvPr>
          <p:cNvSpPr txBox="1"/>
          <p:nvPr/>
        </p:nvSpPr>
        <p:spPr>
          <a:xfrm>
            <a:off x="4097083" y="4623557"/>
            <a:ext cx="3579118" cy="738664"/>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Char char="§"/>
              <a:tabLst/>
              <a:defRPr/>
            </a:pPr>
            <a:r>
              <a:rPr kumimoji="0" lang="en-US" sz="1600" b="0" i="0" u="none" strike="noStrike" kern="1200" cap="none" spc="0" normalizeH="0" baseline="0" noProof="0">
                <a:ln>
                  <a:noFill/>
                </a:ln>
                <a:solidFill>
                  <a:schemeClr val="bg1"/>
                </a:solidFill>
                <a:effectLst/>
                <a:uLnTx/>
                <a:uFillTx/>
                <a:latin typeface="Ubuntu"/>
                <a:ea typeface="+mn-ea"/>
                <a:cs typeface="+mn-cs"/>
              </a:rPr>
              <a:t>Costs per </a:t>
            </a:r>
            <a:r>
              <a:rPr lang="en-US" sz="1600">
                <a:solidFill>
                  <a:schemeClr val="bg1"/>
                </a:solidFill>
                <a:latin typeface="Ubuntu"/>
              </a:rPr>
              <a:t>MW</a:t>
            </a:r>
            <a:r>
              <a:rPr kumimoji="0" lang="en-US" sz="1600" b="0" i="0" u="none" strike="noStrike" kern="1200" cap="none" spc="0" normalizeH="0" baseline="0" noProof="0">
                <a:ln>
                  <a:noFill/>
                </a:ln>
                <a:solidFill>
                  <a:schemeClr val="bg1"/>
                </a:solidFill>
                <a:effectLst/>
                <a:uLnTx/>
                <a:uFillTx/>
                <a:latin typeface="Ubuntu"/>
                <a:ea typeface="+mn-ea"/>
                <a:cs typeface="+mn-cs"/>
              </a:rPr>
              <a:t>h could be higher than large reactors</a:t>
            </a:r>
          </a:p>
          <a:p>
            <a:pPr marL="285750" marR="0" lvl="0" indent="-285750" algn="l" defTabSz="914400" rtl="0" eaLnBrk="1" fontAlgn="auto" latinLnBrk="0" hangingPunct="1">
              <a:lnSpc>
                <a:spcPct val="100000"/>
              </a:lnSpc>
              <a:spcBef>
                <a:spcPts val="0"/>
              </a:spcBef>
              <a:spcAft>
                <a:spcPts val="0"/>
              </a:spcAft>
              <a:buClr>
                <a:schemeClr val="accent2"/>
              </a:buClr>
              <a:buSzTx/>
              <a:buFont typeface="Wingdings" panose="05000000000000000000" pitchFamily="2" charset="2"/>
              <a:buChar char="§"/>
              <a:tabLst/>
              <a:defRPr/>
            </a:pPr>
            <a:r>
              <a:rPr kumimoji="0" lang="en-US" sz="1600" b="0" i="0" u="none" strike="noStrike" kern="1200" cap="none" spc="0" normalizeH="0" baseline="0" noProof="0">
                <a:ln>
                  <a:noFill/>
                </a:ln>
                <a:solidFill>
                  <a:schemeClr val="bg1"/>
                </a:solidFill>
                <a:effectLst/>
                <a:uLnTx/>
                <a:uFillTx/>
                <a:latin typeface="Ubuntu"/>
                <a:ea typeface="+mn-ea"/>
                <a:cs typeface="+mn-cs"/>
              </a:rPr>
              <a:t>More waste than large reactors</a:t>
            </a:r>
            <a:r>
              <a:rPr kumimoji="0" lang="en-US" sz="1600" b="0" i="0" u="none" strike="noStrike" kern="1200" cap="none" spc="0" normalizeH="0" baseline="30000" noProof="0">
                <a:ln>
                  <a:noFill/>
                </a:ln>
                <a:solidFill>
                  <a:schemeClr val="bg1"/>
                </a:solidFill>
                <a:effectLst/>
                <a:uLnTx/>
                <a:uFillTx/>
                <a:latin typeface="Ubuntu"/>
                <a:ea typeface="+mn-ea"/>
                <a:cs typeface="+mn-cs"/>
              </a:rPr>
              <a:t>2</a:t>
            </a:r>
            <a:endParaRPr kumimoji="0" lang="en-US" sz="1600" b="0" i="0" u="none" strike="noStrike" kern="1200" cap="none" spc="0" normalizeH="0" baseline="0" noProof="0">
              <a:ln>
                <a:noFill/>
              </a:ln>
              <a:solidFill>
                <a:schemeClr val="bg1"/>
              </a:solidFill>
              <a:effectLst/>
              <a:uLnTx/>
              <a:uFillTx/>
              <a:latin typeface="Ubuntu"/>
              <a:ea typeface="+mn-ea"/>
              <a:cs typeface="+mn-cs"/>
            </a:endParaRPr>
          </a:p>
        </p:txBody>
      </p:sp>
      <p:cxnSp>
        <p:nvCxnSpPr>
          <p:cNvPr id="69" name="Straight Connector 14">
            <a:extLst>
              <a:ext uri="{FF2B5EF4-FFF2-40B4-BE49-F238E27FC236}">
                <a16:creationId xmlns:a16="http://schemas.microsoft.com/office/drawing/2014/main" id="{681E9074-A363-43BE-B7D0-A860CFABE04C}"/>
              </a:ext>
            </a:extLst>
          </p:cNvPr>
          <p:cNvCxnSpPr>
            <a:cxnSpLocks/>
          </p:cNvCxnSpPr>
          <p:nvPr/>
        </p:nvCxnSpPr>
        <p:spPr>
          <a:xfrm>
            <a:off x="6024010" y="2191708"/>
            <a:ext cx="0" cy="601120"/>
          </a:xfrm>
          <a:prstGeom prst="line">
            <a:avLst/>
          </a:prstGeom>
          <a:ln w="12700">
            <a:solidFill>
              <a:schemeClr val="bg2">
                <a:lumMod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14">
            <a:extLst>
              <a:ext uri="{FF2B5EF4-FFF2-40B4-BE49-F238E27FC236}">
                <a16:creationId xmlns:a16="http://schemas.microsoft.com/office/drawing/2014/main" id="{D6C8934D-CB9A-46ED-9056-037A0A5438AB}"/>
              </a:ext>
            </a:extLst>
          </p:cNvPr>
          <p:cNvCxnSpPr>
            <a:cxnSpLocks/>
          </p:cNvCxnSpPr>
          <p:nvPr/>
        </p:nvCxnSpPr>
        <p:spPr>
          <a:xfrm>
            <a:off x="3999895" y="1420715"/>
            <a:ext cx="0" cy="438727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5" name="ZoneTexte 54">
            <a:extLst>
              <a:ext uri="{FF2B5EF4-FFF2-40B4-BE49-F238E27FC236}">
                <a16:creationId xmlns:a16="http://schemas.microsoft.com/office/drawing/2014/main" id="{22B3F3F3-65E7-4148-A424-8E6EC59E1EEB}"/>
              </a:ext>
            </a:extLst>
          </p:cNvPr>
          <p:cNvSpPr txBox="1"/>
          <p:nvPr/>
        </p:nvSpPr>
        <p:spPr>
          <a:xfrm>
            <a:off x="1553448" y="3863409"/>
            <a:ext cx="4892893" cy="338554"/>
          </a:xfrm>
          <a:prstGeom prst="rect">
            <a:avLst/>
          </a:prstGeom>
          <a:solidFill>
            <a:srgbClr val="00BFBF"/>
          </a:solidFill>
        </p:spPr>
        <p:txBody>
          <a:bodyPr wrap="square">
            <a:spAutoFit/>
          </a:bodyPr>
          <a:lstStyle/>
          <a:p>
            <a:pPr algn="ctr">
              <a:buClr>
                <a:prstClr val="black"/>
              </a:buClr>
            </a:pPr>
            <a:r>
              <a:rPr lang="en-US" sz="1600">
                <a:solidFill>
                  <a:prstClr val="black"/>
                </a:solidFill>
                <a:latin typeface="Ubuntu"/>
              </a:rPr>
              <a:t>Emergence of many start-ups in the nuclear sector</a:t>
            </a:r>
            <a:endParaRPr lang="fr-FR" sz="1600">
              <a:solidFill>
                <a:prstClr val="black"/>
              </a:solidFill>
              <a:latin typeface="Ubuntu"/>
            </a:endParaRPr>
          </a:p>
        </p:txBody>
      </p:sp>
      <p:sp>
        <p:nvSpPr>
          <p:cNvPr id="60" name="ZoneTexte 59">
            <a:extLst>
              <a:ext uri="{FF2B5EF4-FFF2-40B4-BE49-F238E27FC236}">
                <a16:creationId xmlns:a16="http://schemas.microsoft.com/office/drawing/2014/main" id="{8D36CDDD-AB7F-43ED-B5F9-17DFA5A0D094}"/>
              </a:ext>
            </a:extLst>
          </p:cNvPr>
          <p:cNvSpPr txBox="1"/>
          <p:nvPr/>
        </p:nvSpPr>
        <p:spPr>
          <a:xfrm>
            <a:off x="3329922" y="5332302"/>
            <a:ext cx="1388798" cy="338554"/>
          </a:xfrm>
          <a:prstGeom prst="rect">
            <a:avLst/>
          </a:prstGeom>
          <a:solidFill>
            <a:srgbClr val="14596B"/>
          </a:solidFill>
        </p:spPr>
        <p:txBody>
          <a:bodyPr wrap="square">
            <a:spAutoFit/>
          </a:bodyPr>
          <a:lstStyle/>
          <a:p>
            <a:r>
              <a:rPr lang="en-US" sz="1600">
                <a:solidFill>
                  <a:schemeClr val="bg1"/>
                </a:solidFill>
                <a:latin typeface="Ubuntu"/>
              </a:rPr>
              <a:t>Loss of skills</a:t>
            </a:r>
          </a:p>
        </p:txBody>
      </p:sp>
      <p:sp>
        <p:nvSpPr>
          <p:cNvPr id="42" name="Ellipse 1">
            <a:extLst>
              <a:ext uri="{FF2B5EF4-FFF2-40B4-BE49-F238E27FC236}">
                <a16:creationId xmlns:a16="http://schemas.microsoft.com/office/drawing/2014/main" id="{9B3B7E01-F99D-4A6F-8889-7A50D5FFEA10}"/>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2" name="Groupe 1">
            <a:extLst>
              <a:ext uri="{FF2B5EF4-FFF2-40B4-BE49-F238E27FC236}">
                <a16:creationId xmlns:a16="http://schemas.microsoft.com/office/drawing/2014/main" id="{4403EA23-D8EB-4281-985E-D82F5C9E3DDD}"/>
              </a:ext>
            </a:extLst>
          </p:cNvPr>
          <p:cNvGrpSpPr/>
          <p:nvPr/>
        </p:nvGrpSpPr>
        <p:grpSpPr>
          <a:xfrm>
            <a:off x="8241615" y="3228448"/>
            <a:ext cx="3173658" cy="1938992"/>
            <a:chOff x="8447859" y="3662407"/>
            <a:chExt cx="3173658" cy="1938992"/>
          </a:xfrm>
        </p:grpSpPr>
        <p:sp>
          <p:nvSpPr>
            <p:cNvPr id="43" name="ZoneTexte 42">
              <a:extLst>
                <a:ext uri="{FF2B5EF4-FFF2-40B4-BE49-F238E27FC236}">
                  <a16:creationId xmlns:a16="http://schemas.microsoft.com/office/drawing/2014/main" id="{A59EA780-2BA6-41C5-AC04-53B8469346BF}"/>
                </a:ext>
              </a:extLst>
            </p:cNvPr>
            <p:cNvSpPr txBox="1"/>
            <p:nvPr/>
          </p:nvSpPr>
          <p:spPr>
            <a:xfrm>
              <a:off x="8596826" y="4623557"/>
              <a:ext cx="3024691"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Ubuntu"/>
                <a:ea typeface="+mn-ea"/>
                <a:cs typeface="+mn-cs"/>
              </a:endParaRPr>
            </a:p>
          </p:txBody>
        </p:sp>
        <p:sp>
          <p:nvSpPr>
            <p:cNvPr id="44" name="ZoneTexte 43">
              <a:extLst>
                <a:ext uri="{FF2B5EF4-FFF2-40B4-BE49-F238E27FC236}">
                  <a16:creationId xmlns:a16="http://schemas.microsoft.com/office/drawing/2014/main" id="{E1ACCCD6-338E-409D-B74B-3009F34FDE7F}"/>
                </a:ext>
              </a:extLst>
            </p:cNvPr>
            <p:cNvSpPr txBox="1"/>
            <p:nvPr/>
          </p:nvSpPr>
          <p:spPr>
            <a:xfrm>
              <a:off x="8447859" y="3662407"/>
              <a:ext cx="3173658" cy="193899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accent1"/>
                  </a:solidFill>
                  <a:latin typeface="Ubuntu"/>
                </a:rPr>
                <a:t>F</a:t>
              </a:r>
              <a:r>
                <a:rPr kumimoji="0" lang="en-US" sz="2000" i="0" u="none" strike="noStrike" kern="1200" cap="none" spc="0" normalizeH="0" baseline="0" noProof="0" dirty="0" err="1">
                  <a:ln>
                    <a:noFill/>
                  </a:ln>
                  <a:solidFill>
                    <a:schemeClr val="accent1"/>
                  </a:solidFill>
                  <a:effectLst/>
                  <a:uLnTx/>
                  <a:uFillTx/>
                  <a:latin typeface="Ubuntu"/>
                  <a:ea typeface="+mn-ea"/>
                  <a:cs typeface="+mn-cs"/>
                </a:rPr>
                <a:t>usion</a:t>
              </a:r>
              <a:r>
                <a:rPr kumimoji="0" lang="en-US" sz="2000" i="0" u="none" strike="noStrike" kern="1200" cap="none" spc="0" normalizeH="0" baseline="0" noProof="0" dirty="0">
                  <a:ln>
                    <a:noFill/>
                  </a:ln>
                  <a:solidFill>
                    <a:schemeClr val="accent1"/>
                  </a:solidFill>
                  <a:effectLst/>
                  <a:uLnTx/>
                  <a:uFillTx/>
                  <a:latin typeface="Ubuntu"/>
                  <a:ea typeface="+mn-ea"/>
                  <a:cs typeface="+mn-cs"/>
                </a:rPr>
                <a:t> by laser: Lawrence </a:t>
              </a:r>
              <a:r>
                <a:rPr kumimoji="0" lang="en-US" sz="2000" i="0" u="none" strike="noStrike" kern="1200" cap="none" spc="0" normalizeH="0" baseline="0" noProof="0" dirty="0" err="1">
                  <a:ln>
                    <a:noFill/>
                  </a:ln>
                  <a:solidFill>
                    <a:schemeClr val="accent1"/>
                  </a:solidFill>
                  <a:effectLst/>
                  <a:uLnTx/>
                  <a:uFillTx/>
                  <a:latin typeface="Ubuntu"/>
                  <a:ea typeface="+mn-ea"/>
                  <a:cs typeface="+mn-cs"/>
                </a:rPr>
                <a:t>Livermoore</a:t>
              </a:r>
              <a:r>
                <a:rPr kumimoji="0" lang="en-US" sz="2000" i="0" u="none" strike="noStrike" kern="1200" cap="none" spc="0" normalizeH="0" baseline="0" noProof="0" dirty="0">
                  <a:ln>
                    <a:noFill/>
                  </a:ln>
                  <a:solidFill>
                    <a:schemeClr val="accent1"/>
                  </a:solidFill>
                  <a:effectLst/>
                  <a:uLnTx/>
                  <a:uFillTx/>
                  <a:latin typeface="Ubuntu"/>
                  <a:ea typeface="+mn-ea"/>
                  <a:cs typeface="+mn-cs"/>
                </a:rPr>
                <a:t> Laboratory announced in December 2022, the first controlled fusion experiment to reach energy breakeven</a:t>
              </a:r>
              <a:r>
                <a:rPr kumimoji="0" lang="en-US" sz="2000" i="0" u="none" strike="noStrike" kern="1200" cap="none" spc="0" normalizeH="0" baseline="0" noProof="0" dirty="0">
                  <a:ln>
                    <a:noFill/>
                  </a:ln>
                  <a:solidFill>
                    <a:srgbClr val="0070AD">
                      <a:lumMod val="75000"/>
                    </a:srgbClr>
                  </a:solidFill>
                  <a:effectLst/>
                  <a:uLnTx/>
                  <a:uFillTx/>
                  <a:latin typeface="Ubuntu"/>
                  <a:ea typeface="+mn-ea"/>
                  <a:cs typeface="+mn-cs"/>
                </a:rPr>
                <a:t>.</a:t>
              </a:r>
            </a:p>
          </p:txBody>
        </p:sp>
      </p:grpSp>
    </p:spTree>
    <p:extLst>
      <p:ext uri="{BB962C8B-B14F-4D97-AF65-F5344CB8AC3E}">
        <p14:creationId xmlns:p14="http://schemas.microsoft.com/office/powerpoint/2010/main" val="34149968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a:xfrm>
            <a:off x="404813" y="388188"/>
            <a:ext cx="7874853" cy="716711"/>
          </a:xfrm>
        </p:spPr>
        <p:txBody>
          <a:bodyPr/>
          <a:lstStyle/>
          <a:p>
            <a:r>
              <a:rPr lang="en-US" sz="2500"/>
              <a:t>An increase in the demand for batteries requiring the development of </a:t>
            </a:r>
            <a:r>
              <a:rPr lang="en-GB" sz="2500" err="1"/>
              <a:t>gigafactories</a:t>
            </a:r>
            <a:endParaRPr lang="en-IN" sz="2500"/>
          </a:p>
        </p:txBody>
      </p:sp>
      <p:grpSp>
        <p:nvGrpSpPr>
          <p:cNvPr id="7" name="Groupe 6">
            <a:extLst>
              <a:ext uri="{FF2B5EF4-FFF2-40B4-BE49-F238E27FC236}">
                <a16:creationId xmlns:a16="http://schemas.microsoft.com/office/drawing/2014/main" id="{25649F2B-A470-49EF-B5AA-2BB972AB1C38}"/>
              </a:ext>
            </a:extLst>
          </p:cNvPr>
          <p:cNvGrpSpPr/>
          <p:nvPr/>
        </p:nvGrpSpPr>
        <p:grpSpPr>
          <a:xfrm>
            <a:off x="8628183" y="2239215"/>
            <a:ext cx="3121842" cy="1405422"/>
            <a:chOff x="8628183" y="2402677"/>
            <a:chExt cx="3121842" cy="1405422"/>
          </a:xfrm>
        </p:grpSpPr>
        <p:sp>
          <p:nvSpPr>
            <p:cNvPr id="19" name="ZoneTexte 18">
              <a:extLst>
                <a:ext uri="{FF2B5EF4-FFF2-40B4-BE49-F238E27FC236}">
                  <a16:creationId xmlns:a16="http://schemas.microsoft.com/office/drawing/2014/main" id="{FE050249-2485-4A8B-871B-774BC1AD853F}"/>
                </a:ext>
              </a:extLst>
            </p:cNvPr>
            <p:cNvSpPr txBox="1"/>
            <p:nvPr/>
          </p:nvSpPr>
          <p:spPr>
            <a:xfrm>
              <a:off x="8628183" y="2977102"/>
              <a:ext cx="3121842" cy="830997"/>
            </a:xfrm>
            <a:prstGeom prst="rect">
              <a:avLst/>
            </a:prstGeom>
            <a:noFill/>
          </p:spPr>
          <p:txBody>
            <a:bodyPr wrap="square">
              <a:spAutoFit/>
            </a:bodyPr>
            <a:lstStyle/>
            <a:p>
              <a:pPr algn="ctr"/>
              <a:r>
                <a:rPr lang="en-US" sz="1600" err="1">
                  <a:solidFill>
                    <a:schemeClr val="bg1"/>
                  </a:solidFill>
                  <a:effectLst/>
                  <a:ea typeface="Calibri" panose="020F0502020204030204" pitchFamily="34" charset="0"/>
                </a:rPr>
                <a:t>Gigafactories</a:t>
              </a:r>
              <a:r>
                <a:rPr lang="en-US" sz="1600">
                  <a:solidFill>
                    <a:schemeClr val="bg1"/>
                  </a:solidFill>
                  <a:effectLst/>
                  <a:ea typeface="Calibri" panose="020F0502020204030204" pitchFamily="34" charset="0"/>
                </a:rPr>
                <a:t> around the world (both operational and ongoing projects)</a:t>
              </a:r>
              <a:endParaRPr lang="en-US" sz="1600">
                <a:solidFill>
                  <a:schemeClr val="bg1"/>
                </a:solidFill>
              </a:endParaRPr>
            </a:p>
          </p:txBody>
        </p:sp>
        <p:sp>
          <p:nvSpPr>
            <p:cNvPr id="20" name="ZoneTexte 19">
              <a:extLst>
                <a:ext uri="{FF2B5EF4-FFF2-40B4-BE49-F238E27FC236}">
                  <a16:creationId xmlns:a16="http://schemas.microsoft.com/office/drawing/2014/main" id="{FD4284C8-063E-4D6F-9CFB-990E55462DF0}"/>
                </a:ext>
              </a:extLst>
            </p:cNvPr>
            <p:cNvSpPr txBox="1"/>
            <p:nvPr/>
          </p:nvSpPr>
          <p:spPr>
            <a:xfrm>
              <a:off x="9148240" y="2402677"/>
              <a:ext cx="2081728" cy="584775"/>
            </a:xfrm>
            <a:prstGeom prst="rect">
              <a:avLst/>
            </a:prstGeom>
            <a:noFill/>
          </p:spPr>
          <p:txBody>
            <a:bodyPr wrap="square">
              <a:spAutoFit/>
            </a:bodyPr>
            <a:lstStyle/>
            <a:p>
              <a:pPr algn="ctr"/>
              <a:r>
                <a:rPr lang="en-US" sz="3200" b="1" dirty="0">
                  <a:solidFill>
                    <a:schemeClr val="bg1"/>
                  </a:solidFill>
                  <a:latin typeface="Ubuntu"/>
                </a:rPr>
                <a:t>112</a:t>
              </a:r>
              <a:endParaRPr lang="en-US" sz="2400" dirty="0">
                <a:solidFill>
                  <a:schemeClr val="bg1"/>
                </a:solidFill>
              </a:endParaRPr>
            </a:p>
          </p:txBody>
        </p:sp>
        <p:cxnSp>
          <p:nvCxnSpPr>
            <p:cNvPr id="22" name="Connecteur droit 21">
              <a:extLst>
                <a:ext uri="{FF2B5EF4-FFF2-40B4-BE49-F238E27FC236}">
                  <a16:creationId xmlns:a16="http://schemas.microsoft.com/office/drawing/2014/main" id="{A5391BF1-F92C-46AA-AAA5-AF3A3BAB985A}"/>
                </a:ext>
              </a:extLst>
            </p:cNvPr>
            <p:cNvCxnSpPr>
              <a:cxnSpLocks/>
            </p:cNvCxnSpPr>
            <p:nvPr/>
          </p:nvCxnSpPr>
          <p:spPr>
            <a:xfrm>
              <a:off x="9907187" y="2979688"/>
              <a:ext cx="5638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3" name="Text Placeholder 8">
            <a:extLst>
              <a:ext uri="{FF2B5EF4-FFF2-40B4-BE49-F238E27FC236}">
                <a16:creationId xmlns:a16="http://schemas.microsoft.com/office/drawing/2014/main" id="{03B79DC1-16FA-4389-827D-31D03B9575B6}"/>
              </a:ext>
            </a:extLst>
          </p:cNvPr>
          <p:cNvSpPr txBox="1">
            <a:spLocks/>
          </p:cNvSpPr>
          <p:nvPr/>
        </p:nvSpPr>
        <p:spPr>
          <a:xfrm>
            <a:off x="8458728" y="923540"/>
            <a:ext cx="3328459" cy="1346522"/>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lang="en-US" sz="1600" b="1" dirty="0">
                <a:solidFill>
                  <a:srgbClr val="FFFFFF"/>
                </a:solidFill>
                <a:latin typeface="Ubuntu Light" panose="020B0304030602030204" pitchFamily="34" charset="0"/>
              </a:rPr>
              <a:t>A very strong increase in the demand for batteries, especially for electric vehicles</a:t>
            </a:r>
          </a:p>
          <a:p>
            <a:pPr marL="285750" marR="0" lvl="0" indent="-28575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lang="en-US" sz="1600" b="1" dirty="0">
                <a:solidFill>
                  <a:srgbClr val="FFFFFF"/>
                </a:solidFill>
                <a:latin typeface="Ubuntu Light" panose="020B0304030602030204" pitchFamily="34" charset="0"/>
              </a:rPr>
              <a:t>Li-ion is the dominant technology and will stay for eV batteries</a:t>
            </a:r>
          </a:p>
        </p:txBody>
      </p:sp>
      <p:grpSp>
        <p:nvGrpSpPr>
          <p:cNvPr id="5" name="Groupe 4">
            <a:extLst>
              <a:ext uri="{FF2B5EF4-FFF2-40B4-BE49-F238E27FC236}">
                <a16:creationId xmlns:a16="http://schemas.microsoft.com/office/drawing/2014/main" id="{D1BC6433-0499-43AE-B1BC-291ABE3E1D16}"/>
              </a:ext>
            </a:extLst>
          </p:cNvPr>
          <p:cNvGrpSpPr/>
          <p:nvPr/>
        </p:nvGrpSpPr>
        <p:grpSpPr>
          <a:xfrm>
            <a:off x="8641965" y="4144960"/>
            <a:ext cx="3094278" cy="1908214"/>
            <a:chOff x="8628183" y="4144960"/>
            <a:chExt cx="3094278" cy="1908214"/>
          </a:xfrm>
        </p:grpSpPr>
        <p:sp>
          <p:nvSpPr>
            <p:cNvPr id="25" name="ZoneTexte 24">
              <a:extLst>
                <a:ext uri="{FF2B5EF4-FFF2-40B4-BE49-F238E27FC236}">
                  <a16:creationId xmlns:a16="http://schemas.microsoft.com/office/drawing/2014/main" id="{817116C1-D9BE-442B-B1E2-F6B866CC72EF}"/>
                </a:ext>
              </a:extLst>
            </p:cNvPr>
            <p:cNvSpPr txBox="1"/>
            <p:nvPr/>
          </p:nvSpPr>
          <p:spPr>
            <a:xfrm>
              <a:off x="8628183" y="4729735"/>
              <a:ext cx="3094278" cy="1323439"/>
            </a:xfrm>
            <a:prstGeom prst="rect">
              <a:avLst/>
            </a:prstGeom>
            <a:noFill/>
          </p:spPr>
          <p:txBody>
            <a:bodyPr wrap="square">
              <a:spAutoFit/>
            </a:bodyPr>
            <a:lstStyle/>
            <a:p>
              <a:pPr algn="ctr"/>
              <a:r>
                <a:rPr lang="en-US" sz="1600" dirty="0">
                  <a:solidFill>
                    <a:schemeClr val="bg1"/>
                  </a:solidFill>
                  <a:ea typeface="Calibri" panose="020F0502020204030204" pitchFamily="34" charset="0"/>
                </a:rPr>
                <a:t>Of </a:t>
              </a:r>
              <a:r>
                <a:rPr lang="en-US" sz="1600" dirty="0" err="1">
                  <a:solidFill>
                    <a:schemeClr val="bg1"/>
                  </a:solidFill>
                  <a:ea typeface="Calibri" panose="020F0502020204030204" pitchFamily="34" charset="0"/>
                </a:rPr>
                <a:t>gigafactories</a:t>
              </a:r>
              <a:r>
                <a:rPr lang="en-US" sz="1600" dirty="0">
                  <a:solidFill>
                    <a:schemeClr val="bg1"/>
                  </a:solidFill>
                  <a:ea typeface="Calibri" panose="020F0502020204030204" pitchFamily="34" charset="0"/>
                </a:rPr>
                <a:t> are in China (40 </a:t>
              </a:r>
              <a:r>
                <a:rPr lang="en-US" sz="1600" dirty="0" err="1">
                  <a:solidFill>
                    <a:schemeClr val="bg1"/>
                  </a:solidFill>
                  <a:ea typeface="Calibri" panose="020F0502020204030204" pitchFamily="34" charset="0"/>
                </a:rPr>
                <a:t>gigafactories</a:t>
              </a:r>
              <a:r>
                <a:rPr lang="en-US" sz="1600" dirty="0">
                  <a:solidFill>
                    <a:schemeClr val="bg1"/>
                  </a:solidFill>
                  <a:ea typeface="Calibri" panose="020F0502020204030204" pitchFamily="34" charset="0"/>
                </a:rPr>
                <a:t>)</a:t>
              </a:r>
            </a:p>
            <a:p>
              <a:pPr algn="ctr"/>
              <a:r>
                <a:rPr lang="en-US" sz="1600" dirty="0">
                  <a:solidFill>
                    <a:schemeClr val="bg1"/>
                  </a:solidFill>
                </a:rPr>
                <a:t>Europe wants to regain sovereignty with the  European Battery Alliance</a:t>
              </a:r>
            </a:p>
          </p:txBody>
        </p:sp>
        <p:sp>
          <p:nvSpPr>
            <p:cNvPr id="27" name="ZoneTexte 26">
              <a:extLst>
                <a:ext uri="{FF2B5EF4-FFF2-40B4-BE49-F238E27FC236}">
                  <a16:creationId xmlns:a16="http://schemas.microsoft.com/office/drawing/2014/main" id="{2C922A18-FCB5-49C8-935F-E365CB7D3519}"/>
                </a:ext>
              </a:extLst>
            </p:cNvPr>
            <p:cNvSpPr txBox="1"/>
            <p:nvPr/>
          </p:nvSpPr>
          <p:spPr>
            <a:xfrm>
              <a:off x="9134458" y="4144960"/>
              <a:ext cx="2081728" cy="584775"/>
            </a:xfrm>
            <a:prstGeom prst="rect">
              <a:avLst/>
            </a:prstGeom>
            <a:noFill/>
          </p:spPr>
          <p:txBody>
            <a:bodyPr wrap="square">
              <a:spAutoFit/>
            </a:bodyPr>
            <a:lstStyle/>
            <a:p>
              <a:pPr algn="ctr"/>
              <a:r>
                <a:rPr lang="en-US" sz="3200" b="1">
                  <a:solidFill>
                    <a:schemeClr val="bg1"/>
                  </a:solidFill>
                  <a:latin typeface="Ubuntu"/>
                </a:rPr>
                <a:t>35%</a:t>
              </a:r>
              <a:endParaRPr lang="en-US" sz="2400">
                <a:solidFill>
                  <a:schemeClr val="bg1"/>
                </a:solidFill>
              </a:endParaRPr>
            </a:p>
          </p:txBody>
        </p:sp>
        <p:cxnSp>
          <p:nvCxnSpPr>
            <p:cNvPr id="28" name="Connecteur droit 27">
              <a:extLst>
                <a:ext uri="{FF2B5EF4-FFF2-40B4-BE49-F238E27FC236}">
                  <a16:creationId xmlns:a16="http://schemas.microsoft.com/office/drawing/2014/main" id="{EEE6437D-0B7C-4A09-992A-A23BF1B22580}"/>
                </a:ext>
              </a:extLst>
            </p:cNvPr>
            <p:cNvCxnSpPr>
              <a:cxnSpLocks/>
            </p:cNvCxnSpPr>
            <p:nvPr/>
          </p:nvCxnSpPr>
          <p:spPr>
            <a:xfrm>
              <a:off x="9893405" y="4721971"/>
              <a:ext cx="56383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6" name="TextBox 8">
            <a:extLst>
              <a:ext uri="{FF2B5EF4-FFF2-40B4-BE49-F238E27FC236}">
                <a16:creationId xmlns:a16="http://schemas.microsoft.com/office/drawing/2014/main" id="{978AC488-BADE-4ECB-89DF-3FEB5118160D}"/>
              </a:ext>
            </a:extLst>
          </p:cNvPr>
          <p:cNvSpPr txBox="1"/>
          <p:nvPr/>
        </p:nvSpPr>
        <p:spPr>
          <a:xfrm>
            <a:off x="400102" y="6231471"/>
            <a:ext cx="7632848"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Source: World map of </a:t>
            </a:r>
            <a:r>
              <a:rPr kumimoji="0" lang="en-US" sz="900" b="0" i="0" u="none" strike="noStrike" kern="1200" cap="none" spc="0" normalizeH="0" baseline="0" err="1">
                <a:ln>
                  <a:noFill/>
                </a:ln>
                <a:solidFill>
                  <a:schemeClr val="bg2">
                    <a:lumMod val="50000"/>
                  </a:schemeClr>
                </a:solidFill>
                <a:effectLst/>
                <a:uLnTx/>
                <a:uFillTx/>
                <a:latin typeface="Verdana"/>
                <a:ea typeface="+mn-ea"/>
                <a:cs typeface="+mn-cs"/>
              </a:rPr>
              <a:t>gigafactories</a:t>
            </a: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 CIC </a:t>
            </a:r>
            <a:r>
              <a:rPr kumimoji="0" lang="en-US" sz="900" b="0" i="0" u="none" strike="noStrike" kern="1200" cap="none" spc="0" normalizeH="0" baseline="0" err="1">
                <a:ln>
                  <a:noFill/>
                </a:ln>
                <a:solidFill>
                  <a:schemeClr val="bg2">
                    <a:lumMod val="50000"/>
                  </a:schemeClr>
                </a:solidFill>
                <a:effectLst/>
                <a:uLnTx/>
                <a:uFillTx/>
                <a:latin typeface="Verdana"/>
                <a:ea typeface="+mn-ea"/>
                <a:cs typeface="+mn-cs"/>
              </a:rPr>
              <a:t>energiGune</a:t>
            </a:r>
            <a:endParaRPr kumimoji="0" lang="en-US" sz="900" b="0" i="0" u="none" strike="noStrike" kern="1200" cap="none" spc="0" normalizeH="0" baseline="0">
              <a:ln>
                <a:noFill/>
              </a:ln>
              <a:solidFill>
                <a:schemeClr val="bg2">
                  <a:lumMod val="50000"/>
                </a:schemeClr>
              </a:solidFill>
              <a:effectLst/>
              <a:uLnTx/>
              <a:uFillTx/>
              <a:latin typeface="Verdana"/>
              <a:ea typeface="+mn-ea"/>
              <a:cs typeface="+mn-cs"/>
            </a:endParaRPr>
          </a:p>
        </p:txBody>
      </p:sp>
      <p:sp>
        <p:nvSpPr>
          <p:cNvPr id="17" name="Ellipse 16">
            <a:extLst>
              <a:ext uri="{FF2B5EF4-FFF2-40B4-BE49-F238E27FC236}">
                <a16:creationId xmlns:a16="http://schemas.microsoft.com/office/drawing/2014/main" id="{72319DD9-2CB8-4D42-B86C-B41E82B3592A}"/>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4" name="Groupe 3">
            <a:extLst>
              <a:ext uri="{FF2B5EF4-FFF2-40B4-BE49-F238E27FC236}">
                <a16:creationId xmlns:a16="http://schemas.microsoft.com/office/drawing/2014/main" id="{F09BA9F6-5CC8-41F1-AD58-2027878C90D5}"/>
              </a:ext>
            </a:extLst>
          </p:cNvPr>
          <p:cNvGrpSpPr/>
          <p:nvPr/>
        </p:nvGrpSpPr>
        <p:grpSpPr>
          <a:xfrm>
            <a:off x="220859" y="1756318"/>
            <a:ext cx="7956152" cy="4103561"/>
            <a:chOff x="220859" y="1756318"/>
            <a:chExt cx="7956152" cy="4103561"/>
          </a:xfrm>
        </p:grpSpPr>
        <p:pic>
          <p:nvPicPr>
            <p:cNvPr id="70" name="Picture 4">
              <a:extLst>
                <a:ext uri="{FF2B5EF4-FFF2-40B4-BE49-F238E27FC236}">
                  <a16:creationId xmlns:a16="http://schemas.microsoft.com/office/drawing/2014/main" id="{09783B90-E6AE-4825-83ED-8277975EB742}"/>
                </a:ext>
              </a:extLst>
            </p:cNvPr>
            <p:cNvPicPr>
              <a:picLocks noChangeAspect="1"/>
            </p:cNvPicPr>
            <p:nvPr/>
          </p:nvPicPr>
          <p:blipFill rotWithShape="1">
            <a:blip r:embed="rId3">
              <a:extLst>
                <a:ext uri="{28A0092B-C50C-407E-A947-70E740481C1C}">
                  <a14:useLocalDpi xmlns:a14="http://schemas.microsoft.com/office/drawing/2010/main" val="0"/>
                </a:ext>
              </a:extLst>
            </a:blip>
            <a:srcRect l="12088" t="19570" r="11483" b="10525"/>
            <a:stretch/>
          </p:blipFill>
          <p:spPr>
            <a:xfrm>
              <a:off x="220859" y="1756318"/>
              <a:ext cx="7956152" cy="4103561"/>
            </a:xfrm>
            <a:prstGeom prst="rect">
              <a:avLst/>
            </a:prstGeom>
          </p:spPr>
        </p:pic>
        <p:sp>
          <p:nvSpPr>
            <p:cNvPr id="2" name="ZoneTexte 1">
              <a:extLst>
                <a:ext uri="{FF2B5EF4-FFF2-40B4-BE49-F238E27FC236}">
                  <a16:creationId xmlns:a16="http://schemas.microsoft.com/office/drawing/2014/main" id="{059CC1A4-DCCB-48E3-8625-444FE3EB2C18}"/>
                </a:ext>
              </a:extLst>
            </p:cNvPr>
            <p:cNvSpPr txBox="1"/>
            <p:nvPr/>
          </p:nvSpPr>
          <p:spPr>
            <a:xfrm>
              <a:off x="258285" y="2610110"/>
              <a:ext cx="344966" cy="261610"/>
            </a:xfrm>
            <a:prstGeom prst="rect">
              <a:avLst/>
            </a:prstGeom>
            <a:solidFill>
              <a:schemeClr val="bg1"/>
            </a:solidFill>
          </p:spPr>
          <p:txBody>
            <a:bodyPr wrap="none" rtlCol="0">
              <a:spAutoFit/>
            </a:bodyPr>
            <a:lstStyle/>
            <a:p>
              <a:r>
                <a:rPr lang="fr-FR" sz="1100" b="1"/>
                <a:t>55</a:t>
              </a:r>
            </a:p>
          </p:txBody>
        </p:sp>
      </p:grpSp>
    </p:spTree>
    <p:extLst>
      <p:ext uri="{BB962C8B-B14F-4D97-AF65-F5344CB8AC3E}">
        <p14:creationId xmlns:p14="http://schemas.microsoft.com/office/powerpoint/2010/main" val="672186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Ellipse 66">
            <a:extLst>
              <a:ext uri="{FF2B5EF4-FFF2-40B4-BE49-F238E27FC236}">
                <a16:creationId xmlns:a16="http://schemas.microsoft.com/office/drawing/2014/main" id="{3111BB90-52E7-70EC-5871-1D8689C22B89}"/>
              </a:ext>
            </a:extLst>
          </p:cNvPr>
          <p:cNvSpPr/>
          <p:nvPr/>
        </p:nvSpPr>
        <p:spPr>
          <a:xfrm>
            <a:off x="412807" y="5046197"/>
            <a:ext cx="583965" cy="583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solidFill>
                <a:schemeClr val="accent4"/>
              </a:solidFill>
            </a:endParaRPr>
          </a:p>
        </p:txBody>
      </p:sp>
      <p:sp>
        <p:nvSpPr>
          <p:cNvPr id="48" name="Ellipse 100">
            <a:extLst>
              <a:ext uri="{FF2B5EF4-FFF2-40B4-BE49-F238E27FC236}">
                <a16:creationId xmlns:a16="http://schemas.microsoft.com/office/drawing/2014/main" id="{07F2985F-BE7C-0425-B81C-E47F6FF8CB22}"/>
              </a:ext>
            </a:extLst>
          </p:cNvPr>
          <p:cNvSpPr/>
          <p:nvPr/>
        </p:nvSpPr>
        <p:spPr>
          <a:xfrm>
            <a:off x="412808" y="5870172"/>
            <a:ext cx="583965" cy="583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solidFill>
                <a:schemeClr val="accent4"/>
              </a:solidFill>
            </a:endParaRPr>
          </a:p>
        </p:txBody>
      </p:sp>
      <p:sp>
        <p:nvSpPr>
          <p:cNvPr id="71" name="Ellipse 108">
            <a:extLst>
              <a:ext uri="{FF2B5EF4-FFF2-40B4-BE49-F238E27FC236}">
                <a16:creationId xmlns:a16="http://schemas.microsoft.com/office/drawing/2014/main" id="{69726FF2-F578-D739-1D6A-26509E219F52}"/>
              </a:ext>
            </a:extLst>
          </p:cNvPr>
          <p:cNvSpPr/>
          <p:nvPr/>
        </p:nvSpPr>
        <p:spPr>
          <a:xfrm>
            <a:off x="4889895" y="5020199"/>
            <a:ext cx="583965" cy="583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solidFill>
                <a:schemeClr val="accent4"/>
              </a:solidFill>
            </a:endParaRPr>
          </a:p>
        </p:txBody>
      </p:sp>
      <p:sp>
        <p:nvSpPr>
          <p:cNvPr id="76" name="Ellipse 112">
            <a:extLst>
              <a:ext uri="{FF2B5EF4-FFF2-40B4-BE49-F238E27FC236}">
                <a16:creationId xmlns:a16="http://schemas.microsoft.com/office/drawing/2014/main" id="{7C022503-F9C7-2752-595B-2FC37FFD22DB}"/>
              </a:ext>
            </a:extLst>
          </p:cNvPr>
          <p:cNvSpPr/>
          <p:nvPr/>
        </p:nvSpPr>
        <p:spPr>
          <a:xfrm>
            <a:off x="4936289" y="5881369"/>
            <a:ext cx="583964" cy="583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solidFill>
                <a:schemeClr val="accent4"/>
              </a:solidFill>
            </a:endParaRPr>
          </a:p>
        </p:txBody>
      </p:sp>
      <p:sp>
        <p:nvSpPr>
          <p:cNvPr id="85" name="Ellipse 119">
            <a:extLst>
              <a:ext uri="{FF2B5EF4-FFF2-40B4-BE49-F238E27FC236}">
                <a16:creationId xmlns:a16="http://schemas.microsoft.com/office/drawing/2014/main" id="{40662BB8-0B44-D644-7A3A-A9E54B0E83D7}"/>
              </a:ext>
            </a:extLst>
          </p:cNvPr>
          <p:cNvSpPr/>
          <p:nvPr/>
        </p:nvSpPr>
        <p:spPr>
          <a:xfrm>
            <a:off x="8770792" y="5046197"/>
            <a:ext cx="583965" cy="583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solidFill>
                <a:schemeClr val="accent4"/>
              </a:solidFill>
            </a:endParaRPr>
          </a:p>
        </p:txBody>
      </p:sp>
      <p:sp>
        <p:nvSpPr>
          <p:cNvPr id="92" name="Ellipse 102">
            <a:extLst>
              <a:ext uri="{FF2B5EF4-FFF2-40B4-BE49-F238E27FC236}">
                <a16:creationId xmlns:a16="http://schemas.microsoft.com/office/drawing/2014/main" id="{36AA881D-4968-B61C-820A-2121CF1BC927}"/>
              </a:ext>
            </a:extLst>
          </p:cNvPr>
          <p:cNvSpPr/>
          <p:nvPr/>
        </p:nvSpPr>
        <p:spPr>
          <a:xfrm>
            <a:off x="8770792" y="5881369"/>
            <a:ext cx="583964" cy="583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solidFill>
                <a:schemeClr val="accent4"/>
              </a:solidFill>
            </a:endParaRPr>
          </a:p>
        </p:txBody>
      </p:sp>
      <p:sp>
        <p:nvSpPr>
          <p:cNvPr id="7" name="Title 6">
            <a:extLst>
              <a:ext uri="{FF2B5EF4-FFF2-40B4-BE49-F238E27FC236}">
                <a16:creationId xmlns:a16="http://schemas.microsoft.com/office/drawing/2014/main" id="{41E39988-2440-4017-8659-F3E991CC1B8E}"/>
              </a:ext>
            </a:extLst>
          </p:cNvPr>
          <p:cNvSpPr>
            <a:spLocks noGrp="1"/>
          </p:cNvSpPr>
          <p:nvPr>
            <p:ph type="title"/>
          </p:nvPr>
        </p:nvSpPr>
        <p:spPr/>
        <p:txBody>
          <a:bodyPr/>
          <a:lstStyle/>
          <a:p>
            <a:r>
              <a:rPr lang="en-US" sz="2400"/>
              <a:t>Li-ion batteries dominate the market, but new batteries with lower critical metal requirements are being developed </a:t>
            </a:r>
            <a:endParaRPr lang="en-US"/>
          </a:p>
        </p:txBody>
      </p:sp>
      <p:sp>
        <p:nvSpPr>
          <p:cNvPr id="11" name="ZoneTexte 87">
            <a:extLst>
              <a:ext uri="{FF2B5EF4-FFF2-40B4-BE49-F238E27FC236}">
                <a16:creationId xmlns:a16="http://schemas.microsoft.com/office/drawing/2014/main" id="{3CB54DE0-2552-03D0-6137-9EF60A2F8083}"/>
              </a:ext>
            </a:extLst>
          </p:cNvPr>
          <p:cNvSpPr txBox="1"/>
          <p:nvPr/>
        </p:nvSpPr>
        <p:spPr>
          <a:xfrm>
            <a:off x="3527925" y="1368201"/>
            <a:ext cx="5053511" cy="549537"/>
          </a:xfrm>
          <a:prstGeom prst="rect">
            <a:avLst/>
          </a:prstGeom>
          <a:solidFill>
            <a:srgbClr val="00BFBF"/>
          </a:solidFill>
          <a:ln>
            <a:solidFill>
              <a:schemeClr val="tx1"/>
            </a:solidFill>
            <a:prstDash val="dash"/>
          </a:ln>
        </p:spPr>
        <p:txBody>
          <a:bodyPr wrap="square" rtlCol="0" anchor="ctr" anchorCtr="0">
            <a:noAutofit/>
          </a:bodyPr>
          <a:lstStyle>
            <a:defPPr>
              <a:defRPr lang="pt-PT"/>
            </a:defPPr>
            <a:lvl1pPr marR="0" lvl="0" indent="0" algn="ctr" fontAlgn="auto">
              <a:lnSpc>
                <a:spcPct val="100000"/>
              </a:lnSpc>
              <a:spcBef>
                <a:spcPts val="0"/>
              </a:spcBef>
              <a:spcAft>
                <a:spcPts val="0"/>
              </a:spcAft>
              <a:buClrTx/>
              <a:buSzTx/>
              <a:buFontTx/>
              <a:buNone/>
              <a:tabLst/>
              <a:defRPr kumimoji="0" sz="1600" b="0" i="0" u="none" strike="noStrike" cap="none" spc="0" normalizeH="0" baseline="0">
                <a:ln>
                  <a:noFill/>
                </a:ln>
                <a:solidFill>
                  <a:prstClr val="black"/>
                </a:solidFill>
                <a:effectLst/>
                <a:uLnTx/>
                <a:uFillTx/>
                <a:latin typeface="+mj-lt"/>
              </a:defRPr>
            </a:lvl1pPr>
          </a:lstStyle>
          <a:p>
            <a:r>
              <a:rPr lang="en-US" sz="1800">
                <a:solidFill>
                  <a:schemeClr val="bg1"/>
                </a:solidFill>
              </a:rPr>
              <a:t>Li-ion batteries for mobility</a:t>
            </a:r>
          </a:p>
        </p:txBody>
      </p:sp>
      <p:sp>
        <p:nvSpPr>
          <p:cNvPr id="31" name="ZoneTexte 54">
            <a:extLst>
              <a:ext uri="{FF2B5EF4-FFF2-40B4-BE49-F238E27FC236}">
                <a16:creationId xmlns:a16="http://schemas.microsoft.com/office/drawing/2014/main" id="{DE1529D1-AFA0-7DA0-9A03-513874302FD6}"/>
              </a:ext>
            </a:extLst>
          </p:cNvPr>
          <p:cNvSpPr txBox="1"/>
          <p:nvPr/>
        </p:nvSpPr>
        <p:spPr>
          <a:xfrm>
            <a:off x="3527925" y="1940800"/>
            <a:ext cx="5476531" cy="338554"/>
          </a:xfrm>
          <a:prstGeom prst="rect">
            <a:avLst/>
          </a:prstGeom>
          <a:noFill/>
        </p:spPr>
        <p:txBody>
          <a:bodyPr wrap="square">
            <a:spAutoFit/>
          </a:bodyPr>
          <a:lstStyle/>
          <a:p>
            <a:pPr algn="just"/>
            <a:r>
              <a:rPr lang="en-US" sz="1600">
                <a:solidFill>
                  <a:srgbClr val="000000"/>
                </a:solidFill>
                <a:effectLst/>
              </a:rPr>
              <a:t>Larger plants and optimizing production methods:</a:t>
            </a:r>
          </a:p>
        </p:txBody>
      </p:sp>
      <p:grpSp>
        <p:nvGrpSpPr>
          <p:cNvPr id="8" name="Groupe 7">
            <a:extLst>
              <a:ext uri="{FF2B5EF4-FFF2-40B4-BE49-F238E27FC236}">
                <a16:creationId xmlns:a16="http://schemas.microsoft.com/office/drawing/2014/main" id="{C77647FB-3975-4A51-B51E-F55F7E8544F3}"/>
              </a:ext>
            </a:extLst>
          </p:cNvPr>
          <p:cNvGrpSpPr/>
          <p:nvPr/>
        </p:nvGrpSpPr>
        <p:grpSpPr>
          <a:xfrm>
            <a:off x="3511294" y="2329367"/>
            <a:ext cx="2075216" cy="583965"/>
            <a:chOff x="3511294" y="2219197"/>
            <a:chExt cx="2075216" cy="583965"/>
          </a:xfrm>
        </p:grpSpPr>
        <p:sp>
          <p:nvSpPr>
            <p:cNvPr id="26" name="Ellipse 1">
              <a:extLst>
                <a:ext uri="{FF2B5EF4-FFF2-40B4-BE49-F238E27FC236}">
                  <a16:creationId xmlns:a16="http://schemas.microsoft.com/office/drawing/2014/main" id="{59C20CE4-F236-76FB-ADA3-041817B1CFC3}"/>
                </a:ext>
              </a:extLst>
            </p:cNvPr>
            <p:cNvSpPr/>
            <p:nvPr/>
          </p:nvSpPr>
          <p:spPr>
            <a:xfrm>
              <a:off x="3511294" y="2219197"/>
              <a:ext cx="583964" cy="583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25" name="Groupe 37">
              <a:extLst>
                <a:ext uri="{FF2B5EF4-FFF2-40B4-BE49-F238E27FC236}">
                  <a16:creationId xmlns:a16="http://schemas.microsoft.com/office/drawing/2014/main" id="{50F9E94B-7BE0-E8C7-EFB2-9388775A0503}"/>
                </a:ext>
              </a:extLst>
            </p:cNvPr>
            <p:cNvGrpSpPr/>
            <p:nvPr/>
          </p:nvGrpSpPr>
          <p:grpSpPr>
            <a:xfrm>
              <a:off x="3680545" y="2297769"/>
              <a:ext cx="255053" cy="397236"/>
              <a:chOff x="-1154082" y="1981362"/>
              <a:chExt cx="172287" cy="268329"/>
            </a:xfrm>
            <a:solidFill>
              <a:schemeClr val="bg1"/>
            </a:solidFill>
          </p:grpSpPr>
          <p:sp>
            <p:nvSpPr>
              <p:cNvPr id="27" name="Freeform 126">
                <a:extLst>
                  <a:ext uri="{FF2B5EF4-FFF2-40B4-BE49-F238E27FC236}">
                    <a16:creationId xmlns:a16="http://schemas.microsoft.com/office/drawing/2014/main" id="{CB9CDA36-0268-452E-DFCA-2A85BF5ADA50}"/>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sp>
            <p:nvSpPr>
              <p:cNvPr id="28" name="Freeform 128">
                <a:extLst>
                  <a:ext uri="{FF2B5EF4-FFF2-40B4-BE49-F238E27FC236}">
                    <a16:creationId xmlns:a16="http://schemas.microsoft.com/office/drawing/2014/main" id="{626B13F2-1E5C-E600-7E69-AC5F6742C4EE}"/>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sp>
            <p:nvSpPr>
              <p:cNvPr id="29" name="Freeform 129">
                <a:extLst>
                  <a:ext uri="{FF2B5EF4-FFF2-40B4-BE49-F238E27FC236}">
                    <a16:creationId xmlns:a16="http://schemas.microsoft.com/office/drawing/2014/main" id="{652AD1F8-C37D-E5DF-B85A-B13E5FE54F26}"/>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sp>
            <p:nvSpPr>
              <p:cNvPr id="30" name="Freeform 130">
                <a:extLst>
                  <a:ext uri="{FF2B5EF4-FFF2-40B4-BE49-F238E27FC236}">
                    <a16:creationId xmlns:a16="http://schemas.microsoft.com/office/drawing/2014/main" id="{ACA61167-D91B-1BCF-C1CB-60D7DB44B7EF}"/>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grpSp>
        <p:sp>
          <p:nvSpPr>
            <p:cNvPr id="24" name="ZoneTexte 5">
              <a:extLst>
                <a:ext uri="{FF2B5EF4-FFF2-40B4-BE49-F238E27FC236}">
                  <a16:creationId xmlns:a16="http://schemas.microsoft.com/office/drawing/2014/main" id="{DFC12B1F-5468-EC37-94B6-320DD5E06338}"/>
                </a:ext>
              </a:extLst>
            </p:cNvPr>
            <p:cNvSpPr txBox="1"/>
            <p:nvPr/>
          </p:nvSpPr>
          <p:spPr>
            <a:xfrm>
              <a:off x="4095268" y="2326513"/>
              <a:ext cx="1491242" cy="338554"/>
            </a:xfrm>
            <a:prstGeom prst="rect">
              <a:avLst/>
            </a:prstGeom>
            <a:noFill/>
          </p:spPr>
          <p:txBody>
            <a:bodyPr wrap="none" rtlCol="0">
              <a:spAutoFit/>
            </a:bodyPr>
            <a:lstStyle/>
            <a:p>
              <a:r>
                <a:rPr lang="en-US" sz="1600"/>
                <a:t>Cost decrease</a:t>
              </a:r>
            </a:p>
          </p:txBody>
        </p:sp>
      </p:grpSp>
      <p:grpSp>
        <p:nvGrpSpPr>
          <p:cNvPr id="5" name="Groupe 4">
            <a:extLst>
              <a:ext uri="{FF2B5EF4-FFF2-40B4-BE49-F238E27FC236}">
                <a16:creationId xmlns:a16="http://schemas.microsoft.com/office/drawing/2014/main" id="{EF435820-55AC-4307-951C-98128BDAADB3}"/>
              </a:ext>
            </a:extLst>
          </p:cNvPr>
          <p:cNvGrpSpPr/>
          <p:nvPr/>
        </p:nvGrpSpPr>
        <p:grpSpPr>
          <a:xfrm>
            <a:off x="6458095" y="2299053"/>
            <a:ext cx="2332641" cy="615145"/>
            <a:chOff x="6458095" y="2188883"/>
            <a:chExt cx="2332641" cy="615145"/>
          </a:xfrm>
        </p:grpSpPr>
        <p:grpSp>
          <p:nvGrpSpPr>
            <p:cNvPr id="4" name="Groupe 3">
              <a:extLst>
                <a:ext uri="{FF2B5EF4-FFF2-40B4-BE49-F238E27FC236}">
                  <a16:creationId xmlns:a16="http://schemas.microsoft.com/office/drawing/2014/main" id="{9410AD1A-92A7-4C8C-9151-132AC7DFF16C}"/>
                </a:ext>
              </a:extLst>
            </p:cNvPr>
            <p:cNvGrpSpPr/>
            <p:nvPr/>
          </p:nvGrpSpPr>
          <p:grpSpPr>
            <a:xfrm>
              <a:off x="6458095" y="2220064"/>
              <a:ext cx="583966" cy="583964"/>
              <a:chOff x="6458095" y="2220064"/>
              <a:chExt cx="583966" cy="583964"/>
            </a:xfrm>
          </p:grpSpPr>
          <p:sp>
            <p:nvSpPr>
              <p:cNvPr id="18" name="Ellipse 48">
                <a:extLst>
                  <a:ext uri="{FF2B5EF4-FFF2-40B4-BE49-F238E27FC236}">
                    <a16:creationId xmlns:a16="http://schemas.microsoft.com/office/drawing/2014/main" id="{7B354AD1-FC31-B44E-23F0-EB425C927F63}"/>
                  </a:ext>
                </a:extLst>
              </p:cNvPr>
              <p:cNvSpPr/>
              <p:nvPr/>
            </p:nvSpPr>
            <p:spPr>
              <a:xfrm>
                <a:off x="6458095" y="2220064"/>
                <a:ext cx="583966" cy="58396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17" name="Groupe 42">
                <a:extLst>
                  <a:ext uri="{FF2B5EF4-FFF2-40B4-BE49-F238E27FC236}">
                    <a16:creationId xmlns:a16="http://schemas.microsoft.com/office/drawing/2014/main" id="{F7C26475-586E-BD5F-69C8-E7522BEE63E3}"/>
                  </a:ext>
                </a:extLst>
              </p:cNvPr>
              <p:cNvGrpSpPr/>
              <p:nvPr/>
            </p:nvGrpSpPr>
            <p:grpSpPr>
              <a:xfrm>
                <a:off x="6611654" y="2301788"/>
                <a:ext cx="249129" cy="388004"/>
                <a:chOff x="8104424" y="4551848"/>
                <a:chExt cx="574339" cy="894506"/>
              </a:xfrm>
              <a:solidFill>
                <a:schemeClr val="bg1"/>
              </a:solidFill>
            </p:grpSpPr>
            <p:sp>
              <p:nvSpPr>
                <p:cNvPr id="19" name="Freeform 126">
                  <a:extLst>
                    <a:ext uri="{FF2B5EF4-FFF2-40B4-BE49-F238E27FC236}">
                      <a16:creationId xmlns:a16="http://schemas.microsoft.com/office/drawing/2014/main" id="{7DA7C103-D6DB-D193-0696-7562AB44DD63}"/>
                    </a:ext>
                  </a:extLst>
                </p:cNvPr>
                <p:cNvSpPr>
                  <a:spLocks/>
                </p:cNvSpPr>
                <p:nvPr/>
              </p:nvSpPr>
              <p:spPr bwMode="auto">
                <a:xfrm>
                  <a:off x="8541091" y="4731157"/>
                  <a:ext cx="137672" cy="71519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sp>
              <p:nvSpPr>
                <p:cNvPr id="20" name="Freeform 128">
                  <a:extLst>
                    <a:ext uri="{FF2B5EF4-FFF2-40B4-BE49-F238E27FC236}">
                      <a16:creationId xmlns:a16="http://schemas.microsoft.com/office/drawing/2014/main" id="{0DDB325C-900E-1231-E079-0983DE611E89}"/>
                    </a:ext>
                  </a:extLst>
                </p:cNvPr>
                <p:cNvSpPr>
                  <a:spLocks/>
                </p:cNvSpPr>
                <p:nvPr/>
              </p:nvSpPr>
              <p:spPr bwMode="auto">
                <a:xfrm>
                  <a:off x="8326176" y="4965063"/>
                  <a:ext cx="152410" cy="481288"/>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sp>
              <p:nvSpPr>
                <p:cNvPr id="21" name="Freeform 129">
                  <a:extLst>
                    <a:ext uri="{FF2B5EF4-FFF2-40B4-BE49-F238E27FC236}">
                      <a16:creationId xmlns:a16="http://schemas.microsoft.com/office/drawing/2014/main" id="{A26F1AD2-FAC6-2E50-DD9A-C4F91B4CE18F}"/>
                    </a:ext>
                  </a:extLst>
                </p:cNvPr>
                <p:cNvSpPr>
                  <a:spLocks/>
                </p:cNvSpPr>
                <p:nvPr/>
              </p:nvSpPr>
              <p:spPr bwMode="auto">
                <a:xfrm>
                  <a:off x="8136073" y="5160946"/>
                  <a:ext cx="127594" cy="285408"/>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sp>
              <p:nvSpPr>
                <p:cNvPr id="22" name="Freeform 130">
                  <a:extLst>
                    <a:ext uri="{FF2B5EF4-FFF2-40B4-BE49-F238E27FC236}">
                      <a16:creationId xmlns:a16="http://schemas.microsoft.com/office/drawing/2014/main" id="{42488B11-67B8-DF21-F813-5B41C56C70C5}"/>
                    </a:ext>
                  </a:extLst>
                </p:cNvPr>
                <p:cNvSpPr>
                  <a:spLocks/>
                </p:cNvSpPr>
                <p:nvPr/>
              </p:nvSpPr>
              <p:spPr bwMode="auto">
                <a:xfrm>
                  <a:off x="8104424" y="4551848"/>
                  <a:ext cx="521028" cy="41321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ea typeface="+mn-ea"/>
                    <a:cs typeface="+mn-cs"/>
                  </a:endParaRPr>
                </a:p>
              </p:txBody>
            </p:sp>
          </p:grpSp>
        </p:grpSp>
        <p:sp>
          <p:nvSpPr>
            <p:cNvPr id="16" name="ZoneTexte 52">
              <a:extLst>
                <a:ext uri="{FF2B5EF4-FFF2-40B4-BE49-F238E27FC236}">
                  <a16:creationId xmlns:a16="http://schemas.microsoft.com/office/drawing/2014/main" id="{70F39892-8598-6925-259B-98A38C5023D5}"/>
                </a:ext>
              </a:extLst>
            </p:cNvPr>
            <p:cNvSpPr txBox="1"/>
            <p:nvPr/>
          </p:nvSpPr>
          <p:spPr>
            <a:xfrm>
              <a:off x="7034498" y="2188883"/>
              <a:ext cx="1756238" cy="584775"/>
            </a:xfrm>
            <a:prstGeom prst="rect">
              <a:avLst/>
            </a:prstGeom>
            <a:noFill/>
          </p:spPr>
          <p:txBody>
            <a:bodyPr wrap="square" rtlCol="0">
              <a:spAutoFit/>
            </a:bodyPr>
            <a:lstStyle/>
            <a:p>
              <a:r>
                <a:rPr lang="en-US" sz="1600"/>
                <a:t>Energy density increase</a:t>
              </a:r>
            </a:p>
          </p:txBody>
        </p:sp>
      </p:grpSp>
      <p:grpSp>
        <p:nvGrpSpPr>
          <p:cNvPr id="9" name="Groupe 8">
            <a:extLst>
              <a:ext uri="{FF2B5EF4-FFF2-40B4-BE49-F238E27FC236}">
                <a16:creationId xmlns:a16="http://schemas.microsoft.com/office/drawing/2014/main" id="{90F356EE-EDB1-44B8-BCE8-4E3A49E5E708}"/>
              </a:ext>
            </a:extLst>
          </p:cNvPr>
          <p:cNvGrpSpPr/>
          <p:nvPr/>
        </p:nvGrpSpPr>
        <p:grpSpPr>
          <a:xfrm>
            <a:off x="3527925" y="3086052"/>
            <a:ext cx="5053511" cy="584775"/>
            <a:chOff x="3527925" y="2975882"/>
            <a:chExt cx="5053511" cy="584775"/>
          </a:xfrm>
        </p:grpSpPr>
        <p:sp>
          <p:nvSpPr>
            <p:cNvPr id="33" name="ZoneTexte 26">
              <a:extLst>
                <a:ext uri="{FF2B5EF4-FFF2-40B4-BE49-F238E27FC236}">
                  <a16:creationId xmlns:a16="http://schemas.microsoft.com/office/drawing/2014/main" id="{D775B762-5342-E89A-4904-766368CE0BD9}"/>
                </a:ext>
              </a:extLst>
            </p:cNvPr>
            <p:cNvSpPr txBox="1"/>
            <p:nvPr/>
          </p:nvSpPr>
          <p:spPr>
            <a:xfrm>
              <a:off x="4203833" y="2975882"/>
              <a:ext cx="4377603" cy="584775"/>
            </a:xfrm>
            <a:prstGeom prst="rect">
              <a:avLst/>
            </a:prstGeom>
            <a:solidFill>
              <a:srgbClr val="14596B"/>
            </a:solidFill>
          </p:spPr>
          <p:txBody>
            <a:bodyPr wrap="square">
              <a:spAutoFit/>
            </a:bodyPr>
            <a:lstStyle/>
            <a:p>
              <a:r>
                <a:rPr lang="en-IN" sz="1600">
                  <a:solidFill>
                    <a:schemeClr val="bg1"/>
                  </a:solidFill>
                </a:rPr>
                <a:t>N</a:t>
              </a:r>
              <a:r>
                <a:rPr lang="en-IN" sz="1600">
                  <a:solidFill>
                    <a:schemeClr val="bg1"/>
                  </a:solidFill>
                  <a:effectLst/>
                </a:rPr>
                <a:t>on-optimal batteries regarding safety and resource-utilization</a:t>
              </a:r>
            </a:p>
          </p:txBody>
        </p:sp>
        <p:grpSp>
          <p:nvGrpSpPr>
            <p:cNvPr id="34" name="Groupe 21">
              <a:extLst>
                <a:ext uri="{FF2B5EF4-FFF2-40B4-BE49-F238E27FC236}">
                  <a16:creationId xmlns:a16="http://schemas.microsoft.com/office/drawing/2014/main" id="{4A6D79E6-A0BE-0CB6-3A37-28777B0127A8}"/>
                </a:ext>
              </a:extLst>
            </p:cNvPr>
            <p:cNvGrpSpPr/>
            <p:nvPr/>
          </p:nvGrpSpPr>
          <p:grpSpPr>
            <a:xfrm>
              <a:off x="3527925" y="2976288"/>
              <a:ext cx="583965" cy="583965"/>
              <a:chOff x="7634083" y="2845657"/>
              <a:chExt cx="583965" cy="583965"/>
            </a:xfrm>
          </p:grpSpPr>
          <p:sp>
            <p:nvSpPr>
              <p:cNvPr id="35" name="Ellipse 56">
                <a:extLst>
                  <a:ext uri="{FF2B5EF4-FFF2-40B4-BE49-F238E27FC236}">
                    <a16:creationId xmlns:a16="http://schemas.microsoft.com/office/drawing/2014/main" id="{4D01CBEF-5E58-1D57-62D5-0F8BD7D6927D}"/>
                  </a:ext>
                </a:extLst>
              </p:cNvPr>
              <p:cNvSpPr/>
              <p:nvPr/>
            </p:nvSpPr>
            <p:spPr>
              <a:xfrm>
                <a:off x="7634083" y="2845657"/>
                <a:ext cx="583965" cy="583965"/>
              </a:xfrm>
              <a:prstGeom prst="ellipse">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36" name="Freeform: Shape 248">
                <a:extLst>
                  <a:ext uri="{FF2B5EF4-FFF2-40B4-BE49-F238E27FC236}">
                    <a16:creationId xmlns:a16="http://schemas.microsoft.com/office/drawing/2014/main" id="{13D6E20B-4080-FDF0-0653-631EB024071B}"/>
                  </a:ext>
                </a:extLst>
              </p:cNvPr>
              <p:cNvSpPr/>
              <p:nvPr/>
            </p:nvSpPr>
            <p:spPr>
              <a:xfrm>
                <a:off x="7761127" y="2896147"/>
                <a:ext cx="329875" cy="482984"/>
              </a:xfrm>
              <a:custGeom>
                <a:avLst/>
                <a:gdLst>
                  <a:gd name="connsiteX0" fmla="*/ 331067 w 351948"/>
                  <a:gd name="connsiteY0" fmla="*/ 264795 h 515302"/>
                  <a:gd name="connsiteX1" fmla="*/ 252962 w 351948"/>
                  <a:gd name="connsiteY1" fmla="*/ 333375 h 515302"/>
                  <a:gd name="connsiteX2" fmla="*/ 227245 w 351948"/>
                  <a:gd name="connsiteY2" fmla="*/ 240030 h 515302"/>
                  <a:gd name="connsiteX3" fmla="*/ 146282 w 351948"/>
                  <a:gd name="connsiteY3" fmla="*/ 0 h 515302"/>
                  <a:gd name="connsiteX4" fmla="*/ 84370 w 351948"/>
                  <a:gd name="connsiteY4" fmla="*/ 190500 h 515302"/>
                  <a:gd name="connsiteX5" fmla="*/ 12932 w 351948"/>
                  <a:gd name="connsiteY5" fmla="*/ 274320 h 515302"/>
                  <a:gd name="connsiteX6" fmla="*/ 71987 w 351948"/>
                  <a:gd name="connsiteY6" fmla="*/ 481013 h 515302"/>
                  <a:gd name="connsiteX7" fmla="*/ 108182 w 351948"/>
                  <a:gd name="connsiteY7" fmla="*/ 289560 h 515302"/>
                  <a:gd name="connsiteX8" fmla="*/ 131995 w 351948"/>
                  <a:gd name="connsiteY8" fmla="*/ 421005 h 515302"/>
                  <a:gd name="connsiteX9" fmla="*/ 175810 w 351948"/>
                  <a:gd name="connsiteY9" fmla="*/ 515303 h 515302"/>
                  <a:gd name="connsiteX10" fmla="*/ 337735 w 351948"/>
                  <a:gd name="connsiteY10" fmla="*/ 406718 h 515302"/>
                  <a:gd name="connsiteX11" fmla="*/ 331067 w 351948"/>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8" h="515302">
                    <a:moveTo>
                      <a:pt x="331067" y="264795"/>
                    </a:moveTo>
                    <a:cubicBezTo>
                      <a:pt x="341545" y="308610"/>
                      <a:pt x="296777" y="351473"/>
                      <a:pt x="252962" y="333375"/>
                    </a:cubicBezTo>
                    <a:cubicBezTo>
                      <a:pt x="215815" y="320040"/>
                      <a:pt x="201527" y="277178"/>
                      <a:pt x="227245" y="240030"/>
                    </a:cubicBezTo>
                    <a:cubicBezTo>
                      <a:pt x="285347" y="162878"/>
                      <a:pt x="242485" y="41910"/>
                      <a:pt x="146282" y="0"/>
                    </a:cubicBezTo>
                    <a:cubicBezTo>
                      <a:pt x="190097" y="82868"/>
                      <a:pt x="123422" y="158115"/>
                      <a:pt x="84370" y="190500"/>
                    </a:cubicBezTo>
                    <a:cubicBezTo>
                      <a:pt x="46270" y="221933"/>
                      <a:pt x="20552" y="255270"/>
                      <a:pt x="12932" y="274320"/>
                    </a:cubicBezTo>
                    <a:cubicBezTo>
                      <a:pt x="-26120" y="368618"/>
                      <a:pt x="31982" y="459105"/>
                      <a:pt x="71987" y="481013"/>
                    </a:cubicBezTo>
                    <a:cubicBezTo>
                      <a:pt x="53890" y="440055"/>
                      <a:pt x="37697" y="362903"/>
                      <a:pt x="108182" y="289560"/>
                    </a:cubicBezTo>
                    <a:cubicBezTo>
                      <a:pt x="108182" y="289560"/>
                      <a:pt x="88180" y="367665"/>
                      <a:pt x="131995" y="421005"/>
                    </a:cubicBezTo>
                    <a:cubicBezTo>
                      <a:pt x="175810" y="475298"/>
                      <a:pt x="175810" y="515303"/>
                      <a:pt x="175810" y="515303"/>
                    </a:cubicBezTo>
                    <a:cubicBezTo>
                      <a:pt x="244390" y="515303"/>
                      <a:pt x="310112" y="474345"/>
                      <a:pt x="337735" y="406718"/>
                    </a:cubicBezTo>
                    <a:cubicBezTo>
                      <a:pt x="356785" y="365760"/>
                      <a:pt x="358690" y="301943"/>
                      <a:pt x="331067" y="264795"/>
                    </a:cubicBezTo>
                  </a:path>
                </a:pathLst>
              </a:custGeom>
              <a:solidFill>
                <a:schemeClr val="bg1"/>
              </a:solidFill>
              <a:ln w="9525" cap="flat">
                <a:noFill/>
                <a:prstDash val="solid"/>
                <a:miter/>
              </a:ln>
            </p:spPr>
            <p:txBody>
              <a:bodyPr rtlCol="0" anchor="ctr"/>
              <a:lstStyle/>
              <a:p>
                <a:endParaRPr lang="en-US"/>
              </a:p>
            </p:txBody>
          </p:sp>
        </p:grpSp>
      </p:grpSp>
      <p:sp>
        <p:nvSpPr>
          <p:cNvPr id="37" name="Flèche : bas 23">
            <a:extLst>
              <a:ext uri="{FF2B5EF4-FFF2-40B4-BE49-F238E27FC236}">
                <a16:creationId xmlns:a16="http://schemas.microsoft.com/office/drawing/2014/main" id="{E3C0B946-32E0-BC39-6E62-F69B184A02E7}"/>
              </a:ext>
            </a:extLst>
          </p:cNvPr>
          <p:cNvSpPr/>
          <p:nvPr/>
        </p:nvSpPr>
        <p:spPr>
          <a:xfrm>
            <a:off x="5951644" y="3785488"/>
            <a:ext cx="476037" cy="413803"/>
          </a:xfrm>
          <a:prstGeom prst="downArrow">
            <a:avLst>
              <a:gd name="adj1" fmla="val 51413"/>
              <a:gd name="adj2" fmla="val 43702"/>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38" name="ZoneTexte 88">
            <a:extLst>
              <a:ext uri="{FF2B5EF4-FFF2-40B4-BE49-F238E27FC236}">
                <a16:creationId xmlns:a16="http://schemas.microsoft.com/office/drawing/2014/main" id="{CC6723E5-360B-E6FD-4E40-96BA6689528F}"/>
              </a:ext>
            </a:extLst>
          </p:cNvPr>
          <p:cNvSpPr txBox="1">
            <a:spLocks noChangeAspect="1"/>
          </p:cNvSpPr>
          <p:nvPr/>
        </p:nvSpPr>
        <p:spPr>
          <a:xfrm>
            <a:off x="413236" y="4245559"/>
            <a:ext cx="3421540" cy="646331"/>
          </a:xfrm>
          <a:prstGeom prst="rect">
            <a:avLst/>
          </a:prstGeom>
          <a:solidFill>
            <a:srgbClr val="00BFBF"/>
          </a:solidFill>
          <a:ln>
            <a:solidFill>
              <a:schemeClr val="tx1"/>
            </a:solidFill>
            <a:prstDash val="dash"/>
          </a:ln>
        </p:spPr>
        <p:txBody>
          <a:bodyPr wrap="square" rtlCol="0" anchor="ctr" anchorCtr="0">
            <a:spAutoFit/>
          </a:bodyPr>
          <a:lstStyle>
            <a:defPPr>
              <a:defRPr lang="pt-PT"/>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Ubuntu"/>
              </a:defRPr>
            </a:lvl1pPr>
          </a:lstStyle>
          <a:p>
            <a:r>
              <a:rPr lang="en-US">
                <a:solidFill>
                  <a:schemeClr val="bg1"/>
                </a:solidFill>
                <a:latin typeface="+mj-lt"/>
              </a:rPr>
              <a:t>Solid-state Li-ion batteries </a:t>
            </a:r>
            <a:br>
              <a:rPr lang="en-US">
                <a:solidFill>
                  <a:schemeClr val="bg1"/>
                </a:solidFill>
                <a:latin typeface="+mj-lt"/>
              </a:rPr>
            </a:br>
            <a:r>
              <a:rPr lang="en-US">
                <a:solidFill>
                  <a:schemeClr val="bg1"/>
                </a:solidFill>
                <a:latin typeface="+mj-lt"/>
              </a:rPr>
              <a:t>for mobility</a:t>
            </a:r>
          </a:p>
        </p:txBody>
      </p:sp>
      <p:sp>
        <p:nvSpPr>
          <p:cNvPr id="40" name="ZoneTexte 65">
            <a:extLst>
              <a:ext uri="{FF2B5EF4-FFF2-40B4-BE49-F238E27FC236}">
                <a16:creationId xmlns:a16="http://schemas.microsoft.com/office/drawing/2014/main" id="{F30B6825-1E66-DD84-B31E-BAE56E4BC485}"/>
              </a:ext>
            </a:extLst>
          </p:cNvPr>
          <p:cNvSpPr txBox="1"/>
          <p:nvPr/>
        </p:nvSpPr>
        <p:spPr>
          <a:xfrm>
            <a:off x="997821" y="5180092"/>
            <a:ext cx="2836526" cy="338554"/>
          </a:xfrm>
          <a:prstGeom prst="rect">
            <a:avLst/>
          </a:prstGeom>
          <a:noFill/>
        </p:spPr>
        <p:txBody>
          <a:bodyPr wrap="square">
            <a:spAutoFit/>
          </a:bodyPr>
          <a:lstStyle/>
          <a:p>
            <a:r>
              <a:rPr lang="en-US" sz="1600"/>
              <a:t>Resistant to self-ignition</a:t>
            </a:r>
          </a:p>
        </p:txBody>
      </p:sp>
      <p:sp>
        <p:nvSpPr>
          <p:cNvPr id="43" name="Freeform: Shape 248">
            <a:extLst>
              <a:ext uri="{FF2B5EF4-FFF2-40B4-BE49-F238E27FC236}">
                <a16:creationId xmlns:a16="http://schemas.microsoft.com/office/drawing/2014/main" id="{FED8B582-B8B9-35DC-0FB3-B41CCAE153FA}"/>
              </a:ext>
            </a:extLst>
          </p:cNvPr>
          <p:cNvSpPr/>
          <p:nvPr/>
        </p:nvSpPr>
        <p:spPr>
          <a:xfrm>
            <a:off x="569149" y="5125517"/>
            <a:ext cx="284122" cy="415995"/>
          </a:xfrm>
          <a:custGeom>
            <a:avLst/>
            <a:gdLst>
              <a:gd name="connsiteX0" fmla="*/ 331067 w 351948"/>
              <a:gd name="connsiteY0" fmla="*/ 264795 h 515302"/>
              <a:gd name="connsiteX1" fmla="*/ 252962 w 351948"/>
              <a:gd name="connsiteY1" fmla="*/ 333375 h 515302"/>
              <a:gd name="connsiteX2" fmla="*/ 227245 w 351948"/>
              <a:gd name="connsiteY2" fmla="*/ 240030 h 515302"/>
              <a:gd name="connsiteX3" fmla="*/ 146282 w 351948"/>
              <a:gd name="connsiteY3" fmla="*/ 0 h 515302"/>
              <a:gd name="connsiteX4" fmla="*/ 84370 w 351948"/>
              <a:gd name="connsiteY4" fmla="*/ 190500 h 515302"/>
              <a:gd name="connsiteX5" fmla="*/ 12932 w 351948"/>
              <a:gd name="connsiteY5" fmla="*/ 274320 h 515302"/>
              <a:gd name="connsiteX6" fmla="*/ 71987 w 351948"/>
              <a:gd name="connsiteY6" fmla="*/ 481013 h 515302"/>
              <a:gd name="connsiteX7" fmla="*/ 108182 w 351948"/>
              <a:gd name="connsiteY7" fmla="*/ 289560 h 515302"/>
              <a:gd name="connsiteX8" fmla="*/ 131995 w 351948"/>
              <a:gd name="connsiteY8" fmla="*/ 421005 h 515302"/>
              <a:gd name="connsiteX9" fmla="*/ 175810 w 351948"/>
              <a:gd name="connsiteY9" fmla="*/ 515303 h 515302"/>
              <a:gd name="connsiteX10" fmla="*/ 337735 w 351948"/>
              <a:gd name="connsiteY10" fmla="*/ 406718 h 515302"/>
              <a:gd name="connsiteX11" fmla="*/ 331067 w 351948"/>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8" h="515302">
                <a:moveTo>
                  <a:pt x="331067" y="264795"/>
                </a:moveTo>
                <a:cubicBezTo>
                  <a:pt x="341545" y="308610"/>
                  <a:pt x="296777" y="351473"/>
                  <a:pt x="252962" y="333375"/>
                </a:cubicBezTo>
                <a:cubicBezTo>
                  <a:pt x="215815" y="320040"/>
                  <a:pt x="201527" y="277178"/>
                  <a:pt x="227245" y="240030"/>
                </a:cubicBezTo>
                <a:cubicBezTo>
                  <a:pt x="285347" y="162878"/>
                  <a:pt x="242485" y="41910"/>
                  <a:pt x="146282" y="0"/>
                </a:cubicBezTo>
                <a:cubicBezTo>
                  <a:pt x="190097" y="82868"/>
                  <a:pt x="123422" y="158115"/>
                  <a:pt x="84370" y="190500"/>
                </a:cubicBezTo>
                <a:cubicBezTo>
                  <a:pt x="46270" y="221933"/>
                  <a:pt x="20552" y="255270"/>
                  <a:pt x="12932" y="274320"/>
                </a:cubicBezTo>
                <a:cubicBezTo>
                  <a:pt x="-26120" y="368618"/>
                  <a:pt x="31982" y="459105"/>
                  <a:pt x="71987" y="481013"/>
                </a:cubicBezTo>
                <a:cubicBezTo>
                  <a:pt x="53890" y="440055"/>
                  <a:pt x="37697" y="362903"/>
                  <a:pt x="108182" y="289560"/>
                </a:cubicBezTo>
                <a:cubicBezTo>
                  <a:pt x="108182" y="289560"/>
                  <a:pt x="88180" y="367665"/>
                  <a:pt x="131995" y="421005"/>
                </a:cubicBezTo>
                <a:cubicBezTo>
                  <a:pt x="175810" y="475298"/>
                  <a:pt x="175810" y="515303"/>
                  <a:pt x="175810" y="515303"/>
                </a:cubicBezTo>
                <a:cubicBezTo>
                  <a:pt x="244390" y="515303"/>
                  <a:pt x="310112" y="474345"/>
                  <a:pt x="337735" y="406718"/>
                </a:cubicBezTo>
                <a:cubicBezTo>
                  <a:pt x="356785" y="365760"/>
                  <a:pt x="358690" y="301943"/>
                  <a:pt x="331067" y="264795"/>
                </a:cubicBezTo>
              </a:path>
            </a:pathLst>
          </a:custGeom>
          <a:solidFill>
            <a:schemeClr val="bg1"/>
          </a:solidFill>
          <a:ln w="9525" cap="flat">
            <a:noFill/>
            <a:prstDash val="solid"/>
            <a:miter/>
          </a:ln>
        </p:spPr>
        <p:txBody>
          <a:bodyPr rtlCol="0" anchor="ctr"/>
          <a:lstStyle/>
          <a:p>
            <a:endParaRPr lang="en-US"/>
          </a:p>
        </p:txBody>
      </p:sp>
      <p:sp>
        <p:nvSpPr>
          <p:cNvPr id="45" name="ZoneTexte 69">
            <a:extLst>
              <a:ext uri="{FF2B5EF4-FFF2-40B4-BE49-F238E27FC236}">
                <a16:creationId xmlns:a16="http://schemas.microsoft.com/office/drawing/2014/main" id="{22222BC3-9418-4C3A-0110-28D9D8B82F68}"/>
              </a:ext>
            </a:extLst>
          </p:cNvPr>
          <p:cNvSpPr txBox="1"/>
          <p:nvPr/>
        </p:nvSpPr>
        <p:spPr>
          <a:xfrm>
            <a:off x="997821" y="5853458"/>
            <a:ext cx="2918251" cy="584775"/>
          </a:xfrm>
          <a:prstGeom prst="rect">
            <a:avLst/>
          </a:prstGeom>
          <a:noFill/>
        </p:spPr>
        <p:txBody>
          <a:bodyPr wrap="square">
            <a:spAutoFit/>
          </a:bodyPr>
          <a:lstStyle/>
          <a:p>
            <a:r>
              <a:rPr lang="en-US" sz="1600"/>
              <a:t>Improve the design flexibility and volumetric density</a:t>
            </a:r>
            <a:endParaRPr lang="fr-FR" sz="1600"/>
          </a:p>
        </p:txBody>
      </p:sp>
      <p:grpSp>
        <p:nvGrpSpPr>
          <p:cNvPr id="47" name="Groupe 49">
            <a:extLst>
              <a:ext uri="{FF2B5EF4-FFF2-40B4-BE49-F238E27FC236}">
                <a16:creationId xmlns:a16="http://schemas.microsoft.com/office/drawing/2014/main" id="{28AF54F6-AEEF-9211-0BCF-5E7E64882A8C}"/>
              </a:ext>
            </a:extLst>
          </p:cNvPr>
          <p:cNvGrpSpPr/>
          <p:nvPr/>
        </p:nvGrpSpPr>
        <p:grpSpPr>
          <a:xfrm>
            <a:off x="499449" y="5945576"/>
            <a:ext cx="389456" cy="430522"/>
            <a:chOff x="-1991123" y="365285"/>
            <a:chExt cx="584614" cy="646258"/>
          </a:xfrm>
          <a:solidFill>
            <a:schemeClr val="bg1"/>
          </a:solidFill>
        </p:grpSpPr>
        <p:sp>
          <p:nvSpPr>
            <p:cNvPr id="49" name="Freeform 169">
              <a:extLst>
                <a:ext uri="{FF2B5EF4-FFF2-40B4-BE49-F238E27FC236}">
                  <a16:creationId xmlns:a16="http://schemas.microsoft.com/office/drawing/2014/main" id="{8C5923B5-0A70-927C-543D-16C85CEBBF76}"/>
                </a:ext>
              </a:extLst>
            </p:cNvPr>
            <p:cNvSpPr>
              <a:spLocks noEditPoints="1"/>
            </p:cNvSpPr>
            <p:nvPr/>
          </p:nvSpPr>
          <p:spPr bwMode="auto">
            <a:xfrm rot="1418193">
              <a:off x="-1816415" y="553078"/>
              <a:ext cx="251622" cy="257031"/>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Verdana"/>
              </a:endParaRPr>
            </a:p>
          </p:txBody>
        </p:sp>
        <p:sp>
          <p:nvSpPr>
            <p:cNvPr id="50" name="Freeform 97">
              <a:extLst>
                <a:ext uri="{FF2B5EF4-FFF2-40B4-BE49-F238E27FC236}">
                  <a16:creationId xmlns:a16="http://schemas.microsoft.com/office/drawing/2014/main" id="{A2467649-9674-E970-1B08-960C9D41AD81}"/>
                </a:ext>
              </a:extLst>
            </p:cNvPr>
            <p:cNvSpPr>
              <a:spLocks noChangeAspect="1" noEditPoints="1"/>
            </p:cNvSpPr>
            <p:nvPr/>
          </p:nvSpPr>
          <p:spPr bwMode="auto">
            <a:xfrm>
              <a:off x="-1982509" y="406010"/>
              <a:ext cx="576000" cy="576000"/>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6 h 96"/>
                <a:gd name="T12" fmla="*/ 6 w 96"/>
                <a:gd name="T13" fmla="*/ 48 h 96"/>
                <a:gd name="T14" fmla="*/ 48 w 96"/>
                <a:gd name="T15" fmla="*/ 90 h 96"/>
                <a:gd name="T16" fmla="*/ 90 w 96"/>
                <a:gd name="T17" fmla="*/ 48 h 96"/>
                <a:gd name="T18" fmla="*/ 48 w 96"/>
                <a:gd name="T19"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1" y="96"/>
                    <a:pt x="0" y="75"/>
                    <a:pt x="0" y="48"/>
                  </a:cubicBezTo>
                  <a:cubicBezTo>
                    <a:pt x="0" y="22"/>
                    <a:pt x="21" y="0"/>
                    <a:pt x="48" y="0"/>
                  </a:cubicBezTo>
                  <a:cubicBezTo>
                    <a:pt x="74" y="0"/>
                    <a:pt x="96" y="22"/>
                    <a:pt x="96" y="48"/>
                  </a:cubicBezTo>
                  <a:cubicBezTo>
                    <a:pt x="96" y="75"/>
                    <a:pt x="74" y="96"/>
                    <a:pt x="48" y="96"/>
                  </a:cubicBezTo>
                  <a:close/>
                  <a:moveTo>
                    <a:pt x="48" y="6"/>
                  </a:moveTo>
                  <a:cubicBezTo>
                    <a:pt x="25" y="6"/>
                    <a:pt x="6" y="25"/>
                    <a:pt x="6" y="48"/>
                  </a:cubicBezTo>
                  <a:cubicBezTo>
                    <a:pt x="6" y="71"/>
                    <a:pt x="25" y="90"/>
                    <a:pt x="48" y="90"/>
                  </a:cubicBezTo>
                  <a:cubicBezTo>
                    <a:pt x="71" y="90"/>
                    <a:pt x="90" y="71"/>
                    <a:pt x="90" y="48"/>
                  </a:cubicBezTo>
                  <a:cubicBezTo>
                    <a:pt x="90" y="25"/>
                    <a:pt x="71" y="6"/>
                    <a:pt x="4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Verdana"/>
              </a:endParaRPr>
            </a:p>
          </p:txBody>
        </p:sp>
        <p:grpSp>
          <p:nvGrpSpPr>
            <p:cNvPr id="51" name="Group 731">
              <a:extLst>
                <a:ext uri="{FF2B5EF4-FFF2-40B4-BE49-F238E27FC236}">
                  <a16:creationId xmlns:a16="http://schemas.microsoft.com/office/drawing/2014/main" id="{5E2AFFED-6919-8108-EF3B-FBC26F0F2638}"/>
                </a:ext>
              </a:extLst>
            </p:cNvPr>
            <p:cNvGrpSpPr/>
            <p:nvPr/>
          </p:nvGrpSpPr>
          <p:grpSpPr>
            <a:xfrm>
              <a:off x="-1704086" y="507808"/>
              <a:ext cx="30844" cy="346384"/>
              <a:chOff x="5786595" y="1598436"/>
              <a:chExt cx="30844" cy="346384"/>
            </a:xfrm>
            <a:grpFill/>
          </p:grpSpPr>
          <p:sp>
            <p:nvSpPr>
              <p:cNvPr id="64" name="Rectangle 100">
                <a:extLst>
                  <a:ext uri="{FF2B5EF4-FFF2-40B4-BE49-F238E27FC236}">
                    <a16:creationId xmlns:a16="http://schemas.microsoft.com/office/drawing/2014/main" id="{9F488949-153A-5732-7009-FF6418BAEEEA}"/>
                  </a:ext>
                </a:extLst>
              </p:cNvPr>
              <p:cNvSpPr>
                <a:spLocks noChangeArrowheads="1"/>
              </p:cNvSpPr>
              <p:nvPr/>
            </p:nvSpPr>
            <p:spPr bwMode="auto">
              <a:xfrm rot="16200000">
                <a:off x="5768839" y="1621836"/>
                <a:ext cx="72000" cy="25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Verdana"/>
                </a:endParaRPr>
              </a:p>
            </p:txBody>
          </p:sp>
          <p:sp>
            <p:nvSpPr>
              <p:cNvPr id="65" name="Rectangle 100">
                <a:extLst>
                  <a:ext uri="{FF2B5EF4-FFF2-40B4-BE49-F238E27FC236}">
                    <a16:creationId xmlns:a16="http://schemas.microsoft.com/office/drawing/2014/main" id="{B8BD4E9B-0C5F-1D06-A2CE-779A81934B64}"/>
                  </a:ext>
                </a:extLst>
              </p:cNvPr>
              <p:cNvSpPr>
                <a:spLocks noChangeArrowheads="1"/>
              </p:cNvSpPr>
              <p:nvPr/>
            </p:nvSpPr>
            <p:spPr bwMode="auto">
              <a:xfrm rot="16200000">
                <a:off x="5763195" y="1896220"/>
                <a:ext cx="72000" cy="25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Verdana"/>
                </a:endParaRPr>
              </a:p>
            </p:txBody>
          </p:sp>
        </p:grpSp>
        <p:grpSp>
          <p:nvGrpSpPr>
            <p:cNvPr id="52" name="Group 732">
              <a:extLst>
                <a:ext uri="{FF2B5EF4-FFF2-40B4-BE49-F238E27FC236}">
                  <a16:creationId xmlns:a16="http://schemas.microsoft.com/office/drawing/2014/main" id="{E97A03FB-B927-55FF-DCE3-65B3D78DDB13}"/>
                </a:ext>
              </a:extLst>
            </p:cNvPr>
            <p:cNvGrpSpPr/>
            <p:nvPr/>
          </p:nvGrpSpPr>
          <p:grpSpPr>
            <a:xfrm rot="21233126">
              <a:off x="-1831543" y="590246"/>
              <a:ext cx="270802" cy="190712"/>
              <a:chOff x="5659138" y="1680874"/>
              <a:chExt cx="270802" cy="190712"/>
            </a:xfrm>
            <a:grpFill/>
          </p:grpSpPr>
          <p:sp>
            <p:nvSpPr>
              <p:cNvPr id="62" name="Rectangle 100">
                <a:extLst>
                  <a:ext uri="{FF2B5EF4-FFF2-40B4-BE49-F238E27FC236}">
                    <a16:creationId xmlns:a16="http://schemas.microsoft.com/office/drawing/2014/main" id="{1A1B7901-0157-583F-2518-C327FE313944}"/>
                  </a:ext>
                </a:extLst>
              </p:cNvPr>
              <p:cNvSpPr>
                <a:spLocks noChangeArrowheads="1"/>
              </p:cNvSpPr>
              <p:nvPr/>
            </p:nvSpPr>
            <p:spPr bwMode="auto">
              <a:xfrm rot="13019781">
                <a:off x="5659138" y="1680874"/>
                <a:ext cx="72000" cy="25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Verdana"/>
                </a:endParaRPr>
              </a:p>
            </p:txBody>
          </p:sp>
          <p:sp>
            <p:nvSpPr>
              <p:cNvPr id="63" name="Rectangle 100">
                <a:extLst>
                  <a:ext uri="{FF2B5EF4-FFF2-40B4-BE49-F238E27FC236}">
                    <a16:creationId xmlns:a16="http://schemas.microsoft.com/office/drawing/2014/main" id="{9E34D869-F5BD-0970-DB05-B37D37AB3E67}"/>
                  </a:ext>
                </a:extLst>
              </p:cNvPr>
              <p:cNvSpPr>
                <a:spLocks noChangeArrowheads="1"/>
              </p:cNvSpPr>
              <p:nvPr/>
            </p:nvSpPr>
            <p:spPr bwMode="auto">
              <a:xfrm rot="13219996">
                <a:off x="5857940" y="1846386"/>
                <a:ext cx="72000" cy="25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Verdana"/>
                </a:endParaRPr>
              </a:p>
            </p:txBody>
          </p:sp>
        </p:grpSp>
        <p:grpSp>
          <p:nvGrpSpPr>
            <p:cNvPr id="53" name="Group 733">
              <a:extLst>
                <a:ext uri="{FF2B5EF4-FFF2-40B4-BE49-F238E27FC236}">
                  <a16:creationId xmlns:a16="http://schemas.microsoft.com/office/drawing/2014/main" id="{22424405-F475-4A72-888E-EE3158AFF20E}"/>
                </a:ext>
              </a:extLst>
            </p:cNvPr>
            <p:cNvGrpSpPr/>
            <p:nvPr/>
          </p:nvGrpSpPr>
          <p:grpSpPr>
            <a:xfrm rot="3299178">
              <a:off x="-1704719" y="508462"/>
              <a:ext cx="30844" cy="346384"/>
              <a:chOff x="5786595" y="1598436"/>
              <a:chExt cx="30844" cy="346384"/>
            </a:xfrm>
            <a:grpFill/>
          </p:grpSpPr>
          <p:sp>
            <p:nvSpPr>
              <p:cNvPr id="60" name="Rectangle 100">
                <a:extLst>
                  <a:ext uri="{FF2B5EF4-FFF2-40B4-BE49-F238E27FC236}">
                    <a16:creationId xmlns:a16="http://schemas.microsoft.com/office/drawing/2014/main" id="{962101B0-F1FE-4B24-6779-874D4D5F69BF}"/>
                  </a:ext>
                </a:extLst>
              </p:cNvPr>
              <p:cNvSpPr>
                <a:spLocks noChangeArrowheads="1"/>
              </p:cNvSpPr>
              <p:nvPr/>
            </p:nvSpPr>
            <p:spPr bwMode="auto">
              <a:xfrm rot="16200000">
                <a:off x="5768839" y="1621836"/>
                <a:ext cx="72000" cy="25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Verdana"/>
                </a:endParaRPr>
              </a:p>
            </p:txBody>
          </p:sp>
          <p:sp>
            <p:nvSpPr>
              <p:cNvPr id="61" name="Rectangle 100">
                <a:extLst>
                  <a:ext uri="{FF2B5EF4-FFF2-40B4-BE49-F238E27FC236}">
                    <a16:creationId xmlns:a16="http://schemas.microsoft.com/office/drawing/2014/main" id="{83F0EE56-12D8-EBE4-AAE1-A531275CCA5B}"/>
                  </a:ext>
                </a:extLst>
              </p:cNvPr>
              <p:cNvSpPr>
                <a:spLocks noChangeArrowheads="1"/>
              </p:cNvSpPr>
              <p:nvPr/>
            </p:nvSpPr>
            <p:spPr bwMode="auto">
              <a:xfrm rot="16200000">
                <a:off x="5763195" y="1896220"/>
                <a:ext cx="72000" cy="25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latin typeface="Verdana"/>
                </a:endParaRPr>
              </a:p>
            </p:txBody>
          </p:sp>
        </p:grpSp>
        <p:sp>
          <p:nvSpPr>
            <p:cNvPr id="54" name="Oval 874">
              <a:extLst>
                <a:ext uri="{FF2B5EF4-FFF2-40B4-BE49-F238E27FC236}">
                  <a16:creationId xmlns:a16="http://schemas.microsoft.com/office/drawing/2014/main" id="{25B7D03C-375A-1616-FD5C-9A52559B44BF}"/>
                </a:ext>
              </a:extLst>
            </p:cNvPr>
            <p:cNvSpPr/>
            <p:nvPr/>
          </p:nvSpPr>
          <p:spPr>
            <a:xfrm>
              <a:off x="-1735287" y="909481"/>
              <a:ext cx="102064" cy="102062"/>
            </a:xfrm>
            <a:prstGeom prst="ellipse">
              <a:avLst/>
            </a:prstGeom>
            <a:grpFill/>
            <a:ln w="190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55" name="Oval 872">
              <a:extLst>
                <a:ext uri="{FF2B5EF4-FFF2-40B4-BE49-F238E27FC236}">
                  <a16:creationId xmlns:a16="http://schemas.microsoft.com/office/drawing/2014/main" id="{4E919D42-9487-782E-EE26-BBE9AC0607CE}"/>
                </a:ext>
              </a:extLst>
            </p:cNvPr>
            <p:cNvSpPr/>
            <p:nvPr/>
          </p:nvSpPr>
          <p:spPr>
            <a:xfrm>
              <a:off x="-1991123" y="520652"/>
              <a:ext cx="102064" cy="102062"/>
            </a:xfrm>
            <a:prstGeom prst="ellipse">
              <a:avLst/>
            </a:prstGeom>
            <a:grpFill/>
            <a:ln w="190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56" name="Oval 876">
              <a:extLst>
                <a:ext uri="{FF2B5EF4-FFF2-40B4-BE49-F238E27FC236}">
                  <a16:creationId xmlns:a16="http://schemas.microsoft.com/office/drawing/2014/main" id="{3F663F19-420F-1794-EC85-B944CCF2048A}"/>
                </a:ext>
              </a:extLst>
            </p:cNvPr>
            <p:cNvSpPr/>
            <p:nvPr/>
          </p:nvSpPr>
          <p:spPr>
            <a:xfrm>
              <a:off x="-1515385" y="768265"/>
              <a:ext cx="102064" cy="102062"/>
            </a:xfrm>
            <a:prstGeom prst="ellipse">
              <a:avLst/>
            </a:prstGeom>
            <a:grpFill/>
            <a:ln w="190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57" name="Oval 873">
              <a:extLst>
                <a:ext uri="{FF2B5EF4-FFF2-40B4-BE49-F238E27FC236}">
                  <a16:creationId xmlns:a16="http://schemas.microsoft.com/office/drawing/2014/main" id="{15257F00-2F55-3C9F-280B-A4E1B61E0DB5}"/>
                </a:ext>
              </a:extLst>
            </p:cNvPr>
            <p:cNvSpPr/>
            <p:nvPr/>
          </p:nvSpPr>
          <p:spPr>
            <a:xfrm>
              <a:off x="-1988091" y="769599"/>
              <a:ext cx="102064" cy="102062"/>
            </a:xfrm>
            <a:prstGeom prst="ellipse">
              <a:avLst/>
            </a:prstGeom>
            <a:grpFill/>
            <a:ln w="190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58" name="Oval 875">
              <a:extLst>
                <a:ext uri="{FF2B5EF4-FFF2-40B4-BE49-F238E27FC236}">
                  <a16:creationId xmlns:a16="http://schemas.microsoft.com/office/drawing/2014/main" id="{901F5CA4-8916-A727-789E-88263CD4D6E0}"/>
                </a:ext>
              </a:extLst>
            </p:cNvPr>
            <p:cNvSpPr/>
            <p:nvPr/>
          </p:nvSpPr>
          <p:spPr>
            <a:xfrm>
              <a:off x="-1523575" y="501529"/>
              <a:ext cx="102064" cy="102062"/>
            </a:xfrm>
            <a:prstGeom prst="ellipse">
              <a:avLst/>
            </a:prstGeom>
            <a:grpFill/>
            <a:ln w="190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59" name="Oval 848">
              <a:extLst>
                <a:ext uri="{FF2B5EF4-FFF2-40B4-BE49-F238E27FC236}">
                  <a16:creationId xmlns:a16="http://schemas.microsoft.com/office/drawing/2014/main" id="{5A4D4307-D386-BDAB-BD51-A7CA0019FB52}"/>
                </a:ext>
              </a:extLst>
            </p:cNvPr>
            <p:cNvSpPr/>
            <p:nvPr/>
          </p:nvSpPr>
          <p:spPr>
            <a:xfrm>
              <a:off x="-1736190" y="365285"/>
              <a:ext cx="102064" cy="102062"/>
            </a:xfrm>
            <a:prstGeom prst="ellipse">
              <a:avLst/>
            </a:prstGeom>
            <a:grpFill/>
            <a:ln w="1905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grpSp>
      <p:sp>
        <p:nvSpPr>
          <p:cNvPr id="66" name="ZoneTexte 61">
            <a:extLst>
              <a:ext uri="{FF2B5EF4-FFF2-40B4-BE49-F238E27FC236}">
                <a16:creationId xmlns:a16="http://schemas.microsoft.com/office/drawing/2014/main" id="{575D34D3-EE83-6753-1185-4EF90BC4A6E2}"/>
              </a:ext>
            </a:extLst>
          </p:cNvPr>
          <p:cNvSpPr txBox="1">
            <a:spLocks noChangeAspect="1"/>
          </p:cNvSpPr>
          <p:nvPr/>
        </p:nvSpPr>
        <p:spPr>
          <a:xfrm>
            <a:off x="4386430" y="4245559"/>
            <a:ext cx="3420000" cy="646331"/>
          </a:xfrm>
          <a:prstGeom prst="rect">
            <a:avLst/>
          </a:prstGeom>
          <a:solidFill>
            <a:srgbClr val="00BFBF"/>
          </a:solidFill>
          <a:ln>
            <a:solidFill>
              <a:schemeClr val="tx1"/>
            </a:solidFill>
            <a:prstDash val="dash"/>
          </a:ln>
        </p:spPr>
        <p:txBody>
          <a:bodyPr wrap="square" rtlCol="0" anchor="ctr" anchorCtr="0">
            <a:noAutofit/>
          </a:bodyPr>
          <a:lstStyle>
            <a:defPPr>
              <a:defRPr lang="pt-PT"/>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Ubuntu"/>
              </a:defRPr>
            </a:lvl1pPr>
          </a:lstStyle>
          <a:p>
            <a:r>
              <a:rPr lang="en-US">
                <a:solidFill>
                  <a:schemeClr val="bg1"/>
                </a:solidFill>
                <a:latin typeface="+mj-lt"/>
              </a:rPr>
              <a:t>Stationary Sodium-ion batteries</a:t>
            </a:r>
          </a:p>
        </p:txBody>
      </p:sp>
      <p:sp>
        <p:nvSpPr>
          <p:cNvPr id="70" name="Freeform 284">
            <a:extLst>
              <a:ext uri="{FF2B5EF4-FFF2-40B4-BE49-F238E27FC236}">
                <a16:creationId xmlns:a16="http://schemas.microsoft.com/office/drawing/2014/main" id="{A9274681-776F-41D3-0087-33D895702E4E}"/>
              </a:ext>
            </a:extLst>
          </p:cNvPr>
          <p:cNvSpPr>
            <a:spLocks/>
          </p:cNvSpPr>
          <p:nvPr/>
        </p:nvSpPr>
        <p:spPr bwMode="auto">
          <a:xfrm>
            <a:off x="5093821" y="5076820"/>
            <a:ext cx="221099" cy="471810"/>
          </a:xfrm>
          <a:custGeom>
            <a:avLst/>
            <a:gdLst>
              <a:gd name="T0" fmla="*/ 59 w 61"/>
              <a:gd name="T1" fmla="*/ 50 h 130"/>
              <a:gd name="T2" fmla="*/ 36 w 61"/>
              <a:gd name="T3" fmla="*/ 50 h 130"/>
              <a:gd name="T4" fmla="*/ 60 w 61"/>
              <a:gd name="T5" fmla="*/ 13 h 130"/>
              <a:gd name="T6" fmla="*/ 60 w 61"/>
              <a:gd name="T7" fmla="*/ 11 h 130"/>
              <a:gd name="T8" fmla="*/ 59 w 61"/>
              <a:gd name="T9" fmla="*/ 10 h 130"/>
              <a:gd name="T10" fmla="*/ 17 w 61"/>
              <a:gd name="T11" fmla="*/ 8 h 130"/>
              <a:gd name="T12" fmla="*/ 0 w 61"/>
              <a:gd name="T13" fmla="*/ 72 h 130"/>
              <a:gd name="T14" fmla="*/ 1 w 61"/>
              <a:gd name="T15" fmla="*/ 73 h 130"/>
              <a:gd name="T16" fmla="*/ 2 w 61"/>
              <a:gd name="T17" fmla="*/ 74 h 130"/>
              <a:gd name="T18" fmla="*/ 20 w 61"/>
              <a:gd name="T19" fmla="*/ 74 h 130"/>
              <a:gd name="T20" fmla="*/ 4 w 61"/>
              <a:gd name="T21" fmla="*/ 128 h 130"/>
              <a:gd name="T22" fmla="*/ 6 w 61"/>
              <a:gd name="T23" fmla="*/ 130 h 130"/>
              <a:gd name="T24" fmla="*/ 6 w 61"/>
              <a:gd name="T25" fmla="*/ 130 h 130"/>
              <a:gd name="T26" fmla="*/ 8 w 61"/>
              <a:gd name="T27" fmla="*/ 129 h 130"/>
              <a:gd name="T28" fmla="*/ 60 w 61"/>
              <a:gd name="T29" fmla="*/ 53 h 130"/>
              <a:gd name="T30" fmla="*/ 60 w 61"/>
              <a:gd name="T31" fmla="*/ 51 h 130"/>
              <a:gd name="T32" fmla="*/ 59 w 61"/>
              <a:gd name="T33" fmla="*/ 5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130">
                <a:moveTo>
                  <a:pt x="59" y="50"/>
                </a:moveTo>
                <a:cubicBezTo>
                  <a:pt x="36" y="50"/>
                  <a:pt x="36" y="50"/>
                  <a:pt x="36" y="50"/>
                </a:cubicBezTo>
                <a:cubicBezTo>
                  <a:pt x="60" y="13"/>
                  <a:pt x="60" y="13"/>
                  <a:pt x="60" y="13"/>
                </a:cubicBezTo>
                <a:cubicBezTo>
                  <a:pt x="61" y="12"/>
                  <a:pt x="61" y="12"/>
                  <a:pt x="60" y="11"/>
                </a:cubicBezTo>
                <a:cubicBezTo>
                  <a:pt x="60" y="10"/>
                  <a:pt x="59" y="10"/>
                  <a:pt x="59" y="10"/>
                </a:cubicBezTo>
                <a:cubicBezTo>
                  <a:pt x="59" y="10"/>
                  <a:pt x="42" y="0"/>
                  <a:pt x="17" y="8"/>
                </a:cubicBezTo>
                <a:cubicBezTo>
                  <a:pt x="17" y="31"/>
                  <a:pt x="0" y="72"/>
                  <a:pt x="0" y="72"/>
                </a:cubicBezTo>
                <a:cubicBezTo>
                  <a:pt x="0" y="72"/>
                  <a:pt x="0" y="73"/>
                  <a:pt x="1" y="73"/>
                </a:cubicBezTo>
                <a:cubicBezTo>
                  <a:pt x="1" y="74"/>
                  <a:pt x="2" y="74"/>
                  <a:pt x="2" y="74"/>
                </a:cubicBezTo>
                <a:cubicBezTo>
                  <a:pt x="20" y="74"/>
                  <a:pt x="20" y="74"/>
                  <a:pt x="20" y="74"/>
                </a:cubicBezTo>
                <a:cubicBezTo>
                  <a:pt x="4" y="128"/>
                  <a:pt x="4" y="128"/>
                  <a:pt x="4" y="128"/>
                </a:cubicBezTo>
                <a:cubicBezTo>
                  <a:pt x="4" y="129"/>
                  <a:pt x="5" y="130"/>
                  <a:pt x="6" y="130"/>
                </a:cubicBezTo>
                <a:cubicBezTo>
                  <a:pt x="6" y="130"/>
                  <a:pt x="6" y="130"/>
                  <a:pt x="6" y="130"/>
                </a:cubicBezTo>
                <a:cubicBezTo>
                  <a:pt x="7" y="130"/>
                  <a:pt x="8" y="130"/>
                  <a:pt x="8" y="129"/>
                </a:cubicBezTo>
                <a:cubicBezTo>
                  <a:pt x="60" y="53"/>
                  <a:pt x="60" y="53"/>
                  <a:pt x="60" y="53"/>
                </a:cubicBezTo>
                <a:cubicBezTo>
                  <a:pt x="61" y="53"/>
                  <a:pt x="61" y="52"/>
                  <a:pt x="60" y="51"/>
                </a:cubicBezTo>
                <a:cubicBezTo>
                  <a:pt x="60" y="50"/>
                  <a:pt x="59" y="50"/>
                  <a:pt x="59" y="5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ZoneTexte 109">
            <a:extLst>
              <a:ext uri="{FF2B5EF4-FFF2-40B4-BE49-F238E27FC236}">
                <a16:creationId xmlns:a16="http://schemas.microsoft.com/office/drawing/2014/main" id="{889C17E4-02F1-FA65-6CCD-9819B73FBA71}"/>
              </a:ext>
            </a:extLst>
          </p:cNvPr>
          <p:cNvSpPr txBox="1"/>
          <p:nvPr/>
        </p:nvSpPr>
        <p:spPr>
          <a:xfrm>
            <a:off x="5518846" y="5056982"/>
            <a:ext cx="1878547" cy="584775"/>
          </a:xfrm>
          <a:prstGeom prst="rect">
            <a:avLst/>
          </a:prstGeom>
          <a:noFill/>
        </p:spPr>
        <p:txBody>
          <a:bodyPr wrap="square">
            <a:spAutoFit/>
          </a:bodyPr>
          <a:lstStyle/>
          <a:p>
            <a:r>
              <a:rPr lang="en-US" sz="1600"/>
              <a:t>Higher-power and longer life-cycles</a:t>
            </a:r>
          </a:p>
        </p:txBody>
      </p:sp>
      <p:grpSp>
        <p:nvGrpSpPr>
          <p:cNvPr id="75" name="Groupe 111">
            <a:extLst>
              <a:ext uri="{FF2B5EF4-FFF2-40B4-BE49-F238E27FC236}">
                <a16:creationId xmlns:a16="http://schemas.microsoft.com/office/drawing/2014/main" id="{634BD3E5-0348-73BC-EBCB-58B73BA4E10B}"/>
              </a:ext>
            </a:extLst>
          </p:cNvPr>
          <p:cNvGrpSpPr/>
          <p:nvPr/>
        </p:nvGrpSpPr>
        <p:grpSpPr>
          <a:xfrm>
            <a:off x="5105541" y="5959943"/>
            <a:ext cx="255053" cy="397236"/>
            <a:chOff x="-1154082" y="1981362"/>
            <a:chExt cx="172287" cy="268329"/>
          </a:xfrm>
          <a:solidFill>
            <a:schemeClr val="bg1"/>
          </a:solidFill>
        </p:grpSpPr>
        <p:sp>
          <p:nvSpPr>
            <p:cNvPr id="77" name="Freeform 126">
              <a:extLst>
                <a:ext uri="{FF2B5EF4-FFF2-40B4-BE49-F238E27FC236}">
                  <a16:creationId xmlns:a16="http://schemas.microsoft.com/office/drawing/2014/main" id="{5CDDE0BA-E510-8AF9-9EA7-D7B588DDD53C}"/>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8" name="Freeform 128">
              <a:extLst>
                <a:ext uri="{FF2B5EF4-FFF2-40B4-BE49-F238E27FC236}">
                  <a16:creationId xmlns:a16="http://schemas.microsoft.com/office/drawing/2014/main" id="{A64C6859-C3A0-AD11-2BC1-6304F2EFDEB4}"/>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9" name="Freeform 129">
              <a:extLst>
                <a:ext uri="{FF2B5EF4-FFF2-40B4-BE49-F238E27FC236}">
                  <a16:creationId xmlns:a16="http://schemas.microsoft.com/office/drawing/2014/main" id="{70D3D319-E9E2-0127-7752-4D43DAC60ACC}"/>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0" name="Freeform 130">
              <a:extLst>
                <a:ext uri="{FF2B5EF4-FFF2-40B4-BE49-F238E27FC236}">
                  <a16:creationId xmlns:a16="http://schemas.microsoft.com/office/drawing/2014/main" id="{3CCFC1AE-E816-417E-3BDF-FD797BAB00FA}"/>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74" name="ZoneTexte 117">
            <a:extLst>
              <a:ext uri="{FF2B5EF4-FFF2-40B4-BE49-F238E27FC236}">
                <a16:creationId xmlns:a16="http://schemas.microsoft.com/office/drawing/2014/main" id="{2DA67F4A-D36D-7061-E0CE-D45109023091}"/>
              </a:ext>
            </a:extLst>
          </p:cNvPr>
          <p:cNvSpPr txBox="1"/>
          <p:nvPr/>
        </p:nvSpPr>
        <p:spPr>
          <a:xfrm>
            <a:off x="5518846" y="5976568"/>
            <a:ext cx="1878547" cy="338554"/>
          </a:xfrm>
          <a:prstGeom prst="rect">
            <a:avLst/>
          </a:prstGeom>
          <a:noFill/>
        </p:spPr>
        <p:txBody>
          <a:bodyPr wrap="square">
            <a:spAutoFit/>
          </a:bodyPr>
          <a:lstStyle/>
          <a:p>
            <a:r>
              <a:rPr lang="en-US" sz="1600"/>
              <a:t>Lower cost</a:t>
            </a:r>
          </a:p>
        </p:txBody>
      </p:sp>
      <p:sp>
        <p:nvSpPr>
          <p:cNvPr id="81" name="ZoneTexte 80">
            <a:extLst>
              <a:ext uri="{FF2B5EF4-FFF2-40B4-BE49-F238E27FC236}">
                <a16:creationId xmlns:a16="http://schemas.microsoft.com/office/drawing/2014/main" id="{1B8D9221-6B77-4081-5045-D3ADD7E6D2B8}"/>
              </a:ext>
            </a:extLst>
          </p:cNvPr>
          <p:cNvSpPr txBox="1"/>
          <p:nvPr/>
        </p:nvSpPr>
        <p:spPr>
          <a:xfrm>
            <a:off x="8358084" y="4245559"/>
            <a:ext cx="3420000" cy="646331"/>
          </a:xfrm>
          <a:prstGeom prst="rect">
            <a:avLst/>
          </a:prstGeom>
          <a:solidFill>
            <a:srgbClr val="00BFBF"/>
          </a:solidFill>
          <a:ln>
            <a:solidFill>
              <a:schemeClr val="tx1"/>
            </a:solidFill>
            <a:prstDash val="dash"/>
          </a:ln>
        </p:spPr>
        <p:txBody>
          <a:bodyPr wrap="square" rtlCol="0" anchor="ctr" anchorCtr="0">
            <a:spAutoFit/>
          </a:bodyPr>
          <a:lstStyle>
            <a:defPPr>
              <a:defRPr lang="pt-PT"/>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Ubuntu"/>
              </a:defRPr>
            </a:lvl1pPr>
          </a:lstStyle>
          <a:p>
            <a:r>
              <a:rPr lang="en-US">
                <a:solidFill>
                  <a:schemeClr val="bg1"/>
                </a:solidFill>
                <a:latin typeface="+mj-lt"/>
              </a:rPr>
              <a:t>Stationary redox vanadium batteries</a:t>
            </a:r>
          </a:p>
        </p:txBody>
      </p:sp>
      <p:sp>
        <p:nvSpPr>
          <p:cNvPr id="83" name="ZoneTexte 82">
            <a:extLst>
              <a:ext uri="{FF2B5EF4-FFF2-40B4-BE49-F238E27FC236}">
                <a16:creationId xmlns:a16="http://schemas.microsoft.com/office/drawing/2014/main" id="{59D33C70-0168-5F8F-CD90-7711088F0B66}"/>
              </a:ext>
            </a:extLst>
          </p:cNvPr>
          <p:cNvSpPr txBox="1"/>
          <p:nvPr/>
        </p:nvSpPr>
        <p:spPr>
          <a:xfrm>
            <a:off x="9354757" y="5180092"/>
            <a:ext cx="2099704" cy="338554"/>
          </a:xfrm>
          <a:prstGeom prst="rect">
            <a:avLst/>
          </a:prstGeom>
          <a:noFill/>
        </p:spPr>
        <p:txBody>
          <a:bodyPr wrap="square">
            <a:spAutoFit/>
          </a:bodyPr>
          <a:lstStyle/>
          <a:p>
            <a:r>
              <a:rPr lang="en-US" sz="1600"/>
              <a:t>Higher lifetimes</a:t>
            </a:r>
          </a:p>
        </p:txBody>
      </p:sp>
      <p:grpSp>
        <p:nvGrpSpPr>
          <p:cNvPr id="86" name="Group 34">
            <a:extLst>
              <a:ext uri="{FF2B5EF4-FFF2-40B4-BE49-F238E27FC236}">
                <a16:creationId xmlns:a16="http://schemas.microsoft.com/office/drawing/2014/main" id="{512F9295-04B2-06D1-F2AB-4EA6A8D9865D}"/>
              </a:ext>
            </a:extLst>
          </p:cNvPr>
          <p:cNvGrpSpPr/>
          <p:nvPr/>
        </p:nvGrpSpPr>
        <p:grpSpPr>
          <a:xfrm>
            <a:off x="8831458" y="5102965"/>
            <a:ext cx="474774" cy="475350"/>
            <a:chOff x="7548229" y="3943695"/>
            <a:chExt cx="474774" cy="475350"/>
          </a:xfrm>
          <a:solidFill>
            <a:schemeClr val="bg1"/>
          </a:solidFill>
        </p:grpSpPr>
        <p:sp>
          <p:nvSpPr>
            <p:cNvPr id="87" name="Freeform 146">
              <a:extLst>
                <a:ext uri="{FF2B5EF4-FFF2-40B4-BE49-F238E27FC236}">
                  <a16:creationId xmlns:a16="http://schemas.microsoft.com/office/drawing/2014/main" id="{8B3832A1-7F0B-3EF7-EDF1-6B59B4595BF3}"/>
                </a:ext>
              </a:extLst>
            </p:cNvPr>
            <p:cNvSpPr>
              <a:spLocks noEditPoints="1"/>
            </p:cNvSpPr>
            <p:nvPr/>
          </p:nvSpPr>
          <p:spPr bwMode="auto">
            <a:xfrm>
              <a:off x="7548229" y="3943695"/>
              <a:ext cx="474774" cy="475350"/>
            </a:xfrm>
            <a:custGeom>
              <a:avLst/>
              <a:gdLst>
                <a:gd name="T0" fmla="*/ 149 w 149"/>
                <a:gd name="T1" fmla="*/ 74 h 149"/>
                <a:gd name="T2" fmla="*/ 74 w 149"/>
                <a:gd name="T3" fmla="*/ 0 h 149"/>
                <a:gd name="T4" fmla="*/ 0 w 149"/>
                <a:gd name="T5" fmla="*/ 74 h 149"/>
                <a:gd name="T6" fmla="*/ 74 w 149"/>
                <a:gd name="T7" fmla="*/ 149 h 149"/>
                <a:gd name="T8" fmla="*/ 149 w 149"/>
                <a:gd name="T9" fmla="*/ 74 h 149"/>
                <a:gd name="T10" fmla="*/ 136 w 149"/>
                <a:gd name="T11" fmla="*/ 68 h 149"/>
                <a:gd name="T12" fmla="*/ 128 w 149"/>
                <a:gd name="T13" fmla="*/ 68 h 149"/>
                <a:gd name="T14" fmla="*/ 121 w 149"/>
                <a:gd name="T15" fmla="*/ 75 h 149"/>
                <a:gd name="T16" fmla="*/ 128 w 149"/>
                <a:gd name="T17" fmla="*/ 81 h 149"/>
                <a:gd name="T18" fmla="*/ 136 w 149"/>
                <a:gd name="T19" fmla="*/ 81 h 149"/>
                <a:gd name="T20" fmla="*/ 81 w 149"/>
                <a:gd name="T21" fmla="*/ 136 h 149"/>
                <a:gd name="T22" fmla="*/ 81 w 149"/>
                <a:gd name="T23" fmla="*/ 128 h 149"/>
                <a:gd name="T24" fmla="*/ 74 w 149"/>
                <a:gd name="T25" fmla="*/ 121 h 149"/>
                <a:gd name="T26" fmla="*/ 68 w 149"/>
                <a:gd name="T27" fmla="*/ 128 h 149"/>
                <a:gd name="T28" fmla="*/ 68 w 149"/>
                <a:gd name="T29" fmla="*/ 136 h 149"/>
                <a:gd name="T30" fmla="*/ 13 w 149"/>
                <a:gd name="T31" fmla="*/ 81 h 149"/>
                <a:gd name="T32" fmla="*/ 21 w 149"/>
                <a:gd name="T33" fmla="*/ 81 h 149"/>
                <a:gd name="T34" fmla="*/ 28 w 149"/>
                <a:gd name="T35" fmla="*/ 75 h 149"/>
                <a:gd name="T36" fmla="*/ 21 w 149"/>
                <a:gd name="T37" fmla="*/ 68 h 149"/>
                <a:gd name="T38" fmla="*/ 13 w 149"/>
                <a:gd name="T39" fmla="*/ 68 h 149"/>
                <a:gd name="T40" fmla="*/ 68 w 149"/>
                <a:gd name="T41" fmla="*/ 13 h 149"/>
                <a:gd name="T42" fmla="*/ 68 w 149"/>
                <a:gd name="T43" fmla="*/ 22 h 149"/>
                <a:gd name="T44" fmla="*/ 74 w 149"/>
                <a:gd name="T45" fmla="*/ 28 h 149"/>
                <a:gd name="T46" fmla="*/ 81 w 149"/>
                <a:gd name="T47" fmla="*/ 22 h 149"/>
                <a:gd name="T48" fmla="*/ 81 w 149"/>
                <a:gd name="T49" fmla="*/ 13 h 149"/>
                <a:gd name="T50" fmla="*/ 136 w 149"/>
                <a:gd name="T51"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49">
                  <a:moveTo>
                    <a:pt x="149" y="74"/>
                  </a:moveTo>
                  <a:cubicBezTo>
                    <a:pt x="149" y="33"/>
                    <a:pt x="116" y="0"/>
                    <a:pt x="74" y="0"/>
                  </a:cubicBezTo>
                  <a:cubicBezTo>
                    <a:pt x="33" y="0"/>
                    <a:pt x="0" y="33"/>
                    <a:pt x="0" y="74"/>
                  </a:cubicBezTo>
                  <a:cubicBezTo>
                    <a:pt x="0" y="116"/>
                    <a:pt x="33" y="149"/>
                    <a:pt x="74" y="149"/>
                  </a:cubicBezTo>
                  <a:cubicBezTo>
                    <a:pt x="116" y="149"/>
                    <a:pt x="149" y="116"/>
                    <a:pt x="149" y="74"/>
                  </a:cubicBezTo>
                  <a:close/>
                  <a:moveTo>
                    <a:pt x="136" y="68"/>
                  </a:moveTo>
                  <a:cubicBezTo>
                    <a:pt x="128" y="68"/>
                    <a:pt x="128" y="68"/>
                    <a:pt x="128" y="68"/>
                  </a:cubicBezTo>
                  <a:cubicBezTo>
                    <a:pt x="124" y="68"/>
                    <a:pt x="121" y="71"/>
                    <a:pt x="121" y="75"/>
                  </a:cubicBezTo>
                  <a:cubicBezTo>
                    <a:pt x="121" y="78"/>
                    <a:pt x="124" y="81"/>
                    <a:pt x="128" y="81"/>
                  </a:cubicBezTo>
                  <a:cubicBezTo>
                    <a:pt x="136" y="81"/>
                    <a:pt x="136" y="81"/>
                    <a:pt x="136" y="81"/>
                  </a:cubicBezTo>
                  <a:cubicBezTo>
                    <a:pt x="133" y="110"/>
                    <a:pt x="110" y="133"/>
                    <a:pt x="81" y="136"/>
                  </a:cubicBezTo>
                  <a:cubicBezTo>
                    <a:pt x="81" y="128"/>
                    <a:pt x="81" y="128"/>
                    <a:pt x="81" y="128"/>
                  </a:cubicBezTo>
                  <a:cubicBezTo>
                    <a:pt x="81" y="124"/>
                    <a:pt x="78" y="121"/>
                    <a:pt x="74" y="121"/>
                  </a:cubicBezTo>
                  <a:cubicBezTo>
                    <a:pt x="71" y="121"/>
                    <a:pt x="68" y="124"/>
                    <a:pt x="68" y="128"/>
                  </a:cubicBezTo>
                  <a:cubicBezTo>
                    <a:pt x="68" y="136"/>
                    <a:pt x="68" y="136"/>
                    <a:pt x="68" y="136"/>
                  </a:cubicBezTo>
                  <a:cubicBezTo>
                    <a:pt x="39" y="133"/>
                    <a:pt x="16" y="110"/>
                    <a:pt x="13" y="81"/>
                  </a:cubicBezTo>
                  <a:cubicBezTo>
                    <a:pt x="21" y="81"/>
                    <a:pt x="21" y="81"/>
                    <a:pt x="21" y="81"/>
                  </a:cubicBezTo>
                  <a:cubicBezTo>
                    <a:pt x="25" y="81"/>
                    <a:pt x="28" y="78"/>
                    <a:pt x="28" y="75"/>
                  </a:cubicBezTo>
                  <a:cubicBezTo>
                    <a:pt x="28" y="71"/>
                    <a:pt x="25" y="68"/>
                    <a:pt x="21" y="68"/>
                  </a:cubicBezTo>
                  <a:cubicBezTo>
                    <a:pt x="13" y="68"/>
                    <a:pt x="13" y="68"/>
                    <a:pt x="13" y="68"/>
                  </a:cubicBezTo>
                  <a:cubicBezTo>
                    <a:pt x="16" y="39"/>
                    <a:pt x="39" y="16"/>
                    <a:pt x="68" y="13"/>
                  </a:cubicBezTo>
                  <a:cubicBezTo>
                    <a:pt x="68" y="22"/>
                    <a:pt x="68" y="22"/>
                    <a:pt x="68" y="22"/>
                  </a:cubicBezTo>
                  <a:cubicBezTo>
                    <a:pt x="68" y="25"/>
                    <a:pt x="71" y="28"/>
                    <a:pt x="74" y="28"/>
                  </a:cubicBezTo>
                  <a:cubicBezTo>
                    <a:pt x="78" y="28"/>
                    <a:pt x="81" y="25"/>
                    <a:pt x="81" y="22"/>
                  </a:cubicBezTo>
                  <a:cubicBezTo>
                    <a:pt x="81" y="13"/>
                    <a:pt x="81" y="13"/>
                    <a:pt x="81" y="13"/>
                  </a:cubicBezTo>
                  <a:cubicBezTo>
                    <a:pt x="110" y="16"/>
                    <a:pt x="133" y="39"/>
                    <a:pt x="136"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47">
              <a:extLst>
                <a:ext uri="{FF2B5EF4-FFF2-40B4-BE49-F238E27FC236}">
                  <a16:creationId xmlns:a16="http://schemas.microsoft.com/office/drawing/2014/main" id="{99CF4276-2CCF-F7C3-F5F7-D399683351E5}"/>
                </a:ext>
              </a:extLst>
            </p:cNvPr>
            <p:cNvSpPr>
              <a:spLocks/>
            </p:cNvSpPr>
            <p:nvPr/>
          </p:nvSpPr>
          <p:spPr bwMode="auto">
            <a:xfrm>
              <a:off x="7672684" y="4064693"/>
              <a:ext cx="229320" cy="137708"/>
            </a:xfrm>
            <a:custGeom>
              <a:avLst/>
              <a:gdLst>
                <a:gd name="T0" fmla="*/ 65 w 72"/>
                <a:gd name="T1" fmla="*/ 43 h 43"/>
                <a:gd name="T2" fmla="*/ 35 w 72"/>
                <a:gd name="T3" fmla="*/ 43 h 43"/>
                <a:gd name="T4" fmla="*/ 31 w 72"/>
                <a:gd name="T5" fmla="*/ 41 h 43"/>
                <a:gd name="T6" fmla="*/ 2 w 72"/>
                <a:gd name="T7" fmla="*/ 12 h 43"/>
                <a:gd name="T8" fmla="*/ 2 w 72"/>
                <a:gd name="T9" fmla="*/ 3 h 43"/>
                <a:gd name="T10" fmla="*/ 11 w 72"/>
                <a:gd name="T11" fmla="*/ 3 h 43"/>
                <a:gd name="T12" fmla="*/ 38 w 72"/>
                <a:gd name="T13" fmla="*/ 30 h 43"/>
                <a:gd name="T14" fmla="*/ 65 w 72"/>
                <a:gd name="T15" fmla="*/ 30 h 43"/>
                <a:gd name="T16" fmla="*/ 72 w 72"/>
                <a:gd name="T17" fmla="*/ 37 h 43"/>
                <a:gd name="T18" fmla="*/ 65 w 72"/>
                <a:gd name="T1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43">
                  <a:moveTo>
                    <a:pt x="65" y="43"/>
                  </a:moveTo>
                  <a:cubicBezTo>
                    <a:pt x="35" y="43"/>
                    <a:pt x="35" y="43"/>
                    <a:pt x="35" y="43"/>
                  </a:cubicBezTo>
                  <a:cubicBezTo>
                    <a:pt x="34" y="43"/>
                    <a:pt x="32" y="42"/>
                    <a:pt x="31" y="41"/>
                  </a:cubicBezTo>
                  <a:cubicBezTo>
                    <a:pt x="2" y="12"/>
                    <a:pt x="2" y="12"/>
                    <a:pt x="2" y="12"/>
                  </a:cubicBezTo>
                  <a:cubicBezTo>
                    <a:pt x="0" y="9"/>
                    <a:pt x="0" y="5"/>
                    <a:pt x="2" y="3"/>
                  </a:cubicBezTo>
                  <a:cubicBezTo>
                    <a:pt x="5" y="0"/>
                    <a:pt x="9" y="0"/>
                    <a:pt x="11" y="3"/>
                  </a:cubicBezTo>
                  <a:cubicBezTo>
                    <a:pt x="38" y="30"/>
                    <a:pt x="38" y="30"/>
                    <a:pt x="38" y="30"/>
                  </a:cubicBezTo>
                  <a:cubicBezTo>
                    <a:pt x="65" y="30"/>
                    <a:pt x="65" y="30"/>
                    <a:pt x="65" y="30"/>
                  </a:cubicBezTo>
                  <a:cubicBezTo>
                    <a:pt x="69" y="30"/>
                    <a:pt x="72" y="33"/>
                    <a:pt x="72" y="37"/>
                  </a:cubicBezTo>
                  <a:cubicBezTo>
                    <a:pt x="72" y="40"/>
                    <a:pt x="69" y="43"/>
                    <a:pt x="6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0" name="ZoneTexte 84">
            <a:extLst>
              <a:ext uri="{FF2B5EF4-FFF2-40B4-BE49-F238E27FC236}">
                <a16:creationId xmlns:a16="http://schemas.microsoft.com/office/drawing/2014/main" id="{04153FF9-8189-2FE9-9226-293CE47B3702}"/>
              </a:ext>
            </a:extLst>
          </p:cNvPr>
          <p:cNvSpPr txBox="1"/>
          <p:nvPr/>
        </p:nvSpPr>
        <p:spPr>
          <a:xfrm>
            <a:off x="9354757" y="5853458"/>
            <a:ext cx="2515327" cy="584775"/>
          </a:xfrm>
          <a:prstGeom prst="rect">
            <a:avLst/>
          </a:prstGeom>
          <a:noFill/>
        </p:spPr>
        <p:txBody>
          <a:bodyPr wrap="square">
            <a:spAutoFit/>
          </a:bodyPr>
          <a:lstStyle/>
          <a:p>
            <a:r>
              <a:rPr lang="en-US" sz="1600"/>
              <a:t>Lower environmental impact</a:t>
            </a:r>
          </a:p>
        </p:txBody>
      </p:sp>
      <p:grpSp>
        <p:nvGrpSpPr>
          <p:cNvPr id="93" name="Groupe 1001">
            <a:extLst>
              <a:ext uri="{FF2B5EF4-FFF2-40B4-BE49-F238E27FC236}">
                <a16:creationId xmlns:a16="http://schemas.microsoft.com/office/drawing/2014/main" id="{DFB02919-C6AD-FD8B-F0B0-9A6324F7404E}"/>
              </a:ext>
            </a:extLst>
          </p:cNvPr>
          <p:cNvGrpSpPr/>
          <p:nvPr/>
        </p:nvGrpSpPr>
        <p:grpSpPr>
          <a:xfrm>
            <a:off x="8866848" y="6034369"/>
            <a:ext cx="364199" cy="291362"/>
            <a:chOff x="3537660" y="2647133"/>
            <a:chExt cx="412748" cy="330200"/>
          </a:xfrm>
          <a:solidFill>
            <a:schemeClr val="bg1"/>
          </a:solidFill>
        </p:grpSpPr>
        <p:sp>
          <p:nvSpPr>
            <p:cNvPr id="94" name="Freeform 169">
              <a:extLst>
                <a:ext uri="{FF2B5EF4-FFF2-40B4-BE49-F238E27FC236}">
                  <a16:creationId xmlns:a16="http://schemas.microsoft.com/office/drawing/2014/main" id="{421A44E7-9D0A-726F-02A5-CAC4717872AD}"/>
                </a:ext>
              </a:extLst>
            </p:cNvPr>
            <p:cNvSpPr>
              <a:spLocks/>
            </p:cNvSpPr>
            <p:nvPr/>
          </p:nvSpPr>
          <p:spPr bwMode="auto">
            <a:xfrm>
              <a:off x="3637671" y="2647133"/>
              <a:ext cx="312737" cy="327024"/>
            </a:xfrm>
            <a:custGeom>
              <a:avLst/>
              <a:gdLst>
                <a:gd name="T0" fmla="*/ 66 w 83"/>
                <a:gd name="T1" fmla="*/ 16 h 87"/>
                <a:gd name="T2" fmla="*/ 34 w 83"/>
                <a:gd name="T3" fmla="*/ 42 h 87"/>
                <a:gd name="T4" fmla="*/ 19 w 83"/>
                <a:gd name="T5" fmla="*/ 87 h 87"/>
                <a:gd name="T6" fmla="*/ 64 w 83"/>
                <a:gd name="T7" fmla="*/ 54 h 87"/>
                <a:gd name="T8" fmla="*/ 83 w 83"/>
                <a:gd name="T9" fmla="*/ 1 h 87"/>
                <a:gd name="T10" fmla="*/ 22 w 83"/>
                <a:gd name="T11" fmla="*/ 25 h 87"/>
                <a:gd name="T12" fmla="*/ 13 w 83"/>
                <a:gd name="T13" fmla="*/ 87 h 87"/>
                <a:gd name="T14" fmla="*/ 66 w 83"/>
                <a:gd name="T15" fmla="*/ 1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87">
                  <a:moveTo>
                    <a:pt x="66" y="16"/>
                  </a:moveTo>
                  <a:cubicBezTo>
                    <a:pt x="66" y="16"/>
                    <a:pt x="50" y="21"/>
                    <a:pt x="34" y="42"/>
                  </a:cubicBezTo>
                  <a:cubicBezTo>
                    <a:pt x="19" y="63"/>
                    <a:pt x="19" y="87"/>
                    <a:pt x="19" y="87"/>
                  </a:cubicBezTo>
                  <a:cubicBezTo>
                    <a:pt x="19" y="87"/>
                    <a:pt x="43" y="81"/>
                    <a:pt x="64" y="54"/>
                  </a:cubicBezTo>
                  <a:cubicBezTo>
                    <a:pt x="80" y="36"/>
                    <a:pt x="83" y="6"/>
                    <a:pt x="83" y="1"/>
                  </a:cubicBezTo>
                  <a:cubicBezTo>
                    <a:pt x="82" y="4"/>
                    <a:pt x="43" y="0"/>
                    <a:pt x="22" y="25"/>
                  </a:cubicBezTo>
                  <a:cubicBezTo>
                    <a:pt x="0" y="52"/>
                    <a:pt x="13" y="87"/>
                    <a:pt x="13" y="87"/>
                  </a:cubicBezTo>
                  <a:cubicBezTo>
                    <a:pt x="13" y="87"/>
                    <a:pt x="18" y="34"/>
                    <a:pt x="66"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70">
              <a:extLst>
                <a:ext uri="{FF2B5EF4-FFF2-40B4-BE49-F238E27FC236}">
                  <a16:creationId xmlns:a16="http://schemas.microsoft.com/office/drawing/2014/main" id="{87EFA87D-B116-36C3-407D-351652A4C135}"/>
                </a:ext>
              </a:extLst>
            </p:cNvPr>
            <p:cNvSpPr>
              <a:spLocks/>
            </p:cNvSpPr>
            <p:nvPr/>
          </p:nvSpPr>
          <p:spPr bwMode="auto">
            <a:xfrm>
              <a:off x="3537660" y="2796358"/>
              <a:ext cx="171450" cy="180975"/>
            </a:xfrm>
            <a:custGeom>
              <a:avLst/>
              <a:gdLst>
                <a:gd name="T0" fmla="*/ 9 w 46"/>
                <a:gd name="T1" fmla="*/ 9 h 48"/>
                <a:gd name="T2" fmla="*/ 27 w 46"/>
                <a:gd name="T3" fmla="*/ 24 h 48"/>
                <a:gd name="T4" fmla="*/ 36 w 46"/>
                <a:gd name="T5" fmla="*/ 48 h 48"/>
                <a:gd name="T6" fmla="*/ 11 w 46"/>
                <a:gd name="T7" fmla="*/ 30 h 48"/>
                <a:gd name="T8" fmla="*/ 0 w 46"/>
                <a:gd name="T9" fmla="*/ 1 h 48"/>
                <a:gd name="T10" fmla="*/ 34 w 46"/>
                <a:gd name="T11" fmla="*/ 14 h 48"/>
                <a:gd name="T12" fmla="*/ 39 w 46"/>
                <a:gd name="T13" fmla="*/ 48 h 48"/>
                <a:gd name="T14" fmla="*/ 9 w 46"/>
                <a:gd name="T15" fmla="*/ 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8">
                  <a:moveTo>
                    <a:pt x="9" y="9"/>
                  </a:moveTo>
                  <a:cubicBezTo>
                    <a:pt x="9" y="9"/>
                    <a:pt x="18" y="12"/>
                    <a:pt x="27" y="24"/>
                  </a:cubicBezTo>
                  <a:cubicBezTo>
                    <a:pt x="36" y="35"/>
                    <a:pt x="36" y="48"/>
                    <a:pt x="36" y="48"/>
                  </a:cubicBezTo>
                  <a:cubicBezTo>
                    <a:pt x="36" y="48"/>
                    <a:pt x="23" y="45"/>
                    <a:pt x="11" y="30"/>
                  </a:cubicBezTo>
                  <a:cubicBezTo>
                    <a:pt x="2" y="20"/>
                    <a:pt x="0" y="4"/>
                    <a:pt x="0" y="1"/>
                  </a:cubicBezTo>
                  <a:cubicBezTo>
                    <a:pt x="1" y="2"/>
                    <a:pt x="22" y="0"/>
                    <a:pt x="34" y="14"/>
                  </a:cubicBezTo>
                  <a:cubicBezTo>
                    <a:pt x="46" y="29"/>
                    <a:pt x="39" y="48"/>
                    <a:pt x="39" y="48"/>
                  </a:cubicBezTo>
                  <a:cubicBezTo>
                    <a:pt x="39" y="48"/>
                    <a:pt x="36" y="19"/>
                    <a:pt x="9"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3" name="Ellipse 102">
            <a:extLst>
              <a:ext uri="{FF2B5EF4-FFF2-40B4-BE49-F238E27FC236}">
                <a16:creationId xmlns:a16="http://schemas.microsoft.com/office/drawing/2014/main" id="{BFBCAA25-D0F3-45E6-BE61-645050CD6CB6}"/>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2625830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a:xfrm>
            <a:off x="404813" y="401016"/>
            <a:ext cx="6392594" cy="716711"/>
          </a:xfrm>
        </p:spPr>
        <p:txBody>
          <a:bodyPr/>
          <a:lstStyle/>
          <a:p>
            <a:r>
              <a:rPr lang="en-US"/>
              <a:t>Forecast of lithium required with current technologies</a:t>
            </a:r>
            <a:endParaRPr lang="en-IN"/>
          </a:p>
        </p:txBody>
      </p:sp>
      <p:graphicFrame>
        <p:nvGraphicFramePr>
          <p:cNvPr id="5" name="Graphique 4">
            <a:extLst>
              <a:ext uri="{FF2B5EF4-FFF2-40B4-BE49-F238E27FC236}">
                <a16:creationId xmlns:a16="http://schemas.microsoft.com/office/drawing/2014/main" id="{86D7EB5F-AEE0-45F4-B2F7-1E4A0D8C5667}"/>
              </a:ext>
            </a:extLst>
          </p:cNvPr>
          <p:cNvGraphicFramePr>
            <a:graphicFrameLocks/>
          </p:cNvGraphicFramePr>
          <p:nvPr>
            <p:extLst>
              <p:ext uri="{D42A27DB-BD31-4B8C-83A1-F6EECF244321}">
                <p14:modId xmlns:p14="http://schemas.microsoft.com/office/powerpoint/2010/main" val="2268229655"/>
              </p:ext>
            </p:extLst>
          </p:nvPr>
        </p:nvGraphicFramePr>
        <p:xfrm>
          <a:off x="404812" y="1898188"/>
          <a:ext cx="7698039" cy="3819737"/>
        </p:xfrm>
        <a:graphic>
          <a:graphicData uri="http://schemas.openxmlformats.org/drawingml/2006/chart">
            <c:chart xmlns:c="http://schemas.openxmlformats.org/drawingml/2006/chart" xmlns:r="http://schemas.openxmlformats.org/officeDocument/2006/relationships" r:id="rId3"/>
          </a:graphicData>
        </a:graphic>
      </p:graphicFrame>
      <p:sp>
        <p:nvSpPr>
          <p:cNvPr id="9" name="ZoneTexte 8">
            <a:extLst>
              <a:ext uri="{FF2B5EF4-FFF2-40B4-BE49-F238E27FC236}">
                <a16:creationId xmlns:a16="http://schemas.microsoft.com/office/drawing/2014/main" id="{8C6D3EAB-E590-434F-A9C2-C0697E0ABAC8}"/>
              </a:ext>
            </a:extLst>
          </p:cNvPr>
          <p:cNvSpPr txBox="1"/>
          <p:nvPr/>
        </p:nvSpPr>
        <p:spPr>
          <a:xfrm>
            <a:off x="4552749" y="5600952"/>
            <a:ext cx="3550102"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Ubuntu"/>
                <a:ea typeface="+mn-ea"/>
                <a:cs typeface="+mn-cs"/>
              </a:rPr>
              <a:t>* Starting from the indicated year, figures are forecasts based on the evolution of electric vehicles</a:t>
            </a:r>
            <a:endParaRPr kumimoji="0" lang="fr-FR" sz="1100" b="0" i="0" u="none" strike="noStrike" kern="1200" cap="none" spc="0" normalizeH="0" baseline="0" noProof="0">
              <a:ln>
                <a:noFill/>
              </a:ln>
              <a:solidFill>
                <a:prstClr val="black"/>
              </a:solidFill>
              <a:effectLst/>
              <a:uLnTx/>
              <a:uFillTx/>
              <a:latin typeface="Ubuntu"/>
              <a:ea typeface="+mn-ea"/>
              <a:cs typeface="+mn-cs"/>
            </a:endParaRPr>
          </a:p>
        </p:txBody>
      </p:sp>
      <p:sp>
        <p:nvSpPr>
          <p:cNvPr id="10" name="Text Placeholder 8">
            <a:extLst>
              <a:ext uri="{FF2B5EF4-FFF2-40B4-BE49-F238E27FC236}">
                <a16:creationId xmlns:a16="http://schemas.microsoft.com/office/drawing/2014/main" id="{B5B5F9E9-0219-4CB8-9B99-277131669B64}"/>
              </a:ext>
            </a:extLst>
          </p:cNvPr>
          <p:cNvSpPr txBox="1">
            <a:spLocks/>
          </p:cNvSpPr>
          <p:nvPr/>
        </p:nvSpPr>
        <p:spPr>
          <a:xfrm>
            <a:off x="8696447" y="1513919"/>
            <a:ext cx="3249612" cy="3547125"/>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12ABDB"/>
              </a:buClr>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To achieve EV sales forecast, lithium supplies will need to double from 2021 levels to reach 0.2 Mt in 2025 (17 million EV sales) and rise to 0.5 Mt by 2030 (39 million EV sales)</a:t>
            </a:r>
          </a:p>
          <a:p>
            <a:pPr marL="0" marR="0" lvl="0" indent="0" algn="l" defTabSz="914400" rtl="0" eaLnBrk="1" fontAlgn="auto" latinLnBrk="0" hangingPunct="1">
              <a:lnSpc>
                <a:spcPct val="100000"/>
              </a:lnSpc>
              <a:spcBef>
                <a:spcPts val="0"/>
              </a:spcBef>
              <a:spcAft>
                <a:spcPts val="900"/>
              </a:spcAft>
              <a:buClr>
                <a:srgbClr val="12ABDB"/>
              </a:buClr>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In absence of recycling, low carbon technologies will require massive amounts of critical resources </a:t>
            </a:r>
          </a:p>
          <a:p>
            <a:pPr marL="0" marR="0" lvl="0" indent="0" algn="l" defTabSz="914400" rtl="0" eaLnBrk="1" fontAlgn="auto" latinLnBrk="0" hangingPunct="1">
              <a:lnSpc>
                <a:spcPct val="100000"/>
              </a:lnSpc>
              <a:spcBef>
                <a:spcPts val="0"/>
              </a:spcBef>
              <a:spcAft>
                <a:spcPts val="900"/>
              </a:spcAft>
              <a:buClr>
                <a:srgbClr val="12ABDB"/>
              </a:buClr>
              <a:buSzTx/>
              <a:buFont typeface="Arial" panose="020B0604020202020204" pitchFamily="34" charset="0"/>
              <a:buNone/>
              <a:tabLst/>
              <a:defRPr/>
            </a:pPr>
            <a:r>
              <a:rPr kumimoji="0" lang="en-US" sz="16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Do not trade European Russian gas dependency against China critical mineral resources and equipment dependency </a:t>
            </a:r>
          </a:p>
          <a:p>
            <a:pPr marL="0" marR="0" lvl="0" indent="0" algn="l" defTabSz="914400" rtl="0" eaLnBrk="1" fontAlgn="auto" latinLnBrk="0" hangingPunct="1">
              <a:lnSpc>
                <a:spcPct val="100000"/>
              </a:lnSpc>
              <a:spcBef>
                <a:spcPts val="0"/>
              </a:spcBef>
              <a:spcAft>
                <a:spcPts val="900"/>
              </a:spcAft>
              <a:buClr>
                <a:srgbClr val="12ABDB"/>
              </a:buClr>
              <a:buSzTx/>
              <a:buFont typeface="Arial" panose="020B0604020202020204" pitchFamily="34" charset="0"/>
              <a:buNone/>
              <a:tabLst/>
              <a:defRPr/>
            </a:pPr>
            <a:endParaRPr kumimoji="0" lang="en-US" sz="16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p:txBody>
      </p:sp>
      <p:sp>
        <p:nvSpPr>
          <p:cNvPr id="11" name="Text Placeholder 5">
            <a:extLst>
              <a:ext uri="{FF2B5EF4-FFF2-40B4-BE49-F238E27FC236}">
                <a16:creationId xmlns:a16="http://schemas.microsoft.com/office/drawing/2014/main" id="{22B595D0-CF47-455A-A1E9-0903E19D4AAD}"/>
              </a:ext>
            </a:extLst>
          </p:cNvPr>
          <p:cNvSpPr txBox="1">
            <a:spLocks/>
          </p:cNvSpPr>
          <p:nvPr/>
        </p:nvSpPr>
        <p:spPr>
          <a:xfrm>
            <a:off x="416187" y="1298476"/>
            <a:ext cx="5031827" cy="430887"/>
          </a:xfrm>
          <a:prstGeom prst="rect">
            <a:avLst/>
          </a:prstGeom>
          <a:solidFill>
            <a:schemeClr val="bg1"/>
          </a:solidFill>
        </p:spPr>
        <p:txBody>
          <a:bodyPr wrap="non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Projection of worldwide lithium demand from 2019 to 2030</a:t>
            </a:r>
            <a:br>
              <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br>
            <a:r>
              <a:rPr kumimoji="0" lang="en-US" sz="1400" b="0" i="0" u="none" strike="noStrike" kern="1200" cap="none" spc="0" normalizeH="0" baseline="0" noProof="0">
                <a:ln>
                  <a:noFill/>
                </a:ln>
                <a:solidFill>
                  <a:srgbClr val="12ABDB"/>
                </a:solidFill>
                <a:effectLst/>
                <a:uLnTx/>
                <a:uFillTx/>
                <a:latin typeface="Ubuntu" panose="020B0504030602030204" pitchFamily="34" charset="0"/>
                <a:ea typeface="+mn-ea"/>
                <a:cs typeface="+mn-cs"/>
              </a:rPr>
              <a:t>(in 1,000 metric tons of lithium carbonate equivalent)</a:t>
            </a:r>
          </a:p>
        </p:txBody>
      </p:sp>
      <p:sp>
        <p:nvSpPr>
          <p:cNvPr id="12" name="TextBox 11">
            <a:extLst>
              <a:ext uri="{FF2B5EF4-FFF2-40B4-BE49-F238E27FC236}">
                <a16:creationId xmlns:a16="http://schemas.microsoft.com/office/drawing/2014/main" id="{5814A5D5-4D3F-4854-9080-597291CAF06C}"/>
              </a:ext>
            </a:extLst>
          </p:cNvPr>
          <p:cNvSpPr txBox="1"/>
          <p:nvPr/>
        </p:nvSpPr>
        <p:spPr>
          <a:xfrm>
            <a:off x="411163" y="6329561"/>
            <a:ext cx="939360"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 Statista</a:t>
            </a:r>
          </a:p>
        </p:txBody>
      </p:sp>
      <p:sp>
        <p:nvSpPr>
          <p:cNvPr id="8" name="Ellipse 110">
            <a:extLst>
              <a:ext uri="{FF2B5EF4-FFF2-40B4-BE49-F238E27FC236}">
                <a16:creationId xmlns:a16="http://schemas.microsoft.com/office/drawing/2014/main" id="{4BF6144A-D374-4FB8-B4D1-083C495A3809}"/>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3" name="ZoneTexte 12">
            <a:extLst>
              <a:ext uri="{FF2B5EF4-FFF2-40B4-BE49-F238E27FC236}">
                <a16:creationId xmlns:a16="http://schemas.microsoft.com/office/drawing/2014/main" id="{A54DFD0D-FD7E-430F-B9ED-254946630748}"/>
              </a:ext>
            </a:extLst>
          </p:cNvPr>
          <p:cNvSpPr txBox="1"/>
          <p:nvPr/>
        </p:nvSpPr>
        <p:spPr>
          <a:xfrm>
            <a:off x="2557587" y="6079888"/>
            <a:ext cx="3392487" cy="499346"/>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R="0" lvl="0" indent="0" algn="ctr" fontAlgn="auto">
              <a:lnSpc>
                <a:spcPct val="107000"/>
              </a:lnSpc>
              <a:spcBef>
                <a:spcPts val="0"/>
              </a:spcBef>
              <a:spcAft>
                <a:spcPts val="0"/>
              </a:spcAft>
              <a:buClrTx/>
              <a:buSzTx/>
              <a:buFontTx/>
              <a:buNone/>
              <a:tabLst/>
              <a:defRPr kumimoji="0" b="0" i="0" u="none" strike="noStrike" cap="none" spc="0" normalizeH="0" baseline="0">
                <a:ln>
                  <a:noFill/>
                </a:ln>
                <a:solidFill>
                  <a:srgbClr val="FFFFFF"/>
                </a:solidFill>
                <a:effectLst/>
                <a:uLnTx/>
                <a:uFillTx/>
                <a:latin typeface="Ubuntu"/>
                <a:ea typeface="Calibri" panose="020F050202020403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000"/>
              <a:t>Circular economy is a must</a:t>
            </a:r>
          </a:p>
        </p:txBody>
      </p:sp>
    </p:spTree>
    <p:extLst>
      <p:ext uri="{BB962C8B-B14F-4D97-AF65-F5344CB8AC3E}">
        <p14:creationId xmlns:p14="http://schemas.microsoft.com/office/powerpoint/2010/main" val="39590779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B6761CF5-BC9B-61AB-0156-59C8B9DC45D0}"/>
              </a:ext>
            </a:extLst>
          </p:cNvPr>
          <p:cNvSpPr>
            <a:spLocks noGrp="1"/>
          </p:cNvSpPr>
          <p:nvPr>
            <p:ph type="title"/>
          </p:nvPr>
        </p:nvSpPr>
        <p:spPr/>
        <p:txBody>
          <a:bodyPr/>
          <a:lstStyle/>
          <a:p>
            <a:r>
              <a:rPr lang="en-US" sz="2600" dirty="0"/>
              <a:t>coal usage is increasing: 2022 will be a record year in coal consumption</a:t>
            </a:r>
            <a:endParaRPr lang="en-IN" sz="2600" dirty="0"/>
          </a:p>
        </p:txBody>
      </p:sp>
      <p:sp>
        <p:nvSpPr>
          <p:cNvPr id="5" name="ZoneTexte 27">
            <a:extLst>
              <a:ext uri="{FF2B5EF4-FFF2-40B4-BE49-F238E27FC236}">
                <a16:creationId xmlns:a16="http://schemas.microsoft.com/office/drawing/2014/main" id="{489F1CC5-061C-1FCF-765A-03074EB449BD}"/>
              </a:ext>
            </a:extLst>
          </p:cNvPr>
          <p:cNvSpPr txBox="1"/>
          <p:nvPr/>
        </p:nvSpPr>
        <p:spPr>
          <a:xfrm>
            <a:off x="98846" y="1758691"/>
            <a:ext cx="1878317"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High gas prices make coal plants competitive</a:t>
            </a:r>
          </a:p>
        </p:txBody>
      </p:sp>
      <p:sp>
        <p:nvSpPr>
          <p:cNvPr id="6" name="ZoneTexte 36">
            <a:extLst>
              <a:ext uri="{FF2B5EF4-FFF2-40B4-BE49-F238E27FC236}">
                <a16:creationId xmlns:a16="http://schemas.microsoft.com/office/drawing/2014/main" id="{CA23C76B-DB0B-3B5C-291B-F786BCD5C481}"/>
              </a:ext>
            </a:extLst>
          </p:cNvPr>
          <p:cNvSpPr txBox="1"/>
          <p:nvPr/>
        </p:nvSpPr>
        <p:spPr>
          <a:xfrm>
            <a:off x="5047574" y="1758691"/>
            <a:ext cx="207417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t>Re-opening coal plants in Europe</a:t>
            </a:r>
          </a:p>
        </p:txBody>
      </p:sp>
      <p:sp>
        <p:nvSpPr>
          <p:cNvPr id="8" name="ZoneTexte 69">
            <a:extLst>
              <a:ext uri="{FF2B5EF4-FFF2-40B4-BE49-F238E27FC236}">
                <a16:creationId xmlns:a16="http://schemas.microsoft.com/office/drawing/2014/main" id="{2784239A-68CA-5164-3FD8-07E1356D9500}"/>
              </a:ext>
            </a:extLst>
          </p:cNvPr>
          <p:cNvSpPr txBox="1"/>
          <p:nvPr/>
        </p:nvSpPr>
        <p:spPr>
          <a:xfrm>
            <a:off x="4737532" y="5146942"/>
            <a:ext cx="20786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Coal is still used as a domestic resource</a:t>
            </a:r>
          </a:p>
        </p:txBody>
      </p:sp>
      <p:sp>
        <p:nvSpPr>
          <p:cNvPr id="82" name="Oval 2">
            <a:extLst>
              <a:ext uri="{FF2B5EF4-FFF2-40B4-BE49-F238E27FC236}">
                <a16:creationId xmlns:a16="http://schemas.microsoft.com/office/drawing/2014/main" id="{F6CF902C-BEDE-4F6C-AC11-5BEC3A48048F}"/>
              </a:ext>
            </a:extLst>
          </p:cNvPr>
          <p:cNvSpPr>
            <a:spLocks/>
          </p:cNvSpPr>
          <p:nvPr/>
        </p:nvSpPr>
        <p:spPr bwMode="gray">
          <a:xfrm>
            <a:off x="2114994" y="2113220"/>
            <a:ext cx="2885999" cy="2885999"/>
          </a:xfrm>
          <a:prstGeom prst="ellipse">
            <a:avLst/>
          </a:prstGeom>
          <a:solidFill>
            <a:schemeClr val="bg2">
              <a:lumMod val="90000"/>
            </a:schemeClr>
          </a:solidFill>
          <a:ln w="9525">
            <a:noFill/>
            <a:round/>
            <a:headEnd type="triangle" w="med" len="med"/>
            <a:tailEnd type="triangle" w="med" len="med"/>
          </a:ln>
          <a:effectLst/>
          <a:scene3d>
            <a:camera prst="orthographicFront"/>
            <a:lightRig rig="balanced" dir="t">
              <a:rot lat="0" lon="0" rev="7200000"/>
            </a:lightRig>
          </a:scene3d>
          <a:sp3d prstMaterial="metal"/>
        </p:spPr>
        <p:txBody>
          <a:bodyPr lIns="81639" tIns="72000" rIns="81639" bIns="72000" anchor="ctr" anchorCtr="1"/>
          <a:lstStyle/>
          <a:p>
            <a:pPr marL="0" marR="0" lvl="0" indent="0" algn="ctr" defTabSz="914400" rtl="0" eaLnBrk="1" fontAlgn="auto" latinLnBrk="0" hangingPunct="1">
              <a:lnSpc>
                <a:spcPct val="100000"/>
              </a:lnSpc>
              <a:spcBef>
                <a:spcPts val="400"/>
              </a:spcBef>
              <a:spcAft>
                <a:spcPts val="0"/>
              </a:spcAft>
              <a:buClrTx/>
              <a:buSzTx/>
              <a:buFontTx/>
              <a:buNone/>
              <a:tabLst>
                <a:tab pos="656650" algn="l"/>
                <a:tab pos="1313299" algn="l"/>
              </a:tabLst>
              <a:defRPr/>
            </a:pPr>
            <a:r>
              <a:rPr kumimoji="0" lang="en-US" sz="1600" b="0" i="0" u="none" strike="noStrike" kern="1200" cap="all" spc="0" normalizeH="0" noProof="0">
                <a:ln>
                  <a:noFill/>
                </a:ln>
                <a:solidFill>
                  <a:srgbClr val="FFFFFF"/>
                </a:solidFill>
                <a:effectLst/>
                <a:uLnTx/>
                <a:uFillTx/>
                <a:latin typeface="+mj-lt"/>
                <a:ea typeface="+mn-ea"/>
                <a:cs typeface="+mn-cs"/>
              </a:rPr>
              <a:t>Text</a:t>
            </a:r>
          </a:p>
        </p:txBody>
      </p:sp>
      <p:sp>
        <p:nvSpPr>
          <p:cNvPr id="84" name="Ellipse 12">
            <a:extLst>
              <a:ext uri="{FF2B5EF4-FFF2-40B4-BE49-F238E27FC236}">
                <a16:creationId xmlns:a16="http://schemas.microsoft.com/office/drawing/2014/main" id="{95A0EC23-86DB-46F4-8384-D56B50D4A676}"/>
              </a:ext>
            </a:extLst>
          </p:cNvPr>
          <p:cNvSpPr/>
          <p:nvPr/>
        </p:nvSpPr>
        <p:spPr>
          <a:xfrm>
            <a:off x="2426194" y="2424421"/>
            <a:ext cx="2263598" cy="22635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400"/>
              </a:spcBef>
              <a:spcAft>
                <a:spcPts val="0"/>
              </a:spcAft>
              <a:buClrTx/>
              <a:buSzTx/>
              <a:buFontTx/>
              <a:buNone/>
              <a:tabLst>
                <a:tab pos="656650" algn="l"/>
                <a:tab pos="1313299" algn="l"/>
              </a:tabLst>
              <a:defRPr/>
            </a:pPr>
            <a:r>
              <a:rPr kumimoji="0" lang="en-US" sz="2200" b="0" i="0" u="none" strike="noStrike" kern="1200" cap="all" spc="0" normalizeH="0" baseline="0">
                <a:ln>
                  <a:noFill/>
                </a:ln>
                <a:solidFill>
                  <a:schemeClr val="accent1"/>
                </a:solidFill>
                <a:effectLst/>
                <a:uLnTx/>
                <a:uFillTx/>
                <a:latin typeface="Ubuntu Medium"/>
                <a:ea typeface="+mn-ea"/>
                <a:cs typeface="+mn-cs"/>
              </a:rPr>
              <a:t>Main reasons for  coal revival</a:t>
            </a:r>
          </a:p>
        </p:txBody>
      </p:sp>
      <p:sp>
        <p:nvSpPr>
          <p:cNvPr id="96" name="Pfeil nach oben 22">
            <a:extLst>
              <a:ext uri="{FF2B5EF4-FFF2-40B4-BE49-F238E27FC236}">
                <a16:creationId xmlns:a16="http://schemas.microsoft.com/office/drawing/2014/main" id="{8D7321C2-D164-48CA-8F5F-4A70348CAFF5}"/>
              </a:ext>
            </a:extLst>
          </p:cNvPr>
          <p:cNvSpPr>
            <a:spLocks noChangeAspect="1"/>
          </p:cNvSpPr>
          <p:nvPr/>
        </p:nvSpPr>
        <p:spPr bwMode="gray">
          <a:xfrm rot="13500000">
            <a:off x="4547736" y="2136117"/>
            <a:ext cx="135518" cy="720000"/>
          </a:xfrm>
          <a:prstGeom prst="upArrow">
            <a:avLst/>
          </a:prstGeom>
          <a:solidFill>
            <a:srgbClr val="336B7D"/>
          </a:solidFill>
          <a:ln w="12700">
            <a:noFill/>
            <a:miter lim="800000"/>
            <a:headEnd/>
            <a:tailEnd/>
          </a:ln>
          <a:effectLst/>
        </p:spPr>
        <p:txBody>
          <a:bodyPr lIns="0" tIns="0" rIns="0" bIns="0" anchor="ctr"/>
          <a:lstStyle/>
          <a:p>
            <a:pPr marL="0" marR="0" lvl="0" indent="0" algn="ctr" defTabSz="801688" rtl="0" eaLnBrk="0" fontAlgn="auto" latinLnBrk="0" hangingPunct="0">
              <a:lnSpc>
                <a:spcPct val="100000"/>
              </a:lnSpc>
              <a:spcBef>
                <a:spcPts val="400"/>
              </a:spcBef>
              <a:spcAft>
                <a:spcPts val="0"/>
              </a:spcAft>
              <a:buClr>
                <a:srgbClr val="969696"/>
              </a:buClr>
              <a:buSzTx/>
              <a:buFontTx/>
              <a:buNone/>
              <a:tabLst/>
              <a:defRPr/>
            </a:pPr>
            <a:endParaRPr kumimoji="0" lang="en-US" sz="1400" b="1" i="0" u="none" strike="noStrike" kern="1200" cap="none" spc="0" normalizeH="0" noProof="0">
              <a:ln>
                <a:noFill/>
              </a:ln>
              <a:solidFill>
                <a:srgbClr val="000000"/>
              </a:solidFill>
              <a:effectLst/>
              <a:uLnTx/>
              <a:uFillTx/>
              <a:ea typeface="+mn-ea"/>
              <a:cs typeface="+mn-cs"/>
            </a:endParaRPr>
          </a:p>
        </p:txBody>
      </p:sp>
      <p:sp>
        <p:nvSpPr>
          <p:cNvPr id="142" name="Ellipse 23">
            <a:extLst>
              <a:ext uri="{FF2B5EF4-FFF2-40B4-BE49-F238E27FC236}">
                <a16:creationId xmlns:a16="http://schemas.microsoft.com/office/drawing/2014/main" id="{B92F5863-93FD-493D-8BBD-B1A806FA9894}"/>
              </a:ext>
            </a:extLst>
          </p:cNvPr>
          <p:cNvSpPr/>
          <p:nvPr/>
        </p:nvSpPr>
        <p:spPr bwMode="gray">
          <a:xfrm rot="2700000">
            <a:off x="4587139" y="1948471"/>
            <a:ext cx="576000" cy="576000"/>
          </a:xfrm>
          <a:prstGeom prst="ellipse">
            <a:avLst/>
          </a:prstGeom>
          <a:solidFill>
            <a:srgbClr val="336B7D"/>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noProof="0">
              <a:ln>
                <a:noFill/>
              </a:ln>
              <a:solidFill>
                <a:srgbClr val="FFFFFF"/>
              </a:solidFill>
              <a:effectLst/>
              <a:uLnTx/>
              <a:uFillTx/>
              <a:ea typeface="+mn-ea"/>
              <a:cs typeface="+mn-cs"/>
            </a:endParaRPr>
          </a:p>
        </p:txBody>
      </p:sp>
      <p:grpSp>
        <p:nvGrpSpPr>
          <p:cNvPr id="143" name="Group 5">
            <a:extLst>
              <a:ext uri="{FF2B5EF4-FFF2-40B4-BE49-F238E27FC236}">
                <a16:creationId xmlns:a16="http://schemas.microsoft.com/office/drawing/2014/main" id="{D2A5E926-AAA2-4DF7-8311-5BF60F2B6C4D}"/>
              </a:ext>
            </a:extLst>
          </p:cNvPr>
          <p:cNvGrpSpPr/>
          <p:nvPr/>
        </p:nvGrpSpPr>
        <p:grpSpPr>
          <a:xfrm>
            <a:off x="4737532" y="2042695"/>
            <a:ext cx="355500" cy="338965"/>
            <a:chOff x="2928394" y="1817761"/>
            <a:chExt cx="521536" cy="497278"/>
          </a:xfrm>
        </p:grpSpPr>
        <p:sp>
          <p:nvSpPr>
            <p:cNvPr id="144" name="Freeform 6">
              <a:extLst>
                <a:ext uri="{FF2B5EF4-FFF2-40B4-BE49-F238E27FC236}">
                  <a16:creationId xmlns:a16="http://schemas.microsoft.com/office/drawing/2014/main" id="{A0EF9856-D769-4BF0-9AFA-385B802A79A4}"/>
                </a:ext>
              </a:extLst>
            </p:cNvPr>
            <p:cNvSpPr>
              <a:spLocks/>
            </p:cNvSpPr>
            <p:nvPr/>
          </p:nvSpPr>
          <p:spPr bwMode="gray">
            <a:xfrm>
              <a:off x="2928394" y="2043943"/>
              <a:ext cx="291472" cy="271096"/>
            </a:xfrm>
            <a:custGeom>
              <a:avLst/>
              <a:gdLst>
                <a:gd name="T0" fmla="*/ 539 w 539"/>
                <a:gd name="T1" fmla="*/ 501 h 501"/>
                <a:gd name="T2" fmla="*/ 2 w 539"/>
                <a:gd name="T3" fmla="*/ 501 h 501"/>
                <a:gd name="T4" fmla="*/ 8 w 539"/>
                <a:gd name="T5" fmla="*/ 491 h 501"/>
                <a:gd name="T6" fmla="*/ 127 w 539"/>
                <a:gd name="T7" fmla="*/ 0 h 501"/>
                <a:gd name="T8" fmla="*/ 411 w 539"/>
                <a:gd name="T9" fmla="*/ 22 h 501"/>
                <a:gd name="T10" fmla="*/ 406 w 539"/>
                <a:gd name="T11" fmla="*/ 106 h 501"/>
                <a:gd name="T12" fmla="*/ 539 w 539"/>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539" h="501">
                  <a:moveTo>
                    <a:pt x="539" y="501"/>
                  </a:moveTo>
                  <a:cubicBezTo>
                    <a:pt x="360" y="501"/>
                    <a:pt x="181" y="501"/>
                    <a:pt x="2" y="501"/>
                  </a:cubicBezTo>
                  <a:cubicBezTo>
                    <a:pt x="0" y="496"/>
                    <a:pt x="6" y="494"/>
                    <a:pt x="8" y="491"/>
                  </a:cubicBezTo>
                  <a:cubicBezTo>
                    <a:pt x="94" y="378"/>
                    <a:pt x="153" y="207"/>
                    <a:pt x="127" y="0"/>
                  </a:cubicBezTo>
                  <a:cubicBezTo>
                    <a:pt x="229" y="0"/>
                    <a:pt x="324" y="6"/>
                    <a:pt x="411" y="22"/>
                  </a:cubicBezTo>
                  <a:cubicBezTo>
                    <a:pt x="409" y="50"/>
                    <a:pt x="406" y="78"/>
                    <a:pt x="406" y="106"/>
                  </a:cubicBezTo>
                  <a:cubicBezTo>
                    <a:pt x="404" y="274"/>
                    <a:pt x="470" y="405"/>
                    <a:pt x="539" y="50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Calibri Light" panose="020F0302020204030204" pitchFamily="34" charset="0"/>
              </a:endParaRPr>
            </a:p>
          </p:txBody>
        </p:sp>
        <p:sp>
          <p:nvSpPr>
            <p:cNvPr id="145" name="Freeform 63">
              <a:extLst>
                <a:ext uri="{FF2B5EF4-FFF2-40B4-BE49-F238E27FC236}">
                  <a16:creationId xmlns:a16="http://schemas.microsoft.com/office/drawing/2014/main" id="{1CF0DA49-5B36-46B0-BD5F-3707086BA69F}"/>
                </a:ext>
              </a:extLst>
            </p:cNvPr>
            <p:cNvSpPr>
              <a:spLocks/>
            </p:cNvSpPr>
            <p:nvPr/>
          </p:nvSpPr>
          <p:spPr bwMode="gray">
            <a:xfrm>
              <a:off x="3014503" y="1817761"/>
              <a:ext cx="435427" cy="194572"/>
            </a:xfrm>
            <a:custGeom>
              <a:avLst/>
              <a:gdLst>
                <a:gd name="T0" fmla="*/ 99 w 215"/>
                <a:gd name="T1" fmla="*/ 17 h 96"/>
                <a:gd name="T2" fmla="*/ 118 w 215"/>
                <a:gd name="T3" fmla="*/ 14 h 96"/>
                <a:gd name="T4" fmla="*/ 124 w 215"/>
                <a:gd name="T5" fmla="*/ 23 h 96"/>
                <a:gd name="T6" fmla="*/ 214 w 215"/>
                <a:gd name="T7" fmla="*/ 42 h 96"/>
                <a:gd name="T8" fmla="*/ 200 w 215"/>
                <a:gd name="T9" fmla="*/ 56 h 96"/>
                <a:gd name="T10" fmla="*/ 142 w 215"/>
                <a:gd name="T11" fmla="*/ 65 h 96"/>
                <a:gd name="T12" fmla="*/ 112 w 215"/>
                <a:gd name="T13" fmla="*/ 75 h 96"/>
                <a:gd name="T14" fmla="*/ 92 w 215"/>
                <a:gd name="T15" fmla="*/ 88 h 96"/>
                <a:gd name="T16" fmla="*/ 55 w 215"/>
                <a:gd name="T17" fmla="*/ 78 h 96"/>
                <a:gd name="T18" fmla="*/ 35 w 215"/>
                <a:gd name="T19" fmla="*/ 96 h 96"/>
                <a:gd name="T20" fmla="*/ 27 w 215"/>
                <a:gd name="T21" fmla="*/ 96 h 96"/>
                <a:gd name="T22" fmla="*/ 15 w 215"/>
                <a:gd name="T23" fmla="*/ 50 h 96"/>
                <a:gd name="T24" fmla="*/ 53 w 215"/>
                <a:gd name="T25" fmla="*/ 16 h 96"/>
                <a:gd name="T26" fmla="*/ 99 w 215"/>
                <a:gd name="T27"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96">
                  <a:moveTo>
                    <a:pt x="99" y="17"/>
                  </a:moveTo>
                  <a:cubicBezTo>
                    <a:pt x="104" y="15"/>
                    <a:pt x="109" y="13"/>
                    <a:pt x="118" y="14"/>
                  </a:cubicBezTo>
                  <a:cubicBezTo>
                    <a:pt x="120" y="16"/>
                    <a:pt x="124" y="18"/>
                    <a:pt x="124" y="23"/>
                  </a:cubicBezTo>
                  <a:cubicBezTo>
                    <a:pt x="162" y="11"/>
                    <a:pt x="171" y="54"/>
                    <a:pt x="214" y="42"/>
                  </a:cubicBezTo>
                  <a:cubicBezTo>
                    <a:pt x="215" y="48"/>
                    <a:pt x="206" y="52"/>
                    <a:pt x="200" y="56"/>
                  </a:cubicBezTo>
                  <a:cubicBezTo>
                    <a:pt x="187" y="64"/>
                    <a:pt x="164" y="72"/>
                    <a:pt x="142" y="65"/>
                  </a:cubicBezTo>
                  <a:cubicBezTo>
                    <a:pt x="139" y="76"/>
                    <a:pt x="125" y="80"/>
                    <a:pt x="112" y="75"/>
                  </a:cubicBezTo>
                  <a:cubicBezTo>
                    <a:pt x="104" y="82"/>
                    <a:pt x="101" y="87"/>
                    <a:pt x="92" y="88"/>
                  </a:cubicBezTo>
                  <a:cubicBezTo>
                    <a:pt x="78" y="90"/>
                    <a:pt x="66" y="78"/>
                    <a:pt x="55" y="78"/>
                  </a:cubicBezTo>
                  <a:cubicBezTo>
                    <a:pt x="44" y="77"/>
                    <a:pt x="40" y="85"/>
                    <a:pt x="35" y="96"/>
                  </a:cubicBezTo>
                  <a:cubicBezTo>
                    <a:pt x="32" y="96"/>
                    <a:pt x="29" y="96"/>
                    <a:pt x="27" y="96"/>
                  </a:cubicBezTo>
                  <a:cubicBezTo>
                    <a:pt x="25" y="80"/>
                    <a:pt x="0" y="65"/>
                    <a:pt x="15" y="50"/>
                  </a:cubicBezTo>
                  <a:cubicBezTo>
                    <a:pt x="12" y="25"/>
                    <a:pt x="32" y="3"/>
                    <a:pt x="53" y="16"/>
                  </a:cubicBezTo>
                  <a:cubicBezTo>
                    <a:pt x="64" y="7"/>
                    <a:pt x="92" y="0"/>
                    <a:pt x="99" y="17"/>
                  </a:cubicBezTo>
                  <a:close/>
                </a:path>
              </a:pathLst>
            </a:custGeom>
            <a:solidFill>
              <a:schemeClr val="bg1"/>
            </a:solidFill>
            <a:ln w="4" cap="rnd">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panose="020F0302020204030204" pitchFamily="34" charset="0"/>
              </a:endParaRPr>
            </a:p>
          </p:txBody>
        </p:sp>
      </p:grpSp>
      <p:sp>
        <p:nvSpPr>
          <p:cNvPr id="93" name="Pfeil nach oben 17">
            <a:extLst>
              <a:ext uri="{FF2B5EF4-FFF2-40B4-BE49-F238E27FC236}">
                <a16:creationId xmlns:a16="http://schemas.microsoft.com/office/drawing/2014/main" id="{07E928D6-3E9B-4B58-9582-70946FC0350C}"/>
              </a:ext>
            </a:extLst>
          </p:cNvPr>
          <p:cNvSpPr>
            <a:spLocks noChangeAspect="1"/>
          </p:cNvSpPr>
          <p:nvPr/>
        </p:nvSpPr>
        <p:spPr bwMode="gray">
          <a:xfrm rot="2700000">
            <a:off x="2387360" y="4201229"/>
            <a:ext cx="135518" cy="720000"/>
          </a:xfrm>
          <a:prstGeom prst="upArrow">
            <a:avLst/>
          </a:prstGeom>
          <a:solidFill>
            <a:srgbClr val="336B7D"/>
          </a:solidFill>
          <a:ln w="12700">
            <a:noFill/>
            <a:miter lim="800000"/>
            <a:headEnd/>
            <a:tailEnd/>
          </a:ln>
          <a:effectLst/>
        </p:spPr>
        <p:txBody>
          <a:bodyPr lIns="0" tIns="0" rIns="0" bIns="0" anchor="ctr"/>
          <a:lstStyle/>
          <a:p>
            <a:pPr marL="0" marR="0" lvl="0" indent="0" algn="ctr" defTabSz="801688" rtl="0" eaLnBrk="0" fontAlgn="auto" latinLnBrk="0" hangingPunct="0">
              <a:lnSpc>
                <a:spcPct val="100000"/>
              </a:lnSpc>
              <a:spcBef>
                <a:spcPts val="400"/>
              </a:spcBef>
              <a:spcAft>
                <a:spcPts val="0"/>
              </a:spcAft>
              <a:buClr>
                <a:srgbClr val="969696"/>
              </a:buClr>
              <a:buSzTx/>
              <a:buFontTx/>
              <a:buNone/>
              <a:tabLst/>
              <a:defRPr/>
            </a:pPr>
            <a:endParaRPr kumimoji="0" lang="en-US" sz="1400" b="1" i="0" u="none" strike="noStrike" kern="1200" cap="none" spc="0" normalizeH="0" noProof="0">
              <a:ln>
                <a:noFill/>
              </a:ln>
              <a:solidFill>
                <a:srgbClr val="000000"/>
              </a:solidFill>
              <a:effectLst/>
              <a:uLnTx/>
              <a:uFillTx/>
              <a:ea typeface="+mn-ea"/>
              <a:cs typeface="+mn-cs"/>
            </a:endParaRPr>
          </a:p>
        </p:txBody>
      </p:sp>
      <p:sp>
        <p:nvSpPr>
          <p:cNvPr id="147" name="Pfeil nach oben 22">
            <a:extLst>
              <a:ext uri="{FF2B5EF4-FFF2-40B4-BE49-F238E27FC236}">
                <a16:creationId xmlns:a16="http://schemas.microsoft.com/office/drawing/2014/main" id="{5661F056-0FFB-42D1-8184-C9EDC941949C}"/>
              </a:ext>
            </a:extLst>
          </p:cNvPr>
          <p:cNvSpPr>
            <a:spLocks noChangeAspect="1"/>
          </p:cNvSpPr>
          <p:nvPr/>
        </p:nvSpPr>
        <p:spPr bwMode="gray">
          <a:xfrm rot="8100000">
            <a:off x="2438512" y="2142657"/>
            <a:ext cx="135518" cy="720000"/>
          </a:xfrm>
          <a:prstGeom prst="upArrow">
            <a:avLst/>
          </a:prstGeom>
          <a:solidFill>
            <a:srgbClr val="336B7D"/>
          </a:solidFill>
          <a:ln w="12700">
            <a:noFill/>
            <a:miter lim="800000"/>
            <a:headEnd/>
            <a:tailEnd/>
          </a:ln>
          <a:effectLst/>
        </p:spPr>
        <p:txBody>
          <a:bodyPr lIns="0" tIns="0" rIns="0" bIns="0" anchor="ctr"/>
          <a:lstStyle/>
          <a:p>
            <a:pPr marL="0" marR="0" lvl="0" indent="0" algn="ctr" defTabSz="801688" rtl="0" eaLnBrk="0" fontAlgn="auto" latinLnBrk="0" hangingPunct="0">
              <a:lnSpc>
                <a:spcPct val="100000"/>
              </a:lnSpc>
              <a:spcBef>
                <a:spcPts val="400"/>
              </a:spcBef>
              <a:spcAft>
                <a:spcPts val="0"/>
              </a:spcAft>
              <a:buClr>
                <a:srgbClr val="969696"/>
              </a:buClr>
              <a:buSzTx/>
              <a:buFontTx/>
              <a:buNone/>
              <a:tabLst/>
              <a:defRPr/>
            </a:pPr>
            <a:endParaRPr kumimoji="0" lang="en-US" sz="1400" b="1" i="0" u="none" strike="noStrike" kern="1200" cap="none" spc="0" normalizeH="0" noProof="0">
              <a:ln>
                <a:noFill/>
              </a:ln>
              <a:solidFill>
                <a:srgbClr val="000000"/>
              </a:solidFill>
              <a:effectLst/>
              <a:uLnTx/>
              <a:uFillTx/>
              <a:ea typeface="+mn-ea"/>
              <a:cs typeface="+mn-cs"/>
            </a:endParaRPr>
          </a:p>
        </p:txBody>
      </p:sp>
      <p:sp>
        <p:nvSpPr>
          <p:cNvPr id="154" name="Pfeil nach oben 22">
            <a:extLst>
              <a:ext uri="{FF2B5EF4-FFF2-40B4-BE49-F238E27FC236}">
                <a16:creationId xmlns:a16="http://schemas.microsoft.com/office/drawing/2014/main" id="{EBFEA2F8-6AEE-4155-9B29-B49204233430}"/>
              </a:ext>
            </a:extLst>
          </p:cNvPr>
          <p:cNvSpPr>
            <a:spLocks noChangeAspect="1"/>
          </p:cNvSpPr>
          <p:nvPr/>
        </p:nvSpPr>
        <p:spPr bwMode="gray">
          <a:xfrm rot="18900000">
            <a:off x="4550534" y="4246061"/>
            <a:ext cx="135518" cy="720000"/>
          </a:xfrm>
          <a:prstGeom prst="upArrow">
            <a:avLst/>
          </a:prstGeom>
          <a:solidFill>
            <a:srgbClr val="336B7D"/>
          </a:solidFill>
          <a:ln w="12700">
            <a:noFill/>
            <a:miter lim="800000"/>
            <a:headEnd/>
            <a:tailEnd/>
          </a:ln>
          <a:effectLst/>
        </p:spPr>
        <p:txBody>
          <a:bodyPr lIns="0" tIns="0" rIns="0" bIns="0" anchor="ctr"/>
          <a:lstStyle/>
          <a:p>
            <a:pPr marL="0" marR="0" lvl="0" indent="0" algn="ctr" defTabSz="801688" rtl="0" eaLnBrk="0" fontAlgn="auto" latinLnBrk="0" hangingPunct="0">
              <a:lnSpc>
                <a:spcPct val="100000"/>
              </a:lnSpc>
              <a:spcBef>
                <a:spcPts val="400"/>
              </a:spcBef>
              <a:spcAft>
                <a:spcPts val="0"/>
              </a:spcAft>
              <a:buClr>
                <a:srgbClr val="969696"/>
              </a:buClr>
              <a:buSzTx/>
              <a:buFontTx/>
              <a:buNone/>
              <a:tabLst/>
              <a:defRPr/>
            </a:pPr>
            <a:endParaRPr kumimoji="0" lang="en-US" sz="1400" b="1" i="0" u="none" strike="noStrike" kern="1200" cap="none" spc="0" normalizeH="0" noProof="0">
              <a:ln>
                <a:noFill/>
              </a:ln>
              <a:solidFill>
                <a:srgbClr val="000000"/>
              </a:solidFill>
              <a:effectLst/>
              <a:uLnTx/>
              <a:uFillTx/>
              <a:ea typeface="+mn-ea"/>
              <a:cs typeface="+mn-cs"/>
            </a:endParaRPr>
          </a:p>
        </p:txBody>
      </p:sp>
      <p:sp>
        <p:nvSpPr>
          <p:cNvPr id="156" name="Ellipse 23">
            <a:extLst>
              <a:ext uri="{FF2B5EF4-FFF2-40B4-BE49-F238E27FC236}">
                <a16:creationId xmlns:a16="http://schemas.microsoft.com/office/drawing/2014/main" id="{71BD0686-29D2-466E-ABC0-15D903A3048C}"/>
              </a:ext>
            </a:extLst>
          </p:cNvPr>
          <p:cNvSpPr/>
          <p:nvPr/>
        </p:nvSpPr>
        <p:spPr bwMode="gray">
          <a:xfrm rot="8100000">
            <a:off x="4589938" y="4577705"/>
            <a:ext cx="576000" cy="576000"/>
          </a:xfrm>
          <a:prstGeom prst="ellipse">
            <a:avLst/>
          </a:prstGeom>
          <a:solidFill>
            <a:srgbClr val="336B7D"/>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noProof="0">
              <a:ln>
                <a:noFill/>
              </a:ln>
              <a:solidFill>
                <a:srgbClr val="FFFFFF"/>
              </a:solidFill>
              <a:effectLst/>
              <a:uLnTx/>
              <a:uFillTx/>
              <a:ea typeface="+mn-ea"/>
              <a:cs typeface="+mn-cs"/>
            </a:endParaRPr>
          </a:p>
        </p:txBody>
      </p:sp>
      <p:grpSp>
        <p:nvGrpSpPr>
          <p:cNvPr id="187" name="Group 15">
            <a:extLst>
              <a:ext uri="{FF2B5EF4-FFF2-40B4-BE49-F238E27FC236}">
                <a16:creationId xmlns:a16="http://schemas.microsoft.com/office/drawing/2014/main" id="{07EB83F6-539E-4E9A-885C-82207637CEFE}"/>
              </a:ext>
            </a:extLst>
          </p:cNvPr>
          <p:cNvGrpSpPr/>
          <p:nvPr/>
        </p:nvGrpSpPr>
        <p:grpSpPr>
          <a:xfrm>
            <a:off x="4689790" y="4688024"/>
            <a:ext cx="384087" cy="343214"/>
            <a:chOff x="702733" y="2349063"/>
            <a:chExt cx="443162" cy="396000"/>
          </a:xfrm>
        </p:grpSpPr>
        <p:sp>
          <p:nvSpPr>
            <p:cNvPr id="188" name="Freeform 28">
              <a:extLst>
                <a:ext uri="{FF2B5EF4-FFF2-40B4-BE49-F238E27FC236}">
                  <a16:creationId xmlns:a16="http://schemas.microsoft.com/office/drawing/2014/main" id="{AFB75CB7-8A40-4220-996A-D20A945BA103}"/>
                </a:ext>
              </a:extLst>
            </p:cNvPr>
            <p:cNvSpPr>
              <a:spLocks/>
            </p:cNvSpPr>
            <p:nvPr/>
          </p:nvSpPr>
          <p:spPr bwMode="auto">
            <a:xfrm>
              <a:off x="778340" y="2447876"/>
              <a:ext cx="292697" cy="297187"/>
            </a:xfrm>
            <a:custGeom>
              <a:avLst/>
              <a:gdLst>
                <a:gd name="T0" fmla="*/ 745 w 898"/>
                <a:gd name="T1" fmla="*/ 263 h 912"/>
                <a:gd name="T2" fmla="*/ 449 w 898"/>
                <a:gd name="T3" fmla="*/ 0 h 912"/>
                <a:gd name="T4" fmla="*/ 153 w 898"/>
                <a:gd name="T5" fmla="*/ 263 h 912"/>
                <a:gd name="T6" fmla="*/ 77 w 898"/>
                <a:gd name="T7" fmla="*/ 331 h 912"/>
                <a:gd name="T8" fmla="*/ 0 w 898"/>
                <a:gd name="T9" fmla="*/ 399 h 912"/>
                <a:gd name="T10" fmla="*/ 0 w 898"/>
                <a:gd name="T11" fmla="*/ 835 h 912"/>
                <a:gd name="T12" fmla="*/ 77 w 898"/>
                <a:gd name="T13" fmla="*/ 912 h 912"/>
                <a:gd name="T14" fmla="*/ 287 w 898"/>
                <a:gd name="T15" fmla="*/ 912 h 912"/>
                <a:gd name="T16" fmla="*/ 287 w 898"/>
                <a:gd name="T17" fmla="*/ 835 h 912"/>
                <a:gd name="T18" fmla="*/ 287 w 898"/>
                <a:gd name="T19" fmla="*/ 758 h 912"/>
                <a:gd name="T20" fmla="*/ 287 w 898"/>
                <a:gd name="T21" fmla="*/ 537 h 912"/>
                <a:gd name="T22" fmla="*/ 611 w 898"/>
                <a:gd name="T23" fmla="*/ 537 h 912"/>
                <a:gd name="T24" fmla="*/ 611 w 898"/>
                <a:gd name="T25" fmla="*/ 758 h 912"/>
                <a:gd name="T26" fmla="*/ 611 w 898"/>
                <a:gd name="T27" fmla="*/ 835 h 912"/>
                <a:gd name="T28" fmla="*/ 611 w 898"/>
                <a:gd name="T29" fmla="*/ 912 h 912"/>
                <a:gd name="T30" fmla="*/ 821 w 898"/>
                <a:gd name="T31" fmla="*/ 912 h 912"/>
                <a:gd name="T32" fmla="*/ 898 w 898"/>
                <a:gd name="T33" fmla="*/ 835 h 912"/>
                <a:gd name="T34" fmla="*/ 898 w 898"/>
                <a:gd name="T35" fmla="*/ 399 h 912"/>
                <a:gd name="T36" fmla="*/ 821 w 898"/>
                <a:gd name="T37" fmla="*/ 331 h 912"/>
                <a:gd name="T38" fmla="*/ 745 w 898"/>
                <a:gd name="T39" fmla="*/ 263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8" h="912">
                  <a:moveTo>
                    <a:pt x="745" y="263"/>
                  </a:moveTo>
                  <a:cubicBezTo>
                    <a:pt x="449" y="0"/>
                    <a:pt x="449" y="0"/>
                    <a:pt x="449" y="0"/>
                  </a:cubicBezTo>
                  <a:cubicBezTo>
                    <a:pt x="153" y="263"/>
                    <a:pt x="153" y="263"/>
                    <a:pt x="153" y="263"/>
                  </a:cubicBezTo>
                  <a:cubicBezTo>
                    <a:pt x="77" y="331"/>
                    <a:pt x="77" y="331"/>
                    <a:pt x="77" y="331"/>
                  </a:cubicBezTo>
                  <a:cubicBezTo>
                    <a:pt x="0" y="399"/>
                    <a:pt x="0" y="399"/>
                    <a:pt x="0" y="399"/>
                  </a:cubicBezTo>
                  <a:cubicBezTo>
                    <a:pt x="0" y="835"/>
                    <a:pt x="0" y="835"/>
                    <a:pt x="0" y="835"/>
                  </a:cubicBezTo>
                  <a:cubicBezTo>
                    <a:pt x="0" y="877"/>
                    <a:pt x="34" y="912"/>
                    <a:pt x="77" y="912"/>
                  </a:cubicBezTo>
                  <a:cubicBezTo>
                    <a:pt x="287" y="912"/>
                    <a:pt x="287" y="912"/>
                    <a:pt x="287" y="912"/>
                  </a:cubicBezTo>
                  <a:cubicBezTo>
                    <a:pt x="287" y="835"/>
                    <a:pt x="287" y="835"/>
                    <a:pt x="287" y="835"/>
                  </a:cubicBezTo>
                  <a:cubicBezTo>
                    <a:pt x="287" y="758"/>
                    <a:pt x="287" y="758"/>
                    <a:pt x="287" y="758"/>
                  </a:cubicBezTo>
                  <a:cubicBezTo>
                    <a:pt x="287" y="537"/>
                    <a:pt x="287" y="537"/>
                    <a:pt x="287" y="537"/>
                  </a:cubicBezTo>
                  <a:cubicBezTo>
                    <a:pt x="611" y="537"/>
                    <a:pt x="611" y="537"/>
                    <a:pt x="611" y="537"/>
                  </a:cubicBezTo>
                  <a:cubicBezTo>
                    <a:pt x="611" y="758"/>
                    <a:pt x="611" y="758"/>
                    <a:pt x="611" y="758"/>
                  </a:cubicBezTo>
                  <a:cubicBezTo>
                    <a:pt x="611" y="835"/>
                    <a:pt x="611" y="835"/>
                    <a:pt x="611" y="835"/>
                  </a:cubicBezTo>
                  <a:cubicBezTo>
                    <a:pt x="611" y="912"/>
                    <a:pt x="611" y="912"/>
                    <a:pt x="611" y="912"/>
                  </a:cubicBezTo>
                  <a:cubicBezTo>
                    <a:pt x="821" y="912"/>
                    <a:pt x="821" y="912"/>
                    <a:pt x="821" y="912"/>
                  </a:cubicBezTo>
                  <a:cubicBezTo>
                    <a:pt x="864" y="912"/>
                    <a:pt x="898" y="877"/>
                    <a:pt x="898" y="835"/>
                  </a:cubicBezTo>
                  <a:cubicBezTo>
                    <a:pt x="898" y="399"/>
                    <a:pt x="898" y="399"/>
                    <a:pt x="898" y="399"/>
                  </a:cubicBezTo>
                  <a:cubicBezTo>
                    <a:pt x="821" y="331"/>
                    <a:pt x="821" y="331"/>
                    <a:pt x="821" y="331"/>
                  </a:cubicBezTo>
                  <a:lnTo>
                    <a:pt x="745" y="26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Rectangle: Rounded Corners 1056">
              <a:extLst>
                <a:ext uri="{FF2B5EF4-FFF2-40B4-BE49-F238E27FC236}">
                  <a16:creationId xmlns:a16="http://schemas.microsoft.com/office/drawing/2014/main" id="{4B7738C8-A63A-467D-BA0E-89B3E9B5833A}"/>
                </a:ext>
              </a:extLst>
            </p:cNvPr>
            <p:cNvSpPr/>
            <p:nvPr/>
          </p:nvSpPr>
          <p:spPr>
            <a:xfrm>
              <a:off x="1034130" y="2363514"/>
              <a:ext cx="45719" cy="126252"/>
            </a:xfrm>
            <a:prstGeom prst="roundRect">
              <a:avLst>
                <a:gd name="adj" fmla="val 5603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90" name="Freeform 29">
              <a:extLst>
                <a:ext uri="{FF2B5EF4-FFF2-40B4-BE49-F238E27FC236}">
                  <a16:creationId xmlns:a16="http://schemas.microsoft.com/office/drawing/2014/main" id="{C3417A44-D159-46FE-BF23-C56A45BAEC67}"/>
                </a:ext>
              </a:extLst>
            </p:cNvPr>
            <p:cNvSpPr>
              <a:spLocks/>
            </p:cNvSpPr>
            <p:nvPr/>
          </p:nvSpPr>
          <p:spPr bwMode="auto">
            <a:xfrm>
              <a:off x="702733" y="2349063"/>
              <a:ext cx="443162" cy="227569"/>
            </a:xfrm>
            <a:custGeom>
              <a:avLst/>
              <a:gdLst>
                <a:gd name="T0" fmla="*/ 1324 w 1358"/>
                <a:gd name="T1" fmla="*/ 554 h 697"/>
                <a:gd name="T2" fmla="*/ 730 w 1358"/>
                <a:gd name="T3" fmla="*/ 26 h 697"/>
                <a:gd name="T4" fmla="*/ 628 w 1358"/>
                <a:gd name="T5" fmla="*/ 26 h 697"/>
                <a:gd name="T6" fmla="*/ 34 w 1358"/>
                <a:gd name="T7" fmla="*/ 554 h 697"/>
                <a:gd name="T8" fmla="*/ 28 w 1358"/>
                <a:gd name="T9" fmla="*/ 662 h 697"/>
                <a:gd name="T10" fmla="*/ 85 w 1358"/>
                <a:gd name="T11" fmla="*/ 688 h 697"/>
                <a:gd name="T12" fmla="*/ 136 w 1358"/>
                <a:gd name="T13" fmla="*/ 669 h 697"/>
                <a:gd name="T14" fmla="*/ 230 w 1358"/>
                <a:gd name="T15" fmla="*/ 586 h 697"/>
                <a:gd name="T16" fmla="*/ 307 w 1358"/>
                <a:gd name="T17" fmla="*/ 517 h 697"/>
                <a:gd name="T18" fmla="*/ 679 w 1358"/>
                <a:gd name="T19" fmla="*/ 186 h 697"/>
                <a:gd name="T20" fmla="*/ 1051 w 1358"/>
                <a:gd name="T21" fmla="*/ 517 h 697"/>
                <a:gd name="T22" fmla="*/ 1128 w 1358"/>
                <a:gd name="T23" fmla="*/ 586 h 697"/>
                <a:gd name="T24" fmla="*/ 1222 w 1358"/>
                <a:gd name="T25" fmla="*/ 669 h 697"/>
                <a:gd name="T26" fmla="*/ 1330 w 1358"/>
                <a:gd name="T27" fmla="*/ 662 h 697"/>
                <a:gd name="T28" fmla="*/ 1324 w 1358"/>
                <a:gd name="T29" fmla="*/ 55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8" h="697">
                  <a:moveTo>
                    <a:pt x="1324" y="554"/>
                  </a:moveTo>
                  <a:cubicBezTo>
                    <a:pt x="730" y="26"/>
                    <a:pt x="730" y="26"/>
                    <a:pt x="730" y="26"/>
                  </a:cubicBezTo>
                  <a:cubicBezTo>
                    <a:pt x="701" y="0"/>
                    <a:pt x="657" y="0"/>
                    <a:pt x="628" y="26"/>
                  </a:cubicBezTo>
                  <a:cubicBezTo>
                    <a:pt x="34" y="554"/>
                    <a:pt x="34" y="554"/>
                    <a:pt x="34" y="554"/>
                  </a:cubicBezTo>
                  <a:cubicBezTo>
                    <a:pt x="3" y="582"/>
                    <a:pt x="0" y="631"/>
                    <a:pt x="28" y="662"/>
                  </a:cubicBezTo>
                  <a:cubicBezTo>
                    <a:pt x="43" y="679"/>
                    <a:pt x="64" y="688"/>
                    <a:pt x="85" y="688"/>
                  </a:cubicBezTo>
                  <a:cubicBezTo>
                    <a:pt x="104" y="688"/>
                    <a:pt x="122" y="682"/>
                    <a:pt x="136" y="669"/>
                  </a:cubicBezTo>
                  <a:cubicBezTo>
                    <a:pt x="230" y="586"/>
                    <a:pt x="230" y="586"/>
                    <a:pt x="230" y="586"/>
                  </a:cubicBezTo>
                  <a:cubicBezTo>
                    <a:pt x="307" y="517"/>
                    <a:pt x="307" y="517"/>
                    <a:pt x="307" y="517"/>
                  </a:cubicBezTo>
                  <a:cubicBezTo>
                    <a:pt x="679" y="186"/>
                    <a:pt x="679" y="186"/>
                    <a:pt x="679" y="186"/>
                  </a:cubicBezTo>
                  <a:cubicBezTo>
                    <a:pt x="1051" y="517"/>
                    <a:pt x="1051" y="517"/>
                    <a:pt x="1051" y="517"/>
                  </a:cubicBezTo>
                  <a:cubicBezTo>
                    <a:pt x="1128" y="586"/>
                    <a:pt x="1128" y="586"/>
                    <a:pt x="1128" y="586"/>
                  </a:cubicBezTo>
                  <a:cubicBezTo>
                    <a:pt x="1222" y="669"/>
                    <a:pt x="1222" y="669"/>
                    <a:pt x="1222" y="669"/>
                  </a:cubicBezTo>
                  <a:cubicBezTo>
                    <a:pt x="1253" y="697"/>
                    <a:pt x="1302" y="694"/>
                    <a:pt x="1330" y="662"/>
                  </a:cubicBezTo>
                  <a:cubicBezTo>
                    <a:pt x="1358" y="631"/>
                    <a:pt x="1355" y="582"/>
                    <a:pt x="1324" y="554"/>
                  </a:cubicBezTo>
                  <a:close/>
                </a:path>
              </a:pathLst>
            </a:custGeom>
            <a:solidFill>
              <a:schemeClr val="bg1"/>
            </a:solidFill>
            <a:ln w="12700">
              <a:solidFill>
                <a:srgbClr val="336B7D"/>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96" name="Groupe 195">
            <a:extLst>
              <a:ext uri="{FF2B5EF4-FFF2-40B4-BE49-F238E27FC236}">
                <a16:creationId xmlns:a16="http://schemas.microsoft.com/office/drawing/2014/main" id="{1F263B74-E4C9-4E03-A9C3-FA1F2598BB03}"/>
              </a:ext>
            </a:extLst>
          </p:cNvPr>
          <p:cNvGrpSpPr/>
          <p:nvPr/>
        </p:nvGrpSpPr>
        <p:grpSpPr>
          <a:xfrm>
            <a:off x="1958626" y="1955013"/>
            <a:ext cx="576000" cy="576000"/>
            <a:chOff x="1958626" y="2185475"/>
            <a:chExt cx="576000" cy="576000"/>
          </a:xfrm>
        </p:grpSpPr>
        <p:sp>
          <p:nvSpPr>
            <p:cNvPr id="149" name="Ellipse 23">
              <a:extLst>
                <a:ext uri="{FF2B5EF4-FFF2-40B4-BE49-F238E27FC236}">
                  <a16:creationId xmlns:a16="http://schemas.microsoft.com/office/drawing/2014/main" id="{74658712-74D6-4250-917C-BEDBA470CEB0}"/>
                </a:ext>
              </a:extLst>
            </p:cNvPr>
            <p:cNvSpPr/>
            <p:nvPr/>
          </p:nvSpPr>
          <p:spPr bwMode="gray">
            <a:xfrm rot="18900000">
              <a:off x="1958626" y="2185475"/>
              <a:ext cx="576000" cy="576000"/>
            </a:xfrm>
            <a:prstGeom prst="ellipse">
              <a:avLst/>
            </a:prstGeom>
            <a:solidFill>
              <a:srgbClr val="336B7D"/>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noProof="0">
                <a:ln>
                  <a:noFill/>
                </a:ln>
                <a:solidFill>
                  <a:srgbClr val="FFFFFF"/>
                </a:solidFill>
                <a:effectLst/>
                <a:uLnTx/>
                <a:uFillTx/>
                <a:ea typeface="+mn-ea"/>
                <a:cs typeface="+mn-cs"/>
              </a:endParaRPr>
            </a:p>
          </p:txBody>
        </p:sp>
        <p:grpSp>
          <p:nvGrpSpPr>
            <p:cNvPr id="16" name="Groupe 15">
              <a:extLst>
                <a:ext uri="{FF2B5EF4-FFF2-40B4-BE49-F238E27FC236}">
                  <a16:creationId xmlns:a16="http://schemas.microsoft.com/office/drawing/2014/main" id="{35C78C41-5413-4055-BD84-6E06FDB1BBA6}"/>
                </a:ext>
              </a:extLst>
            </p:cNvPr>
            <p:cNvGrpSpPr/>
            <p:nvPr/>
          </p:nvGrpSpPr>
          <p:grpSpPr>
            <a:xfrm>
              <a:off x="2025676" y="2247774"/>
              <a:ext cx="441901" cy="451402"/>
              <a:chOff x="-1567425" y="1298047"/>
              <a:chExt cx="577790" cy="590212"/>
            </a:xfrm>
          </p:grpSpPr>
          <p:sp>
            <p:nvSpPr>
              <p:cNvPr id="193" name="Arrow: Right 314">
                <a:extLst>
                  <a:ext uri="{FF2B5EF4-FFF2-40B4-BE49-F238E27FC236}">
                    <a16:creationId xmlns:a16="http://schemas.microsoft.com/office/drawing/2014/main" id="{2689ED04-BDB8-449F-8301-FB2EC8D59821}"/>
                  </a:ext>
                </a:extLst>
              </p:cNvPr>
              <p:cNvSpPr/>
              <p:nvPr/>
            </p:nvSpPr>
            <p:spPr>
              <a:xfrm rot="16200000">
                <a:off x="-1458530" y="1450513"/>
                <a:ext cx="360000" cy="288000"/>
              </a:xfrm>
              <a:prstGeom prst="rightArrow">
                <a:avLst>
                  <a:gd name="adj1" fmla="val 47400"/>
                  <a:gd name="adj2" fmla="val 423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94" name="Freeform 398">
                <a:extLst>
                  <a:ext uri="{FF2B5EF4-FFF2-40B4-BE49-F238E27FC236}">
                    <a16:creationId xmlns:a16="http://schemas.microsoft.com/office/drawing/2014/main" id="{8A830EB8-2ED0-4335-B2DA-00A1995C51BA}"/>
                  </a:ext>
                </a:extLst>
              </p:cNvPr>
              <p:cNvSpPr>
                <a:spLocks/>
              </p:cNvSpPr>
              <p:nvPr/>
            </p:nvSpPr>
            <p:spPr bwMode="auto">
              <a:xfrm>
                <a:off x="-1340250" y="1490720"/>
                <a:ext cx="118504" cy="151124"/>
              </a:xfrm>
              <a:custGeom>
                <a:avLst/>
                <a:gdLst>
                  <a:gd name="T0" fmla="*/ 192 w 204"/>
                  <a:gd name="T1" fmla="*/ 204 h 260"/>
                  <a:gd name="T2" fmla="*/ 191 w 204"/>
                  <a:gd name="T3" fmla="*/ 202 h 260"/>
                  <a:gd name="T4" fmla="*/ 191 w 204"/>
                  <a:gd name="T5" fmla="*/ 202 h 260"/>
                  <a:gd name="T6" fmla="*/ 190 w 204"/>
                  <a:gd name="T7" fmla="*/ 201 h 260"/>
                  <a:gd name="T8" fmla="*/ 189 w 204"/>
                  <a:gd name="T9" fmla="*/ 202 h 260"/>
                  <a:gd name="T10" fmla="*/ 188 w 204"/>
                  <a:gd name="T11" fmla="*/ 202 h 260"/>
                  <a:gd name="T12" fmla="*/ 186 w 204"/>
                  <a:gd name="T13" fmla="*/ 203 h 260"/>
                  <a:gd name="T14" fmla="*/ 181 w 204"/>
                  <a:gd name="T15" fmla="*/ 205 h 260"/>
                  <a:gd name="T16" fmla="*/ 176 w 204"/>
                  <a:gd name="T17" fmla="*/ 206 h 260"/>
                  <a:gd name="T18" fmla="*/ 173 w 204"/>
                  <a:gd name="T19" fmla="*/ 207 h 260"/>
                  <a:gd name="T20" fmla="*/ 155 w 204"/>
                  <a:gd name="T21" fmla="*/ 210 h 260"/>
                  <a:gd name="T22" fmla="*/ 109 w 204"/>
                  <a:gd name="T23" fmla="*/ 201 h 260"/>
                  <a:gd name="T24" fmla="*/ 85 w 204"/>
                  <a:gd name="T25" fmla="*/ 164 h 260"/>
                  <a:gd name="T26" fmla="*/ 181 w 204"/>
                  <a:gd name="T27" fmla="*/ 164 h 260"/>
                  <a:gd name="T28" fmla="*/ 181 w 204"/>
                  <a:gd name="T29" fmla="*/ 137 h 260"/>
                  <a:gd name="T30" fmla="*/ 80 w 204"/>
                  <a:gd name="T31" fmla="*/ 137 h 260"/>
                  <a:gd name="T32" fmla="*/ 80 w 204"/>
                  <a:gd name="T33" fmla="*/ 119 h 260"/>
                  <a:gd name="T34" fmla="*/ 181 w 204"/>
                  <a:gd name="T35" fmla="*/ 119 h 260"/>
                  <a:gd name="T36" fmla="*/ 181 w 204"/>
                  <a:gd name="T37" fmla="*/ 92 h 260"/>
                  <a:gd name="T38" fmla="*/ 86 w 204"/>
                  <a:gd name="T39" fmla="*/ 92 h 260"/>
                  <a:gd name="T40" fmla="*/ 87 w 204"/>
                  <a:gd name="T41" fmla="*/ 86 h 260"/>
                  <a:gd name="T42" fmla="*/ 140 w 204"/>
                  <a:gd name="T43" fmla="*/ 46 h 260"/>
                  <a:gd name="T44" fmla="*/ 175 w 204"/>
                  <a:gd name="T45" fmla="*/ 51 h 260"/>
                  <a:gd name="T46" fmla="*/ 188 w 204"/>
                  <a:gd name="T47" fmla="*/ 55 h 260"/>
                  <a:gd name="T48" fmla="*/ 198 w 204"/>
                  <a:gd name="T49" fmla="*/ 12 h 260"/>
                  <a:gd name="T50" fmla="*/ 162 w 204"/>
                  <a:gd name="T51" fmla="*/ 2 h 260"/>
                  <a:gd name="T52" fmla="*/ 150 w 204"/>
                  <a:gd name="T53" fmla="*/ 0 h 260"/>
                  <a:gd name="T54" fmla="*/ 132 w 204"/>
                  <a:gd name="T55" fmla="*/ 0 h 260"/>
                  <a:gd name="T56" fmla="*/ 125 w 204"/>
                  <a:gd name="T57" fmla="*/ 1 h 260"/>
                  <a:gd name="T58" fmla="*/ 84 w 204"/>
                  <a:gd name="T59" fmla="*/ 14 h 260"/>
                  <a:gd name="T60" fmla="*/ 28 w 204"/>
                  <a:gd name="T61" fmla="*/ 82 h 260"/>
                  <a:gd name="T62" fmla="*/ 25 w 204"/>
                  <a:gd name="T63" fmla="*/ 92 h 260"/>
                  <a:gd name="T64" fmla="*/ 0 w 204"/>
                  <a:gd name="T65" fmla="*/ 92 h 260"/>
                  <a:gd name="T66" fmla="*/ 0 w 204"/>
                  <a:gd name="T67" fmla="*/ 119 h 260"/>
                  <a:gd name="T68" fmla="*/ 21 w 204"/>
                  <a:gd name="T69" fmla="*/ 119 h 260"/>
                  <a:gd name="T70" fmla="*/ 21 w 204"/>
                  <a:gd name="T71" fmla="*/ 137 h 260"/>
                  <a:gd name="T72" fmla="*/ 0 w 204"/>
                  <a:gd name="T73" fmla="*/ 137 h 260"/>
                  <a:gd name="T74" fmla="*/ 0 w 204"/>
                  <a:gd name="T75" fmla="*/ 164 h 260"/>
                  <a:gd name="T76" fmla="*/ 25 w 204"/>
                  <a:gd name="T77" fmla="*/ 164 h 260"/>
                  <a:gd name="T78" fmla="*/ 26 w 204"/>
                  <a:gd name="T79" fmla="*/ 169 h 260"/>
                  <a:gd name="T80" fmla="*/ 27 w 204"/>
                  <a:gd name="T81" fmla="*/ 174 h 260"/>
                  <a:gd name="T82" fmla="*/ 90 w 204"/>
                  <a:gd name="T83" fmla="*/ 248 h 260"/>
                  <a:gd name="T84" fmla="*/ 155 w 204"/>
                  <a:gd name="T85" fmla="*/ 257 h 260"/>
                  <a:gd name="T86" fmla="*/ 198 w 204"/>
                  <a:gd name="T87" fmla="*/ 245 h 260"/>
                  <a:gd name="T88" fmla="*/ 199 w 204"/>
                  <a:gd name="T89" fmla="*/ 244 h 260"/>
                  <a:gd name="T90" fmla="*/ 204 w 204"/>
                  <a:gd name="T91" fmla="*/ 243 h 260"/>
                  <a:gd name="T92" fmla="*/ 192 w 204"/>
                  <a:gd name="T93" fmla="*/ 2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60">
                    <a:moveTo>
                      <a:pt x="192" y="204"/>
                    </a:moveTo>
                    <a:cubicBezTo>
                      <a:pt x="192" y="203"/>
                      <a:pt x="192" y="203"/>
                      <a:pt x="191" y="202"/>
                    </a:cubicBezTo>
                    <a:cubicBezTo>
                      <a:pt x="191" y="202"/>
                      <a:pt x="191" y="202"/>
                      <a:pt x="191" y="202"/>
                    </a:cubicBezTo>
                    <a:cubicBezTo>
                      <a:pt x="191" y="202"/>
                      <a:pt x="191" y="201"/>
                      <a:pt x="190" y="201"/>
                    </a:cubicBezTo>
                    <a:cubicBezTo>
                      <a:pt x="190" y="201"/>
                      <a:pt x="190" y="201"/>
                      <a:pt x="189" y="202"/>
                    </a:cubicBezTo>
                    <a:cubicBezTo>
                      <a:pt x="189" y="202"/>
                      <a:pt x="188" y="202"/>
                      <a:pt x="188" y="202"/>
                    </a:cubicBezTo>
                    <a:cubicBezTo>
                      <a:pt x="187" y="202"/>
                      <a:pt x="186" y="203"/>
                      <a:pt x="186" y="203"/>
                    </a:cubicBezTo>
                    <a:cubicBezTo>
                      <a:pt x="184" y="204"/>
                      <a:pt x="182" y="204"/>
                      <a:pt x="181" y="205"/>
                    </a:cubicBezTo>
                    <a:cubicBezTo>
                      <a:pt x="179" y="205"/>
                      <a:pt x="178" y="206"/>
                      <a:pt x="176" y="206"/>
                    </a:cubicBezTo>
                    <a:cubicBezTo>
                      <a:pt x="175" y="207"/>
                      <a:pt x="174" y="207"/>
                      <a:pt x="173" y="207"/>
                    </a:cubicBezTo>
                    <a:cubicBezTo>
                      <a:pt x="167" y="209"/>
                      <a:pt x="161" y="210"/>
                      <a:pt x="155" y="210"/>
                    </a:cubicBezTo>
                    <a:cubicBezTo>
                      <a:pt x="138" y="212"/>
                      <a:pt x="123" y="210"/>
                      <a:pt x="109" y="201"/>
                    </a:cubicBezTo>
                    <a:cubicBezTo>
                      <a:pt x="95" y="192"/>
                      <a:pt x="88" y="180"/>
                      <a:pt x="85" y="164"/>
                    </a:cubicBezTo>
                    <a:cubicBezTo>
                      <a:pt x="117" y="164"/>
                      <a:pt x="149" y="164"/>
                      <a:pt x="181" y="164"/>
                    </a:cubicBezTo>
                    <a:cubicBezTo>
                      <a:pt x="181" y="155"/>
                      <a:pt x="181" y="146"/>
                      <a:pt x="181" y="137"/>
                    </a:cubicBezTo>
                    <a:cubicBezTo>
                      <a:pt x="147" y="137"/>
                      <a:pt x="113" y="137"/>
                      <a:pt x="80" y="137"/>
                    </a:cubicBezTo>
                    <a:cubicBezTo>
                      <a:pt x="80" y="131"/>
                      <a:pt x="80" y="125"/>
                      <a:pt x="80" y="119"/>
                    </a:cubicBezTo>
                    <a:cubicBezTo>
                      <a:pt x="114" y="119"/>
                      <a:pt x="147" y="119"/>
                      <a:pt x="181" y="119"/>
                    </a:cubicBezTo>
                    <a:cubicBezTo>
                      <a:pt x="181" y="110"/>
                      <a:pt x="181" y="101"/>
                      <a:pt x="181" y="92"/>
                    </a:cubicBezTo>
                    <a:cubicBezTo>
                      <a:pt x="149" y="92"/>
                      <a:pt x="118" y="92"/>
                      <a:pt x="86" y="92"/>
                    </a:cubicBezTo>
                    <a:cubicBezTo>
                      <a:pt x="86" y="90"/>
                      <a:pt x="87" y="88"/>
                      <a:pt x="87" y="86"/>
                    </a:cubicBezTo>
                    <a:cubicBezTo>
                      <a:pt x="95" y="63"/>
                      <a:pt x="116" y="48"/>
                      <a:pt x="140" y="46"/>
                    </a:cubicBezTo>
                    <a:cubicBezTo>
                      <a:pt x="152" y="46"/>
                      <a:pt x="164" y="48"/>
                      <a:pt x="175" y="51"/>
                    </a:cubicBezTo>
                    <a:cubicBezTo>
                      <a:pt x="180" y="53"/>
                      <a:pt x="183" y="54"/>
                      <a:pt x="188" y="55"/>
                    </a:cubicBezTo>
                    <a:cubicBezTo>
                      <a:pt x="191" y="41"/>
                      <a:pt x="195" y="26"/>
                      <a:pt x="198" y="12"/>
                    </a:cubicBezTo>
                    <a:cubicBezTo>
                      <a:pt x="187" y="7"/>
                      <a:pt x="175" y="3"/>
                      <a:pt x="162" y="2"/>
                    </a:cubicBezTo>
                    <a:cubicBezTo>
                      <a:pt x="158" y="1"/>
                      <a:pt x="154" y="1"/>
                      <a:pt x="150" y="0"/>
                    </a:cubicBezTo>
                    <a:cubicBezTo>
                      <a:pt x="144" y="0"/>
                      <a:pt x="138" y="0"/>
                      <a:pt x="132" y="0"/>
                    </a:cubicBezTo>
                    <a:cubicBezTo>
                      <a:pt x="130" y="1"/>
                      <a:pt x="127" y="1"/>
                      <a:pt x="125" y="1"/>
                    </a:cubicBezTo>
                    <a:cubicBezTo>
                      <a:pt x="110" y="3"/>
                      <a:pt x="97" y="7"/>
                      <a:pt x="84" y="14"/>
                    </a:cubicBezTo>
                    <a:cubicBezTo>
                      <a:pt x="57" y="29"/>
                      <a:pt x="38" y="52"/>
                      <a:pt x="28" y="82"/>
                    </a:cubicBezTo>
                    <a:cubicBezTo>
                      <a:pt x="27" y="85"/>
                      <a:pt x="26" y="88"/>
                      <a:pt x="25" y="92"/>
                    </a:cubicBezTo>
                    <a:cubicBezTo>
                      <a:pt x="17" y="92"/>
                      <a:pt x="8" y="92"/>
                      <a:pt x="0" y="92"/>
                    </a:cubicBezTo>
                    <a:cubicBezTo>
                      <a:pt x="0" y="101"/>
                      <a:pt x="0" y="110"/>
                      <a:pt x="0" y="119"/>
                    </a:cubicBezTo>
                    <a:cubicBezTo>
                      <a:pt x="7" y="119"/>
                      <a:pt x="14" y="119"/>
                      <a:pt x="21" y="119"/>
                    </a:cubicBezTo>
                    <a:cubicBezTo>
                      <a:pt x="21" y="125"/>
                      <a:pt x="21" y="131"/>
                      <a:pt x="21" y="137"/>
                    </a:cubicBezTo>
                    <a:cubicBezTo>
                      <a:pt x="14" y="137"/>
                      <a:pt x="7" y="137"/>
                      <a:pt x="0" y="137"/>
                    </a:cubicBezTo>
                    <a:cubicBezTo>
                      <a:pt x="0" y="146"/>
                      <a:pt x="0" y="155"/>
                      <a:pt x="0" y="164"/>
                    </a:cubicBezTo>
                    <a:cubicBezTo>
                      <a:pt x="8" y="164"/>
                      <a:pt x="16" y="164"/>
                      <a:pt x="25" y="164"/>
                    </a:cubicBezTo>
                    <a:cubicBezTo>
                      <a:pt x="25" y="166"/>
                      <a:pt x="25" y="168"/>
                      <a:pt x="26" y="169"/>
                    </a:cubicBezTo>
                    <a:cubicBezTo>
                      <a:pt x="26" y="171"/>
                      <a:pt x="26" y="172"/>
                      <a:pt x="27" y="174"/>
                    </a:cubicBezTo>
                    <a:cubicBezTo>
                      <a:pt x="36" y="209"/>
                      <a:pt x="57" y="234"/>
                      <a:pt x="90" y="248"/>
                    </a:cubicBezTo>
                    <a:cubicBezTo>
                      <a:pt x="111" y="257"/>
                      <a:pt x="132" y="260"/>
                      <a:pt x="155" y="257"/>
                    </a:cubicBezTo>
                    <a:cubicBezTo>
                      <a:pt x="170" y="255"/>
                      <a:pt x="184" y="252"/>
                      <a:pt x="198" y="245"/>
                    </a:cubicBezTo>
                    <a:cubicBezTo>
                      <a:pt x="198" y="245"/>
                      <a:pt x="199" y="244"/>
                      <a:pt x="199" y="244"/>
                    </a:cubicBezTo>
                    <a:cubicBezTo>
                      <a:pt x="201" y="243"/>
                      <a:pt x="202" y="243"/>
                      <a:pt x="204" y="243"/>
                    </a:cubicBezTo>
                    <a:cubicBezTo>
                      <a:pt x="200" y="232"/>
                      <a:pt x="201" y="220"/>
                      <a:pt x="192" y="204"/>
                    </a:cubicBezTo>
                    <a:close/>
                  </a:path>
                </a:pathLst>
              </a:custGeom>
              <a:solidFill>
                <a:srgbClr val="336B7D"/>
              </a:solidFill>
              <a:ln>
                <a:noFill/>
              </a:ln>
            </p:spPr>
            <p:txBody>
              <a:bodyPr vert="horz" wrap="square" lIns="91440" tIns="45720" rIns="91440" bIns="45720" numCol="1" anchor="t" anchorCtr="0" compatLnSpc="1">
                <a:prstTxWarp prst="textNoShape">
                  <a:avLst/>
                </a:prstTxWarp>
              </a:bodyPr>
              <a:lstStyle/>
              <a:p>
                <a:endParaRPr lang="en-US"/>
              </a:p>
            </p:txBody>
          </p:sp>
          <p:sp>
            <p:nvSpPr>
              <p:cNvPr id="195" name="Freeform 169">
                <a:extLst>
                  <a:ext uri="{FF2B5EF4-FFF2-40B4-BE49-F238E27FC236}">
                    <a16:creationId xmlns:a16="http://schemas.microsoft.com/office/drawing/2014/main" id="{B91F1DD5-02E6-4F3E-BD62-159EA2A2ADE1}"/>
                  </a:ext>
                </a:extLst>
              </p:cNvPr>
              <p:cNvSpPr>
                <a:spLocks noEditPoints="1"/>
              </p:cNvSpPr>
              <p:nvPr/>
            </p:nvSpPr>
            <p:spPr bwMode="auto">
              <a:xfrm>
                <a:off x="-1567425" y="1298047"/>
                <a:ext cx="577790" cy="590212"/>
              </a:xfrm>
              <a:custGeom>
                <a:avLst/>
                <a:gdLst>
                  <a:gd name="T0" fmla="*/ 141 w 153"/>
                  <a:gd name="T1" fmla="*/ 62 h 156"/>
                  <a:gd name="T2" fmla="*/ 132 w 153"/>
                  <a:gd name="T3" fmla="*/ 49 h 156"/>
                  <a:gd name="T4" fmla="*/ 137 w 153"/>
                  <a:gd name="T5" fmla="*/ 38 h 156"/>
                  <a:gd name="T6" fmla="*/ 124 w 153"/>
                  <a:gd name="T7" fmla="*/ 16 h 156"/>
                  <a:gd name="T8" fmla="*/ 111 w 153"/>
                  <a:gd name="T9" fmla="*/ 20 h 156"/>
                  <a:gd name="T10" fmla="*/ 96 w 153"/>
                  <a:gd name="T11" fmla="*/ 18 h 156"/>
                  <a:gd name="T12" fmla="*/ 92 w 153"/>
                  <a:gd name="T13" fmla="*/ 6 h 156"/>
                  <a:gd name="T14" fmla="*/ 67 w 153"/>
                  <a:gd name="T15" fmla="*/ 0 h 156"/>
                  <a:gd name="T16" fmla="*/ 61 w 153"/>
                  <a:gd name="T17" fmla="*/ 12 h 156"/>
                  <a:gd name="T18" fmla="*/ 49 w 153"/>
                  <a:gd name="T19" fmla="*/ 21 h 156"/>
                  <a:gd name="T20" fmla="*/ 37 w 153"/>
                  <a:gd name="T21" fmla="*/ 16 h 156"/>
                  <a:gd name="T22" fmla="*/ 16 w 153"/>
                  <a:gd name="T23" fmla="*/ 29 h 156"/>
                  <a:gd name="T24" fmla="*/ 20 w 153"/>
                  <a:gd name="T25" fmla="*/ 42 h 156"/>
                  <a:gd name="T26" fmla="*/ 18 w 153"/>
                  <a:gd name="T27" fmla="*/ 58 h 156"/>
                  <a:gd name="T28" fmla="*/ 6 w 153"/>
                  <a:gd name="T29" fmla="*/ 62 h 156"/>
                  <a:gd name="T30" fmla="*/ 0 w 153"/>
                  <a:gd name="T31" fmla="*/ 87 h 156"/>
                  <a:gd name="T32" fmla="*/ 12 w 153"/>
                  <a:gd name="T33" fmla="*/ 93 h 156"/>
                  <a:gd name="T34" fmla="*/ 21 w 153"/>
                  <a:gd name="T35" fmla="*/ 106 h 156"/>
                  <a:gd name="T36" fmla="*/ 16 w 153"/>
                  <a:gd name="T37" fmla="*/ 118 h 156"/>
                  <a:gd name="T38" fmla="*/ 29 w 153"/>
                  <a:gd name="T39" fmla="*/ 140 h 156"/>
                  <a:gd name="T40" fmla="*/ 42 w 153"/>
                  <a:gd name="T41" fmla="*/ 135 h 156"/>
                  <a:gd name="T42" fmla="*/ 57 w 153"/>
                  <a:gd name="T43" fmla="*/ 138 h 156"/>
                  <a:gd name="T44" fmla="*/ 61 w 153"/>
                  <a:gd name="T45" fmla="*/ 150 h 156"/>
                  <a:gd name="T46" fmla="*/ 86 w 153"/>
                  <a:gd name="T47" fmla="*/ 156 h 156"/>
                  <a:gd name="T48" fmla="*/ 92 w 153"/>
                  <a:gd name="T49" fmla="*/ 144 h 156"/>
                  <a:gd name="T50" fmla="*/ 104 w 153"/>
                  <a:gd name="T51" fmla="*/ 134 h 156"/>
                  <a:gd name="T52" fmla="*/ 115 w 153"/>
                  <a:gd name="T53" fmla="*/ 139 h 156"/>
                  <a:gd name="T54" fmla="*/ 137 w 153"/>
                  <a:gd name="T55" fmla="*/ 126 h 156"/>
                  <a:gd name="T56" fmla="*/ 133 w 153"/>
                  <a:gd name="T57" fmla="*/ 113 h 156"/>
                  <a:gd name="T58" fmla="*/ 135 w 153"/>
                  <a:gd name="T59" fmla="*/ 98 h 156"/>
                  <a:gd name="T60" fmla="*/ 147 w 153"/>
                  <a:gd name="T61" fmla="*/ 93 h 156"/>
                  <a:gd name="T62" fmla="*/ 153 w 153"/>
                  <a:gd name="T63" fmla="*/ 69 h 156"/>
                  <a:gd name="T64" fmla="*/ 76 w 153"/>
                  <a:gd name="T65" fmla="*/ 126 h 156"/>
                  <a:gd name="T66" fmla="*/ 76 w 153"/>
                  <a:gd name="T67" fmla="*/ 29 h 156"/>
                  <a:gd name="T68" fmla="*/ 76 w 153"/>
                  <a:gd name="T69" fmla="*/ 12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6">
                    <a:moveTo>
                      <a:pt x="147" y="62"/>
                    </a:moveTo>
                    <a:cubicBezTo>
                      <a:pt x="141" y="62"/>
                      <a:pt x="141" y="62"/>
                      <a:pt x="141" y="62"/>
                    </a:cubicBezTo>
                    <a:cubicBezTo>
                      <a:pt x="138" y="62"/>
                      <a:pt x="136" y="61"/>
                      <a:pt x="135" y="58"/>
                    </a:cubicBezTo>
                    <a:cubicBezTo>
                      <a:pt x="134" y="55"/>
                      <a:pt x="133" y="52"/>
                      <a:pt x="132" y="49"/>
                    </a:cubicBezTo>
                    <a:cubicBezTo>
                      <a:pt x="131" y="47"/>
                      <a:pt x="131" y="44"/>
                      <a:pt x="133" y="42"/>
                    </a:cubicBezTo>
                    <a:cubicBezTo>
                      <a:pt x="137" y="38"/>
                      <a:pt x="137" y="38"/>
                      <a:pt x="137" y="38"/>
                    </a:cubicBezTo>
                    <a:cubicBezTo>
                      <a:pt x="139" y="36"/>
                      <a:pt x="139" y="32"/>
                      <a:pt x="137" y="29"/>
                    </a:cubicBezTo>
                    <a:cubicBezTo>
                      <a:pt x="124" y="16"/>
                      <a:pt x="124" y="16"/>
                      <a:pt x="124" y="16"/>
                    </a:cubicBezTo>
                    <a:cubicBezTo>
                      <a:pt x="122" y="14"/>
                      <a:pt x="118" y="14"/>
                      <a:pt x="115" y="16"/>
                    </a:cubicBezTo>
                    <a:cubicBezTo>
                      <a:pt x="111" y="20"/>
                      <a:pt x="111" y="20"/>
                      <a:pt x="111" y="20"/>
                    </a:cubicBezTo>
                    <a:cubicBezTo>
                      <a:pt x="110" y="22"/>
                      <a:pt x="107" y="23"/>
                      <a:pt x="104" y="21"/>
                    </a:cubicBezTo>
                    <a:cubicBezTo>
                      <a:pt x="102" y="20"/>
                      <a:pt x="99" y="19"/>
                      <a:pt x="96" y="18"/>
                    </a:cubicBezTo>
                    <a:cubicBezTo>
                      <a:pt x="93" y="17"/>
                      <a:pt x="92" y="15"/>
                      <a:pt x="92" y="12"/>
                    </a:cubicBezTo>
                    <a:cubicBezTo>
                      <a:pt x="92" y="6"/>
                      <a:pt x="92" y="6"/>
                      <a:pt x="92" y="6"/>
                    </a:cubicBezTo>
                    <a:cubicBezTo>
                      <a:pt x="92" y="3"/>
                      <a:pt x="89" y="0"/>
                      <a:pt x="86" y="0"/>
                    </a:cubicBezTo>
                    <a:cubicBezTo>
                      <a:pt x="67" y="0"/>
                      <a:pt x="67" y="0"/>
                      <a:pt x="67" y="0"/>
                    </a:cubicBezTo>
                    <a:cubicBezTo>
                      <a:pt x="64" y="0"/>
                      <a:pt x="61" y="3"/>
                      <a:pt x="61" y="6"/>
                    </a:cubicBezTo>
                    <a:cubicBezTo>
                      <a:pt x="61" y="12"/>
                      <a:pt x="61" y="12"/>
                      <a:pt x="61" y="12"/>
                    </a:cubicBezTo>
                    <a:cubicBezTo>
                      <a:pt x="61" y="15"/>
                      <a:pt x="59" y="17"/>
                      <a:pt x="57" y="18"/>
                    </a:cubicBezTo>
                    <a:cubicBezTo>
                      <a:pt x="54" y="19"/>
                      <a:pt x="51" y="20"/>
                      <a:pt x="49" y="21"/>
                    </a:cubicBezTo>
                    <a:cubicBezTo>
                      <a:pt x="46" y="23"/>
                      <a:pt x="43" y="22"/>
                      <a:pt x="42" y="20"/>
                    </a:cubicBezTo>
                    <a:cubicBezTo>
                      <a:pt x="37" y="16"/>
                      <a:pt x="37" y="16"/>
                      <a:pt x="37" y="16"/>
                    </a:cubicBezTo>
                    <a:cubicBezTo>
                      <a:pt x="35" y="14"/>
                      <a:pt x="31" y="14"/>
                      <a:pt x="29" y="16"/>
                    </a:cubicBezTo>
                    <a:cubicBezTo>
                      <a:pt x="16" y="29"/>
                      <a:pt x="16" y="29"/>
                      <a:pt x="16" y="29"/>
                    </a:cubicBezTo>
                    <a:cubicBezTo>
                      <a:pt x="14" y="32"/>
                      <a:pt x="14" y="36"/>
                      <a:pt x="16" y="38"/>
                    </a:cubicBezTo>
                    <a:cubicBezTo>
                      <a:pt x="20" y="42"/>
                      <a:pt x="20" y="42"/>
                      <a:pt x="20" y="42"/>
                    </a:cubicBezTo>
                    <a:cubicBezTo>
                      <a:pt x="22" y="44"/>
                      <a:pt x="22" y="47"/>
                      <a:pt x="21" y="49"/>
                    </a:cubicBezTo>
                    <a:cubicBezTo>
                      <a:pt x="20" y="52"/>
                      <a:pt x="19" y="55"/>
                      <a:pt x="18" y="58"/>
                    </a:cubicBezTo>
                    <a:cubicBezTo>
                      <a:pt x="17" y="61"/>
                      <a:pt x="14" y="62"/>
                      <a:pt x="12" y="62"/>
                    </a:cubicBezTo>
                    <a:cubicBezTo>
                      <a:pt x="6" y="62"/>
                      <a:pt x="6" y="62"/>
                      <a:pt x="6" y="62"/>
                    </a:cubicBezTo>
                    <a:cubicBezTo>
                      <a:pt x="3" y="62"/>
                      <a:pt x="0" y="65"/>
                      <a:pt x="0" y="69"/>
                    </a:cubicBezTo>
                    <a:cubicBezTo>
                      <a:pt x="0" y="87"/>
                      <a:pt x="0" y="87"/>
                      <a:pt x="0" y="87"/>
                    </a:cubicBezTo>
                    <a:cubicBezTo>
                      <a:pt x="0" y="91"/>
                      <a:pt x="3" y="93"/>
                      <a:pt x="6" y="93"/>
                    </a:cubicBezTo>
                    <a:cubicBezTo>
                      <a:pt x="12" y="93"/>
                      <a:pt x="12" y="93"/>
                      <a:pt x="12" y="93"/>
                    </a:cubicBezTo>
                    <a:cubicBezTo>
                      <a:pt x="14" y="93"/>
                      <a:pt x="17" y="95"/>
                      <a:pt x="18" y="98"/>
                    </a:cubicBezTo>
                    <a:cubicBezTo>
                      <a:pt x="19" y="101"/>
                      <a:pt x="20" y="104"/>
                      <a:pt x="21" y="106"/>
                    </a:cubicBezTo>
                    <a:cubicBezTo>
                      <a:pt x="22" y="109"/>
                      <a:pt x="22" y="111"/>
                      <a:pt x="20" y="113"/>
                    </a:cubicBezTo>
                    <a:cubicBezTo>
                      <a:pt x="16" y="118"/>
                      <a:pt x="16" y="118"/>
                      <a:pt x="16" y="118"/>
                    </a:cubicBezTo>
                    <a:cubicBezTo>
                      <a:pt x="13" y="120"/>
                      <a:pt x="13" y="124"/>
                      <a:pt x="16" y="127"/>
                    </a:cubicBezTo>
                    <a:cubicBezTo>
                      <a:pt x="29" y="140"/>
                      <a:pt x="29" y="140"/>
                      <a:pt x="29" y="140"/>
                    </a:cubicBezTo>
                    <a:cubicBezTo>
                      <a:pt x="31" y="142"/>
                      <a:pt x="35" y="142"/>
                      <a:pt x="37" y="140"/>
                    </a:cubicBezTo>
                    <a:cubicBezTo>
                      <a:pt x="42" y="135"/>
                      <a:pt x="42" y="135"/>
                      <a:pt x="42" y="135"/>
                    </a:cubicBezTo>
                    <a:cubicBezTo>
                      <a:pt x="43" y="133"/>
                      <a:pt x="46" y="133"/>
                      <a:pt x="49" y="134"/>
                    </a:cubicBezTo>
                    <a:cubicBezTo>
                      <a:pt x="51" y="136"/>
                      <a:pt x="54" y="137"/>
                      <a:pt x="57" y="138"/>
                    </a:cubicBezTo>
                    <a:cubicBezTo>
                      <a:pt x="59" y="139"/>
                      <a:pt x="61" y="141"/>
                      <a:pt x="61" y="144"/>
                    </a:cubicBezTo>
                    <a:cubicBezTo>
                      <a:pt x="61" y="150"/>
                      <a:pt x="61" y="150"/>
                      <a:pt x="61" y="150"/>
                    </a:cubicBezTo>
                    <a:cubicBezTo>
                      <a:pt x="61" y="153"/>
                      <a:pt x="64" y="156"/>
                      <a:pt x="67" y="156"/>
                    </a:cubicBezTo>
                    <a:cubicBezTo>
                      <a:pt x="86" y="156"/>
                      <a:pt x="86" y="156"/>
                      <a:pt x="86" y="156"/>
                    </a:cubicBezTo>
                    <a:cubicBezTo>
                      <a:pt x="89" y="156"/>
                      <a:pt x="92" y="153"/>
                      <a:pt x="92" y="150"/>
                    </a:cubicBezTo>
                    <a:cubicBezTo>
                      <a:pt x="92" y="144"/>
                      <a:pt x="92" y="144"/>
                      <a:pt x="92" y="144"/>
                    </a:cubicBezTo>
                    <a:cubicBezTo>
                      <a:pt x="92" y="141"/>
                      <a:pt x="93" y="139"/>
                      <a:pt x="96" y="138"/>
                    </a:cubicBezTo>
                    <a:cubicBezTo>
                      <a:pt x="99" y="137"/>
                      <a:pt x="102" y="136"/>
                      <a:pt x="104" y="134"/>
                    </a:cubicBezTo>
                    <a:cubicBezTo>
                      <a:pt x="107" y="133"/>
                      <a:pt x="109" y="133"/>
                      <a:pt x="111" y="135"/>
                    </a:cubicBezTo>
                    <a:cubicBezTo>
                      <a:pt x="115" y="139"/>
                      <a:pt x="115" y="139"/>
                      <a:pt x="115" y="139"/>
                    </a:cubicBezTo>
                    <a:cubicBezTo>
                      <a:pt x="118" y="142"/>
                      <a:pt x="122" y="142"/>
                      <a:pt x="124" y="139"/>
                    </a:cubicBezTo>
                    <a:cubicBezTo>
                      <a:pt x="137" y="126"/>
                      <a:pt x="137" y="126"/>
                      <a:pt x="137" y="126"/>
                    </a:cubicBezTo>
                    <a:cubicBezTo>
                      <a:pt x="139" y="124"/>
                      <a:pt x="139" y="120"/>
                      <a:pt x="137" y="118"/>
                    </a:cubicBezTo>
                    <a:cubicBezTo>
                      <a:pt x="133" y="113"/>
                      <a:pt x="133" y="113"/>
                      <a:pt x="133" y="113"/>
                    </a:cubicBezTo>
                    <a:cubicBezTo>
                      <a:pt x="131" y="111"/>
                      <a:pt x="131" y="109"/>
                      <a:pt x="132" y="106"/>
                    </a:cubicBezTo>
                    <a:cubicBezTo>
                      <a:pt x="133" y="103"/>
                      <a:pt x="134" y="101"/>
                      <a:pt x="135" y="98"/>
                    </a:cubicBezTo>
                    <a:cubicBezTo>
                      <a:pt x="136" y="95"/>
                      <a:pt x="138" y="93"/>
                      <a:pt x="141" y="93"/>
                    </a:cubicBezTo>
                    <a:cubicBezTo>
                      <a:pt x="147" y="93"/>
                      <a:pt x="147" y="93"/>
                      <a:pt x="147" y="93"/>
                    </a:cubicBezTo>
                    <a:cubicBezTo>
                      <a:pt x="150" y="93"/>
                      <a:pt x="153" y="91"/>
                      <a:pt x="153" y="87"/>
                    </a:cubicBezTo>
                    <a:cubicBezTo>
                      <a:pt x="153" y="69"/>
                      <a:pt x="153" y="69"/>
                      <a:pt x="153" y="69"/>
                    </a:cubicBezTo>
                    <a:cubicBezTo>
                      <a:pt x="153" y="65"/>
                      <a:pt x="150" y="62"/>
                      <a:pt x="147" y="62"/>
                    </a:cubicBezTo>
                    <a:close/>
                    <a:moveTo>
                      <a:pt x="76" y="126"/>
                    </a:moveTo>
                    <a:cubicBezTo>
                      <a:pt x="50" y="126"/>
                      <a:pt x="28" y="105"/>
                      <a:pt x="28" y="78"/>
                    </a:cubicBezTo>
                    <a:cubicBezTo>
                      <a:pt x="28" y="51"/>
                      <a:pt x="50" y="29"/>
                      <a:pt x="76" y="29"/>
                    </a:cubicBezTo>
                    <a:cubicBezTo>
                      <a:pt x="103" y="29"/>
                      <a:pt x="125" y="51"/>
                      <a:pt x="125" y="78"/>
                    </a:cubicBezTo>
                    <a:cubicBezTo>
                      <a:pt x="125" y="105"/>
                      <a:pt x="103" y="126"/>
                      <a:pt x="76" y="1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4" name="Groupe 203">
            <a:extLst>
              <a:ext uri="{FF2B5EF4-FFF2-40B4-BE49-F238E27FC236}">
                <a16:creationId xmlns:a16="http://schemas.microsoft.com/office/drawing/2014/main" id="{829AE0D2-C6D6-496B-A773-922FFDA927A6}"/>
              </a:ext>
            </a:extLst>
          </p:cNvPr>
          <p:cNvGrpSpPr/>
          <p:nvPr/>
        </p:nvGrpSpPr>
        <p:grpSpPr>
          <a:xfrm>
            <a:off x="1901926" y="4536222"/>
            <a:ext cx="576000" cy="576000"/>
            <a:chOff x="1901926" y="4766684"/>
            <a:chExt cx="576000" cy="576000"/>
          </a:xfrm>
        </p:grpSpPr>
        <p:sp>
          <p:nvSpPr>
            <p:cNvPr id="115" name="Ellipse 25">
              <a:extLst>
                <a:ext uri="{FF2B5EF4-FFF2-40B4-BE49-F238E27FC236}">
                  <a16:creationId xmlns:a16="http://schemas.microsoft.com/office/drawing/2014/main" id="{5246D900-4D3B-4B28-87AF-CB7828A6A3C4}"/>
                </a:ext>
              </a:extLst>
            </p:cNvPr>
            <p:cNvSpPr>
              <a:spLocks noChangeAspect="1"/>
            </p:cNvSpPr>
            <p:nvPr/>
          </p:nvSpPr>
          <p:spPr bwMode="gray">
            <a:xfrm rot="2700000">
              <a:off x="1901926" y="4766684"/>
              <a:ext cx="576000" cy="576000"/>
            </a:xfrm>
            <a:prstGeom prst="ellipse">
              <a:avLst/>
            </a:prstGeom>
            <a:solidFill>
              <a:srgbClr val="336B7D"/>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noProof="0">
                <a:ln>
                  <a:noFill/>
                </a:ln>
                <a:solidFill>
                  <a:srgbClr val="FFFFFF"/>
                </a:solidFill>
                <a:effectLst/>
                <a:uLnTx/>
                <a:uFillTx/>
                <a:ea typeface="+mn-ea"/>
                <a:cs typeface="+mn-cs"/>
              </a:endParaRPr>
            </a:p>
          </p:txBody>
        </p:sp>
        <p:grpSp>
          <p:nvGrpSpPr>
            <p:cNvPr id="197" name="Group 197">
              <a:extLst>
                <a:ext uri="{FF2B5EF4-FFF2-40B4-BE49-F238E27FC236}">
                  <a16:creationId xmlns:a16="http://schemas.microsoft.com/office/drawing/2014/main" id="{ABF109D9-7093-4DB2-8D1B-5C6BA18EBEFF}"/>
                </a:ext>
              </a:extLst>
            </p:cNvPr>
            <p:cNvGrpSpPr/>
            <p:nvPr/>
          </p:nvGrpSpPr>
          <p:grpSpPr>
            <a:xfrm>
              <a:off x="2011790" y="4885318"/>
              <a:ext cx="303211" cy="338732"/>
              <a:chOff x="697434" y="5564478"/>
              <a:chExt cx="324069" cy="362035"/>
            </a:xfrm>
          </p:grpSpPr>
          <p:sp>
            <p:nvSpPr>
              <p:cNvPr id="198" name="Freeform 126">
                <a:extLst>
                  <a:ext uri="{FF2B5EF4-FFF2-40B4-BE49-F238E27FC236}">
                    <a16:creationId xmlns:a16="http://schemas.microsoft.com/office/drawing/2014/main" id="{EAF5C879-9968-462A-9308-C1BA2F07BAB0}"/>
                  </a:ext>
                </a:extLst>
              </p:cNvPr>
              <p:cNvSpPr>
                <a:spLocks/>
              </p:cNvSpPr>
              <p:nvPr/>
            </p:nvSpPr>
            <p:spPr bwMode="auto">
              <a:xfrm>
                <a:off x="965909" y="5637699"/>
                <a:ext cx="55594" cy="28881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127">
                <a:extLst>
                  <a:ext uri="{FF2B5EF4-FFF2-40B4-BE49-F238E27FC236}">
                    <a16:creationId xmlns:a16="http://schemas.microsoft.com/office/drawing/2014/main" id="{1560137D-E10C-469D-BD4A-F31C4BCF54DF}"/>
                  </a:ext>
                </a:extLst>
              </p:cNvPr>
              <p:cNvSpPr>
                <a:spLocks/>
              </p:cNvSpPr>
              <p:nvPr/>
            </p:nvSpPr>
            <p:spPr bwMode="auto">
              <a:xfrm>
                <a:off x="885909" y="5719055"/>
                <a:ext cx="51525" cy="20745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128">
                <a:extLst>
                  <a:ext uri="{FF2B5EF4-FFF2-40B4-BE49-F238E27FC236}">
                    <a16:creationId xmlns:a16="http://schemas.microsoft.com/office/drawing/2014/main" id="{79C561BA-BBDE-496C-A87A-6EADA104E70B}"/>
                  </a:ext>
                </a:extLst>
              </p:cNvPr>
              <p:cNvSpPr>
                <a:spLocks/>
              </p:cNvSpPr>
              <p:nvPr/>
            </p:nvSpPr>
            <p:spPr bwMode="auto">
              <a:xfrm>
                <a:off x="805909" y="5763801"/>
                <a:ext cx="51525" cy="162712"/>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129">
                <a:extLst>
                  <a:ext uri="{FF2B5EF4-FFF2-40B4-BE49-F238E27FC236}">
                    <a16:creationId xmlns:a16="http://schemas.microsoft.com/office/drawing/2014/main" id="{3E9BD00D-EF8C-4C12-9658-721D9ED6DFF0}"/>
                  </a:ext>
                </a:extLst>
              </p:cNvPr>
              <p:cNvSpPr>
                <a:spLocks/>
              </p:cNvSpPr>
              <p:nvPr/>
            </p:nvSpPr>
            <p:spPr bwMode="auto">
              <a:xfrm>
                <a:off x="725909" y="5811258"/>
                <a:ext cx="51525" cy="11525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30">
                <a:extLst>
                  <a:ext uri="{FF2B5EF4-FFF2-40B4-BE49-F238E27FC236}">
                    <a16:creationId xmlns:a16="http://schemas.microsoft.com/office/drawing/2014/main" id="{E943782D-5692-462D-85C5-8090F8AAA8CD}"/>
                  </a:ext>
                </a:extLst>
              </p:cNvPr>
              <p:cNvSpPr>
                <a:spLocks/>
              </p:cNvSpPr>
              <p:nvPr/>
            </p:nvSpPr>
            <p:spPr bwMode="auto">
              <a:xfrm>
                <a:off x="697434" y="5564478"/>
                <a:ext cx="275255" cy="21830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33" name="ZoneTexte 88">
            <a:extLst>
              <a:ext uri="{FF2B5EF4-FFF2-40B4-BE49-F238E27FC236}">
                <a16:creationId xmlns:a16="http://schemas.microsoft.com/office/drawing/2014/main" id="{A4590E1B-1CE3-F9CE-35FE-5F722D4CB5DC}"/>
              </a:ext>
            </a:extLst>
          </p:cNvPr>
          <p:cNvSpPr txBox="1"/>
          <p:nvPr/>
        </p:nvSpPr>
        <p:spPr>
          <a:xfrm>
            <a:off x="764727" y="5146942"/>
            <a:ext cx="1885242" cy="1323439"/>
          </a:xfrm>
          <a:prstGeom prst="rect">
            <a:avLst/>
          </a:prstGeom>
          <a:noFill/>
        </p:spPr>
        <p:txBody>
          <a:bodyPr wrap="square" rtlCol="0">
            <a:spAutoFit/>
          </a:bodyPr>
          <a:lstStyle/>
          <a:p>
            <a:pPr algn="ctr">
              <a:defRPr/>
            </a:pPr>
            <a:r>
              <a:rPr lang="en-US" sz="1600">
                <a:solidFill>
                  <a:prstClr val="black"/>
                </a:solidFill>
                <a:latin typeface="Ubuntu"/>
              </a:rPr>
              <a:t>China increasing its domestic coal mining by 300 million tons in 3 years</a:t>
            </a:r>
          </a:p>
        </p:txBody>
      </p:sp>
      <p:grpSp>
        <p:nvGrpSpPr>
          <p:cNvPr id="3" name="Groupe 2">
            <a:extLst>
              <a:ext uri="{FF2B5EF4-FFF2-40B4-BE49-F238E27FC236}">
                <a16:creationId xmlns:a16="http://schemas.microsoft.com/office/drawing/2014/main" id="{0238D253-AE26-4D2E-86C1-D1CF131481D0}"/>
              </a:ext>
            </a:extLst>
          </p:cNvPr>
          <p:cNvGrpSpPr/>
          <p:nvPr/>
        </p:nvGrpSpPr>
        <p:grpSpPr>
          <a:xfrm>
            <a:off x="5274540" y="2701898"/>
            <a:ext cx="1609945" cy="771778"/>
            <a:chOff x="5511800" y="2710199"/>
            <a:chExt cx="1609945" cy="771778"/>
          </a:xfrm>
        </p:grpSpPr>
        <p:sp>
          <p:nvSpPr>
            <p:cNvPr id="205" name="ZoneTexte 88">
              <a:extLst>
                <a:ext uri="{FF2B5EF4-FFF2-40B4-BE49-F238E27FC236}">
                  <a16:creationId xmlns:a16="http://schemas.microsoft.com/office/drawing/2014/main" id="{F7D3FFB7-A586-45C4-B841-6D98EA966026}"/>
                </a:ext>
              </a:extLst>
            </p:cNvPr>
            <p:cNvSpPr txBox="1"/>
            <p:nvPr/>
          </p:nvSpPr>
          <p:spPr>
            <a:xfrm>
              <a:off x="5511800" y="2958757"/>
              <a:ext cx="16099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Reopen 10GW of fossil fuel plants</a:t>
              </a:r>
            </a:p>
          </p:txBody>
        </p:sp>
        <p:pic>
          <p:nvPicPr>
            <p:cNvPr id="38" name="Picture 4" descr="Deutschland">
              <a:extLst>
                <a:ext uri="{FF2B5EF4-FFF2-40B4-BE49-F238E27FC236}">
                  <a16:creationId xmlns:a16="http://schemas.microsoft.com/office/drawing/2014/main" id="{64B71FEB-FD15-4EA0-A86B-CF09C31C0BB2}"/>
                </a:ext>
              </a:extLst>
            </p:cNvPr>
            <p:cNvPicPr>
              <a:picLocks noChangeAspect="1" noChangeArrowheads="1"/>
            </p:cNvPicPr>
            <p:nvPr/>
          </p:nvPicPr>
          <p:blipFill>
            <a:blip r:embed="rId3"/>
            <a:srcRect/>
            <a:stretch>
              <a:fillRect/>
            </a:stretch>
          </p:blipFill>
          <p:spPr bwMode="auto">
            <a:xfrm>
              <a:off x="5623066" y="2710199"/>
              <a:ext cx="403406" cy="267870"/>
            </a:xfrm>
            <a:prstGeom prst="rect">
              <a:avLst/>
            </a:prstGeom>
            <a:solidFill>
              <a:schemeClr val="accent2"/>
            </a:solidFill>
            <a:ln w="3175" algn="ctr">
              <a:noFill/>
              <a:miter lim="800000"/>
              <a:headEnd/>
              <a:tailEnd/>
            </a:ln>
            <a:effectLst/>
          </p:spPr>
        </p:pic>
      </p:grpSp>
      <p:sp>
        <p:nvSpPr>
          <p:cNvPr id="40" name="Flèche : bas 23">
            <a:extLst>
              <a:ext uri="{FF2B5EF4-FFF2-40B4-BE49-F238E27FC236}">
                <a16:creationId xmlns:a16="http://schemas.microsoft.com/office/drawing/2014/main" id="{7F59C063-AB4C-41B9-AC11-ECE3396D2033}"/>
              </a:ext>
            </a:extLst>
          </p:cNvPr>
          <p:cNvSpPr/>
          <p:nvPr/>
        </p:nvSpPr>
        <p:spPr>
          <a:xfrm>
            <a:off x="5879154" y="2358163"/>
            <a:ext cx="476037" cy="261683"/>
          </a:xfrm>
          <a:prstGeom prst="downArrow">
            <a:avLst>
              <a:gd name="adj1" fmla="val 51413"/>
              <a:gd name="adj2" fmla="val 43702"/>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116738" name="Picture 2" descr="Drapeau de la république populaire de Chine — Wikipédia">
            <a:extLst>
              <a:ext uri="{FF2B5EF4-FFF2-40B4-BE49-F238E27FC236}">
                <a16:creationId xmlns:a16="http://schemas.microsoft.com/office/drawing/2014/main" id="{DF8422DF-16AB-485A-9A29-CC632A012F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5069" y="4885259"/>
            <a:ext cx="475753" cy="3171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9022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GB" dirty="0"/>
              <a:t>CO</a:t>
            </a:r>
            <a:r>
              <a:rPr lang="en-GB" baseline="-25000" dirty="0"/>
              <a:t>2</a:t>
            </a:r>
            <a:r>
              <a:rPr lang="en-GB" dirty="0"/>
              <a:t> Capture is badly needed</a:t>
            </a:r>
            <a:endParaRPr lang="en-IN" dirty="0"/>
          </a:p>
        </p:txBody>
      </p:sp>
      <p:cxnSp>
        <p:nvCxnSpPr>
          <p:cNvPr id="24" name="Connecteur droit avec flèche 23">
            <a:extLst>
              <a:ext uri="{FF2B5EF4-FFF2-40B4-BE49-F238E27FC236}">
                <a16:creationId xmlns:a16="http://schemas.microsoft.com/office/drawing/2014/main" id="{11365A6E-4376-4CC1-9ADC-612B42348B97}"/>
              </a:ext>
            </a:extLst>
          </p:cNvPr>
          <p:cNvCxnSpPr>
            <a:cxnSpLocks/>
          </p:cNvCxnSpPr>
          <p:nvPr/>
        </p:nvCxnSpPr>
        <p:spPr>
          <a:xfrm>
            <a:off x="1751574" y="4301678"/>
            <a:ext cx="3301457" cy="0"/>
          </a:xfrm>
          <a:prstGeom prst="straightConnector1">
            <a:avLst/>
          </a:prstGeom>
          <a:ln>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ZoneTexte 24">
            <a:extLst>
              <a:ext uri="{FF2B5EF4-FFF2-40B4-BE49-F238E27FC236}">
                <a16:creationId xmlns:a16="http://schemas.microsoft.com/office/drawing/2014/main" id="{07920DDF-824D-4AA4-94BA-21B9AAB4843D}"/>
              </a:ext>
            </a:extLst>
          </p:cNvPr>
          <p:cNvSpPr txBox="1"/>
          <p:nvPr/>
        </p:nvSpPr>
        <p:spPr>
          <a:xfrm>
            <a:off x="2406676" y="4331266"/>
            <a:ext cx="19912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Ubuntu"/>
                <a:ea typeface="+mn-ea"/>
                <a:cs typeface="+mn-cs"/>
              </a:rPr>
              <a:t>Net </a:t>
            </a:r>
            <a:r>
              <a:rPr kumimoji="0" lang="fr-FR" sz="1800" b="0" i="0" u="none" strike="noStrike" kern="1200" cap="none" spc="0" normalizeH="0" baseline="0" noProof="0" err="1">
                <a:ln>
                  <a:noFill/>
                </a:ln>
                <a:solidFill>
                  <a:prstClr val="black"/>
                </a:solidFill>
                <a:effectLst/>
                <a:uLnTx/>
                <a:uFillTx/>
                <a:latin typeface="Ubuntu"/>
                <a:ea typeface="+mn-ea"/>
                <a:cs typeface="+mn-cs"/>
              </a:rPr>
              <a:t>Zero</a:t>
            </a:r>
            <a:r>
              <a:rPr kumimoji="0" lang="fr-FR" sz="1800" b="0" i="0" u="none" strike="noStrike" kern="1200" cap="none" spc="0" normalizeH="0" baseline="0" noProof="0">
                <a:ln>
                  <a:noFill/>
                </a:ln>
                <a:solidFill>
                  <a:prstClr val="black"/>
                </a:solidFill>
                <a:effectLst/>
                <a:uLnTx/>
                <a:uFillTx/>
                <a:latin typeface="Ubuntu"/>
                <a:ea typeface="+mn-ea"/>
                <a:cs typeface="+mn-cs"/>
              </a:rPr>
              <a:t> by 2050</a:t>
            </a:r>
          </a:p>
        </p:txBody>
      </p:sp>
      <p:grpSp>
        <p:nvGrpSpPr>
          <p:cNvPr id="2" name="Groupe 1">
            <a:extLst>
              <a:ext uri="{FF2B5EF4-FFF2-40B4-BE49-F238E27FC236}">
                <a16:creationId xmlns:a16="http://schemas.microsoft.com/office/drawing/2014/main" id="{31A805C4-9016-47B9-B136-B962BD6B4939}"/>
              </a:ext>
            </a:extLst>
          </p:cNvPr>
          <p:cNvGrpSpPr/>
          <p:nvPr/>
        </p:nvGrpSpPr>
        <p:grpSpPr>
          <a:xfrm>
            <a:off x="210421" y="4648654"/>
            <a:ext cx="2404600" cy="1570131"/>
            <a:chOff x="210421" y="4648654"/>
            <a:chExt cx="2404600" cy="1570131"/>
          </a:xfrm>
        </p:grpSpPr>
        <p:sp>
          <p:nvSpPr>
            <p:cNvPr id="34" name="ZoneTexte 33">
              <a:extLst>
                <a:ext uri="{FF2B5EF4-FFF2-40B4-BE49-F238E27FC236}">
                  <a16:creationId xmlns:a16="http://schemas.microsoft.com/office/drawing/2014/main" id="{1809605D-F9A3-4D48-B4FB-5CCC13945F85}"/>
                </a:ext>
              </a:extLst>
            </p:cNvPr>
            <p:cNvSpPr txBox="1"/>
            <p:nvPr/>
          </p:nvSpPr>
          <p:spPr>
            <a:xfrm>
              <a:off x="210421" y="5141567"/>
              <a:ext cx="2404600"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0000"/>
                  </a:solidFill>
                  <a:effectLst/>
                  <a:uLnTx/>
                  <a:uFillTx/>
                  <a:latin typeface="Ubuntu"/>
                  <a:ea typeface="Calibri" panose="020F0502020204030204" pitchFamily="34" charset="0"/>
                  <a:cs typeface="+mn-cs"/>
                </a:rPr>
                <a:t>average, capture capacity added worldwide annually since 2010</a:t>
              </a:r>
              <a:endParaRPr kumimoji="0" lang="fr-FR" sz="1600" b="0" i="0" u="none" strike="noStrike" kern="1200" cap="none" spc="0" normalizeH="0" baseline="0" noProof="0">
                <a:ln>
                  <a:noFill/>
                </a:ln>
                <a:solidFill>
                  <a:prstClr val="black"/>
                </a:solidFill>
                <a:effectLst/>
                <a:uLnTx/>
                <a:uFillTx/>
                <a:latin typeface="Ubuntu"/>
                <a:ea typeface="+mn-ea"/>
                <a:cs typeface="+mn-cs"/>
              </a:endParaRPr>
            </a:p>
          </p:txBody>
        </p:sp>
        <p:sp>
          <p:nvSpPr>
            <p:cNvPr id="48" name="ZoneTexte 47">
              <a:extLst>
                <a:ext uri="{FF2B5EF4-FFF2-40B4-BE49-F238E27FC236}">
                  <a16:creationId xmlns:a16="http://schemas.microsoft.com/office/drawing/2014/main" id="{397A6589-0316-4EA5-9C79-9E737834B03B}"/>
                </a:ext>
              </a:extLst>
            </p:cNvPr>
            <p:cNvSpPr txBox="1"/>
            <p:nvPr/>
          </p:nvSpPr>
          <p:spPr>
            <a:xfrm>
              <a:off x="461773" y="4648654"/>
              <a:ext cx="187220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14596B"/>
                  </a:solidFill>
                  <a:effectLst/>
                  <a:uLnTx/>
                  <a:uFillTx/>
                  <a:latin typeface="Ubuntu"/>
                  <a:ea typeface="+mn-ea"/>
                  <a:cs typeface="+mn-cs"/>
                </a:rPr>
                <a:t>&lt; </a:t>
              </a:r>
              <a:r>
                <a:rPr kumimoji="0" lang="en-GB" sz="2400" b="1" i="0" u="none" strike="noStrike" kern="1200" cap="none" spc="0" normalizeH="0" baseline="0" noProof="0">
                  <a:ln>
                    <a:noFill/>
                  </a:ln>
                  <a:solidFill>
                    <a:srgbClr val="14596B"/>
                  </a:solidFill>
                  <a:effectLst/>
                  <a:uLnTx/>
                  <a:uFillTx/>
                  <a:latin typeface="Ubuntu"/>
                  <a:ea typeface="+mn-ea"/>
                  <a:cs typeface="+mn-cs"/>
                </a:rPr>
                <a:t>3 MtCO</a:t>
              </a:r>
              <a:r>
                <a:rPr kumimoji="0" lang="en-GB" sz="2400" b="1" i="0" u="none" strike="noStrike" kern="1200" cap="none" spc="0" normalizeH="0" baseline="-25000" noProof="0">
                  <a:ln>
                    <a:noFill/>
                  </a:ln>
                  <a:solidFill>
                    <a:srgbClr val="14596B"/>
                  </a:solidFill>
                  <a:effectLst/>
                  <a:uLnTx/>
                  <a:uFillTx/>
                  <a:latin typeface="Ubuntu"/>
                  <a:ea typeface="+mn-ea"/>
                  <a:cs typeface="+mn-cs"/>
                </a:rPr>
                <a:t>2</a:t>
              </a:r>
              <a:endParaRPr kumimoji="0" lang="fr-FR" sz="1800" b="0" i="0" u="none" strike="noStrike" kern="1200" cap="none" spc="0" normalizeH="0" baseline="0" noProof="0">
                <a:ln>
                  <a:noFill/>
                </a:ln>
                <a:solidFill>
                  <a:srgbClr val="14596B"/>
                </a:solidFill>
                <a:effectLst/>
                <a:uLnTx/>
                <a:uFillTx/>
                <a:latin typeface="Ubuntu"/>
                <a:ea typeface="+mn-ea"/>
                <a:cs typeface="+mn-cs"/>
              </a:endParaRPr>
            </a:p>
          </p:txBody>
        </p:sp>
        <p:cxnSp>
          <p:nvCxnSpPr>
            <p:cNvPr id="50" name="Connecteur droit 49">
              <a:extLst>
                <a:ext uri="{FF2B5EF4-FFF2-40B4-BE49-F238E27FC236}">
                  <a16:creationId xmlns:a16="http://schemas.microsoft.com/office/drawing/2014/main" id="{BEA00886-5B06-4BEC-859F-CD9B0708917E}"/>
                </a:ext>
              </a:extLst>
            </p:cNvPr>
            <p:cNvCxnSpPr>
              <a:cxnSpLocks/>
            </p:cNvCxnSpPr>
            <p:nvPr/>
          </p:nvCxnSpPr>
          <p:spPr>
            <a:xfrm>
              <a:off x="1115959" y="5130681"/>
              <a:ext cx="563835" cy="0"/>
            </a:xfrm>
            <a:prstGeom prst="line">
              <a:avLst/>
            </a:prstGeom>
            <a:ln w="38100">
              <a:solidFill>
                <a:srgbClr val="14596B"/>
              </a:solidFill>
            </a:ln>
          </p:spPr>
          <p:style>
            <a:lnRef idx="1">
              <a:schemeClr val="accent1"/>
            </a:lnRef>
            <a:fillRef idx="0">
              <a:schemeClr val="accent1"/>
            </a:fillRef>
            <a:effectRef idx="0">
              <a:schemeClr val="accent1"/>
            </a:effectRef>
            <a:fontRef idx="minor">
              <a:schemeClr val="tx1"/>
            </a:fontRef>
          </p:style>
        </p:cxnSp>
      </p:grpSp>
      <p:sp>
        <p:nvSpPr>
          <p:cNvPr id="7" name="Text Placeholder 8">
            <a:extLst>
              <a:ext uri="{FF2B5EF4-FFF2-40B4-BE49-F238E27FC236}">
                <a16:creationId xmlns:a16="http://schemas.microsoft.com/office/drawing/2014/main" id="{DC5AFF9E-6F87-4295-8A0F-4C315F947C8A}"/>
              </a:ext>
            </a:extLst>
          </p:cNvPr>
          <p:cNvSpPr txBox="1">
            <a:spLocks/>
          </p:cNvSpPr>
          <p:nvPr/>
        </p:nvSpPr>
        <p:spPr>
          <a:xfrm>
            <a:off x="3359895" y="5246125"/>
            <a:ext cx="2457374" cy="738664"/>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12ABDB"/>
              </a:buClr>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Present projects affording short to achieve 2050 objectives</a:t>
            </a:r>
          </a:p>
        </p:txBody>
      </p:sp>
      <p:sp>
        <p:nvSpPr>
          <p:cNvPr id="54" name="Flèche : droite 53">
            <a:extLst>
              <a:ext uri="{FF2B5EF4-FFF2-40B4-BE49-F238E27FC236}">
                <a16:creationId xmlns:a16="http://schemas.microsoft.com/office/drawing/2014/main" id="{40F1ABD3-A785-49CE-9C19-723CD3ACB2D2}"/>
              </a:ext>
            </a:extLst>
          </p:cNvPr>
          <p:cNvSpPr/>
          <p:nvPr/>
        </p:nvSpPr>
        <p:spPr>
          <a:xfrm>
            <a:off x="2577950" y="5153793"/>
            <a:ext cx="709197" cy="923329"/>
          </a:xfrm>
          <a:prstGeom prst="rightArrow">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15" name="Groupe 14">
            <a:extLst>
              <a:ext uri="{FF2B5EF4-FFF2-40B4-BE49-F238E27FC236}">
                <a16:creationId xmlns:a16="http://schemas.microsoft.com/office/drawing/2014/main" id="{07B697A2-64DC-4761-A6A7-92A4A561EFF2}"/>
              </a:ext>
            </a:extLst>
          </p:cNvPr>
          <p:cNvGrpSpPr/>
          <p:nvPr/>
        </p:nvGrpSpPr>
        <p:grpSpPr>
          <a:xfrm>
            <a:off x="1003177" y="1922793"/>
            <a:ext cx="2298295" cy="2298295"/>
            <a:chOff x="1127448" y="1576537"/>
            <a:chExt cx="2644551" cy="2644551"/>
          </a:xfrm>
        </p:grpSpPr>
        <p:sp>
          <p:nvSpPr>
            <p:cNvPr id="13" name="Ellipse 12">
              <a:extLst>
                <a:ext uri="{FF2B5EF4-FFF2-40B4-BE49-F238E27FC236}">
                  <a16:creationId xmlns:a16="http://schemas.microsoft.com/office/drawing/2014/main" id="{8672E7DA-6118-4735-B54B-E1E3FDE863A5}"/>
                </a:ext>
              </a:extLst>
            </p:cNvPr>
            <p:cNvSpPr/>
            <p:nvPr/>
          </p:nvSpPr>
          <p:spPr>
            <a:xfrm>
              <a:off x="1127448" y="1576537"/>
              <a:ext cx="2644551" cy="2644551"/>
            </a:xfrm>
            <a:prstGeom prst="ellipse">
              <a:avLst/>
            </a:prstGeom>
            <a:solidFill>
              <a:srgbClr val="0F6A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4" name="Ellipse 13">
              <a:extLst>
                <a:ext uri="{FF2B5EF4-FFF2-40B4-BE49-F238E27FC236}">
                  <a16:creationId xmlns:a16="http://schemas.microsoft.com/office/drawing/2014/main" id="{AF9CDF3B-D9F9-456B-B1A8-D154877CB1B9}"/>
                </a:ext>
              </a:extLst>
            </p:cNvPr>
            <p:cNvSpPr/>
            <p:nvPr/>
          </p:nvSpPr>
          <p:spPr>
            <a:xfrm>
              <a:off x="1598693" y="2047782"/>
              <a:ext cx="1702060" cy="17020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16" name="ZoneTexte 15">
            <a:extLst>
              <a:ext uri="{FF2B5EF4-FFF2-40B4-BE49-F238E27FC236}">
                <a16:creationId xmlns:a16="http://schemas.microsoft.com/office/drawing/2014/main" id="{C5C91FE5-5DB7-4EA5-8167-7F50B2B50B46}"/>
              </a:ext>
            </a:extLst>
          </p:cNvPr>
          <p:cNvSpPr txBox="1"/>
          <p:nvPr/>
        </p:nvSpPr>
        <p:spPr>
          <a:xfrm>
            <a:off x="1495236" y="2630600"/>
            <a:ext cx="131417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noProof="0">
                <a:ln>
                  <a:noFill/>
                </a:ln>
                <a:solidFill>
                  <a:prstClr val="black"/>
                </a:solidFill>
                <a:effectLst/>
                <a:uLnTx/>
                <a:uFillTx/>
                <a:latin typeface="Ubuntu"/>
                <a:ea typeface="+mn-ea"/>
                <a:cs typeface="+mn-cs"/>
              </a:rPr>
              <a:t>over </a:t>
            </a:r>
            <a:r>
              <a:rPr kumimoji="0" lang="nl-NL" sz="3600" b="1" i="0" u="none" strike="noStrike" kern="1200" cap="none" spc="0" normalizeH="0" baseline="0" noProof="0">
                <a:ln>
                  <a:noFill/>
                </a:ln>
                <a:solidFill>
                  <a:srgbClr val="FFFFFF"/>
                </a:solidFill>
                <a:effectLst/>
                <a:highlight>
                  <a:srgbClr val="0F6A71"/>
                </a:highlight>
                <a:uLnTx/>
                <a:uFillTx/>
                <a:latin typeface="Ubuntu"/>
                <a:ea typeface="+mn-ea"/>
                <a:cs typeface="+mn-cs"/>
              </a:rPr>
              <a:t>40</a:t>
            </a:r>
            <a:r>
              <a:rPr kumimoji="0" lang="nl-NL" sz="3600" b="1" i="0" u="none" strike="noStrike" kern="1200" cap="none" spc="0" normalizeH="0" baseline="0" noProof="0">
                <a:ln>
                  <a:noFill/>
                </a:ln>
                <a:solidFill>
                  <a:srgbClr val="FFFFFF"/>
                </a:solidFill>
                <a:effectLst/>
                <a:uLnTx/>
                <a:uFillTx/>
                <a:latin typeface="Ubuntu"/>
                <a:ea typeface="+mn-ea"/>
                <a:cs typeface="+mn-cs"/>
              </a:rPr>
              <a:t> </a:t>
            </a:r>
            <a:r>
              <a:rPr kumimoji="0" lang="nl-NL" sz="2400" b="1" i="0" u="none" strike="noStrike" kern="1200" cap="none" spc="0" normalizeH="0" baseline="0" noProof="0">
                <a:ln>
                  <a:noFill/>
                </a:ln>
                <a:solidFill>
                  <a:prstClr val="black"/>
                </a:solidFill>
                <a:effectLst/>
                <a:uLnTx/>
                <a:uFillTx/>
                <a:latin typeface="Ubuntu"/>
                <a:ea typeface="+mn-ea"/>
                <a:cs typeface="+mn-cs"/>
              </a:rPr>
              <a:t>MtCO</a:t>
            </a:r>
            <a:r>
              <a:rPr kumimoji="0" lang="nl-NL" sz="2400" b="1" i="0" u="none" strike="noStrike" kern="1200" cap="none" spc="0" normalizeH="0" baseline="-25000" noProof="0">
                <a:ln>
                  <a:noFill/>
                </a:ln>
                <a:solidFill>
                  <a:prstClr val="black"/>
                </a:solidFill>
                <a:effectLst/>
                <a:uLnTx/>
                <a:uFillTx/>
                <a:latin typeface="Ubuntu"/>
                <a:ea typeface="+mn-ea"/>
                <a:cs typeface="+mn-cs"/>
              </a:rPr>
              <a:t>2</a:t>
            </a:r>
            <a:endParaRPr kumimoji="0" lang="fr-FR" sz="2000" b="0" i="0" u="none" strike="noStrike" kern="1200" cap="none" spc="0" normalizeH="0" baseline="0" noProof="0">
              <a:ln>
                <a:noFill/>
              </a:ln>
              <a:solidFill>
                <a:prstClr val="black"/>
              </a:solidFill>
              <a:effectLst/>
              <a:uLnTx/>
              <a:uFillTx/>
              <a:latin typeface="Ubuntu"/>
              <a:ea typeface="+mn-ea"/>
              <a:cs typeface="+mn-cs"/>
            </a:endParaRPr>
          </a:p>
        </p:txBody>
      </p:sp>
      <p:sp>
        <p:nvSpPr>
          <p:cNvPr id="27" name="ZoneTexte 26">
            <a:extLst>
              <a:ext uri="{FF2B5EF4-FFF2-40B4-BE49-F238E27FC236}">
                <a16:creationId xmlns:a16="http://schemas.microsoft.com/office/drawing/2014/main" id="{7AEF1CFB-B98B-47F2-B173-10D388A0272D}"/>
              </a:ext>
            </a:extLst>
          </p:cNvPr>
          <p:cNvSpPr txBox="1"/>
          <p:nvPr/>
        </p:nvSpPr>
        <p:spPr>
          <a:xfrm>
            <a:off x="1795247" y="1457050"/>
            <a:ext cx="704039" cy="369332"/>
          </a:xfrm>
          <a:prstGeom prst="rect">
            <a:avLst/>
          </a:prstGeom>
          <a:noFill/>
          <a:ln>
            <a:solidFill>
              <a:schemeClr val="tx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Ubuntu"/>
                <a:ea typeface="+mn-ea"/>
                <a:cs typeface="+mn-cs"/>
              </a:rPr>
              <a:t>2021</a:t>
            </a:r>
          </a:p>
        </p:txBody>
      </p:sp>
      <p:grpSp>
        <p:nvGrpSpPr>
          <p:cNvPr id="19" name="Groupe 18">
            <a:extLst>
              <a:ext uri="{FF2B5EF4-FFF2-40B4-BE49-F238E27FC236}">
                <a16:creationId xmlns:a16="http://schemas.microsoft.com/office/drawing/2014/main" id="{C288F4E9-3DAF-4C68-B816-AC31DA9607C3}"/>
              </a:ext>
            </a:extLst>
          </p:cNvPr>
          <p:cNvGrpSpPr/>
          <p:nvPr/>
        </p:nvGrpSpPr>
        <p:grpSpPr>
          <a:xfrm>
            <a:off x="3575720" y="1922792"/>
            <a:ext cx="2298295" cy="2298295"/>
            <a:chOff x="1127448" y="1576537"/>
            <a:chExt cx="2644551" cy="2644551"/>
          </a:xfrm>
        </p:grpSpPr>
        <p:sp>
          <p:nvSpPr>
            <p:cNvPr id="21" name="Ellipse 20">
              <a:extLst>
                <a:ext uri="{FF2B5EF4-FFF2-40B4-BE49-F238E27FC236}">
                  <a16:creationId xmlns:a16="http://schemas.microsoft.com/office/drawing/2014/main" id="{3B476B7A-B735-4F3F-B342-D253D1E1AB00}"/>
                </a:ext>
              </a:extLst>
            </p:cNvPr>
            <p:cNvSpPr/>
            <p:nvPr/>
          </p:nvSpPr>
          <p:spPr>
            <a:xfrm>
              <a:off x="1127448" y="1576537"/>
              <a:ext cx="2644551" cy="2644551"/>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sp>
          <p:nvSpPr>
            <p:cNvPr id="22" name="Ellipse 21">
              <a:extLst>
                <a:ext uri="{FF2B5EF4-FFF2-40B4-BE49-F238E27FC236}">
                  <a16:creationId xmlns:a16="http://schemas.microsoft.com/office/drawing/2014/main" id="{DF51F025-7A6E-40CB-AF0E-1CEBF7CD9AB0}"/>
                </a:ext>
              </a:extLst>
            </p:cNvPr>
            <p:cNvSpPr/>
            <p:nvPr/>
          </p:nvSpPr>
          <p:spPr>
            <a:xfrm>
              <a:off x="1598693" y="2047782"/>
              <a:ext cx="1702060" cy="17020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grpSp>
      <p:sp>
        <p:nvSpPr>
          <p:cNvPr id="20" name="ZoneTexte 19">
            <a:extLst>
              <a:ext uri="{FF2B5EF4-FFF2-40B4-BE49-F238E27FC236}">
                <a16:creationId xmlns:a16="http://schemas.microsoft.com/office/drawing/2014/main" id="{657480DF-88F7-4C3E-B881-278EBA86DEBB}"/>
              </a:ext>
            </a:extLst>
          </p:cNvPr>
          <p:cNvSpPr txBox="1"/>
          <p:nvPr/>
        </p:nvSpPr>
        <p:spPr>
          <a:xfrm>
            <a:off x="4068094" y="2630599"/>
            <a:ext cx="1313546" cy="8826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3600" b="1" i="0" u="none" strike="noStrike" kern="1200" cap="none" spc="0" normalizeH="0" baseline="0" noProof="0">
                <a:ln>
                  <a:noFill/>
                </a:ln>
                <a:solidFill>
                  <a:srgbClr val="FFFFFF"/>
                </a:solidFill>
                <a:effectLst/>
                <a:highlight>
                  <a:srgbClr val="2EA657"/>
                </a:highlight>
                <a:uLnTx/>
                <a:uFillTx/>
                <a:latin typeface="Ubuntu"/>
                <a:ea typeface="+mn-ea"/>
                <a:cs typeface="+mn-cs"/>
              </a:rPr>
              <a:t>1.6 </a:t>
            </a:r>
            <a:r>
              <a:rPr kumimoji="0" lang="nl-NL" sz="2400" b="1" i="0" u="none" strike="noStrike" kern="1200" cap="none" spc="0" normalizeH="0" baseline="0" noProof="0">
                <a:ln>
                  <a:noFill/>
                </a:ln>
                <a:solidFill>
                  <a:prstClr val="black"/>
                </a:solidFill>
                <a:effectLst/>
                <a:uLnTx/>
                <a:uFillTx/>
                <a:latin typeface="Ubuntu"/>
                <a:ea typeface="+mn-ea"/>
                <a:cs typeface="+mn-cs"/>
              </a:rPr>
              <a:t>GtCO</a:t>
            </a:r>
            <a:r>
              <a:rPr kumimoji="0" lang="nl-NL" sz="2400" b="1" i="0" u="none" strike="noStrike" kern="1200" cap="none" spc="0" normalizeH="0" baseline="-25000" noProof="0">
                <a:ln>
                  <a:noFill/>
                </a:ln>
                <a:solidFill>
                  <a:prstClr val="black"/>
                </a:solidFill>
                <a:effectLst/>
                <a:uLnTx/>
                <a:uFillTx/>
                <a:latin typeface="Ubuntu"/>
                <a:ea typeface="+mn-ea"/>
                <a:cs typeface="+mn-cs"/>
              </a:rPr>
              <a:t>2</a:t>
            </a:r>
            <a:r>
              <a:rPr kumimoji="0" lang="nl-NL" sz="2400" b="0" i="0" u="none" strike="noStrike" kern="1200" cap="none" spc="0" normalizeH="0" baseline="30000" noProof="0">
                <a:ln>
                  <a:noFill/>
                </a:ln>
                <a:solidFill>
                  <a:prstClr val="black"/>
                </a:solidFill>
                <a:effectLst/>
                <a:uLnTx/>
                <a:uFillTx/>
                <a:latin typeface="Ubuntu"/>
                <a:ea typeface="+mn-ea"/>
                <a:cs typeface="+mn-cs"/>
              </a:rPr>
              <a:t>1</a:t>
            </a:r>
            <a:endParaRPr kumimoji="0" lang="fr-FR" sz="2000" b="0" i="0" u="none" strike="noStrike" kern="1200" cap="none" spc="0" normalizeH="0" baseline="0" noProof="0">
              <a:ln>
                <a:noFill/>
              </a:ln>
              <a:solidFill>
                <a:prstClr val="black"/>
              </a:solidFill>
              <a:effectLst/>
              <a:uLnTx/>
              <a:uFillTx/>
              <a:latin typeface="Ubuntu"/>
              <a:ea typeface="+mn-ea"/>
              <a:cs typeface="+mn-cs"/>
            </a:endParaRPr>
          </a:p>
        </p:txBody>
      </p:sp>
      <p:sp>
        <p:nvSpPr>
          <p:cNvPr id="28" name="ZoneTexte 27">
            <a:extLst>
              <a:ext uri="{FF2B5EF4-FFF2-40B4-BE49-F238E27FC236}">
                <a16:creationId xmlns:a16="http://schemas.microsoft.com/office/drawing/2014/main" id="{20B152A9-A1D8-46D3-A869-BBDCE6D58BCC}"/>
              </a:ext>
            </a:extLst>
          </p:cNvPr>
          <p:cNvSpPr txBox="1"/>
          <p:nvPr/>
        </p:nvSpPr>
        <p:spPr>
          <a:xfrm>
            <a:off x="3598392" y="1457050"/>
            <a:ext cx="2218877" cy="369332"/>
          </a:xfrm>
          <a:prstGeom prst="rect">
            <a:avLst/>
          </a:prstGeom>
          <a:noFill/>
          <a:ln>
            <a:solidFill>
              <a:schemeClr val="tx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Ubuntu"/>
                <a:ea typeface="+mn-ea"/>
                <a:cs typeface="+mn-cs"/>
              </a:rPr>
              <a:t>2030 IEA objectives</a:t>
            </a:r>
          </a:p>
        </p:txBody>
      </p:sp>
      <p:pic>
        <p:nvPicPr>
          <p:cNvPr id="2050" name="Picture 2" descr="Résultat de recherche d'images pour &quot;logo exxonmobil&quot;">
            <a:extLst>
              <a:ext uri="{FF2B5EF4-FFF2-40B4-BE49-F238E27FC236}">
                <a16:creationId xmlns:a16="http://schemas.microsoft.com/office/drawing/2014/main" id="{2FC7CD75-B9FE-4B07-8E6B-2D1F8518E5F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333" t="32511" r="5875" b="27188"/>
          <a:stretch/>
        </p:blipFill>
        <p:spPr bwMode="auto">
          <a:xfrm>
            <a:off x="7213556" y="2539544"/>
            <a:ext cx="1533121" cy="396681"/>
          </a:xfrm>
          <a:prstGeom prst="rect">
            <a:avLst/>
          </a:prstGeom>
          <a:noFill/>
          <a:extLst>
            <a:ext uri="{909E8E84-426E-40DD-AFC4-6F175D3DCCD1}">
              <a14:hiddenFill xmlns:a14="http://schemas.microsoft.com/office/drawing/2010/main">
                <a:solidFill>
                  <a:srgbClr val="FFFFFF"/>
                </a:solidFill>
              </a14:hiddenFill>
            </a:ext>
          </a:extLst>
        </p:spPr>
      </p:pic>
      <p:sp>
        <p:nvSpPr>
          <p:cNvPr id="39" name="ZoneTexte 38">
            <a:extLst>
              <a:ext uri="{FF2B5EF4-FFF2-40B4-BE49-F238E27FC236}">
                <a16:creationId xmlns:a16="http://schemas.microsoft.com/office/drawing/2014/main" id="{59472982-307F-482D-82A2-40EE6EBF5300}"/>
              </a:ext>
            </a:extLst>
          </p:cNvPr>
          <p:cNvSpPr txBox="1"/>
          <p:nvPr/>
        </p:nvSpPr>
        <p:spPr>
          <a:xfrm>
            <a:off x="9325962" y="2201663"/>
            <a:ext cx="2063635"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Plans to build a </a:t>
            </a:r>
            <a:r>
              <a:rPr kumimoji="0" lang="en-US" sz="1600" b="1" i="0" u="none" strike="noStrike" kern="1200" cap="none" spc="0" normalizeH="0" baseline="0" noProof="0">
                <a:ln>
                  <a:noFill/>
                </a:ln>
                <a:solidFill>
                  <a:prstClr val="black"/>
                </a:solidFill>
                <a:effectLst/>
                <a:uLnTx/>
                <a:uFillTx/>
                <a:latin typeface="Ubuntu"/>
                <a:ea typeface="+mn-ea"/>
                <a:cs typeface="+mn-cs"/>
              </a:rPr>
              <a:t>$100 billion </a:t>
            </a:r>
            <a:r>
              <a:rPr kumimoji="0" lang="en-US" sz="1600" b="0" i="0" u="none" strike="noStrike" kern="1200" cap="none" spc="0" normalizeH="0" baseline="0" noProof="0">
                <a:ln>
                  <a:noFill/>
                </a:ln>
                <a:solidFill>
                  <a:prstClr val="black"/>
                </a:solidFill>
                <a:effectLst/>
                <a:uLnTx/>
                <a:uFillTx/>
                <a:latin typeface="Ubuntu"/>
                <a:ea typeface="+mn-ea"/>
                <a:cs typeface="+mn-cs"/>
              </a:rPr>
              <a:t>platform to capture CO</a:t>
            </a:r>
            <a:r>
              <a:rPr kumimoji="0" lang="en-US" sz="1600" b="0" i="0" u="none" strike="noStrike" kern="1200" cap="none" spc="0" normalizeH="0" baseline="-25000" noProof="0">
                <a:ln>
                  <a:noFill/>
                </a:ln>
                <a:solidFill>
                  <a:prstClr val="black"/>
                </a:solidFill>
                <a:effectLst/>
                <a:uLnTx/>
                <a:uFillTx/>
                <a:latin typeface="Ubuntu"/>
                <a:ea typeface="+mn-ea"/>
                <a:cs typeface="+mn-cs"/>
              </a:rPr>
              <a:t>2</a:t>
            </a:r>
            <a:r>
              <a:rPr kumimoji="0" lang="en-US" sz="1600" b="0" i="0" u="none" strike="noStrike" kern="1200" cap="none" spc="0" normalizeH="0" baseline="0" noProof="0">
                <a:ln>
                  <a:noFill/>
                </a:ln>
                <a:solidFill>
                  <a:prstClr val="black"/>
                </a:solidFill>
                <a:effectLst/>
                <a:uLnTx/>
                <a:uFillTx/>
                <a:latin typeface="Ubuntu"/>
                <a:ea typeface="+mn-ea"/>
                <a:cs typeface="+mn-cs"/>
              </a:rPr>
              <a:t> emissions along the US Gulf Coast. </a:t>
            </a:r>
            <a:endParaRPr kumimoji="0" lang="fr-FR" sz="1600" b="0" i="0" u="none" strike="noStrike" kern="1200" cap="none" spc="0" normalizeH="0" baseline="0" noProof="0">
              <a:ln>
                <a:noFill/>
              </a:ln>
              <a:solidFill>
                <a:prstClr val="black"/>
              </a:solidFill>
              <a:effectLst/>
              <a:uLnTx/>
              <a:uFillTx/>
              <a:latin typeface="Ubuntu"/>
              <a:ea typeface="+mn-ea"/>
              <a:cs typeface="+mn-cs"/>
            </a:endParaRPr>
          </a:p>
        </p:txBody>
      </p:sp>
      <p:pic>
        <p:nvPicPr>
          <p:cNvPr id="2052" name="Picture 4" descr="illustrations, cliparts, dessins animés et icônes de drapeau norvège - drapeau norvege">
            <a:extLst>
              <a:ext uri="{FF2B5EF4-FFF2-40B4-BE49-F238E27FC236}">
                <a16:creationId xmlns:a16="http://schemas.microsoft.com/office/drawing/2014/main" id="{E79BBA19-751B-4ABB-94A0-76C7C1F5BE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8409" y="4208964"/>
            <a:ext cx="754410" cy="548550"/>
          </a:xfrm>
          <a:prstGeom prst="rect">
            <a:avLst/>
          </a:prstGeom>
          <a:noFill/>
          <a:extLst>
            <a:ext uri="{909E8E84-426E-40DD-AFC4-6F175D3DCCD1}">
              <a14:hiddenFill xmlns:a14="http://schemas.microsoft.com/office/drawing/2010/main">
                <a:solidFill>
                  <a:srgbClr val="FFFFFF"/>
                </a:solidFill>
              </a14:hiddenFill>
            </a:ext>
          </a:extLst>
        </p:spPr>
      </p:pic>
      <p:sp>
        <p:nvSpPr>
          <p:cNvPr id="31" name="Flèche : droite 30">
            <a:extLst>
              <a:ext uri="{FF2B5EF4-FFF2-40B4-BE49-F238E27FC236}">
                <a16:creationId xmlns:a16="http://schemas.microsoft.com/office/drawing/2014/main" id="{76E038B5-0CE6-4973-B7C6-14BAB78CD0F1}"/>
              </a:ext>
            </a:extLst>
          </p:cNvPr>
          <p:cNvSpPr/>
          <p:nvPr/>
        </p:nvSpPr>
        <p:spPr>
          <a:xfrm>
            <a:off x="8808965" y="2460980"/>
            <a:ext cx="502340" cy="548550"/>
          </a:xfrm>
          <a:prstGeom prst="rightArrow">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cxnSp>
        <p:nvCxnSpPr>
          <p:cNvPr id="46" name="Straight Connector 14">
            <a:extLst>
              <a:ext uri="{FF2B5EF4-FFF2-40B4-BE49-F238E27FC236}">
                <a16:creationId xmlns:a16="http://schemas.microsoft.com/office/drawing/2014/main" id="{BB9607C3-E2C5-453E-81C6-561A121118F4}"/>
              </a:ext>
            </a:extLst>
          </p:cNvPr>
          <p:cNvCxnSpPr>
            <a:cxnSpLocks/>
          </p:cNvCxnSpPr>
          <p:nvPr/>
        </p:nvCxnSpPr>
        <p:spPr>
          <a:xfrm>
            <a:off x="6719346" y="1482351"/>
            <a:ext cx="0" cy="4680520"/>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8E180A2B-3A79-4E5D-B5B0-B6BC28C6C0A1}"/>
              </a:ext>
            </a:extLst>
          </p:cNvPr>
          <p:cNvSpPr txBox="1"/>
          <p:nvPr/>
        </p:nvSpPr>
        <p:spPr>
          <a:xfrm>
            <a:off x="6776092" y="1458381"/>
            <a:ext cx="541590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Ubuntu"/>
                <a:ea typeface="+mn-ea"/>
                <a:cs typeface="+mn-cs"/>
              </a:rPr>
              <a:t>Projects examples leading to a productivity increase</a:t>
            </a:r>
          </a:p>
        </p:txBody>
      </p:sp>
      <p:sp>
        <p:nvSpPr>
          <p:cNvPr id="49" name="Flèche : droite 48">
            <a:extLst>
              <a:ext uri="{FF2B5EF4-FFF2-40B4-BE49-F238E27FC236}">
                <a16:creationId xmlns:a16="http://schemas.microsoft.com/office/drawing/2014/main" id="{CA5ACD46-5A8D-488F-9222-5FF01C45B53D}"/>
              </a:ext>
            </a:extLst>
          </p:cNvPr>
          <p:cNvSpPr/>
          <p:nvPr/>
        </p:nvSpPr>
        <p:spPr>
          <a:xfrm>
            <a:off x="8808965" y="4208964"/>
            <a:ext cx="502340" cy="548550"/>
          </a:xfrm>
          <a:prstGeom prst="rightArrow">
            <a:avLst/>
          </a:prstGeom>
          <a:solidFill>
            <a:srgbClr val="1459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1" name="ZoneTexte 50">
            <a:extLst>
              <a:ext uri="{FF2B5EF4-FFF2-40B4-BE49-F238E27FC236}">
                <a16:creationId xmlns:a16="http://schemas.microsoft.com/office/drawing/2014/main" id="{23248F38-582D-4FD5-A7E8-E485A884C735}"/>
              </a:ext>
            </a:extLst>
          </p:cNvPr>
          <p:cNvSpPr txBox="1"/>
          <p:nvPr/>
        </p:nvSpPr>
        <p:spPr>
          <a:xfrm>
            <a:off x="9308476" y="3861121"/>
            <a:ext cx="2098607" cy="156966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1.8 billion </a:t>
            </a:r>
            <a:r>
              <a:rPr kumimoji="0" lang="en-US" sz="1600" b="0" i="0" u="none" strike="noStrike" kern="1200" cap="none" spc="0" normalizeH="0" baseline="0" noProof="0">
                <a:ln>
                  <a:noFill/>
                </a:ln>
                <a:solidFill>
                  <a:prstClr val="black"/>
                </a:solidFill>
                <a:effectLst/>
                <a:uLnTx/>
                <a:uFillTx/>
                <a:latin typeface="Ubuntu"/>
                <a:ea typeface="+mn-ea"/>
                <a:cs typeface="+mn-cs"/>
              </a:rPr>
              <a:t>for the Longship project, which should enable the storage of </a:t>
            </a:r>
            <a:r>
              <a:rPr kumimoji="0" lang="en-US" sz="1600" b="1" i="0" u="none" strike="noStrike" kern="1200" cap="none" spc="0" normalizeH="0" baseline="0" noProof="0">
                <a:ln>
                  <a:noFill/>
                </a:ln>
                <a:solidFill>
                  <a:prstClr val="black"/>
                </a:solidFill>
                <a:effectLst/>
                <a:uLnTx/>
                <a:uFillTx/>
                <a:latin typeface="Ubuntu"/>
                <a:ea typeface="+mn-ea"/>
                <a:cs typeface="+mn-cs"/>
              </a:rPr>
              <a:t>1.5 million tCO</a:t>
            </a:r>
            <a:r>
              <a:rPr kumimoji="0" lang="en-US" sz="1600" b="1" i="0" u="none" strike="noStrike" kern="1200" cap="none" spc="0" normalizeH="0" baseline="-25000" noProof="0">
                <a:ln>
                  <a:noFill/>
                </a:ln>
                <a:solidFill>
                  <a:prstClr val="black"/>
                </a:solidFill>
                <a:effectLst/>
                <a:uLnTx/>
                <a:uFillTx/>
                <a:latin typeface="Ubuntu"/>
                <a:ea typeface="+mn-ea"/>
                <a:cs typeface="+mn-cs"/>
              </a:rPr>
              <a:t>2</a:t>
            </a:r>
            <a:r>
              <a:rPr kumimoji="0" lang="en-US" sz="1600" b="1" i="0" u="none" strike="noStrike" kern="1200" cap="none" spc="0" normalizeH="0" baseline="0" noProof="0">
                <a:ln>
                  <a:noFill/>
                </a:ln>
                <a:solidFill>
                  <a:prstClr val="black"/>
                </a:solidFill>
                <a:effectLst/>
                <a:uLnTx/>
                <a:uFillTx/>
                <a:latin typeface="Ubuntu"/>
                <a:ea typeface="+mn-ea"/>
                <a:cs typeface="+mn-cs"/>
              </a:rPr>
              <a:t> per year </a:t>
            </a:r>
            <a:r>
              <a:rPr kumimoji="0" lang="en-US" sz="1600" b="0" i="0" u="none" strike="noStrike" kern="1200" cap="none" spc="0" normalizeH="0" baseline="0" noProof="0">
                <a:ln>
                  <a:noFill/>
                </a:ln>
                <a:solidFill>
                  <a:prstClr val="black"/>
                </a:solidFill>
                <a:effectLst/>
                <a:uLnTx/>
                <a:uFillTx/>
                <a:latin typeface="Ubuntu"/>
                <a:ea typeface="+mn-ea"/>
                <a:cs typeface="+mn-cs"/>
              </a:rPr>
              <a:t>from mid-2024</a:t>
            </a:r>
            <a:endParaRPr kumimoji="0" lang="fr-FR" sz="1600" b="0" i="0" u="none" strike="noStrike" kern="1200" cap="none" spc="0" normalizeH="0" baseline="0" noProof="0">
              <a:ln>
                <a:noFill/>
              </a:ln>
              <a:solidFill>
                <a:prstClr val="black"/>
              </a:solidFill>
              <a:effectLst/>
              <a:uLnTx/>
              <a:uFillTx/>
              <a:latin typeface="Ubuntu"/>
              <a:ea typeface="+mn-ea"/>
              <a:cs typeface="+mn-cs"/>
            </a:endParaRPr>
          </a:p>
        </p:txBody>
      </p:sp>
      <p:sp>
        <p:nvSpPr>
          <p:cNvPr id="43" name="ZoneTexte 42">
            <a:extLst>
              <a:ext uri="{FF2B5EF4-FFF2-40B4-BE49-F238E27FC236}">
                <a16:creationId xmlns:a16="http://schemas.microsoft.com/office/drawing/2014/main" id="{3D9770E6-7622-4656-B0A1-37D0B214B1AF}"/>
              </a:ext>
            </a:extLst>
          </p:cNvPr>
          <p:cNvSpPr txBox="1"/>
          <p:nvPr/>
        </p:nvSpPr>
        <p:spPr>
          <a:xfrm flipH="1">
            <a:off x="8247521" y="5568388"/>
            <a:ext cx="3086706" cy="657681"/>
          </a:xfrm>
          <a:prstGeom prst="rect">
            <a:avLst/>
          </a:prstGeom>
          <a:solidFill>
            <a:srgbClr val="00B2A2"/>
          </a:solidFill>
        </p:spPr>
        <p:txBody>
          <a:bodyPr wrap="square" rtlCol="0">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Ubuntu"/>
                <a:ea typeface="+mn-ea"/>
                <a:cs typeface="Times New Roman" panose="02020603050405020304" pitchFamily="18" charset="0"/>
              </a:rPr>
              <a:t>What about direct air capture? </a:t>
            </a:r>
          </a:p>
        </p:txBody>
      </p:sp>
      <p:sp>
        <p:nvSpPr>
          <p:cNvPr id="44" name="ZoneTexte 43">
            <a:extLst>
              <a:ext uri="{FF2B5EF4-FFF2-40B4-BE49-F238E27FC236}">
                <a16:creationId xmlns:a16="http://schemas.microsoft.com/office/drawing/2014/main" id="{CDED3B47-ACE8-4AC6-9FDC-1E5EFA827C71}"/>
              </a:ext>
            </a:extLst>
          </p:cNvPr>
          <p:cNvSpPr txBox="1"/>
          <p:nvPr/>
        </p:nvSpPr>
        <p:spPr>
          <a:xfrm>
            <a:off x="290586" y="1458381"/>
            <a:ext cx="84830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prstClr val="black"/>
                </a:solidFill>
                <a:effectLst/>
                <a:uLnTx/>
                <a:uFillTx/>
                <a:latin typeface="Ubuntu"/>
                <a:ea typeface="+mn-ea"/>
                <a:cs typeface="+mn-cs"/>
              </a:rPr>
              <a:t>CCUS</a:t>
            </a:r>
          </a:p>
        </p:txBody>
      </p:sp>
      <p:sp>
        <p:nvSpPr>
          <p:cNvPr id="32" name="TextBox 31">
            <a:extLst>
              <a:ext uri="{FF2B5EF4-FFF2-40B4-BE49-F238E27FC236}">
                <a16:creationId xmlns:a16="http://schemas.microsoft.com/office/drawing/2014/main" id="{A98F34E7-E98E-4FDC-AD79-761795E4EA01}"/>
              </a:ext>
            </a:extLst>
          </p:cNvPr>
          <p:cNvSpPr txBox="1"/>
          <p:nvPr/>
        </p:nvSpPr>
        <p:spPr>
          <a:xfrm>
            <a:off x="411163" y="6329561"/>
            <a:ext cx="4637488"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 </a:t>
            </a:r>
            <a:r>
              <a:rPr kumimoji="0" lang="en-US" sz="900" b="0" i="0" u="none" strike="noStrike" kern="1200" cap="none" spc="0" normalizeH="0" baseline="30000" noProof="0">
                <a:ln>
                  <a:noFill/>
                </a:ln>
                <a:solidFill>
                  <a:srgbClr val="ECECEC">
                    <a:lumMod val="50000"/>
                  </a:srgbClr>
                </a:solidFill>
                <a:effectLst/>
                <a:uLnTx/>
                <a:uFillTx/>
                <a:latin typeface="Verdana"/>
                <a:ea typeface="+mn-ea"/>
                <a:cs typeface="+mn-cs"/>
              </a:rPr>
              <a:t>1</a:t>
            </a: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Carbon capture in 2021: Off and running or another false start?, IEA</a:t>
            </a:r>
          </a:p>
        </p:txBody>
      </p:sp>
      <p:sp>
        <p:nvSpPr>
          <p:cNvPr id="33" name="Ellipse 1">
            <a:extLst>
              <a:ext uri="{FF2B5EF4-FFF2-40B4-BE49-F238E27FC236}">
                <a16:creationId xmlns:a16="http://schemas.microsoft.com/office/drawing/2014/main" id="{3E1BC750-BB44-4CFF-8BA8-1CCB7DAF1CB1}"/>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6028556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a:xfrm>
            <a:off x="404813" y="388188"/>
            <a:ext cx="7851427" cy="716711"/>
          </a:xfrm>
        </p:spPr>
        <p:txBody>
          <a:bodyPr/>
          <a:lstStyle/>
          <a:p>
            <a:r>
              <a:rPr lang="en-US" sz="2000" dirty="0" err="1"/>
              <a:t>Ccus</a:t>
            </a:r>
            <a:r>
              <a:rPr lang="en-US" sz="2000" dirty="0"/>
              <a:t> projects ARE Becoming more competitive with carbon price increase</a:t>
            </a:r>
            <a:endParaRPr lang="en-IN" sz="2000" dirty="0"/>
          </a:p>
        </p:txBody>
      </p:sp>
      <p:grpSp>
        <p:nvGrpSpPr>
          <p:cNvPr id="5" name="Group 4">
            <a:extLst>
              <a:ext uri="{FF2B5EF4-FFF2-40B4-BE49-F238E27FC236}">
                <a16:creationId xmlns:a16="http://schemas.microsoft.com/office/drawing/2014/main" id="{636AF584-9344-D1A2-0CFF-97A5225005D4}"/>
              </a:ext>
            </a:extLst>
          </p:cNvPr>
          <p:cNvGrpSpPr/>
          <p:nvPr/>
        </p:nvGrpSpPr>
        <p:grpSpPr>
          <a:xfrm>
            <a:off x="490037" y="1558180"/>
            <a:ext cx="6834216" cy="4681837"/>
            <a:chOff x="846113" y="1839029"/>
            <a:chExt cx="6652765" cy="4557532"/>
          </a:xfrm>
        </p:grpSpPr>
        <p:pic>
          <p:nvPicPr>
            <p:cNvPr id="9" name="Image 8">
              <a:extLst>
                <a:ext uri="{FF2B5EF4-FFF2-40B4-BE49-F238E27FC236}">
                  <a16:creationId xmlns:a16="http://schemas.microsoft.com/office/drawing/2014/main" id="{727BCE35-A21B-4E69-9686-AA75147BBA5F}"/>
                </a:ext>
              </a:extLst>
            </p:cNvPr>
            <p:cNvPicPr>
              <a:picLocks noChangeAspect="1"/>
            </p:cNvPicPr>
            <p:nvPr/>
          </p:nvPicPr>
          <p:blipFill rotWithShape="1">
            <a:blip r:embed="rId3">
              <a:extLst>
                <a:ext uri="{28A0092B-C50C-407E-A947-70E740481C1C}">
                  <a14:useLocalDpi xmlns:a14="http://schemas.microsoft.com/office/drawing/2010/main" val="0"/>
                </a:ext>
              </a:extLst>
            </a:blip>
            <a:srcRect t="8333"/>
            <a:stretch/>
          </p:blipFill>
          <p:spPr>
            <a:xfrm>
              <a:off x="1129394" y="1839029"/>
              <a:ext cx="5786486" cy="4420238"/>
            </a:xfrm>
            <a:prstGeom prst="rect">
              <a:avLst/>
            </a:prstGeom>
          </p:spPr>
        </p:pic>
        <p:pic>
          <p:nvPicPr>
            <p:cNvPr id="6" name="Image 5">
              <a:extLst>
                <a:ext uri="{FF2B5EF4-FFF2-40B4-BE49-F238E27FC236}">
                  <a16:creationId xmlns:a16="http://schemas.microsoft.com/office/drawing/2014/main" id="{1351C716-77AA-44B4-9CFC-80AA3913C56F}"/>
                </a:ext>
              </a:extLst>
            </p:cNvPr>
            <p:cNvPicPr>
              <a:picLocks noChangeAspect="1"/>
            </p:cNvPicPr>
            <p:nvPr/>
          </p:nvPicPr>
          <p:blipFill rotWithShape="1">
            <a:blip r:embed="rId4"/>
            <a:srcRect l="2901" t="92835" r="11974" b="1803"/>
            <a:stretch/>
          </p:blipFill>
          <p:spPr>
            <a:xfrm>
              <a:off x="1162173" y="6031401"/>
              <a:ext cx="6336705" cy="365160"/>
            </a:xfrm>
            <a:prstGeom prst="rect">
              <a:avLst/>
            </a:prstGeom>
          </p:spPr>
        </p:pic>
        <p:sp>
          <p:nvSpPr>
            <p:cNvPr id="12" name="ZoneTexte 11">
              <a:extLst>
                <a:ext uri="{FF2B5EF4-FFF2-40B4-BE49-F238E27FC236}">
                  <a16:creationId xmlns:a16="http://schemas.microsoft.com/office/drawing/2014/main" id="{61280DFF-DF2E-4DDA-9522-DD42138D557D}"/>
                </a:ext>
              </a:extLst>
            </p:cNvPr>
            <p:cNvSpPr txBox="1"/>
            <p:nvPr/>
          </p:nvSpPr>
          <p:spPr>
            <a:xfrm rot="16200000">
              <a:off x="-235050" y="3477678"/>
              <a:ext cx="2451891" cy="2895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Ubuntu"/>
                  <a:ea typeface="+mn-ea"/>
                  <a:cs typeface="+mn-cs"/>
                </a:rPr>
                <a:t>Number of facilities</a:t>
              </a:r>
            </a:p>
          </p:txBody>
        </p:sp>
      </p:grpSp>
      <p:sp>
        <p:nvSpPr>
          <p:cNvPr id="13" name="Text Placeholder 8">
            <a:extLst>
              <a:ext uri="{FF2B5EF4-FFF2-40B4-BE49-F238E27FC236}">
                <a16:creationId xmlns:a16="http://schemas.microsoft.com/office/drawing/2014/main" id="{D5F5BD17-DE48-4CE1-A704-0DCBE6D8BCB9}"/>
              </a:ext>
            </a:extLst>
          </p:cNvPr>
          <p:cNvSpPr txBox="1">
            <a:spLocks/>
          </p:cNvSpPr>
          <p:nvPr/>
        </p:nvSpPr>
        <p:spPr>
          <a:xfrm>
            <a:off x="8455554" y="1327150"/>
            <a:ext cx="3328459" cy="3416320"/>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Acceleration of states support</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Recent involvement of major oil operators in achieving net zero</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U.S. is the most supportive region of CCUS</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The levelized average cost of CCUS per tCO</a:t>
            </a:r>
            <a:r>
              <a:rPr kumimoji="0" lang="en-US" sz="1600" b="0" i="0" u="none" strike="noStrike" kern="1200" cap="none" spc="0" normalizeH="0" baseline="-25000" noProof="0">
                <a:ln>
                  <a:noFill/>
                </a:ln>
                <a:solidFill>
                  <a:srgbClr val="FFFFFF"/>
                </a:solidFill>
                <a:effectLst/>
                <a:uLnTx/>
                <a:uFillTx/>
                <a:latin typeface="Ubuntu Light" panose="020B0304030602030204" pitchFamily="34" charset="0"/>
                <a:ea typeface="+mn-ea"/>
                <a:cs typeface="+mn-cs"/>
              </a:rPr>
              <a:t>2</a:t>
            </a: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is expected to decrease by 2050. Today it is more costly than the European ETS (around €90/tCO</a:t>
            </a:r>
            <a:r>
              <a:rPr kumimoji="0" lang="en-US" sz="1600" b="0" i="0" u="none" strike="noStrike" kern="1200" cap="none" spc="0" normalizeH="0" baseline="-25000" noProof="0">
                <a:ln>
                  <a:noFill/>
                </a:ln>
                <a:solidFill>
                  <a:srgbClr val="FFFFFF"/>
                </a:solidFill>
                <a:effectLst/>
                <a:uLnTx/>
                <a:uFillTx/>
                <a:latin typeface="Ubuntu Light" panose="020B0304030602030204" pitchFamily="34" charset="0"/>
                <a:ea typeface="+mn-ea"/>
                <a:cs typeface="+mn-cs"/>
              </a:rPr>
              <a:t>2</a:t>
            </a: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by mid-2022)</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endPar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4" name="TextBox 13">
            <a:extLst>
              <a:ext uri="{FF2B5EF4-FFF2-40B4-BE49-F238E27FC236}">
                <a16:creationId xmlns:a16="http://schemas.microsoft.com/office/drawing/2014/main" id="{37371D5C-284E-418D-9BC2-51F639544B78}"/>
              </a:ext>
            </a:extLst>
          </p:cNvPr>
          <p:cNvSpPr txBox="1"/>
          <p:nvPr/>
        </p:nvSpPr>
        <p:spPr>
          <a:xfrm>
            <a:off x="411163" y="6329561"/>
            <a:ext cx="4637488"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 IEA analysis and tracking; Global CCS Institute CCS Facilities Database</a:t>
            </a:r>
          </a:p>
        </p:txBody>
      </p:sp>
      <p:sp>
        <p:nvSpPr>
          <p:cNvPr id="15" name="Text Placeholder 5">
            <a:extLst>
              <a:ext uri="{FF2B5EF4-FFF2-40B4-BE49-F238E27FC236}">
                <a16:creationId xmlns:a16="http://schemas.microsoft.com/office/drawing/2014/main" id="{71AB6FD5-9617-4D29-AAD7-BE93F011D06F}"/>
              </a:ext>
            </a:extLst>
          </p:cNvPr>
          <p:cNvSpPr txBox="1">
            <a:spLocks/>
          </p:cNvSpPr>
          <p:nvPr/>
        </p:nvSpPr>
        <p:spPr>
          <a:xfrm>
            <a:off x="416187" y="1298476"/>
            <a:ext cx="7519687" cy="215444"/>
          </a:xfrm>
          <a:prstGeom prst="rect">
            <a:avLst/>
          </a:prstGeom>
          <a:solidFill>
            <a:schemeClr val="bg1"/>
          </a:solidFill>
        </p:spPr>
        <p:txBody>
          <a:bodyPr wrap="non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Global pipeline of commercial CCUS facilities operating and in development (2010-2021)</a:t>
            </a:r>
          </a:p>
        </p:txBody>
      </p:sp>
      <p:sp>
        <p:nvSpPr>
          <p:cNvPr id="11" name="Ellipse 1">
            <a:extLst>
              <a:ext uri="{FF2B5EF4-FFF2-40B4-BE49-F238E27FC236}">
                <a16:creationId xmlns:a16="http://schemas.microsoft.com/office/drawing/2014/main" id="{9F000A33-6412-4035-98DA-A8866CAD10BD}"/>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41458938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8">
            <a:extLst>
              <a:ext uri="{FF2B5EF4-FFF2-40B4-BE49-F238E27FC236}">
                <a16:creationId xmlns:a16="http://schemas.microsoft.com/office/drawing/2014/main" id="{FB2C9B6E-AC7C-42A5-9143-EB02B7664BAB}"/>
              </a:ext>
            </a:extLst>
          </p:cNvPr>
          <p:cNvSpPr txBox="1"/>
          <p:nvPr/>
        </p:nvSpPr>
        <p:spPr>
          <a:xfrm>
            <a:off x="376122" y="5972295"/>
            <a:ext cx="7632848"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Source: </a:t>
            </a:r>
            <a:r>
              <a:rPr kumimoji="0" lang="en-US" sz="900" b="0" i="0" u="none" strike="noStrike" kern="1200" cap="none" spc="0" normalizeH="0" baseline="30000">
                <a:ln>
                  <a:noFill/>
                </a:ln>
                <a:solidFill>
                  <a:schemeClr val="bg2">
                    <a:lumMod val="50000"/>
                  </a:schemeClr>
                </a:solidFill>
                <a:effectLst/>
                <a:uLnTx/>
                <a:uFillTx/>
                <a:latin typeface="Verdana"/>
                <a:ea typeface="+mn-ea"/>
                <a:cs typeface="+mn-cs"/>
              </a:rPr>
              <a:t>1 </a:t>
            </a:r>
            <a:r>
              <a:rPr kumimoji="0" lang="en-US" sz="900" b="0" i="0" u="none" strike="noStrike" kern="1200" cap="none" spc="0" normalizeH="0">
                <a:ln>
                  <a:noFill/>
                </a:ln>
                <a:solidFill>
                  <a:schemeClr val="bg2">
                    <a:lumMod val="50000"/>
                  </a:schemeClr>
                </a:solidFill>
                <a:effectLst/>
                <a:uLnTx/>
                <a:uFillTx/>
                <a:latin typeface="Verdana"/>
                <a:ea typeface="+mn-ea"/>
                <a:cs typeface="+mn-cs"/>
              </a:rPr>
              <a:t>Global hydrogen review 2022, I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a:ln>
                  <a:noFill/>
                </a:ln>
                <a:solidFill>
                  <a:schemeClr val="bg2">
                    <a:lumMod val="50000"/>
                  </a:schemeClr>
                </a:solidFill>
                <a:effectLst/>
                <a:uLnTx/>
                <a:uFillTx/>
                <a:latin typeface="Verdana"/>
                <a:ea typeface="+mn-ea"/>
                <a:cs typeface="+mn-cs"/>
              </a:rPr>
              <a:t>2</a:t>
            </a:r>
            <a:r>
              <a:rPr kumimoji="0" lang="en-US" sz="900" b="0" i="0" u="none" strike="noStrike" kern="1200" cap="none" spc="0" normalizeH="0">
                <a:ln>
                  <a:noFill/>
                </a:ln>
                <a:solidFill>
                  <a:schemeClr val="bg2">
                    <a:lumMod val="50000"/>
                  </a:schemeClr>
                </a:solidFill>
                <a:effectLst/>
                <a:uLnTx/>
                <a:uFillTx/>
                <a:latin typeface="Verdana"/>
                <a:ea typeface="+mn-ea"/>
                <a:cs typeface="+mn-cs"/>
              </a:rPr>
              <a:t> Net Zero by 2050: A Roadmap for the Global Energy Sector, I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a:ln>
                  <a:noFill/>
                </a:ln>
                <a:solidFill>
                  <a:schemeClr val="bg2">
                    <a:lumMod val="50000"/>
                  </a:schemeClr>
                </a:solidFill>
                <a:effectLst/>
                <a:uLnTx/>
                <a:uFillTx/>
                <a:latin typeface="Verdana"/>
                <a:ea typeface="+mn-ea"/>
                <a:cs typeface="+mn-cs"/>
              </a:rPr>
              <a:t>Cost range: Global Hydrogen Review 2021, IEA</a:t>
            </a:r>
          </a:p>
        </p:txBody>
      </p:sp>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GB" dirty="0"/>
              <a:t>Governments’ support, green hydrogen Production objectives are very ambitious</a:t>
            </a:r>
            <a:endParaRPr lang="en-IN" dirty="0"/>
          </a:p>
        </p:txBody>
      </p:sp>
      <p:sp>
        <p:nvSpPr>
          <p:cNvPr id="2" name="ZoneTexte 1">
            <a:extLst>
              <a:ext uri="{FF2B5EF4-FFF2-40B4-BE49-F238E27FC236}">
                <a16:creationId xmlns:a16="http://schemas.microsoft.com/office/drawing/2014/main" id="{6FA5A2AC-025B-4BAE-BAE1-86374C5E5104}"/>
              </a:ext>
            </a:extLst>
          </p:cNvPr>
          <p:cNvSpPr txBox="1"/>
          <p:nvPr/>
        </p:nvSpPr>
        <p:spPr>
          <a:xfrm>
            <a:off x="5225394" y="1256908"/>
            <a:ext cx="1157688" cy="369332"/>
          </a:xfrm>
          <a:prstGeom prst="rect">
            <a:avLst/>
          </a:prstGeom>
          <a:noFill/>
          <a:ln>
            <a:solidFill>
              <a:schemeClr val="tx1"/>
            </a:solidFill>
            <a:prstDash val="dash"/>
          </a:ln>
        </p:spPr>
        <p:txBody>
          <a:bodyPr wrap="none" rtlCol="0">
            <a:spAutoFit/>
          </a:bodyPr>
          <a:lstStyle>
            <a:defPPr>
              <a:defRPr lang="pt-PT"/>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Ubuntu"/>
              </a:defRPr>
            </a:lvl1pPr>
          </a:lstStyle>
          <a:p>
            <a:r>
              <a:rPr lang="fr-FR"/>
              <a:t>End 2021</a:t>
            </a:r>
          </a:p>
        </p:txBody>
      </p:sp>
      <p:cxnSp>
        <p:nvCxnSpPr>
          <p:cNvPr id="4" name="Straight Connector 14">
            <a:extLst>
              <a:ext uri="{FF2B5EF4-FFF2-40B4-BE49-F238E27FC236}">
                <a16:creationId xmlns:a16="http://schemas.microsoft.com/office/drawing/2014/main" id="{11F33C63-91CE-4047-A8AD-08990D441F95}"/>
              </a:ext>
            </a:extLst>
          </p:cNvPr>
          <p:cNvCxnSpPr>
            <a:cxnSpLocks/>
          </p:cNvCxnSpPr>
          <p:nvPr/>
        </p:nvCxnSpPr>
        <p:spPr>
          <a:xfrm>
            <a:off x="7671256" y="1429098"/>
            <a:ext cx="0" cy="3943002"/>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170BB451-D228-4E58-8FC2-41D3D6AB5670}"/>
              </a:ext>
            </a:extLst>
          </p:cNvPr>
          <p:cNvSpPr txBox="1"/>
          <p:nvPr/>
        </p:nvSpPr>
        <p:spPr>
          <a:xfrm>
            <a:off x="8642482" y="1118409"/>
            <a:ext cx="2819279" cy="646331"/>
          </a:xfrm>
          <a:prstGeom prst="rect">
            <a:avLst/>
          </a:prstGeom>
          <a:noFill/>
          <a:ln>
            <a:solidFill>
              <a:schemeClr val="tx1"/>
            </a:solidFill>
            <a:prstDash val="dash"/>
          </a:ln>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black"/>
                </a:solidFill>
                <a:effectLst/>
                <a:uLnTx/>
                <a:uFillTx/>
                <a:latin typeface="Ubuntu"/>
              </a:defRPr>
            </a:lvl1pPr>
          </a:lstStyle>
          <a:p>
            <a:r>
              <a:rPr lang="en-US"/>
              <a:t>To meet the Paris agreement goals</a:t>
            </a:r>
          </a:p>
        </p:txBody>
      </p:sp>
      <p:grpSp>
        <p:nvGrpSpPr>
          <p:cNvPr id="31" name="Groupe 30">
            <a:extLst>
              <a:ext uri="{FF2B5EF4-FFF2-40B4-BE49-F238E27FC236}">
                <a16:creationId xmlns:a16="http://schemas.microsoft.com/office/drawing/2014/main" id="{3EFAF7B1-37BB-4181-A90B-081C21FF4F0E}"/>
              </a:ext>
            </a:extLst>
          </p:cNvPr>
          <p:cNvGrpSpPr/>
          <p:nvPr/>
        </p:nvGrpSpPr>
        <p:grpSpPr>
          <a:xfrm>
            <a:off x="8752000" y="1801747"/>
            <a:ext cx="2756044" cy="1107996"/>
            <a:chOff x="4799192" y="1954147"/>
            <a:chExt cx="2756044" cy="1107996"/>
          </a:xfrm>
        </p:grpSpPr>
        <p:sp>
          <p:nvSpPr>
            <p:cNvPr id="9" name="ZoneTexte 8">
              <a:extLst>
                <a:ext uri="{FF2B5EF4-FFF2-40B4-BE49-F238E27FC236}">
                  <a16:creationId xmlns:a16="http://schemas.microsoft.com/office/drawing/2014/main" id="{07A458B2-141B-45CA-9148-4DB4499241AD}"/>
                </a:ext>
              </a:extLst>
            </p:cNvPr>
            <p:cNvSpPr txBox="1"/>
            <p:nvPr/>
          </p:nvSpPr>
          <p:spPr>
            <a:xfrm>
              <a:off x="4799192" y="2415812"/>
              <a:ext cx="2756044" cy="646331"/>
            </a:xfrm>
            <a:prstGeom prst="rect">
              <a:avLst/>
            </a:prstGeom>
            <a:noFill/>
          </p:spPr>
          <p:txBody>
            <a:bodyPr wrap="square">
              <a:spAutoFit/>
            </a:bodyPr>
            <a:lstStyle/>
            <a:p>
              <a:pPr algn="ctr"/>
              <a:r>
                <a:rPr lang="en-US">
                  <a:solidFill>
                    <a:srgbClr val="000000"/>
                  </a:solidFill>
                  <a:effectLst/>
                  <a:ea typeface="Calibri" panose="020F0502020204030204" pitchFamily="34" charset="0"/>
                </a:rPr>
                <a:t>of world energy demand </a:t>
              </a:r>
            </a:p>
            <a:p>
              <a:pPr algn="ctr"/>
              <a:r>
                <a:rPr lang="en-US">
                  <a:solidFill>
                    <a:srgbClr val="000000"/>
                  </a:solidFill>
                  <a:effectLst/>
                  <a:ea typeface="Calibri" panose="020F0502020204030204" pitchFamily="34" charset="0"/>
                </a:rPr>
                <a:t>by 2050</a:t>
              </a:r>
              <a:r>
                <a:rPr lang="en-US" baseline="30000">
                  <a:solidFill>
                    <a:srgbClr val="000000"/>
                  </a:solidFill>
                  <a:effectLst/>
                  <a:ea typeface="Calibri" panose="020F0502020204030204" pitchFamily="34" charset="0"/>
                </a:rPr>
                <a:t>2</a:t>
              </a:r>
              <a:endParaRPr lang="en-US">
                <a:solidFill>
                  <a:srgbClr val="000000"/>
                </a:solidFill>
                <a:effectLst/>
                <a:ea typeface="Calibri" panose="020F0502020204030204" pitchFamily="34" charset="0"/>
              </a:endParaRPr>
            </a:p>
          </p:txBody>
        </p:sp>
        <p:sp>
          <p:nvSpPr>
            <p:cNvPr id="10" name="ZoneTexte 9">
              <a:extLst>
                <a:ext uri="{FF2B5EF4-FFF2-40B4-BE49-F238E27FC236}">
                  <a16:creationId xmlns:a16="http://schemas.microsoft.com/office/drawing/2014/main" id="{20467814-17C3-4C61-8308-6B86B06ACDB2}"/>
                </a:ext>
              </a:extLst>
            </p:cNvPr>
            <p:cNvSpPr txBox="1"/>
            <p:nvPr/>
          </p:nvSpPr>
          <p:spPr>
            <a:xfrm>
              <a:off x="5749771" y="1954147"/>
              <a:ext cx="854887" cy="461665"/>
            </a:xfrm>
            <a:prstGeom prst="rect">
              <a:avLst/>
            </a:prstGeom>
            <a:noFill/>
          </p:spPr>
          <p:txBody>
            <a:bodyPr wrap="square">
              <a:spAutoFit/>
            </a:bodyPr>
            <a:lstStyle/>
            <a:p>
              <a:r>
                <a:rPr kumimoji="0" lang="fr-FR" sz="2400" b="1" i="0" u="none" strike="noStrike" kern="1200" cap="none" spc="0" normalizeH="0" baseline="0" noProof="0">
                  <a:ln>
                    <a:noFill/>
                  </a:ln>
                  <a:solidFill>
                    <a:srgbClr val="176036"/>
                  </a:solidFill>
                  <a:effectLst/>
                  <a:uLnTx/>
                  <a:uFillTx/>
                  <a:latin typeface="Ubuntu"/>
                  <a:ea typeface="+mn-ea"/>
                  <a:cs typeface="+mn-cs"/>
                </a:rPr>
                <a:t>15%</a:t>
              </a:r>
              <a:endParaRPr lang="fr-FR">
                <a:solidFill>
                  <a:srgbClr val="176036"/>
                </a:solidFill>
              </a:endParaRPr>
            </a:p>
          </p:txBody>
        </p:sp>
        <p:cxnSp>
          <p:nvCxnSpPr>
            <p:cNvPr id="11" name="Connecteur droit 10">
              <a:extLst>
                <a:ext uri="{FF2B5EF4-FFF2-40B4-BE49-F238E27FC236}">
                  <a16:creationId xmlns:a16="http://schemas.microsoft.com/office/drawing/2014/main" id="{C3740E0A-43DD-4119-9307-74746C2E18A3}"/>
                </a:ext>
              </a:extLst>
            </p:cNvPr>
            <p:cNvCxnSpPr>
              <a:cxnSpLocks/>
            </p:cNvCxnSpPr>
            <p:nvPr/>
          </p:nvCxnSpPr>
          <p:spPr>
            <a:xfrm>
              <a:off x="5895298" y="2415812"/>
              <a:ext cx="563835" cy="0"/>
            </a:xfrm>
            <a:prstGeom prst="line">
              <a:avLst/>
            </a:prstGeom>
            <a:ln w="38100">
              <a:solidFill>
                <a:srgbClr val="176036"/>
              </a:solidFill>
            </a:ln>
          </p:spPr>
          <p:style>
            <a:lnRef idx="1">
              <a:schemeClr val="accent1"/>
            </a:lnRef>
            <a:fillRef idx="0">
              <a:schemeClr val="accent1"/>
            </a:fillRef>
            <a:effectRef idx="0">
              <a:schemeClr val="accent1"/>
            </a:effectRef>
            <a:fontRef idx="minor">
              <a:schemeClr val="tx1"/>
            </a:fontRef>
          </p:style>
        </p:cxnSp>
      </p:grpSp>
      <p:grpSp>
        <p:nvGrpSpPr>
          <p:cNvPr id="32" name="Groupe 31">
            <a:extLst>
              <a:ext uri="{FF2B5EF4-FFF2-40B4-BE49-F238E27FC236}">
                <a16:creationId xmlns:a16="http://schemas.microsoft.com/office/drawing/2014/main" id="{8C8F4113-BF76-4849-BE13-544FBEA5EC78}"/>
              </a:ext>
            </a:extLst>
          </p:cNvPr>
          <p:cNvGrpSpPr/>
          <p:nvPr/>
        </p:nvGrpSpPr>
        <p:grpSpPr>
          <a:xfrm>
            <a:off x="8437502" y="3050264"/>
            <a:ext cx="3385040" cy="1107996"/>
            <a:chOff x="4484694" y="3444642"/>
            <a:chExt cx="3385040" cy="1107996"/>
          </a:xfrm>
        </p:grpSpPr>
        <p:sp>
          <p:nvSpPr>
            <p:cNvPr id="12" name="ZoneTexte 11">
              <a:extLst>
                <a:ext uri="{FF2B5EF4-FFF2-40B4-BE49-F238E27FC236}">
                  <a16:creationId xmlns:a16="http://schemas.microsoft.com/office/drawing/2014/main" id="{17477C69-0CDF-4B76-BB82-9690E0E4C72F}"/>
                </a:ext>
              </a:extLst>
            </p:cNvPr>
            <p:cNvSpPr txBox="1"/>
            <p:nvPr/>
          </p:nvSpPr>
          <p:spPr>
            <a:xfrm>
              <a:off x="4484694" y="3906307"/>
              <a:ext cx="3385040" cy="646331"/>
            </a:xfrm>
            <a:prstGeom prst="rect">
              <a:avLst/>
            </a:prstGeom>
            <a:noFill/>
          </p:spPr>
          <p:txBody>
            <a:bodyPr wrap="square">
              <a:spAutoFit/>
            </a:bodyPr>
            <a:lstStyle/>
            <a:p>
              <a:pPr algn="ctr"/>
              <a:r>
                <a:rPr lang="en-US">
                  <a:solidFill>
                    <a:srgbClr val="000000"/>
                  </a:solidFill>
                  <a:effectLst/>
                  <a:ea typeface="Calibri" panose="020F0502020204030204" pitchFamily="34" charset="0"/>
                </a:rPr>
                <a:t>of hydrogen production would need to be green by 2030</a:t>
              </a:r>
              <a:r>
                <a:rPr lang="en-US" baseline="30000">
                  <a:solidFill>
                    <a:srgbClr val="000000"/>
                  </a:solidFill>
                  <a:effectLst/>
                  <a:ea typeface="Calibri" panose="020F0502020204030204" pitchFamily="34" charset="0"/>
                </a:rPr>
                <a:t>2</a:t>
              </a:r>
              <a:endParaRPr lang="en-US">
                <a:solidFill>
                  <a:srgbClr val="000000"/>
                </a:solidFill>
                <a:effectLst/>
                <a:ea typeface="Calibri" panose="020F0502020204030204" pitchFamily="34" charset="0"/>
              </a:endParaRPr>
            </a:p>
          </p:txBody>
        </p:sp>
        <p:sp>
          <p:nvSpPr>
            <p:cNvPr id="13" name="ZoneTexte 12">
              <a:extLst>
                <a:ext uri="{FF2B5EF4-FFF2-40B4-BE49-F238E27FC236}">
                  <a16:creationId xmlns:a16="http://schemas.microsoft.com/office/drawing/2014/main" id="{1E95F79D-06AE-4161-9FD4-4CC73D50E0DA}"/>
                </a:ext>
              </a:extLst>
            </p:cNvPr>
            <p:cNvSpPr txBox="1"/>
            <p:nvPr/>
          </p:nvSpPr>
          <p:spPr>
            <a:xfrm>
              <a:off x="5749771" y="3444642"/>
              <a:ext cx="854887" cy="461665"/>
            </a:xfrm>
            <a:prstGeom prst="rect">
              <a:avLst/>
            </a:prstGeom>
            <a:noFill/>
          </p:spPr>
          <p:txBody>
            <a:bodyPr wrap="square">
              <a:spAutoFit/>
            </a:bodyPr>
            <a:lstStyle/>
            <a:p>
              <a:r>
                <a:rPr lang="fr-FR" sz="2400" b="1">
                  <a:solidFill>
                    <a:srgbClr val="176036"/>
                  </a:solidFill>
                  <a:latin typeface="Ubuntu"/>
                </a:rPr>
                <a:t>35</a:t>
              </a:r>
              <a:r>
                <a:rPr kumimoji="0" lang="fr-FR" sz="2400" b="1" i="0" u="none" strike="noStrike" kern="1200" cap="none" spc="0" normalizeH="0" baseline="0" noProof="0">
                  <a:ln>
                    <a:noFill/>
                  </a:ln>
                  <a:solidFill>
                    <a:srgbClr val="176036"/>
                  </a:solidFill>
                  <a:effectLst/>
                  <a:uLnTx/>
                  <a:uFillTx/>
                  <a:latin typeface="Ubuntu"/>
                  <a:ea typeface="+mn-ea"/>
                  <a:cs typeface="+mn-cs"/>
                </a:rPr>
                <a:t>%</a:t>
              </a:r>
              <a:endParaRPr lang="fr-FR">
                <a:solidFill>
                  <a:srgbClr val="176036"/>
                </a:solidFill>
              </a:endParaRPr>
            </a:p>
          </p:txBody>
        </p:sp>
        <p:cxnSp>
          <p:nvCxnSpPr>
            <p:cNvPr id="14" name="Connecteur droit 13">
              <a:extLst>
                <a:ext uri="{FF2B5EF4-FFF2-40B4-BE49-F238E27FC236}">
                  <a16:creationId xmlns:a16="http://schemas.microsoft.com/office/drawing/2014/main" id="{F9D818BE-9E89-4DB8-B682-901D63D85E19}"/>
                </a:ext>
              </a:extLst>
            </p:cNvPr>
            <p:cNvCxnSpPr>
              <a:cxnSpLocks/>
            </p:cNvCxnSpPr>
            <p:nvPr/>
          </p:nvCxnSpPr>
          <p:spPr>
            <a:xfrm>
              <a:off x="5895298" y="3906307"/>
              <a:ext cx="563835" cy="0"/>
            </a:xfrm>
            <a:prstGeom prst="line">
              <a:avLst/>
            </a:prstGeom>
            <a:ln w="38100">
              <a:solidFill>
                <a:srgbClr val="176036"/>
              </a:solidFill>
            </a:ln>
          </p:spPr>
          <p:style>
            <a:lnRef idx="1">
              <a:schemeClr val="accent1"/>
            </a:lnRef>
            <a:fillRef idx="0">
              <a:schemeClr val="accent1"/>
            </a:fillRef>
            <a:effectRef idx="0">
              <a:schemeClr val="accent1"/>
            </a:effectRef>
            <a:fontRef idx="minor">
              <a:schemeClr val="tx1"/>
            </a:fontRef>
          </p:style>
        </p:cxnSp>
      </p:grpSp>
      <p:grpSp>
        <p:nvGrpSpPr>
          <p:cNvPr id="33" name="Groupe 32">
            <a:extLst>
              <a:ext uri="{FF2B5EF4-FFF2-40B4-BE49-F238E27FC236}">
                <a16:creationId xmlns:a16="http://schemas.microsoft.com/office/drawing/2014/main" id="{AFCF9DA2-8A7C-4CFF-A6C3-0F20F208A593}"/>
              </a:ext>
            </a:extLst>
          </p:cNvPr>
          <p:cNvGrpSpPr/>
          <p:nvPr/>
        </p:nvGrpSpPr>
        <p:grpSpPr>
          <a:xfrm>
            <a:off x="8752000" y="4393443"/>
            <a:ext cx="2756044" cy="1107996"/>
            <a:chOff x="4799192" y="4886242"/>
            <a:chExt cx="2756044" cy="1107996"/>
          </a:xfrm>
        </p:grpSpPr>
        <p:sp>
          <p:nvSpPr>
            <p:cNvPr id="15" name="ZoneTexte 14">
              <a:extLst>
                <a:ext uri="{FF2B5EF4-FFF2-40B4-BE49-F238E27FC236}">
                  <a16:creationId xmlns:a16="http://schemas.microsoft.com/office/drawing/2014/main" id="{739EF0ED-EEDE-4790-AA3B-1CF69C12C0E7}"/>
                </a:ext>
              </a:extLst>
            </p:cNvPr>
            <p:cNvSpPr txBox="1"/>
            <p:nvPr/>
          </p:nvSpPr>
          <p:spPr>
            <a:xfrm>
              <a:off x="4799192" y="5347907"/>
              <a:ext cx="2756044" cy="646331"/>
            </a:xfrm>
            <a:prstGeom prst="rect">
              <a:avLst/>
            </a:prstGeom>
            <a:noFill/>
          </p:spPr>
          <p:txBody>
            <a:bodyPr wrap="square">
              <a:spAutoFit/>
            </a:bodyPr>
            <a:lstStyle/>
            <a:p>
              <a:pPr algn="ctr"/>
              <a:r>
                <a:rPr lang="en-US">
                  <a:solidFill>
                    <a:srgbClr val="000000"/>
                  </a:solidFill>
                  <a:effectLst/>
                  <a:ea typeface="Calibri" panose="020F0502020204030204" pitchFamily="34" charset="0"/>
                </a:rPr>
                <a:t>would need to be blue by 2030</a:t>
              </a:r>
              <a:r>
                <a:rPr lang="en-US" baseline="30000">
                  <a:solidFill>
                    <a:srgbClr val="000000"/>
                  </a:solidFill>
                  <a:effectLst/>
                  <a:ea typeface="Calibri" panose="020F0502020204030204" pitchFamily="34" charset="0"/>
                </a:rPr>
                <a:t>2</a:t>
              </a:r>
              <a:endParaRPr lang="en-US">
                <a:solidFill>
                  <a:srgbClr val="000000"/>
                </a:solidFill>
                <a:effectLst/>
                <a:ea typeface="Calibri" panose="020F0502020204030204" pitchFamily="34" charset="0"/>
              </a:endParaRPr>
            </a:p>
          </p:txBody>
        </p:sp>
        <p:sp>
          <p:nvSpPr>
            <p:cNvPr id="16" name="ZoneTexte 15">
              <a:extLst>
                <a:ext uri="{FF2B5EF4-FFF2-40B4-BE49-F238E27FC236}">
                  <a16:creationId xmlns:a16="http://schemas.microsoft.com/office/drawing/2014/main" id="{DA24CBB0-F325-43F3-BFFD-107340061B66}"/>
                </a:ext>
              </a:extLst>
            </p:cNvPr>
            <p:cNvSpPr txBox="1"/>
            <p:nvPr/>
          </p:nvSpPr>
          <p:spPr>
            <a:xfrm>
              <a:off x="5749771" y="4886242"/>
              <a:ext cx="854887" cy="461665"/>
            </a:xfrm>
            <a:prstGeom prst="rect">
              <a:avLst/>
            </a:prstGeom>
            <a:noFill/>
          </p:spPr>
          <p:txBody>
            <a:bodyPr wrap="square">
              <a:spAutoFit/>
            </a:bodyPr>
            <a:lstStyle/>
            <a:p>
              <a:r>
                <a:rPr lang="fr-FR" sz="2400" b="1">
                  <a:solidFill>
                    <a:srgbClr val="176036"/>
                  </a:solidFill>
                  <a:latin typeface="Ubuntu"/>
                </a:rPr>
                <a:t>35</a:t>
              </a:r>
              <a:r>
                <a:rPr kumimoji="0" lang="fr-FR" sz="2400" b="1" i="0" u="none" strike="noStrike" kern="1200" cap="none" spc="0" normalizeH="0" baseline="0" noProof="0">
                  <a:ln>
                    <a:noFill/>
                  </a:ln>
                  <a:solidFill>
                    <a:srgbClr val="176036"/>
                  </a:solidFill>
                  <a:effectLst/>
                  <a:uLnTx/>
                  <a:uFillTx/>
                  <a:latin typeface="Ubuntu"/>
                  <a:ea typeface="+mn-ea"/>
                  <a:cs typeface="+mn-cs"/>
                </a:rPr>
                <a:t>%</a:t>
              </a:r>
              <a:endParaRPr lang="fr-FR">
                <a:solidFill>
                  <a:srgbClr val="176036"/>
                </a:solidFill>
              </a:endParaRPr>
            </a:p>
          </p:txBody>
        </p:sp>
        <p:cxnSp>
          <p:nvCxnSpPr>
            <p:cNvPr id="17" name="Connecteur droit 16">
              <a:extLst>
                <a:ext uri="{FF2B5EF4-FFF2-40B4-BE49-F238E27FC236}">
                  <a16:creationId xmlns:a16="http://schemas.microsoft.com/office/drawing/2014/main" id="{4B39EE5C-9DDD-4BA5-8EF0-6054D578EB6C}"/>
                </a:ext>
              </a:extLst>
            </p:cNvPr>
            <p:cNvCxnSpPr>
              <a:cxnSpLocks/>
            </p:cNvCxnSpPr>
            <p:nvPr/>
          </p:nvCxnSpPr>
          <p:spPr>
            <a:xfrm>
              <a:off x="5895298" y="5347907"/>
              <a:ext cx="563835" cy="0"/>
            </a:xfrm>
            <a:prstGeom prst="line">
              <a:avLst/>
            </a:prstGeom>
            <a:ln w="38100">
              <a:solidFill>
                <a:srgbClr val="176036"/>
              </a:solidFill>
            </a:ln>
          </p:spPr>
          <p:style>
            <a:lnRef idx="1">
              <a:schemeClr val="accent1"/>
            </a:lnRef>
            <a:fillRef idx="0">
              <a:schemeClr val="accent1"/>
            </a:fillRef>
            <a:effectRef idx="0">
              <a:schemeClr val="accent1"/>
            </a:effectRef>
            <a:fontRef idx="minor">
              <a:schemeClr val="tx1"/>
            </a:fontRef>
          </p:style>
        </p:cxnSp>
      </p:grpSp>
      <p:grpSp>
        <p:nvGrpSpPr>
          <p:cNvPr id="28" name="Groupe 27">
            <a:extLst>
              <a:ext uri="{FF2B5EF4-FFF2-40B4-BE49-F238E27FC236}">
                <a16:creationId xmlns:a16="http://schemas.microsoft.com/office/drawing/2014/main" id="{360F04F1-2225-49B0-91FA-8F38A6031D81}"/>
              </a:ext>
            </a:extLst>
          </p:cNvPr>
          <p:cNvGrpSpPr/>
          <p:nvPr/>
        </p:nvGrpSpPr>
        <p:grpSpPr>
          <a:xfrm>
            <a:off x="4392043" y="1940247"/>
            <a:ext cx="2756044" cy="830997"/>
            <a:chOff x="944579" y="1954147"/>
            <a:chExt cx="2756044" cy="830997"/>
          </a:xfrm>
        </p:grpSpPr>
        <p:sp>
          <p:nvSpPr>
            <p:cNvPr id="18" name="ZoneTexte 17">
              <a:extLst>
                <a:ext uri="{FF2B5EF4-FFF2-40B4-BE49-F238E27FC236}">
                  <a16:creationId xmlns:a16="http://schemas.microsoft.com/office/drawing/2014/main" id="{B140F4FB-3252-42DE-B6E9-621929AD574F}"/>
                </a:ext>
              </a:extLst>
            </p:cNvPr>
            <p:cNvSpPr txBox="1"/>
            <p:nvPr/>
          </p:nvSpPr>
          <p:spPr>
            <a:xfrm>
              <a:off x="944579" y="2415812"/>
              <a:ext cx="2756044" cy="369332"/>
            </a:xfrm>
            <a:prstGeom prst="rect">
              <a:avLst/>
            </a:prstGeom>
            <a:noFill/>
          </p:spPr>
          <p:txBody>
            <a:bodyPr wrap="square">
              <a:spAutoFit/>
            </a:bodyPr>
            <a:lstStyle/>
            <a:p>
              <a:pPr algn="ctr"/>
              <a:r>
                <a:rPr lang="en-US">
                  <a:solidFill>
                    <a:srgbClr val="000000"/>
                  </a:solidFill>
                  <a:effectLst/>
                  <a:ea typeface="Calibri" panose="020F0502020204030204" pitchFamily="34" charset="0"/>
                </a:rPr>
                <a:t>of world energy demand </a:t>
              </a:r>
            </a:p>
          </p:txBody>
        </p:sp>
        <p:sp>
          <p:nvSpPr>
            <p:cNvPr id="19" name="ZoneTexte 18">
              <a:extLst>
                <a:ext uri="{FF2B5EF4-FFF2-40B4-BE49-F238E27FC236}">
                  <a16:creationId xmlns:a16="http://schemas.microsoft.com/office/drawing/2014/main" id="{EFAC85F2-5457-45B9-8255-8D3303776AE1}"/>
                </a:ext>
              </a:extLst>
            </p:cNvPr>
            <p:cNvSpPr txBox="1"/>
            <p:nvPr/>
          </p:nvSpPr>
          <p:spPr>
            <a:xfrm>
              <a:off x="2040685" y="1954147"/>
              <a:ext cx="854887" cy="461665"/>
            </a:xfrm>
            <a:prstGeom prst="rect">
              <a:avLst/>
            </a:prstGeom>
            <a:noFill/>
          </p:spPr>
          <p:txBody>
            <a:bodyPr wrap="square">
              <a:spAutoFit/>
            </a:bodyPr>
            <a:lstStyle/>
            <a:p>
              <a:r>
                <a:rPr lang="fr-FR" sz="2400" b="1">
                  <a:solidFill>
                    <a:schemeClr val="accent1">
                      <a:lumMod val="75000"/>
                    </a:schemeClr>
                  </a:solidFill>
                  <a:latin typeface="Ubuntu"/>
                </a:rPr>
                <a:t>2</a:t>
              </a:r>
              <a:r>
                <a:rPr kumimoji="0" lang="fr-FR" sz="2400" b="1" i="0" u="none" strike="noStrike" kern="1200" cap="none" spc="0" normalizeH="0" baseline="0" noProof="0">
                  <a:ln>
                    <a:noFill/>
                  </a:ln>
                  <a:solidFill>
                    <a:schemeClr val="accent1">
                      <a:lumMod val="75000"/>
                    </a:schemeClr>
                  </a:solidFill>
                  <a:effectLst/>
                  <a:uLnTx/>
                  <a:uFillTx/>
                  <a:latin typeface="Ubuntu"/>
                  <a:ea typeface="+mn-ea"/>
                  <a:cs typeface="+mn-cs"/>
                </a:rPr>
                <a:t>%</a:t>
              </a:r>
              <a:endParaRPr lang="fr-FR">
                <a:solidFill>
                  <a:schemeClr val="accent1">
                    <a:lumMod val="75000"/>
                  </a:schemeClr>
                </a:solidFill>
              </a:endParaRPr>
            </a:p>
          </p:txBody>
        </p:sp>
        <p:cxnSp>
          <p:nvCxnSpPr>
            <p:cNvPr id="20" name="Connecteur droit 19">
              <a:extLst>
                <a:ext uri="{FF2B5EF4-FFF2-40B4-BE49-F238E27FC236}">
                  <a16:creationId xmlns:a16="http://schemas.microsoft.com/office/drawing/2014/main" id="{A731CAF8-B56F-4D69-81CE-1A87FC5956E4}"/>
                </a:ext>
              </a:extLst>
            </p:cNvPr>
            <p:cNvCxnSpPr>
              <a:cxnSpLocks/>
            </p:cNvCxnSpPr>
            <p:nvPr/>
          </p:nvCxnSpPr>
          <p:spPr>
            <a:xfrm>
              <a:off x="2040685" y="2415812"/>
              <a:ext cx="56383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e 29">
            <a:extLst>
              <a:ext uri="{FF2B5EF4-FFF2-40B4-BE49-F238E27FC236}">
                <a16:creationId xmlns:a16="http://schemas.microsoft.com/office/drawing/2014/main" id="{576E6134-E251-4777-9ACE-9AB7636601D9}"/>
              </a:ext>
            </a:extLst>
          </p:cNvPr>
          <p:cNvGrpSpPr/>
          <p:nvPr/>
        </p:nvGrpSpPr>
        <p:grpSpPr>
          <a:xfrm>
            <a:off x="4300180" y="3050264"/>
            <a:ext cx="2756044" cy="1107996"/>
            <a:chOff x="852716" y="3444642"/>
            <a:chExt cx="2756044" cy="1107996"/>
          </a:xfrm>
        </p:grpSpPr>
        <p:sp>
          <p:nvSpPr>
            <p:cNvPr id="22" name="ZoneTexte 21">
              <a:extLst>
                <a:ext uri="{FF2B5EF4-FFF2-40B4-BE49-F238E27FC236}">
                  <a16:creationId xmlns:a16="http://schemas.microsoft.com/office/drawing/2014/main" id="{A0B68CF5-2BDF-459B-80D6-3A84E6667621}"/>
                </a:ext>
              </a:extLst>
            </p:cNvPr>
            <p:cNvSpPr txBox="1"/>
            <p:nvPr/>
          </p:nvSpPr>
          <p:spPr>
            <a:xfrm>
              <a:off x="852716" y="3906307"/>
              <a:ext cx="2756044" cy="646331"/>
            </a:xfrm>
            <a:prstGeom prst="rect">
              <a:avLst/>
            </a:prstGeom>
            <a:noFill/>
          </p:spPr>
          <p:txBody>
            <a:bodyPr wrap="square">
              <a:spAutoFit/>
            </a:bodyPr>
            <a:lstStyle/>
            <a:p>
              <a:pPr algn="ctr"/>
              <a:r>
                <a:rPr lang="en-US">
                  <a:solidFill>
                    <a:srgbClr val="000000"/>
                  </a:solidFill>
                  <a:effectLst/>
                  <a:ea typeface="Calibri" panose="020F0502020204030204" pitchFamily="34" charset="0"/>
                </a:rPr>
                <a:t>of hydrogen production is green</a:t>
              </a:r>
              <a:r>
                <a:rPr lang="en-US" baseline="30000">
                  <a:solidFill>
                    <a:srgbClr val="000000"/>
                  </a:solidFill>
                  <a:effectLst/>
                  <a:ea typeface="Calibri" panose="020F0502020204030204" pitchFamily="34" charset="0"/>
                </a:rPr>
                <a:t>1</a:t>
              </a:r>
              <a:endParaRPr lang="en-US">
                <a:solidFill>
                  <a:srgbClr val="000000"/>
                </a:solidFill>
                <a:effectLst/>
                <a:ea typeface="Calibri" panose="020F0502020204030204" pitchFamily="34" charset="0"/>
              </a:endParaRPr>
            </a:p>
          </p:txBody>
        </p:sp>
        <p:sp>
          <p:nvSpPr>
            <p:cNvPr id="23" name="ZoneTexte 22">
              <a:extLst>
                <a:ext uri="{FF2B5EF4-FFF2-40B4-BE49-F238E27FC236}">
                  <a16:creationId xmlns:a16="http://schemas.microsoft.com/office/drawing/2014/main" id="{3A87D535-B982-4F04-8733-B3839BEE3BCC}"/>
                </a:ext>
              </a:extLst>
            </p:cNvPr>
            <p:cNvSpPr txBox="1"/>
            <p:nvPr/>
          </p:nvSpPr>
          <p:spPr>
            <a:xfrm>
              <a:off x="1827360" y="3444642"/>
              <a:ext cx="1088962" cy="461665"/>
            </a:xfrm>
            <a:prstGeom prst="rect">
              <a:avLst/>
            </a:prstGeom>
            <a:noFill/>
          </p:spPr>
          <p:txBody>
            <a:bodyPr wrap="square">
              <a:spAutoFit/>
            </a:bodyPr>
            <a:lstStyle/>
            <a:p>
              <a:r>
                <a:rPr lang="fr-FR" sz="2400" b="1">
                  <a:solidFill>
                    <a:schemeClr val="accent1">
                      <a:lumMod val="75000"/>
                    </a:schemeClr>
                  </a:solidFill>
                  <a:latin typeface="Ubuntu"/>
                </a:rPr>
                <a:t>0.04</a:t>
              </a:r>
              <a:r>
                <a:rPr kumimoji="0" lang="fr-FR" sz="2400" b="1" i="0" u="none" strike="noStrike" kern="1200" cap="none" spc="0" normalizeH="0" baseline="0" noProof="0">
                  <a:ln>
                    <a:noFill/>
                  </a:ln>
                  <a:solidFill>
                    <a:schemeClr val="accent1">
                      <a:lumMod val="75000"/>
                    </a:schemeClr>
                  </a:solidFill>
                  <a:effectLst/>
                  <a:uLnTx/>
                  <a:uFillTx/>
                  <a:latin typeface="Ubuntu"/>
                  <a:ea typeface="+mn-ea"/>
                  <a:cs typeface="+mn-cs"/>
                </a:rPr>
                <a:t>%</a:t>
              </a:r>
              <a:endParaRPr lang="fr-FR">
                <a:solidFill>
                  <a:schemeClr val="accent1">
                    <a:lumMod val="75000"/>
                  </a:schemeClr>
                </a:solidFill>
              </a:endParaRPr>
            </a:p>
          </p:txBody>
        </p:sp>
        <p:cxnSp>
          <p:nvCxnSpPr>
            <p:cNvPr id="24" name="Connecteur droit 23">
              <a:extLst>
                <a:ext uri="{FF2B5EF4-FFF2-40B4-BE49-F238E27FC236}">
                  <a16:creationId xmlns:a16="http://schemas.microsoft.com/office/drawing/2014/main" id="{3F3A705E-AAA6-4E5A-B23A-3B0E62C33E74}"/>
                </a:ext>
              </a:extLst>
            </p:cNvPr>
            <p:cNvCxnSpPr>
              <a:cxnSpLocks/>
            </p:cNvCxnSpPr>
            <p:nvPr/>
          </p:nvCxnSpPr>
          <p:spPr>
            <a:xfrm>
              <a:off x="2010052" y="3906307"/>
              <a:ext cx="56383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9" name="Groupe 28">
            <a:extLst>
              <a:ext uri="{FF2B5EF4-FFF2-40B4-BE49-F238E27FC236}">
                <a16:creationId xmlns:a16="http://schemas.microsoft.com/office/drawing/2014/main" id="{D4B25A90-CD1A-4DF3-9E32-71B53B28FF37}"/>
              </a:ext>
            </a:extLst>
          </p:cNvPr>
          <p:cNvGrpSpPr/>
          <p:nvPr/>
        </p:nvGrpSpPr>
        <p:grpSpPr>
          <a:xfrm>
            <a:off x="4367159" y="4393443"/>
            <a:ext cx="2756044" cy="1107996"/>
            <a:chOff x="919695" y="4886242"/>
            <a:chExt cx="2756044" cy="1107996"/>
          </a:xfrm>
        </p:grpSpPr>
        <p:sp>
          <p:nvSpPr>
            <p:cNvPr id="25" name="ZoneTexte 24">
              <a:extLst>
                <a:ext uri="{FF2B5EF4-FFF2-40B4-BE49-F238E27FC236}">
                  <a16:creationId xmlns:a16="http://schemas.microsoft.com/office/drawing/2014/main" id="{FF49641E-B5A9-4B5C-8522-4FB6D5FD8CDF}"/>
                </a:ext>
              </a:extLst>
            </p:cNvPr>
            <p:cNvSpPr txBox="1"/>
            <p:nvPr/>
          </p:nvSpPr>
          <p:spPr>
            <a:xfrm>
              <a:off x="919695" y="5347907"/>
              <a:ext cx="2756044" cy="646331"/>
            </a:xfrm>
            <a:prstGeom prst="rect">
              <a:avLst/>
            </a:prstGeom>
            <a:noFill/>
          </p:spPr>
          <p:txBody>
            <a:bodyPr wrap="square">
              <a:spAutoFit/>
            </a:bodyPr>
            <a:lstStyle/>
            <a:p>
              <a:pPr algn="ctr"/>
              <a:r>
                <a:rPr lang="en-US">
                  <a:solidFill>
                    <a:srgbClr val="000000"/>
                  </a:solidFill>
                  <a:effectLst/>
                  <a:ea typeface="Calibri" panose="020F0502020204030204" pitchFamily="34" charset="0"/>
                </a:rPr>
                <a:t>of hydrogen production is blue</a:t>
              </a:r>
              <a:r>
                <a:rPr lang="en-US" baseline="30000">
                  <a:solidFill>
                    <a:srgbClr val="000000"/>
                  </a:solidFill>
                  <a:effectLst/>
                  <a:ea typeface="Calibri" panose="020F0502020204030204" pitchFamily="34" charset="0"/>
                </a:rPr>
                <a:t>1</a:t>
              </a:r>
              <a:endParaRPr lang="en-US">
                <a:solidFill>
                  <a:srgbClr val="000000"/>
                </a:solidFill>
                <a:effectLst/>
                <a:ea typeface="Calibri" panose="020F0502020204030204" pitchFamily="34" charset="0"/>
              </a:endParaRPr>
            </a:p>
          </p:txBody>
        </p:sp>
        <p:sp>
          <p:nvSpPr>
            <p:cNvPr id="26" name="ZoneTexte 25">
              <a:extLst>
                <a:ext uri="{FF2B5EF4-FFF2-40B4-BE49-F238E27FC236}">
                  <a16:creationId xmlns:a16="http://schemas.microsoft.com/office/drawing/2014/main" id="{CDE080E8-91A7-42AE-B9E2-5E5FCF3B6A4A}"/>
                </a:ext>
              </a:extLst>
            </p:cNvPr>
            <p:cNvSpPr txBox="1"/>
            <p:nvPr/>
          </p:nvSpPr>
          <p:spPr>
            <a:xfrm>
              <a:off x="1870274" y="4886242"/>
              <a:ext cx="942917" cy="461665"/>
            </a:xfrm>
            <a:prstGeom prst="rect">
              <a:avLst/>
            </a:prstGeom>
            <a:noFill/>
          </p:spPr>
          <p:txBody>
            <a:bodyPr wrap="square">
              <a:spAutoFit/>
            </a:bodyPr>
            <a:lstStyle/>
            <a:p>
              <a:r>
                <a:rPr lang="fr-FR" sz="2400" b="1">
                  <a:solidFill>
                    <a:schemeClr val="accent1">
                      <a:lumMod val="75000"/>
                    </a:schemeClr>
                  </a:solidFill>
                  <a:latin typeface="Ubuntu"/>
                </a:rPr>
                <a:t>0.7</a:t>
              </a:r>
              <a:r>
                <a:rPr kumimoji="0" lang="fr-FR" sz="2400" b="1" i="0" u="none" strike="noStrike" kern="1200" cap="none" spc="0" normalizeH="0" baseline="0" noProof="0">
                  <a:ln>
                    <a:noFill/>
                  </a:ln>
                  <a:solidFill>
                    <a:schemeClr val="accent1">
                      <a:lumMod val="75000"/>
                    </a:schemeClr>
                  </a:solidFill>
                  <a:effectLst/>
                  <a:uLnTx/>
                  <a:uFillTx/>
                  <a:latin typeface="Ubuntu"/>
                  <a:ea typeface="+mn-ea"/>
                  <a:cs typeface="+mn-cs"/>
                </a:rPr>
                <a:t>%</a:t>
              </a:r>
              <a:endParaRPr lang="fr-FR">
                <a:solidFill>
                  <a:schemeClr val="accent1">
                    <a:lumMod val="75000"/>
                  </a:schemeClr>
                </a:solidFill>
              </a:endParaRPr>
            </a:p>
          </p:txBody>
        </p:sp>
        <p:cxnSp>
          <p:nvCxnSpPr>
            <p:cNvPr id="27" name="Connecteur droit 26">
              <a:extLst>
                <a:ext uri="{FF2B5EF4-FFF2-40B4-BE49-F238E27FC236}">
                  <a16:creationId xmlns:a16="http://schemas.microsoft.com/office/drawing/2014/main" id="{8A9B7B73-724F-4015-AA4E-1D650A0954A0}"/>
                </a:ext>
              </a:extLst>
            </p:cNvPr>
            <p:cNvCxnSpPr>
              <a:cxnSpLocks/>
            </p:cNvCxnSpPr>
            <p:nvPr/>
          </p:nvCxnSpPr>
          <p:spPr>
            <a:xfrm>
              <a:off x="2015801" y="5347907"/>
              <a:ext cx="563835" cy="0"/>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e 44">
            <a:extLst>
              <a:ext uri="{FF2B5EF4-FFF2-40B4-BE49-F238E27FC236}">
                <a16:creationId xmlns:a16="http://schemas.microsoft.com/office/drawing/2014/main" id="{EADFE048-BEDE-41D6-A63E-5C0E0476431A}"/>
              </a:ext>
            </a:extLst>
          </p:cNvPr>
          <p:cNvGrpSpPr/>
          <p:nvPr/>
        </p:nvGrpSpPr>
        <p:grpSpPr>
          <a:xfrm>
            <a:off x="2722829" y="1848917"/>
            <a:ext cx="942917" cy="4040923"/>
            <a:chOff x="2181027" y="2711662"/>
            <a:chExt cx="660152" cy="3005577"/>
          </a:xfrm>
        </p:grpSpPr>
        <p:sp>
          <p:nvSpPr>
            <p:cNvPr id="42" name="Rectangle 41">
              <a:extLst>
                <a:ext uri="{FF2B5EF4-FFF2-40B4-BE49-F238E27FC236}">
                  <a16:creationId xmlns:a16="http://schemas.microsoft.com/office/drawing/2014/main" id="{844E8E9B-4FA9-4997-A161-1B67985EF53F}"/>
                </a:ext>
              </a:extLst>
            </p:cNvPr>
            <p:cNvSpPr/>
            <p:nvPr/>
          </p:nvSpPr>
          <p:spPr>
            <a:xfrm>
              <a:off x="2181027" y="2899124"/>
              <a:ext cx="660152" cy="281811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43" name="Rectangle 42">
              <a:extLst>
                <a:ext uri="{FF2B5EF4-FFF2-40B4-BE49-F238E27FC236}">
                  <a16:creationId xmlns:a16="http://schemas.microsoft.com/office/drawing/2014/main" id="{8E2266A7-8F3F-46C0-AB35-B6B05D454927}"/>
                </a:ext>
              </a:extLst>
            </p:cNvPr>
            <p:cNvSpPr/>
            <p:nvPr/>
          </p:nvSpPr>
          <p:spPr>
            <a:xfrm>
              <a:off x="2181027" y="2765755"/>
              <a:ext cx="660152" cy="14662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44" name="Rectangle 43">
              <a:extLst>
                <a:ext uri="{FF2B5EF4-FFF2-40B4-BE49-F238E27FC236}">
                  <a16:creationId xmlns:a16="http://schemas.microsoft.com/office/drawing/2014/main" id="{044F9279-F068-44CA-B87D-34C8DC2C59CB}"/>
                </a:ext>
              </a:extLst>
            </p:cNvPr>
            <p:cNvSpPr/>
            <p:nvPr/>
          </p:nvSpPr>
          <p:spPr>
            <a:xfrm>
              <a:off x="2181027" y="2711662"/>
              <a:ext cx="660152" cy="54629"/>
            </a:xfrm>
            <a:prstGeom prst="rect">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cxnSp>
        <p:nvCxnSpPr>
          <p:cNvPr id="49" name="Connecteur droit 48">
            <a:extLst>
              <a:ext uri="{FF2B5EF4-FFF2-40B4-BE49-F238E27FC236}">
                <a16:creationId xmlns:a16="http://schemas.microsoft.com/office/drawing/2014/main" id="{55A559D6-C012-4C36-BFDC-0115C4289604}"/>
              </a:ext>
            </a:extLst>
          </p:cNvPr>
          <p:cNvCxnSpPr>
            <a:cxnSpLocks/>
            <a:stCxn id="46" idx="3"/>
            <a:endCxn id="44" idx="1"/>
          </p:cNvCxnSpPr>
          <p:nvPr/>
        </p:nvCxnSpPr>
        <p:spPr>
          <a:xfrm flipV="1">
            <a:off x="2435138" y="1885641"/>
            <a:ext cx="287691" cy="103124"/>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50" name="Connecteur droit 49">
            <a:extLst>
              <a:ext uri="{FF2B5EF4-FFF2-40B4-BE49-F238E27FC236}">
                <a16:creationId xmlns:a16="http://schemas.microsoft.com/office/drawing/2014/main" id="{F7ED8E27-7087-4FFC-AD69-599D77C60905}"/>
              </a:ext>
            </a:extLst>
          </p:cNvPr>
          <p:cNvCxnSpPr>
            <a:cxnSpLocks/>
            <a:endCxn id="43" idx="1"/>
          </p:cNvCxnSpPr>
          <p:nvPr/>
        </p:nvCxnSpPr>
        <p:spPr>
          <a:xfrm flipV="1">
            <a:off x="2435138" y="2020211"/>
            <a:ext cx="287691" cy="726585"/>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63" name="Connecteur droit 62">
            <a:extLst>
              <a:ext uri="{FF2B5EF4-FFF2-40B4-BE49-F238E27FC236}">
                <a16:creationId xmlns:a16="http://schemas.microsoft.com/office/drawing/2014/main" id="{5E01A8CF-4476-4531-A0CF-1B06DFFE2CD8}"/>
              </a:ext>
            </a:extLst>
          </p:cNvPr>
          <p:cNvCxnSpPr>
            <a:cxnSpLocks/>
          </p:cNvCxnSpPr>
          <p:nvPr/>
        </p:nvCxnSpPr>
        <p:spPr>
          <a:xfrm flipV="1">
            <a:off x="2232499" y="3826641"/>
            <a:ext cx="474035" cy="217444"/>
          </a:xfrm>
          <a:prstGeom prst="line">
            <a:avLst/>
          </a:prstGeom>
          <a:ln>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54" name="ZoneTexte 53">
            <a:extLst>
              <a:ext uri="{FF2B5EF4-FFF2-40B4-BE49-F238E27FC236}">
                <a16:creationId xmlns:a16="http://schemas.microsoft.com/office/drawing/2014/main" id="{0E991F0F-A703-47E6-BF83-3FAEDB2624B6}"/>
              </a:ext>
            </a:extLst>
          </p:cNvPr>
          <p:cNvSpPr txBox="1"/>
          <p:nvPr/>
        </p:nvSpPr>
        <p:spPr>
          <a:xfrm>
            <a:off x="470337" y="3951006"/>
            <a:ext cx="1977144" cy="923330"/>
          </a:xfrm>
          <a:prstGeom prst="rect">
            <a:avLst/>
          </a:prstGeom>
          <a:solidFill>
            <a:srgbClr val="7F7F7F"/>
          </a:solidFill>
        </p:spPr>
        <p:txBody>
          <a:bodyPr wrap="square" rtlCol="0">
            <a:spAutoFit/>
          </a:bodyPr>
          <a:lstStyle/>
          <a:p>
            <a:pPr algn="ctr"/>
            <a:r>
              <a:rPr lang="en-US" b="1">
                <a:solidFill>
                  <a:schemeClr val="bg1"/>
                </a:solidFill>
              </a:rPr>
              <a:t>Grey hydrogen</a:t>
            </a:r>
          </a:p>
          <a:p>
            <a:pPr algn="ctr"/>
            <a:r>
              <a:rPr lang="en-US">
                <a:solidFill>
                  <a:schemeClr val="bg1"/>
                </a:solidFill>
              </a:rPr>
              <a:t>&gt;99%</a:t>
            </a:r>
          </a:p>
          <a:p>
            <a:pPr algn="ctr"/>
            <a:r>
              <a:rPr lang="en-US">
                <a:solidFill>
                  <a:schemeClr val="bg1"/>
                </a:solidFill>
              </a:rPr>
              <a:t>$0.5-1.7/kg</a:t>
            </a:r>
          </a:p>
        </p:txBody>
      </p:sp>
      <p:sp>
        <p:nvSpPr>
          <p:cNvPr id="46" name="ZoneTexte 45">
            <a:extLst>
              <a:ext uri="{FF2B5EF4-FFF2-40B4-BE49-F238E27FC236}">
                <a16:creationId xmlns:a16="http://schemas.microsoft.com/office/drawing/2014/main" id="{8A575941-FCA9-49DE-A3CC-23BF67C74C7E}"/>
              </a:ext>
            </a:extLst>
          </p:cNvPr>
          <p:cNvSpPr txBox="1"/>
          <p:nvPr/>
        </p:nvSpPr>
        <p:spPr>
          <a:xfrm>
            <a:off x="480756" y="1527100"/>
            <a:ext cx="1954382" cy="923330"/>
          </a:xfrm>
          <a:prstGeom prst="rect">
            <a:avLst/>
          </a:prstGeom>
          <a:solidFill>
            <a:srgbClr val="2EA657"/>
          </a:solidFill>
        </p:spPr>
        <p:txBody>
          <a:bodyPr wrap="square" rtlCol="0">
            <a:spAutoFit/>
          </a:bodyPr>
          <a:lstStyle/>
          <a:p>
            <a:pPr algn="ctr"/>
            <a:r>
              <a:rPr lang="en-US" b="1">
                <a:solidFill>
                  <a:schemeClr val="bg1"/>
                </a:solidFill>
              </a:rPr>
              <a:t>Green hydrogen</a:t>
            </a:r>
          </a:p>
          <a:p>
            <a:pPr algn="ctr"/>
            <a:r>
              <a:rPr lang="en-US">
                <a:solidFill>
                  <a:schemeClr val="bg1"/>
                </a:solidFill>
              </a:rPr>
              <a:t>0,04%</a:t>
            </a:r>
          </a:p>
          <a:p>
            <a:pPr algn="ctr"/>
            <a:r>
              <a:rPr lang="en-US">
                <a:solidFill>
                  <a:schemeClr val="bg1"/>
                </a:solidFill>
              </a:rPr>
              <a:t>$3-8/kg</a:t>
            </a:r>
          </a:p>
        </p:txBody>
      </p:sp>
      <p:sp>
        <p:nvSpPr>
          <p:cNvPr id="47" name="ZoneTexte 46">
            <a:extLst>
              <a:ext uri="{FF2B5EF4-FFF2-40B4-BE49-F238E27FC236}">
                <a16:creationId xmlns:a16="http://schemas.microsoft.com/office/drawing/2014/main" id="{554E5780-A75B-48B2-9DE6-282268490D04}"/>
              </a:ext>
            </a:extLst>
          </p:cNvPr>
          <p:cNvSpPr txBox="1"/>
          <p:nvPr/>
        </p:nvSpPr>
        <p:spPr>
          <a:xfrm>
            <a:off x="480756" y="2746796"/>
            <a:ext cx="1954382" cy="923330"/>
          </a:xfrm>
          <a:prstGeom prst="rect">
            <a:avLst/>
          </a:prstGeom>
          <a:solidFill>
            <a:srgbClr val="005482"/>
          </a:solidFill>
        </p:spPr>
        <p:txBody>
          <a:bodyPr wrap="square" rtlCol="0">
            <a:spAutoFit/>
          </a:bodyPr>
          <a:lstStyle/>
          <a:p>
            <a:pPr algn="ctr"/>
            <a:r>
              <a:rPr lang="en-US" b="1">
                <a:solidFill>
                  <a:schemeClr val="bg1"/>
                </a:solidFill>
              </a:rPr>
              <a:t>Blue hydrogen</a:t>
            </a:r>
          </a:p>
          <a:p>
            <a:pPr algn="ctr"/>
            <a:r>
              <a:rPr lang="en-US">
                <a:solidFill>
                  <a:schemeClr val="bg1"/>
                </a:solidFill>
              </a:rPr>
              <a:t>0,7%</a:t>
            </a:r>
          </a:p>
          <a:p>
            <a:pPr algn="ctr"/>
            <a:r>
              <a:rPr lang="en-US">
                <a:solidFill>
                  <a:schemeClr val="bg1"/>
                </a:solidFill>
              </a:rPr>
              <a:t>$1-2/kg</a:t>
            </a:r>
          </a:p>
        </p:txBody>
      </p:sp>
      <p:sp>
        <p:nvSpPr>
          <p:cNvPr id="51" name="Rectangle 50">
            <a:extLst>
              <a:ext uri="{FF2B5EF4-FFF2-40B4-BE49-F238E27FC236}">
                <a16:creationId xmlns:a16="http://schemas.microsoft.com/office/drawing/2014/main" id="{62D98F24-70F4-4B3D-8AE1-8730B6B6BB40}"/>
              </a:ext>
            </a:extLst>
          </p:cNvPr>
          <p:cNvSpPr/>
          <p:nvPr/>
        </p:nvSpPr>
        <p:spPr>
          <a:xfrm>
            <a:off x="4534812" y="5551956"/>
            <a:ext cx="3791375" cy="1205461"/>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1463" lvl="0" indent="-271463">
              <a:lnSpc>
                <a:spcPct val="107000"/>
              </a:lnSpc>
              <a:buFont typeface="Arial" panose="020B0604020202020204" pitchFamily="34" charset="0"/>
              <a:buChar char="•"/>
              <a:defRPr/>
            </a:pPr>
            <a:r>
              <a:rPr lang="en-US" dirty="0">
                <a:solidFill>
                  <a:srgbClr val="FFFFFF"/>
                </a:solidFill>
                <a:latin typeface="Ubuntu Light" panose="020B0304030602030204" pitchFamily="34" charset="0"/>
                <a:ea typeface="Calibri" panose="020F0502020204030204" pitchFamily="34" charset="0"/>
                <a:cs typeface="Times New Roman" panose="02020603050405020304" pitchFamily="18" charset="0"/>
              </a:rPr>
              <a:t>Lack of green energy</a:t>
            </a:r>
          </a:p>
          <a:p>
            <a:pPr marL="271463" lvl="0" indent="-271463">
              <a:lnSpc>
                <a:spcPct val="107000"/>
              </a:lnSpc>
              <a:buFont typeface="Arial" panose="020B0604020202020204" pitchFamily="34" charset="0"/>
              <a:buChar char="•"/>
              <a:defRPr/>
            </a:pPr>
            <a:r>
              <a:rPr lang="en-US" dirty="0">
                <a:solidFill>
                  <a:srgbClr val="FFFFFF"/>
                </a:solidFill>
                <a:latin typeface="Ubuntu Light" panose="020B0304030602030204" pitchFamily="34" charset="0"/>
                <a:ea typeface="Calibri" panose="020F0502020204030204" pitchFamily="34" charset="0"/>
                <a:cs typeface="Times New Roman" panose="02020603050405020304" pitchFamily="18" charset="0"/>
              </a:rPr>
              <a:t>H</a:t>
            </a:r>
            <a:r>
              <a:rPr lang="en-US" baseline="-25000" dirty="0">
                <a:solidFill>
                  <a:srgbClr val="FFFFFF"/>
                </a:solidFill>
                <a:latin typeface="Ubuntu Light" panose="020B0304030602030204" pitchFamily="34" charset="0"/>
                <a:ea typeface="Calibri" panose="020F0502020204030204" pitchFamily="34" charset="0"/>
                <a:cs typeface="Times New Roman" panose="02020603050405020304" pitchFamily="18" charset="0"/>
              </a:rPr>
              <a:t>2</a:t>
            </a:r>
            <a:r>
              <a:rPr lang="en-US" dirty="0">
                <a:solidFill>
                  <a:srgbClr val="FFFFFF"/>
                </a:solidFill>
                <a:latin typeface="Ubuntu Light" panose="020B0304030602030204" pitchFamily="34" charset="0"/>
                <a:ea typeface="Calibri" panose="020F0502020204030204" pitchFamily="34" charset="0"/>
                <a:cs typeface="Times New Roman" panose="02020603050405020304" pitchFamily="18" charset="0"/>
              </a:rPr>
              <a:t> transportation is complex</a:t>
            </a:r>
          </a:p>
          <a:p>
            <a:pPr marL="271463" lvl="0" indent="-271463">
              <a:lnSpc>
                <a:spcPct val="107000"/>
              </a:lnSpc>
              <a:buFont typeface="Arial" panose="020B0604020202020204" pitchFamily="34" charset="0"/>
              <a:buChar char="•"/>
              <a:defRPr/>
            </a:pPr>
            <a:r>
              <a:rPr lang="en-US" baseline="0" dirty="0">
                <a:solidFill>
                  <a:srgbClr val="FFFFFF"/>
                </a:solidFill>
                <a:latin typeface="Ubuntu Light" panose="020B0304030602030204" pitchFamily="34" charset="0"/>
                <a:ea typeface="Calibri" panose="020F0502020204030204" pitchFamily="34" charset="0"/>
                <a:cs typeface="Times New Roman" panose="02020603050405020304" pitchFamily="18" charset="0"/>
              </a:rPr>
              <a:t>Renewable costs no longer decreasing</a:t>
            </a:r>
            <a:endParaRPr kumimoji="0" lang="en-US" sz="1800" b="0" i="0" u="none" strike="noStrike" kern="1200" cap="none" spc="0" normalizeH="0" baseline="0" noProof="0" dirty="0">
              <a:ln>
                <a:noFill/>
              </a:ln>
              <a:solidFill>
                <a:srgbClr val="FFFFFF"/>
              </a:solidFill>
              <a:effectLst/>
              <a:uLnTx/>
              <a:uFillTx/>
              <a:latin typeface="Ubuntu Light" panose="020B0304030602030204" pitchFamily="34" charset="0"/>
              <a:ea typeface="Calibri" panose="020F0502020204030204" pitchFamily="34" charset="0"/>
              <a:cs typeface="Times New Roman" panose="02020603050405020304" pitchFamily="18" charset="0"/>
            </a:endParaRPr>
          </a:p>
        </p:txBody>
      </p:sp>
      <p:sp>
        <p:nvSpPr>
          <p:cNvPr id="53" name="ZoneTexte 52">
            <a:extLst>
              <a:ext uri="{FF2B5EF4-FFF2-40B4-BE49-F238E27FC236}">
                <a16:creationId xmlns:a16="http://schemas.microsoft.com/office/drawing/2014/main" id="{3F89FC82-9B80-44DA-8ED1-A7BD89A50859}"/>
              </a:ext>
            </a:extLst>
          </p:cNvPr>
          <p:cNvSpPr txBox="1"/>
          <p:nvPr/>
        </p:nvSpPr>
        <p:spPr>
          <a:xfrm>
            <a:off x="9138971" y="5817165"/>
            <a:ext cx="2608459" cy="657681"/>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PT"/>
            </a:defPPr>
            <a:lvl1pPr marL="342900" indent="-342900">
              <a:lnSpc>
                <a:spcPct val="107000"/>
              </a:lnSpc>
              <a:buFontTx/>
              <a:buAutoNum type="arabicPeriod"/>
              <a:defRPr baseline="0">
                <a:solidFill>
                  <a:srgbClr val="FFFFFF"/>
                </a:solidFill>
                <a:latin typeface="Ubuntu Light" panose="020B0304030602030204" pitchFamily="34" charset="0"/>
                <a:ea typeface="Calibri" panose="020F0502020204030204" pitchFamily="34"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indent="0" algn="ctr">
              <a:buNone/>
            </a:pPr>
            <a:r>
              <a:rPr lang="en-US"/>
              <a:t>Difficulty to achieve these objectives</a:t>
            </a:r>
          </a:p>
        </p:txBody>
      </p:sp>
      <p:sp>
        <p:nvSpPr>
          <p:cNvPr id="21" name="Flèche : droite 20">
            <a:extLst>
              <a:ext uri="{FF2B5EF4-FFF2-40B4-BE49-F238E27FC236}">
                <a16:creationId xmlns:a16="http://schemas.microsoft.com/office/drawing/2014/main" id="{AD79A1C6-E4A9-45FC-AB64-CFCE0497F94A}"/>
              </a:ext>
            </a:extLst>
          </p:cNvPr>
          <p:cNvSpPr/>
          <p:nvPr/>
        </p:nvSpPr>
        <p:spPr>
          <a:xfrm>
            <a:off x="8421429" y="5899677"/>
            <a:ext cx="622300" cy="492656"/>
          </a:xfrm>
          <a:prstGeom prst="rightArrow">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48" name="Ellipse 110">
            <a:extLst>
              <a:ext uri="{FF2B5EF4-FFF2-40B4-BE49-F238E27FC236}">
                <a16:creationId xmlns:a16="http://schemas.microsoft.com/office/drawing/2014/main" id="{9CC3100B-0D7B-4878-8A40-344D0560C407}"/>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4069022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48EC-CA51-4306-9430-629F95CB3643}"/>
              </a:ext>
            </a:extLst>
          </p:cNvPr>
          <p:cNvSpPr>
            <a:spLocks noGrp="1"/>
          </p:cNvSpPr>
          <p:nvPr>
            <p:ph type="ctrTitle"/>
          </p:nvPr>
        </p:nvSpPr>
        <p:spPr>
          <a:xfrm>
            <a:off x="420052" y="5386054"/>
            <a:ext cx="8277633" cy="553998"/>
          </a:xfrm>
        </p:spPr>
        <p:txBody>
          <a:bodyPr/>
          <a:lstStyle/>
          <a:p>
            <a:r>
              <a:rPr lang="en-US">
                <a:latin typeface="Ubuntu"/>
              </a:rPr>
              <a:t>Energy </a:t>
            </a:r>
            <a:r>
              <a:rPr lang="en-US" err="1">
                <a:latin typeface="Ubuntu"/>
              </a:rPr>
              <a:t>crisEs</a:t>
            </a:r>
            <a:endParaRPr lang="en-IN"/>
          </a:p>
        </p:txBody>
      </p:sp>
      <p:sp>
        <p:nvSpPr>
          <p:cNvPr id="3" name="Ellipse 1">
            <a:extLst>
              <a:ext uri="{FF2B5EF4-FFF2-40B4-BE49-F238E27FC236}">
                <a16:creationId xmlns:a16="http://schemas.microsoft.com/office/drawing/2014/main" id="{0618F542-6CDC-429B-8A16-D4E4B7DB1F38}"/>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25407927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A7C239C8-A6BD-4FE1-8409-54FF7D289FC3}"/>
              </a:ext>
            </a:extLst>
          </p:cNvPr>
          <p:cNvPicPr>
            <a:picLocks noChangeAspect="1"/>
          </p:cNvPicPr>
          <p:nvPr/>
        </p:nvPicPr>
        <p:blipFill rotWithShape="1">
          <a:blip r:embed="rId3">
            <a:extLst>
              <a:ext uri="{28A0092B-C50C-407E-A947-70E740481C1C}">
                <a14:useLocalDpi xmlns:a14="http://schemas.microsoft.com/office/drawing/2010/main" val="0"/>
              </a:ext>
            </a:extLst>
          </a:blip>
          <a:srcRect l="3013" t="22613" r="50546" b="22698"/>
          <a:stretch/>
        </p:blipFill>
        <p:spPr>
          <a:xfrm>
            <a:off x="8357" y="1523422"/>
            <a:ext cx="6148306" cy="4082847"/>
          </a:xfrm>
          <a:prstGeom prst="rect">
            <a:avLst/>
          </a:prstGeom>
        </p:spPr>
      </p:pic>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GB"/>
              <a:t>LCOE </a:t>
            </a:r>
            <a:r>
              <a:rPr lang="en-US"/>
              <a:t>Comparison - Renewable Energy versus Marginal Cost of Selected Existing Conventional Generation</a:t>
            </a:r>
            <a:endParaRPr lang="en-IN"/>
          </a:p>
        </p:txBody>
      </p:sp>
      <p:sp>
        <p:nvSpPr>
          <p:cNvPr id="36" name="TextBox 8">
            <a:extLst>
              <a:ext uri="{FF2B5EF4-FFF2-40B4-BE49-F238E27FC236}">
                <a16:creationId xmlns:a16="http://schemas.microsoft.com/office/drawing/2014/main" id="{90D54956-51C6-4D99-AB74-DCBEE20A1DA2}"/>
              </a:ext>
            </a:extLst>
          </p:cNvPr>
          <p:cNvSpPr txBox="1"/>
          <p:nvPr/>
        </p:nvSpPr>
        <p:spPr>
          <a:xfrm>
            <a:off x="404813" y="6158774"/>
            <a:ext cx="5070299"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Source: </a:t>
            </a:r>
            <a:r>
              <a:rPr kumimoji="0" lang="en-US" sz="900" b="0" i="0" u="none" strike="noStrike" kern="1200" cap="none" spc="0" normalizeH="0" baseline="30000">
                <a:ln>
                  <a:noFill/>
                </a:ln>
                <a:solidFill>
                  <a:schemeClr val="bg2">
                    <a:lumMod val="50000"/>
                  </a:schemeClr>
                </a:solidFill>
                <a:effectLst/>
                <a:uLnTx/>
                <a:uFillTx/>
                <a:latin typeface="Verdana"/>
                <a:ea typeface="+mn-ea"/>
                <a:cs typeface="+mn-cs"/>
              </a:rPr>
              <a:t>1</a:t>
            </a: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Fraunhofer Institute for solar energy systems, IRENA 2021, IEA, Capgemini analysis; </a:t>
            </a:r>
            <a:r>
              <a:rPr kumimoji="0" lang="en-US" sz="900" b="0" i="0" u="none" strike="noStrike" kern="1200" cap="none" spc="0" normalizeH="0" baseline="30000">
                <a:ln>
                  <a:noFill/>
                </a:ln>
                <a:solidFill>
                  <a:schemeClr val="bg2">
                    <a:lumMod val="50000"/>
                  </a:schemeClr>
                </a:solidFill>
                <a:effectLst/>
                <a:uLnTx/>
                <a:uFillTx/>
                <a:latin typeface="Verdana"/>
                <a:ea typeface="+mn-ea"/>
                <a:cs typeface="+mn-cs"/>
              </a:rPr>
              <a:t>2</a:t>
            </a:r>
            <a:r>
              <a:rPr kumimoji="0" lang="en-US" sz="900" b="0" i="0" u="none" strike="noStrike" kern="1200" cap="none" spc="0" normalizeH="0" baseline="0">
                <a:ln>
                  <a:noFill/>
                </a:ln>
                <a:solidFill>
                  <a:schemeClr val="bg2">
                    <a:lumMod val="50000"/>
                  </a:schemeClr>
                </a:solidFill>
                <a:effectLst/>
                <a:uLnTx/>
                <a:uFillTx/>
                <a:latin typeface="Verdana"/>
                <a:ea typeface="+mn-ea"/>
                <a:cs typeface="+mn-cs"/>
              </a:rPr>
              <a:t>LAZARD, Levelized Cost of Energy, 2021; Lazard, Levelized cost of energy, version 15.0 (October 2021)</a:t>
            </a:r>
          </a:p>
        </p:txBody>
      </p:sp>
      <p:sp>
        <p:nvSpPr>
          <p:cNvPr id="7" name="Text Placeholder 5">
            <a:extLst>
              <a:ext uri="{FF2B5EF4-FFF2-40B4-BE49-F238E27FC236}">
                <a16:creationId xmlns:a16="http://schemas.microsoft.com/office/drawing/2014/main" id="{8DCBD69C-5475-4C78-B2FF-9BCB260CA979}"/>
              </a:ext>
            </a:extLst>
          </p:cNvPr>
          <p:cNvSpPr txBox="1">
            <a:spLocks/>
          </p:cNvSpPr>
          <p:nvPr/>
        </p:nvSpPr>
        <p:spPr>
          <a:xfrm>
            <a:off x="416187" y="1298476"/>
            <a:ext cx="2726708" cy="215444"/>
          </a:xfrm>
          <a:prstGeom prst="rect">
            <a:avLst/>
          </a:prstGeom>
          <a:solidFill>
            <a:schemeClr val="bg1"/>
          </a:solidFill>
        </p:spPr>
        <p:txBody>
          <a:bodyPr wrap="non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European LCOE , 2021 ($/MWh)</a:t>
            </a:r>
            <a:r>
              <a:rPr kumimoji="0" lang="en-US" sz="1400" b="1" i="0" u="none" strike="noStrike" kern="1200" cap="none" spc="0" normalizeH="0" baseline="30000" noProof="0">
                <a:ln>
                  <a:noFill/>
                </a:ln>
                <a:solidFill>
                  <a:srgbClr val="12ABDB"/>
                </a:solidFill>
                <a:effectLst/>
                <a:uLnTx/>
                <a:uFillTx/>
                <a:latin typeface="Ubuntu" panose="020B0504030602030204" pitchFamily="34" charset="0"/>
                <a:ea typeface="+mn-ea"/>
                <a:cs typeface="+mn-cs"/>
              </a:rPr>
              <a:t>1</a:t>
            </a:r>
            <a:endPar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endParaRPr>
          </a:p>
        </p:txBody>
      </p:sp>
      <p:sp>
        <p:nvSpPr>
          <p:cNvPr id="2" name="ZoneTexte 1">
            <a:extLst>
              <a:ext uri="{FF2B5EF4-FFF2-40B4-BE49-F238E27FC236}">
                <a16:creationId xmlns:a16="http://schemas.microsoft.com/office/drawing/2014/main" id="{C45B7D0C-7004-4074-A0FF-A1BD11FB962B}"/>
              </a:ext>
            </a:extLst>
          </p:cNvPr>
          <p:cNvSpPr txBox="1"/>
          <p:nvPr/>
        </p:nvSpPr>
        <p:spPr>
          <a:xfrm>
            <a:off x="416187" y="5730395"/>
            <a:ext cx="5705142" cy="415498"/>
          </a:xfrm>
          <a:prstGeom prst="rect">
            <a:avLst/>
          </a:prstGeom>
          <a:noFill/>
        </p:spPr>
        <p:txBody>
          <a:bodyPr wrap="square" rtlCol="0">
            <a:spAutoFit/>
          </a:bodyPr>
          <a:lstStyle/>
          <a:p>
            <a:r>
              <a:rPr lang="fr-FR" sz="1050"/>
              <a:t>Note: </a:t>
            </a:r>
            <a:r>
              <a:rPr lang="fr-FR" sz="1050" err="1"/>
              <a:t>Analysis</a:t>
            </a:r>
            <a:r>
              <a:rPr lang="fr-FR" sz="1050"/>
              <a:t> of the </a:t>
            </a:r>
            <a:r>
              <a:rPr lang="fr-FR" sz="1050" err="1"/>
              <a:t>current</a:t>
            </a:r>
            <a:r>
              <a:rPr lang="fr-FR" sz="1050"/>
              <a:t> situation and the future </a:t>
            </a:r>
            <a:r>
              <a:rPr lang="fr-FR" sz="1050" err="1"/>
              <a:t>market</a:t>
            </a:r>
            <a:r>
              <a:rPr lang="fr-FR" sz="1050"/>
              <a:t> </a:t>
            </a:r>
            <a:r>
              <a:rPr lang="fr-FR" sz="1050" err="1"/>
              <a:t>development</a:t>
            </a:r>
            <a:r>
              <a:rPr lang="fr-FR" sz="1050"/>
              <a:t> of </a:t>
            </a:r>
            <a:r>
              <a:rPr lang="fr-FR" sz="1050" err="1"/>
              <a:t>photovoltaic</a:t>
            </a:r>
            <a:r>
              <a:rPr lang="fr-FR" sz="1050"/>
              <a:t> (PV), </a:t>
            </a:r>
            <a:r>
              <a:rPr lang="fr-FR" sz="1050" err="1"/>
              <a:t>wind</a:t>
            </a:r>
            <a:r>
              <a:rPr lang="fr-FR" sz="1050"/>
              <a:t> power plants (WPP) and </a:t>
            </a:r>
            <a:r>
              <a:rPr lang="fr-FR" sz="1050" err="1"/>
              <a:t>bioenergy</a:t>
            </a:r>
            <a:r>
              <a:rPr lang="fr-FR" sz="1050"/>
              <a:t> plants in Germany in 2021</a:t>
            </a:r>
          </a:p>
        </p:txBody>
      </p:sp>
      <p:pic>
        <p:nvPicPr>
          <p:cNvPr id="15" name="Image 14">
            <a:extLst>
              <a:ext uri="{FF2B5EF4-FFF2-40B4-BE49-F238E27FC236}">
                <a16:creationId xmlns:a16="http://schemas.microsoft.com/office/drawing/2014/main" id="{4C1BC35E-96DA-4FFF-A532-B38D7E17F763}"/>
              </a:ext>
            </a:extLst>
          </p:cNvPr>
          <p:cNvPicPr>
            <a:picLocks noChangeAspect="1"/>
          </p:cNvPicPr>
          <p:nvPr/>
        </p:nvPicPr>
        <p:blipFill rotWithShape="1">
          <a:blip r:embed="rId3">
            <a:extLst>
              <a:ext uri="{28A0092B-C50C-407E-A947-70E740481C1C}">
                <a14:useLocalDpi xmlns:a14="http://schemas.microsoft.com/office/drawing/2010/main" val="0"/>
              </a:ext>
            </a:extLst>
          </a:blip>
          <a:srcRect l="53089" t="82784" r="28104" b="14693"/>
          <a:stretch/>
        </p:blipFill>
        <p:spPr>
          <a:xfrm>
            <a:off x="6364360" y="5644208"/>
            <a:ext cx="2287160" cy="173092"/>
          </a:xfrm>
          <a:prstGeom prst="rect">
            <a:avLst/>
          </a:prstGeom>
        </p:spPr>
      </p:pic>
      <p:cxnSp>
        <p:nvCxnSpPr>
          <p:cNvPr id="10" name="Straight Connector 14">
            <a:extLst>
              <a:ext uri="{FF2B5EF4-FFF2-40B4-BE49-F238E27FC236}">
                <a16:creationId xmlns:a16="http://schemas.microsoft.com/office/drawing/2014/main" id="{E39F5BA4-0166-4662-88D0-822E4E482220}"/>
              </a:ext>
            </a:extLst>
          </p:cNvPr>
          <p:cNvCxnSpPr>
            <a:cxnSpLocks/>
          </p:cNvCxnSpPr>
          <p:nvPr/>
        </p:nvCxnSpPr>
        <p:spPr>
          <a:xfrm>
            <a:off x="6070888" y="1429098"/>
            <a:ext cx="0" cy="4103475"/>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6" name="Image 15">
            <a:extLst>
              <a:ext uri="{FF2B5EF4-FFF2-40B4-BE49-F238E27FC236}">
                <a16:creationId xmlns:a16="http://schemas.microsoft.com/office/drawing/2014/main" id="{74DAA0FF-8290-43FA-BBC6-10F7D9E87267}"/>
              </a:ext>
            </a:extLst>
          </p:cNvPr>
          <p:cNvPicPr>
            <a:picLocks noChangeAspect="1"/>
          </p:cNvPicPr>
          <p:nvPr/>
        </p:nvPicPr>
        <p:blipFill rotWithShape="1">
          <a:blip r:embed="rId3">
            <a:extLst>
              <a:ext uri="{28A0092B-C50C-407E-A947-70E740481C1C}">
                <a14:useLocalDpi xmlns:a14="http://schemas.microsoft.com/office/drawing/2010/main" val="0"/>
              </a:ext>
            </a:extLst>
          </a:blip>
          <a:srcRect l="49816" t="22613" r="5158" b="22698"/>
          <a:stretch/>
        </p:blipFill>
        <p:spPr>
          <a:xfrm>
            <a:off x="6132322" y="1509845"/>
            <a:ext cx="6000411" cy="4110000"/>
          </a:xfrm>
          <a:prstGeom prst="rect">
            <a:avLst/>
          </a:prstGeom>
        </p:spPr>
      </p:pic>
      <p:sp>
        <p:nvSpPr>
          <p:cNvPr id="8" name="Text Placeholder 5">
            <a:extLst>
              <a:ext uri="{FF2B5EF4-FFF2-40B4-BE49-F238E27FC236}">
                <a16:creationId xmlns:a16="http://schemas.microsoft.com/office/drawing/2014/main" id="{DB8C7370-E055-4C2C-B1A8-C4D50B373C79}"/>
              </a:ext>
            </a:extLst>
          </p:cNvPr>
          <p:cNvSpPr txBox="1">
            <a:spLocks/>
          </p:cNvSpPr>
          <p:nvPr/>
        </p:nvSpPr>
        <p:spPr>
          <a:xfrm>
            <a:off x="6313302" y="1298476"/>
            <a:ext cx="3297378" cy="215444"/>
          </a:xfrm>
          <a:prstGeom prst="rect">
            <a:avLst/>
          </a:prstGeom>
          <a:solidFill>
            <a:schemeClr val="bg1"/>
          </a:solidFill>
        </p:spPr>
        <p:txBody>
          <a:bodyPr wrap="non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US unsubsidized LCOE , 2021 ($/</a:t>
            </a:r>
            <a:r>
              <a:rPr lang="en-US" sz="1400" b="1">
                <a:solidFill>
                  <a:srgbClr val="12ABDB"/>
                </a:solidFill>
              </a:rPr>
              <a:t>M</a:t>
            </a:r>
            <a:r>
              <a:rPr kumimoji="0" lang="en-US" sz="1400" b="1" i="0" u="none" strike="noStrike" kern="1200" cap="none" spc="0" normalizeH="0" baseline="0" noProof="0" err="1">
                <a:ln>
                  <a:noFill/>
                </a:ln>
                <a:solidFill>
                  <a:srgbClr val="12ABDB"/>
                </a:solidFill>
                <a:effectLst/>
                <a:uLnTx/>
                <a:uFillTx/>
                <a:latin typeface="Ubuntu" panose="020B0504030602030204" pitchFamily="34" charset="0"/>
                <a:ea typeface="+mn-ea"/>
                <a:cs typeface="+mn-cs"/>
              </a:rPr>
              <a:t>Wh</a:t>
            </a:r>
            <a:r>
              <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a:t>
            </a:r>
            <a:r>
              <a:rPr kumimoji="0" lang="en-US" sz="1400" b="1" i="0" u="none" strike="noStrike" kern="1200" cap="none" spc="0" normalizeH="0" baseline="30000" noProof="0">
                <a:ln>
                  <a:noFill/>
                </a:ln>
                <a:solidFill>
                  <a:srgbClr val="12ABDB"/>
                </a:solidFill>
                <a:effectLst/>
                <a:uLnTx/>
                <a:uFillTx/>
                <a:latin typeface="Ubuntu" panose="020B0504030602030204" pitchFamily="34" charset="0"/>
                <a:ea typeface="+mn-ea"/>
                <a:cs typeface="+mn-cs"/>
              </a:rPr>
              <a:t>2</a:t>
            </a:r>
            <a:endParaRPr kumimoji="0" lang="en-US" sz="1400" b="1" i="0" u="none" strike="noStrike" kern="1200" cap="none" spc="0" normalizeH="0" baseline="0" noProof="0">
              <a:ln>
                <a:noFill/>
              </a:ln>
              <a:solidFill>
                <a:srgbClr val="12ABDB"/>
              </a:solidFill>
              <a:effectLst/>
              <a:uLnTx/>
              <a:uFillTx/>
              <a:latin typeface="Ubuntu" panose="020B0504030602030204" pitchFamily="34" charset="0"/>
              <a:ea typeface="+mn-ea"/>
              <a:cs typeface="+mn-cs"/>
            </a:endParaRPr>
          </a:p>
        </p:txBody>
      </p:sp>
    </p:spTree>
    <p:extLst>
      <p:ext uri="{BB962C8B-B14F-4D97-AF65-F5344CB8AC3E}">
        <p14:creationId xmlns:p14="http://schemas.microsoft.com/office/powerpoint/2010/main" val="802169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76E7A-0869-4744-8ABB-4783B588D2AF}"/>
              </a:ext>
            </a:extLst>
          </p:cNvPr>
          <p:cNvSpPr>
            <a:spLocks noGrp="1"/>
          </p:cNvSpPr>
          <p:nvPr>
            <p:ph type="ctrTitle"/>
          </p:nvPr>
        </p:nvSpPr>
        <p:spPr>
          <a:xfrm>
            <a:off x="420053" y="4942856"/>
            <a:ext cx="5585460" cy="997196"/>
          </a:xfrm>
        </p:spPr>
        <p:txBody>
          <a:bodyPr/>
          <a:lstStyle/>
          <a:p>
            <a:r>
              <a:rPr lang="en-IN"/>
              <a:t>Have </a:t>
            </a:r>
            <a:r>
              <a:rPr lang="en-IN" err="1"/>
              <a:t>wE</a:t>
            </a:r>
            <a:r>
              <a:rPr lang="en-IN"/>
              <a:t> </a:t>
            </a:r>
            <a:r>
              <a:rPr lang="en-IN" err="1"/>
              <a:t>LOst</a:t>
            </a:r>
            <a:r>
              <a:rPr lang="en-IN"/>
              <a:t> SIGHT OF CLIMATE CHANGE?</a:t>
            </a:r>
          </a:p>
        </p:txBody>
      </p:sp>
      <p:sp>
        <p:nvSpPr>
          <p:cNvPr id="3" name="Ellipse 110">
            <a:extLst>
              <a:ext uri="{FF2B5EF4-FFF2-40B4-BE49-F238E27FC236}">
                <a16:creationId xmlns:a16="http://schemas.microsoft.com/office/drawing/2014/main" id="{01CC302E-38FB-46E1-A8FB-D6ADCF55E573}"/>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9097492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C4E3C0B7-275B-4B52-89BF-CEC8EDB73579}"/>
              </a:ext>
            </a:extLst>
          </p:cNvPr>
          <p:cNvSpPr>
            <a:spLocks noGrp="1"/>
          </p:cNvSpPr>
          <p:nvPr>
            <p:ph type="title"/>
          </p:nvPr>
        </p:nvSpPr>
        <p:spPr/>
        <p:txBody>
          <a:bodyPr/>
          <a:lstStyle/>
          <a:p>
            <a:r>
              <a:rPr lang="en-US"/>
              <a:t>Access to energy AT an affordable price, must be possible for everybody</a:t>
            </a:r>
            <a:endParaRPr lang="fr-FR"/>
          </a:p>
        </p:txBody>
      </p:sp>
      <p:sp>
        <p:nvSpPr>
          <p:cNvPr id="243" name="TextBox 242">
            <a:extLst>
              <a:ext uri="{FF2B5EF4-FFF2-40B4-BE49-F238E27FC236}">
                <a16:creationId xmlns:a16="http://schemas.microsoft.com/office/drawing/2014/main" id="{4BFA82AE-5053-4FC6-97F7-E392E13E5540}"/>
              </a:ext>
            </a:extLst>
          </p:cNvPr>
          <p:cNvSpPr txBox="1"/>
          <p:nvPr/>
        </p:nvSpPr>
        <p:spPr>
          <a:xfrm>
            <a:off x="2347865" y="1377236"/>
            <a:ext cx="1764980" cy="1323439"/>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70AD"/>
                </a:solidFill>
                <a:effectLst/>
                <a:uLnTx/>
                <a:uFillTx/>
                <a:latin typeface="Ubuntu"/>
                <a:ea typeface="+mn-ea"/>
                <a:cs typeface="+mn-cs"/>
              </a:rPr>
              <a:t>ENSURE SECURITY OF ENERGY SUPPLIES</a:t>
            </a:r>
          </a:p>
        </p:txBody>
      </p:sp>
      <p:sp>
        <p:nvSpPr>
          <p:cNvPr id="161" name="Shape">
            <a:extLst>
              <a:ext uri="{FF2B5EF4-FFF2-40B4-BE49-F238E27FC236}">
                <a16:creationId xmlns:a16="http://schemas.microsoft.com/office/drawing/2014/main" id="{106E1C1E-1497-4557-BEDE-EEA5172AC109}"/>
              </a:ext>
            </a:extLst>
          </p:cNvPr>
          <p:cNvSpPr/>
          <p:nvPr/>
        </p:nvSpPr>
        <p:spPr>
          <a:xfrm>
            <a:off x="396471" y="1408599"/>
            <a:ext cx="2902487" cy="2234868"/>
          </a:xfrm>
          <a:custGeom>
            <a:avLst/>
            <a:gdLst/>
            <a:ahLst/>
            <a:cxnLst>
              <a:cxn ang="0">
                <a:pos x="wd2" y="hd2"/>
              </a:cxn>
              <a:cxn ang="5400000">
                <a:pos x="wd2" y="hd2"/>
              </a:cxn>
              <a:cxn ang="10800000">
                <a:pos x="wd2" y="hd2"/>
              </a:cxn>
              <a:cxn ang="16200000">
                <a:pos x="wd2" y="hd2"/>
              </a:cxn>
            </a:cxnLst>
            <a:rect l="0" t="0" r="r" b="b"/>
            <a:pathLst>
              <a:path w="21426" h="21165" extrusionOk="0">
                <a:moveTo>
                  <a:pt x="21106" y="16459"/>
                </a:moveTo>
                <a:lnTo>
                  <a:pt x="19048" y="13985"/>
                </a:lnTo>
                <a:cubicBezTo>
                  <a:pt x="18369" y="13170"/>
                  <a:pt x="17196" y="13750"/>
                  <a:pt x="17196" y="14911"/>
                </a:cubicBezTo>
                <a:lnTo>
                  <a:pt x="17196" y="14911"/>
                </a:lnTo>
                <a:cubicBezTo>
                  <a:pt x="17196" y="15547"/>
                  <a:pt x="16759" y="16072"/>
                  <a:pt x="16230" y="16072"/>
                </a:cubicBezTo>
                <a:lnTo>
                  <a:pt x="7880" y="16072"/>
                </a:lnTo>
                <a:cubicBezTo>
                  <a:pt x="4832" y="16072"/>
                  <a:pt x="2267" y="13184"/>
                  <a:pt x="2186" y="9522"/>
                </a:cubicBezTo>
                <a:cubicBezTo>
                  <a:pt x="2106" y="5749"/>
                  <a:pt x="4636" y="2653"/>
                  <a:pt x="7753" y="2626"/>
                </a:cubicBezTo>
                <a:cubicBezTo>
                  <a:pt x="8328" y="2626"/>
                  <a:pt x="8834" y="2101"/>
                  <a:pt x="8869" y="1423"/>
                </a:cubicBezTo>
                <a:cubicBezTo>
                  <a:pt x="8915" y="650"/>
                  <a:pt x="8409" y="0"/>
                  <a:pt x="7776" y="0"/>
                </a:cubicBezTo>
                <a:cubicBezTo>
                  <a:pt x="3452" y="0"/>
                  <a:pt x="-68" y="4270"/>
                  <a:pt x="1" y="9494"/>
                </a:cubicBezTo>
                <a:cubicBezTo>
                  <a:pt x="70" y="14621"/>
                  <a:pt x="3624" y="18698"/>
                  <a:pt x="7903" y="18698"/>
                </a:cubicBezTo>
                <a:lnTo>
                  <a:pt x="16230" y="18698"/>
                </a:lnTo>
                <a:cubicBezTo>
                  <a:pt x="16759" y="18698"/>
                  <a:pt x="17196" y="19223"/>
                  <a:pt x="17196" y="19859"/>
                </a:cubicBezTo>
                <a:lnTo>
                  <a:pt x="17196" y="19859"/>
                </a:lnTo>
                <a:cubicBezTo>
                  <a:pt x="17196" y="21020"/>
                  <a:pt x="18369" y="21600"/>
                  <a:pt x="19048" y="20785"/>
                </a:cubicBezTo>
                <a:lnTo>
                  <a:pt x="21106" y="18311"/>
                </a:lnTo>
                <a:cubicBezTo>
                  <a:pt x="21532" y="17800"/>
                  <a:pt x="21532" y="16970"/>
                  <a:pt x="21106" y="16459"/>
                </a:cubicBezTo>
                <a:close/>
              </a:path>
            </a:pathLst>
          </a:cu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162" name="Circle">
            <a:extLst>
              <a:ext uri="{FF2B5EF4-FFF2-40B4-BE49-F238E27FC236}">
                <a16:creationId xmlns:a16="http://schemas.microsoft.com/office/drawing/2014/main" id="{018CDE9D-374A-46A4-88E1-86BF5444FA12}"/>
              </a:ext>
            </a:extLst>
          </p:cNvPr>
          <p:cNvSpPr/>
          <p:nvPr/>
        </p:nvSpPr>
        <p:spPr>
          <a:xfrm>
            <a:off x="552283" y="1554522"/>
            <a:ext cx="1810519" cy="1695613"/>
          </a:xfrm>
          <a:prstGeom prst="ellipse">
            <a:avLst/>
          </a:prstGeom>
          <a:solidFill>
            <a:schemeClr val="accent3">
              <a:lumMod val="40000"/>
              <a:lumOff val="60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163" name="Circle">
            <a:extLst>
              <a:ext uri="{FF2B5EF4-FFF2-40B4-BE49-F238E27FC236}">
                <a16:creationId xmlns:a16="http://schemas.microsoft.com/office/drawing/2014/main" id="{C345A5A2-3231-488A-AE5A-8197D19923CF}"/>
              </a:ext>
            </a:extLst>
          </p:cNvPr>
          <p:cNvSpPr/>
          <p:nvPr/>
        </p:nvSpPr>
        <p:spPr>
          <a:xfrm>
            <a:off x="649569" y="1610831"/>
            <a:ext cx="1613824" cy="1580324"/>
          </a:xfrm>
          <a:prstGeom prst="ellipse">
            <a:avLst/>
          </a:prstGeom>
          <a:blipFill>
            <a:blip r:embed="rId4"/>
            <a:srcRect/>
            <a:stretch>
              <a:fillRect l="-73620" t="-34155" r="-23448" b="-1"/>
            </a:stretch>
          </a:blip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112" name="Shape">
            <a:extLst>
              <a:ext uri="{FF2B5EF4-FFF2-40B4-BE49-F238E27FC236}">
                <a16:creationId xmlns:a16="http://schemas.microsoft.com/office/drawing/2014/main" id="{B8F69337-B868-44BF-9F72-4CA42512F9CF}"/>
              </a:ext>
            </a:extLst>
          </p:cNvPr>
          <p:cNvSpPr/>
          <p:nvPr/>
        </p:nvSpPr>
        <p:spPr>
          <a:xfrm>
            <a:off x="4314419" y="1408599"/>
            <a:ext cx="2901323" cy="2234868"/>
          </a:xfrm>
          <a:custGeom>
            <a:avLst/>
            <a:gdLst/>
            <a:ahLst/>
            <a:cxnLst>
              <a:cxn ang="0">
                <a:pos x="wd2" y="hd2"/>
              </a:cxn>
              <a:cxn ang="5400000">
                <a:pos x="wd2" y="hd2"/>
              </a:cxn>
              <a:cxn ang="10800000">
                <a:pos x="wd2" y="hd2"/>
              </a:cxn>
              <a:cxn ang="16200000">
                <a:pos x="wd2" y="hd2"/>
              </a:cxn>
            </a:cxnLst>
            <a:rect l="0" t="0" r="r" b="b"/>
            <a:pathLst>
              <a:path w="21428" h="21165" extrusionOk="0">
                <a:moveTo>
                  <a:pt x="21118" y="16459"/>
                </a:moveTo>
                <a:lnTo>
                  <a:pt x="19058" y="13985"/>
                </a:lnTo>
                <a:cubicBezTo>
                  <a:pt x="18379" y="13170"/>
                  <a:pt x="17205" y="13750"/>
                  <a:pt x="17205" y="14911"/>
                </a:cubicBezTo>
                <a:lnTo>
                  <a:pt x="17205" y="14911"/>
                </a:lnTo>
                <a:cubicBezTo>
                  <a:pt x="17205" y="15547"/>
                  <a:pt x="16768" y="16072"/>
                  <a:pt x="16238" y="16072"/>
                </a:cubicBezTo>
                <a:lnTo>
                  <a:pt x="7884" y="16072"/>
                </a:lnTo>
                <a:cubicBezTo>
                  <a:pt x="4834" y="16072"/>
                  <a:pt x="2268" y="13184"/>
                  <a:pt x="2188" y="9522"/>
                </a:cubicBezTo>
                <a:cubicBezTo>
                  <a:pt x="2107" y="5749"/>
                  <a:pt x="4639" y="2653"/>
                  <a:pt x="7757" y="2626"/>
                </a:cubicBezTo>
                <a:cubicBezTo>
                  <a:pt x="8333" y="2626"/>
                  <a:pt x="8839" y="2101"/>
                  <a:pt x="8874" y="1423"/>
                </a:cubicBezTo>
                <a:cubicBezTo>
                  <a:pt x="8920" y="650"/>
                  <a:pt x="8413" y="0"/>
                  <a:pt x="7780" y="0"/>
                </a:cubicBezTo>
                <a:cubicBezTo>
                  <a:pt x="3453" y="0"/>
                  <a:pt x="-68" y="4270"/>
                  <a:pt x="1" y="9494"/>
                </a:cubicBezTo>
                <a:cubicBezTo>
                  <a:pt x="70" y="14621"/>
                  <a:pt x="3626" y="18698"/>
                  <a:pt x="7907" y="18698"/>
                </a:cubicBezTo>
                <a:lnTo>
                  <a:pt x="16238" y="18698"/>
                </a:lnTo>
                <a:cubicBezTo>
                  <a:pt x="16768" y="18698"/>
                  <a:pt x="17205" y="19223"/>
                  <a:pt x="17205" y="19859"/>
                </a:cubicBezTo>
                <a:lnTo>
                  <a:pt x="17205" y="19859"/>
                </a:lnTo>
                <a:cubicBezTo>
                  <a:pt x="17205" y="21020"/>
                  <a:pt x="18379" y="21600"/>
                  <a:pt x="19058" y="20785"/>
                </a:cubicBezTo>
                <a:lnTo>
                  <a:pt x="21118" y="18311"/>
                </a:lnTo>
                <a:cubicBezTo>
                  <a:pt x="21532" y="17800"/>
                  <a:pt x="21532" y="16970"/>
                  <a:pt x="21118" y="16459"/>
                </a:cubicBezTo>
                <a:close/>
              </a:path>
            </a:pathLst>
          </a:custGeom>
          <a:solidFill>
            <a:schemeClr val="accent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113" name="Circle">
            <a:extLst>
              <a:ext uri="{FF2B5EF4-FFF2-40B4-BE49-F238E27FC236}">
                <a16:creationId xmlns:a16="http://schemas.microsoft.com/office/drawing/2014/main" id="{FEC4F528-9FA7-4E8D-A5CF-515B1FE85A2B}"/>
              </a:ext>
            </a:extLst>
          </p:cNvPr>
          <p:cNvSpPr/>
          <p:nvPr/>
        </p:nvSpPr>
        <p:spPr>
          <a:xfrm>
            <a:off x="4470230" y="1554522"/>
            <a:ext cx="1810519" cy="1695613"/>
          </a:xfrm>
          <a:prstGeom prst="ellipse">
            <a:avLst/>
          </a:prstGeom>
          <a:solidFill>
            <a:schemeClr val="accent2">
              <a:lumMod val="40000"/>
              <a:lumOff val="60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117" name="Circle">
            <a:extLst>
              <a:ext uri="{FF2B5EF4-FFF2-40B4-BE49-F238E27FC236}">
                <a16:creationId xmlns:a16="http://schemas.microsoft.com/office/drawing/2014/main" id="{19F39C60-76E6-4C4E-9760-C6CAC8E62602}"/>
              </a:ext>
            </a:extLst>
          </p:cNvPr>
          <p:cNvSpPr/>
          <p:nvPr/>
        </p:nvSpPr>
        <p:spPr>
          <a:xfrm flipH="1">
            <a:off x="4554702" y="1610831"/>
            <a:ext cx="1613824" cy="1580324"/>
          </a:xfrm>
          <a:prstGeom prst="ellipse">
            <a:avLst/>
          </a:prstGeom>
          <a:blipFill>
            <a:blip r:embed="rId5"/>
            <a:srcRect/>
            <a:stretch>
              <a:fillRect l="-44660" r="-51088"/>
            </a:stretch>
          </a:blip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244" name="TextBox 243">
            <a:extLst>
              <a:ext uri="{FF2B5EF4-FFF2-40B4-BE49-F238E27FC236}">
                <a16:creationId xmlns:a16="http://schemas.microsoft.com/office/drawing/2014/main" id="{D0EE0671-2115-4CBC-83F3-674C0A60FAB1}"/>
              </a:ext>
            </a:extLst>
          </p:cNvPr>
          <p:cNvSpPr txBox="1"/>
          <p:nvPr/>
        </p:nvSpPr>
        <p:spPr>
          <a:xfrm>
            <a:off x="4643153" y="1870837"/>
            <a:ext cx="1323799" cy="369332"/>
          </a:xfrm>
          <a:prstGeom prst="rect">
            <a:avLst/>
          </a:prstGeom>
          <a:noFill/>
        </p:spPr>
        <p:txBody>
          <a:bodyPr wrap="square">
            <a:spAutoFit/>
          </a:bodyPr>
          <a:lstStyle/>
          <a:p>
            <a:pPr marL="95250" marR="0" lvl="0" indent="-95250" algn="ctr" defTabSz="914400" rtl="0" eaLnBrk="1" fontAlgn="auto" latinLnBrk="0" hangingPunct="1">
              <a:lnSpc>
                <a:spcPct val="100000"/>
              </a:lnSpc>
              <a:spcBef>
                <a:spcPct val="0"/>
              </a:spcBef>
              <a:spcAft>
                <a:spcPts val="0"/>
              </a:spcAft>
              <a:buClrTx/>
              <a:buSzTx/>
              <a:buFontTx/>
              <a:buNone/>
              <a:tabLst/>
              <a:defRPr/>
            </a:pPr>
            <a:endParaRPr kumimoji="0" lang="en-US" sz="1800" b="1" i="0" u="none" strike="noStrike" kern="1200" cap="none" spc="0" normalizeH="0" baseline="0" noProof="0">
              <a:ln>
                <a:noFill/>
              </a:ln>
              <a:solidFill>
                <a:srgbClr val="0070AD"/>
              </a:solidFill>
              <a:effectLst/>
              <a:uLnTx/>
              <a:uFillTx/>
              <a:latin typeface="Ubuntu Medium"/>
              <a:ea typeface="+mn-ea"/>
              <a:cs typeface="+mn-cs"/>
            </a:endParaRPr>
          </a:p>
        </p:txBody>
      </p:sp>
      <p:sp>
        <p:nvSpPr>
          <p:cNvPr id="119" name="Shape">
            <a:extLst>
              <a:ext uri="{FF2B5EF4-FFF2-40B4-BE49-F238E27FC236}">
                <a16:creationId xmlns:a16="http://schemas.microsoft.com/office/drawing/2014/main" id="{C5B2A28A-63D5-4F53-8626-EACB67FC13BC}"/>
              </a:ext>
            </a:extLst>
          </p:cNvPr>
          <p:cNvSpPr/>
          <p:nvPr/>
        </p:nvSpPr>
        <p:spPr>
          <a:xfrm>
            <a:off x="8450094" y="1408599"/>
            <a:ext cx="2902490" cy="2234868"/>
          </a:xfrm>
          <a:custGeom>
            <a:avLst/>
            <a:gdLst/>
            <a:ahLst/>
            <a:cxnLst>
              <a:cxn ang="0">
                <a:pos x="wd2" y="hd2"/>
              </a:cxn>
              <a:cxn ang="5400000">
                <a:pos x="wd2" y="hd2"/>
              </a:cxn>
              <a:cxn ang="10800000">
                <a:pos x="wd2" y="hd2"/>
              </a:cxn>
              <a:cxn ang="16200000">
                <a:pos x="wd2" y="hd2"/>
              </a:cxn>
            </a:cxnLst>
            <a:rect l="0" t="0" r="r" b="b"/>
            <a:pathLst>
              <a:path w="21426" h="21165" extrusionOk="0">
                <a:moveTo>
                  <a:pt x="21106" y="16459"/>
                </a:moveTo>
                <a:lnTo>
                  <a:pt x="19048" y="13985"/>
                </a:lnTo>
                <a:cubicBezTo>
                  <a:pt x="18369" y="13170"/>
                  <a:pt x="17196" y="13750"/>
                  <a:pt x="17196" y="14911"/>
                </a:cubicBezTo>
                <a:lnTo>
                  <a:pt x="17196" y="14911"/>
                </a:lnTo>
                <a:cubicBezTo>
                  <a:pt x="17196" y="15547"/>
                  <a:pt x="16759" y="16072"/>
                  <a:pt x="16230" y="16072"/>
                </a:cubicBezTo>
                <a:lnTo>
                  <a:pt x="7880" y="16072"/>
                </a:lnTo>
                <a:cubicBezTo>
                  <a:pt x="4832" y="16072"/>
                  <a:pt x="2267" y="13184"/>
                  <a:pt x="2186" y="9522"/>
                </a:cubicBezTo>
                <a:cubicBezTo>
                  <a:pt x="2106" y="5749"/>
                  <a:pt x="4636" y="2653"/>
                  <a:pt x="7753" y="2626"/>
                </a:cubicBezTo>
                <a:cubicBezTo>
                  <a:pt x="8328" y="2626"/>
                  <a:pt x="8834" y="2101"/>
                  <a:pt x="8869" y="1423"/>
                </a:cubicBezTo>
                <a:cubicBezTo>
                  <a:pt x="8915" y="650"/>
                  <a:pt x="8409" y="0"/>
                  <a:pt x="7776" y="0"/>
                </a:cubicBezTo>
                <a:cubicBezTo>
                  <a:pt x="3451" y="0"/>
                  <a:pt x="-68" y="4270"/>
                  <a:pt x="1" y="9494"/>
                </a:cubicBezTo>
                <a:cubicBezTo>
                  <a:pt x="70" y="14621"/>
                  <a:pt x="3624" y="18698"/>
                  <a:pt x="7903" y="18698"/>
                </a:cubicBezTo>
                <a:lnTo>
                  <a:pt x="16230" y="18698"/>
                </a:lnTo>
                <a:cubicBezTo>
                  <a:pt x="16759" y="18698"/>
                  <a:pt x="17196" y="19223"/>
                  <a:pt x="17196" y="19859"/>
                </a:cubicBezTo>
                <a:lnTo>
                  <a:pt x="17196" y="19859"/>
                </a:lnTo>
                <a:cubicBezTo>
                  <a:pt x="17196" y="21020"/>
                  <a:pt x="18369" y="21600"/>
                  <a:pt x="19048" y="20785"/>
                </a:cubicBezTo>
                <a:lnTo>
                  <a:pt x="21106" y="18311"/>
                </a:lnTo>
                <a:cubicBezTo>
                  <a:pt x="21532" y="17800"/>
                  <a:pt x="21532" y="16970"/>
                  <a:pt x="21106" y="16459"/>
                </a:cubicBezTo>
                <a:close/>
              </a:path>
            </a:pathLst>
          </a:custGeom>
          <a:solidFill>
            <a:schemeClr val="accent5"/>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150" name="Circle">
            <a:extLst>
              <a:ext uri="{FF2B5EF4-FFF2-40B4-BE49-F238E27FC236}">
                <a16:creationId xmlns:a16="http://schemas.microsoft.com/office/drawing/2014/main" id="{E8CF2ED0-5B94-492B-84D8-0DA2738DDF10}"/>
              </a:ext>
            </a:extLst>
          </p:cNvPr>
          <p:cNvSpPr/>
          <p:nvPr/>
        </p:nvSpPr>
        <p:spPr>
          <a:xfrm>
            <a:off x="8590322" y="1554522"/>
            <a:ext cx="1810519" cy="1695613"/>
          </a:xfrm>
          <a:prstGeom prst="ellipse">
            <a:avLst/>
          </a:prstGeom>
          <a:solidFill>
            <a:schemeClr val="accent5">
              <a:lumMod val="40000"/>
              <a:lumOff val="60000"/>
            </a:schemeClr>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152" name="Circle">
            <a:extLst>
              <a:ext uri="{FF2B5EF4-FFF2-40B4-BE49-F238E27FC236}">
                <a16:creationId xmlns:a16="http://schemas.microsoft.com/office/drawing/2014/main" id="{6D1C9714-B161-44C1-B106-38DEF34689D0}"/>
              </a:ext>
            </a:extLst>
          </p:cNvPr>
          <p:cNvSpPr/>
          <p:nvPr/>
        </p:nvSpPr>
        <p:spPr>
          <a:xfrm>
            <a:off x="8678750" y="1610831"/>
            <a:ext cx="1613824" cy="1580324"/>
          </a:xfrm>
          <a:prstGeom prst="ellipse">
            <a:avLst/>
          </a:prstGeom>
          <a:blipFill>
            <a:blip r:embed="rId6"/>
            <a:srcRect/>
            <a:stretch>
              <a:fillRect l="-28468" t="-598" r="-19296"/>
            </a:stretch>
          </a:blip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1200" cap="none" spc="0" normalizeH="0" baseline="0" noProof="0">
              <a:ln>
                <a:noFill/>
              </a:ln>
              <a:solidFill>
                <a:srgbClr val="FFFFFF"/>
              </a:solidFill>
              <a:effectLst/>
              <a:uLnTx/>
              <a:uFillTx/>
              <a:latin typeface="Ubuntu"/>
              <a:ea typeface="+mn-ea"/>
              <a:cs typeface="+mn-cs"/>
            </a:endParaRPr>
          </a:p>
        </p:txBody>
      </p:sp>
      <p:sp>
        <p:nvSpPr>
          <p:cNvPr id="245" name="TextBox 244">
            <a:extLst>
              <a:ext uri="{FF2B5EF4-FFF2-40B4-BE49-F238E27FC236}">
                <a16:creationId xmlns:a16="http://schemas.microsoft.com/office/drawing/2014/main" id="{B5940243-5462-4890-BBA0-80044AA90A51}"/>
              </a:ext>
            </a:extLst>
          </p:cNvPr>
          <p:cNvSpPr txBox="1"/>
          <p:nvPr/>
        </p:nvSpPr>
        <p:spPr>
          <a:xfrm>
            <a:off x="8832174" y="1971973"/>
            <a:ext cx="1323799" cy="369332"/>
          </a:xfrm>
          <a:prstGeom prst="rect">
            <a:avLst/>
          </a:prstGeom>
          <a:noFill/>
        </p:spPr>
        <p:txBody>
          <a:bodyPr wrap="square">
            <a:spAutoFit/>
          </a:bodyPr>
          <a:lstStyle/>
          <a:p>
            <a:pPr marL="95250" marR="0" lvl="0" indent="-95250" algn="ctr" defTabSz="914400" rtl="0" eaLnBrk="1" fontAlgn="auto" latinLnBrk="0" hangingPunct="1">
              <a:lnSpc>
                <a:spcPct val="100000"/>
              </a:lnSpc>
              <a:spcBef>
                <a:spcPct val="0"/>
              </a:spcBef>
              <a:spcAft>
                <a:spcPts val="0"/>
              </a:spcAft>
              <a:buClrTx/>
              <a:buSzTx/>
              <a:buFontTx/>
              <a:buNone/>
              <a:tabLst/>
              <a:defRPr/>
            </a:pPr>
            <a:endParaRPr kumimoji="0" lang="en-US" sz="1800" b="1" i="0" u="none" strike="noStrike" kern="1200" cap="none" spc="0" normalizeH="0" baseline="0" noProof="0">
              <a:ln>
                <a:noFill/>
              </a:ln>
              <a:solidFill>
                <a:srgbClr val="0070AD"/>
              </a:solidFill>
              <a:effectLst/>
              <a:uLnTx/>
              <a:uFillTx/>
              <a:latin typeface="Ubuntu Medium"/>
              <a:ea typeface="+mn-ea"/>
              <a:cs typeface="+mn-cs"/>
            </a:endParaRPr>
          </a:p>
        </p:txBody>
      </p:sp>
      <p:grpSp>
        <p:nvGrpSpPr>
          <p:cNvPr id="11" name="Groupe 10">
            <a:extLst>
              <a:ext uri="{FF2B5EF4-FFF2-40B4-BE49-F238E27FC236}">
                <a16:creationId xmlns:a16="http://schemas.microsoft.com/office/drawing/2014/main" id="{FCB93817-3F4C-4480-B1D3-FA1743DB2CC6}"/>
              </a:ext>
            </a:extLst>
          </p:cNvPr>
          <p:cNvGrpSpPr/>
          <p:nvPr/>
        </p:nvGrpSpPr>
        <p:grpSpPr>
          <a:xfrm>
            <a:off x="385425" y="3887854"/>
            <a:ext cx="2251767" cy="583276"/>
            <a:chOff x="385425" y="4761160"/>
            <a:chExt cx="2251767" cy="583276"/>
          </a:xfrm>
        </p:grpSpPr>
        <p:grpSp>
          <p:nvGrpSpPr>
            <p:cNvPr id="9" name="Group 8">
              <a:extLst>
                <a:ext uri="{FF2B5EF4-FFF2-40B4-BE49-F238E27FC236}">
                  <a16:creationId xmlns:a16="http://schemas.microsoft.com/office/drawing/2014/main" id="{B85C7AA3-73B4-429B-93F1-6B57621770A3}"/>
                </a:ext>
              </a:extLst>
            </p:cNvPr>
            <p:cNvGrpSpPr/>
            <p:nvPr/>
          </p:nvGrpSpPr>
          <p:grpSpPr>
            <a:xfrm>
              <a:off x="385425" y="4768436"/>
              <a:ext cx="576000" cy="576000"/>
              <a:chOff x="385425" y="4921163"/>
              <a:chExt cx="576000" cy="576000"/>
            </a:xfrm>
          </p:grpSpPr>
          <p:sp>
            <p:nvSpPr>
              <p:cNvPr id="311" name="Ellipse 27">
                <a:extLst>
                  <a:ext uri="{FF2B5EF4-FFF2-40B4-BE49-F238E27FC236}">
                    <a16:creationId xmlns:a16="http://schemas.microsoft.com/office/drawing/2014/main" id="{49F86D46-218C-47BB-AF05-D911A31EDE39}"/>
                  </a:ext>
                </a:extLst>
              </p:cNvPr>
              <p:cNvSpPr>
                <a:spLocks noChangeAspect="1"/>
              </p:cNvSpPr>
              <p:nvPr/>
            </p:nvSpPr>
            <p:spPr bwMode="gray">
              <a:xfrm>
                <a:off x="385425" y="4921163"/>
                <a:ext cx="576000" cy="576000"/>
              </a:xfrm>
              <a:prstGeom prst="ellipse">
                <a:avLst/>
              </a:prstGeom>
              <a:solidFill>
                <a:schemeClr val="accent1"/>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230" name="Group 197">
                <a:extLst>
                  <a:ext uri="{FF2B5EF4-FFF2-40B4-BE49-F238E27FC236}">
                    <a16:creationId xmlns:a16="http://schemas.microsoft.com/office/drawing/2014/main" id="{66192D82-460B-4F4A-825F-C44B2832A8D5}"/>
                  </a:ext>
                </a:extLst>
              </p:cNvPr>
              <p:cNvGrpSpPr/>
              <p:nvPr/>
            </p:nvGrpSpPr>
            <p:grpSpPr>
              <a:xfrm>
                <a:off x="491233" y="5016141"/>
                <a:ext cx="319778" cy="357241"/>
                <a:chOff x="697434" y="5564478"/>
                <a:chExt cx="324069" cy="362035"/>
              </a:xfrm>
            </p:grpSpPr>
            <p:sp>
              <p:nvSpPr>
                <p:cNvPr id="238" name="Freeform 126">
                  <a:extLst>
                    <a:ext uri="{FF2B5EF4-FFF2-40B4-BE49-F238E27FC236}">
                      <a16:creationId xmlns:a16="http://schemas.microsoft.com/office/drawing/2014/main" id="{73DECD23-7DFA-4CAC-BCC0-6AD3CF4EB4DF}"/>
                    </a:ext>
                  </a:extLst>
                </p:cNvPr>
                <p:cNvSpPr>
                  <a:spLocks/>
                </p:cNvSpPr>
                <p:nvPr/>
              </p:nvSpPr>
              <p:spPr bwMode="auto">
                <a:xfrm>
                  <a:off x="965909" y="5637699"/>
                  <a:ext cx="55594" cy="28881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39" name="Freeform 127">
                  <a:extLst>
                    <a:ext uri="{FF2B5EF4-FFF2-40B4-BE49-F238E27FC236}">
                      <a16:creationId xmlns:a16="http://schemas.microsoft.com/office/drawing/2014/main" id="{86885AA5-B084-4995-988E-E76B34D02DD6}"/>
                    </a:ext>
                  </a:extLst>
                </p:cNvPr>
                <p:cNvSpPr>
                  <a:spLocks/>
                </p:cNvSpPr>
                <p:nvPr/>
              </p:nvSpPr>
              <p:spPr bwMode="auto">
                <a:xfrm>
                  <a:off x="885909" y="5719055"/>
                  <a:ext cx="51525" cy="20745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40" name="Freeform 128">
                  <a:extLst>
                    <a:ext uri="{FF2B5EF4-FFF2-40B4-BE49-F238E27FC236}">
                      <a16:creationId xmlns:a16="http://schemas.microsoft.com/office/drawing/2014/main" id="{A14E8F8B-79A9-4D6D-B35F-171708A36526}"/>
                    </a:ext>
                  </a:extLst>
                </p:cNvPr>
                <p:cNvSpPr>
                  <a:spLocks/>
                </p:cNvSpPr>
                <p:nvPr/>
              </p:nvSpPr>
              <p:spPr bwMode="auto">
                <a:xfrm>
                  <a:off x="805909" y="5763801"/>
                  <a:ext cx="51525" cy="162712"/>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41" name="Freeform 129">
                  <a:extLst>
                    <a:ext uri="{FF2B5EF4-FFF2-40B4-BE49-F238E27FC236}">
                      <a16:creationId xmlns:a16="http://schemas.microsoft.com/office/drawing/2014/main" id="{E91343FF-13D1-488B-9EC5-41D1FB50F0EA}"/>
                    </a:ext>
                  </a:extLst>
                </p:cNvPr>
                <p:cNvSpPr>
                  <a:spLocks/>
                </p:cNvSpPr>
                <p:nvPr/>
              </p:nvSpPr>
              <p:spPr bwMode="auto">
                <a:xfrm>
                  <a:off x="725909" y="5811258"/>
                  <a:ext cx="51525" cy="11525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42" name="Freeform 130">
                  <a:extLst>
                    <a:ext uri="{FF2B5EF4-FFF2-40B4-BE49-F238E27FC236}">
                      <a16:creationId xmlns:a16="http://schemas.microsoft.com/office/drawing/2014/main" id="{8D95E611-1BD7-4E1A-A68F-16408A58E073}"/>
                    </a:ext>
                  </a:extLst>
                </p:cNvPr>
                <p:cNvSpPr>
                  <a:spLocks/>
                </p:cNvSpPr>
                <p:nvPr/>
              </p:nvSpPr>
              <p:spPr bwMode="auto">
                <a:xfrm>
                  <a:off x="697434" y="5564478"/>
                  <a:ext cx="275255" cy="21830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246" name="ZoneTexte 90">
              <a:extLst>
                <a:ext uri="{FF2B5EF4-FFF2-40B4-BE49-F238E27FC236}">
                  <a16:creationId xmlns:a16="http://schemas.microsoft.com/office/drawing/2014/main" id="{411EE00A-4CAD-441C-8E2A-CB9DBED95170}"/>
                </a:ext>
              </a:extLst>
            </p:cNvPr>
            <p:cNvSpPr txBox="1"/>
            <p:nvPr/>
          </p:nvSpPr>
          <p:spPr>
            <a:xfrm>
              <a:off x="1010821" y="4761160"/>
              <a:ext cx="16263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Coal usage </a:t>
              </a:r>
              <a:r>
                <a:rPr kumimoji="0" lang="fr-FR" sz="1400" b="0" i="0" u="none" strike="noStrike" kern="1200" cap="none" spc="0" normalizeH="0" baseline="0" noProof="0" err="1">
                  <a:ln>
                    <a:noFill/>
                  </a:ln>
                  <a:solidFill>
                    <a:prstClr val="black"/>
                  </a:solidFill>
                  <a:effectLst/>
                  <a:uLnTx/>
                  <a:uFillTx/>
                  <a:latin typeface="Ubuntu"/>
                  <a:ea typeface="+mn-ea"/>
                  <a:cs typeface="+mn-cs"/>
                </a:rPr>
                <a:t>is</a:t>
              </a:r>
              <a:r>
                <a:rPr kumimoji="0" lang="fr-FR" sz="1400" b="0" i="0" u="none" strike="noStrike" kern="1200" cap="none" spc="0" normalizeH="0" baseline="0" noProof="0">
                  <a:ln>
                    <a:noFill/>
                  </a:ln>
                  <a:solidFill>
                    <a:prstClr val="black"/>
                  </a:solidFill>
                  <a:effectLst/>
                  <a:uLnTx/>
                  <a:uFillTx/>
                  <a:latin typeface="Ubuntu"/>
                  <a:ea typeface="+mn-ea"/>
                  <a:cs typeface="+mn-cs"/>
                </a:rPr>
                <a:t> </a:t>
              </a:r>
              <a:r>
                <a:rPr kumimoji="0" lang="fr-FR" sz="1400" b="0" i="0" u="none" strike="noStrike" kern="1200" cap="none" spc="0" normalizeH="0" baseline="0" noProof="0" err="1">
                  <a:ln>
                    <a:noFill/>
                  </a:ln>
                  <a:solidFill>
                    <a:prstClr val="black"/>
                  </a:solidFill>
                  <a:effectLst/>
                  <a:uLnTx/>
                  <a:uFillTx/>
                  <a:latin typeface="Ubuntu"/>
                  <a:ea typeface="+mn-ea"/>
                  <a:cs typeface="+mn-cs"/>
                </a:rPr>
                <a:t>increasing</a:t>
              </a:r>
              <a:endParaRPr kumimoji="0" lang="fr-FR" sz="14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8" name="Groupe 7">
            <a:extLst>
              <a:ext uri="{FF2B5EF4-FFF2-40B4-BE49-F238E27FC236}">
                <a16:creationId xmlns:a16="http://schemas.microsoft.com/office/drawing/2014/main" id="{DD11A43A-1C77-49A7-ABFD-27B485026222}"/>
              </a:ext>
            </a:extLst>
          </p:cNvPr>
          <p:cNvGrpSpPr/>
          <p:nvPr/>
        </p:nvGrpSpPr>
        <p:grpSpPr>
          <a:xfrm>
            <a:off x="385425" y="4710031"/>
            <a:ext cx="2782732" cy="576000"/>
            <a:chOff x="385425" y="3887854"/>
            <a:chExt cx="2782732" cy="576000"/>
          </a:xfrm>
        </p:grpSpPr>
        <p:sp>
          <p:nvSpPr>
            <p:cNvPr id="247" name="ZoneTexte 158">
              <a:extLst>
                <a:ext uri="{FF2B5EF4-FFF2-40B4-BE49-F238E27FC236}">
                  <a16:creationId xmlns:a16="http://schemas.microsoft.com/office/drawing/2014/main" id="{5F62C734-7519-430F-8705-A07EB3BCC235}"/>
                </a:ext>
              </a:extLst>
            </p:cNvPr>
            <p:cNvSpPr txBox="1"/>
            <p:nvPr/>
          </p:nvSpPr>
          <p:spPr>
            <a:xfrm>
              <a:off x="986378" y="3929472"/>
              <a:ext cx="218177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Development of renewables</a:t>
              </a:r>
            </a:p>
          </p:txBody>
        </p:sp>
        <p:grpSp>
          <p:nvGrpSpPr>
            <p:cNvPr id="7" name="Groupe 6">
              <a:extLst>
                <a:ext uri="{FF2B5EF4-FFF2-40B4-BE49-F238E27FC236}">
                  <a16:creationId xmlns:a16="http://schemas.microsoft.com/office/drawing/2014/main" id="{377728F0-9D5D-4B5D-97E0-7F916CB2051A}"/>
                </a:ext>
              </a:extLst>
            </p:cNvPr>
            <p:cNvGrpSpPr/>
            <p:nvPr/>
          </p:nvGrpSpPr>
          <p:grpSpPr>
            <a:xfrm>
              <a:off x="385425" y="3887854"/>
              <a:ext cx="576000" cy="576000"/>
              <a:chOff x="385425" y="3887854"/>
              <a:chExt cx="576000" cy="576000"/>
            </a:xfrm>
          </p:grpSpPr>
          <p:sp>
            <p:nvSpPr>
              <p:cNvPr id="310" name="Ellipse 27">
                <a:extLst>
                  <a:ext uri="{FF2B5EF4-FFF2-40B4-BE49-F238E27FC236}">
                    <a16:creationId xmlns:a16="http://schemas.microsoft.com/office/drawing/2014/main" id="{55740DA3-960A-4AF2-A605-B992B93854FA}"/>
                  </a:ext>
                </a:extLst>
              </p:cNvPr>
              <p:cNvSpPr>
                <a:spLocks noChangeAspect="1"/>
              </p:cNvSpPr>
              <p:nvPr/>
            </p:nvSpPr>
            <p:spPr bwMode="gray">
              <a:xfrm>
                <a:off x="385425" y="3887854"/>
                <a:ext cx="576000" cy="576000"/>
              </a:xfrm>
              <a:prstGeom prst="ellipse">
                <a:avLst/>
              </a:prstGeom>
              <a:solidFill>
                <a:schemeClr val="accent1"/>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233" name="Group 16">
                <a:extLst>
                  <a:ext uri="{FF2B5EF4-FFF2-40B4-BE49-F238E27FC236}">
                    <a16:creationId xmlns:a16="http://schemas.microsoft.com/office/drawing/2014/main" id="{1D18C371-743A-4B12-B438-7BEF6922D898}"/>
                  </a:ext>
                </a:extLst>
              </p:cNvPr>
              <p:cNvGrpSpPr/>
              <p:nvPr/>
            </p:nvGrpSpPr>
            <p:grpSpPr>
              <a:xfrm>
                <a:off x="520355" y="3975280"/>
                <a:ext cx="306139" cy="374770"/>
                <a:chOff x="5331610" y="3082728"/>
                <a:chExt cx="378394" cy="463224"/>
              </a:xfrm>
            </p:grpSpPr>
            <p:sp>
              <p:nvSpPr>
                <p:cNvPr id="234" name="Freeform 31">
                  <a:extLst>
                    <a:ext uri="{FF2B5EF4-FFF2-40B4-BE49-F238E27FC236}">
                      <a16:creationId xmlns:a16="http://schemas.microsoft.com/office/drawing/2014/main" id="{F9FE82CA-2D76-43B9-9BE8-3EF3200C77E7}"/>
                    </a:ext>
                  </a:extLst>
                </p:cNvPr>
                <p:cNvSpPr>
                  <a:spLocks noEditPoints="1"/>
                </p:cNvSpPr>
                <p:nvPr/>
              </p:nvSpPr>
              <p:spPr bwMode="auto">
                <a:xfrm>
                  <a:off x="5414597" y="3082728"/>
                  <a:ext cx="241637" cy="368813"/>
                </a:xfrm>
                <a:custGeom>
                  <a:avLst/>
                  <a:gdLst>
                    <a:gd name="T0" fmla="*/ 30 w 119"/>
                    <a:gd name="T1" fmla="*/ 62 h 186"/>
                    <a:gd name="T2" fmla="*/ 37 w 119"/>
                    <a:gd name="T3" fmla="*/ 56 h 186"/>
                    <a:gd name="T4" fmla="*/ 43 w 119"/>
                    <a:gd name="T5" fmla="*/ 56 h 186"/>
                    <a:gd name="T6" fmla="*/ 4 w 119"/>
                    <a:gd name="T7" fmla="*/ 1 h 186"/>
                    <a:gd name="T8" fmla="*/ 1 w 119"/>
                    <a:gd name="T9" fmla="*/ 1 h 186"/>
                    <a:gd name="T10" fmla="*/ 1 w 119"/>
                    <a:gd name="T11" fmla="*/ 1 h 186"/>
                    <a:gd name="T12" fmla="*/ 0 w 119"/>
                    <a:gd name="T13" fmla="*/ 4 h 186"/>
                    <a:gd name="T14" fmla="*/ 30 w 119"/>
                    <a:gd name="T15" fmla="*/ 62 h 186"/>
                    <a:gd name="T16" fmla="*/ 39 w 119"/>
                    <a:gd name="T17" fmla="*/ 60 h 186"/>
                    <a:gd name="T18" fmla="*/ 35 w 119"/>
                    <a:gd name="T19" fmla="*/ 68 h 186"/>
                    <a:gd name="T20" fmla="*/ 42 w 119"/>
                    <a:gd name="T21" fmla="*/ 72 h 186"/>
                    <a:gd name="T22" fmla="*/ 46 w 119"/>
                    <a:gd name="T23" fmla="*/ 65 h 186"/>
                    <a:gd name="T24" fmla="*/ 39 w 119"/>
                    <a:gd name="T25" fmla="*/ 60 h 186"/>
                    <a:gd name="T26" fmla="*/ 119 w 119"/>
                    <a:gd name="T27" fmla="*/ 63 h 186"/>
                    <a:gd name="T28" fmla="*/ 117 w 119"/>
                    <a:gd name="T29" fmla="*/ 60 h 186"/>
                    <a:gd name="T30" fmla="*/ 48 w 119"/>
                    <a:gd name="T31" fmla="*/ 59 h 186"/>
                    <a:gd name="T32" fmla="*/ 51 w 119"/>
                    <a:gd name="T33" fmla="*/ 63 h 186"/>
                    <a:gd name="T34" fmla="*/ 49 w 119"/>
                    <a:gd name="T35" fmla="*/ 72 h 186"/>
                    <a:gd name="T36" fmla="*/ 117 w 119"/>
                    <a:gd name="T37" fmla="*/ 66 h 186"/>
                    <a:gd name="T38" fmla="*/ 119 w 119"/>
                    <a:gd name="T39" fmla="*/ 63 h 186"/>
                    <a:gd name="T40" fmla="*/ 31 w 119"/>
                    <a:gd name="T41" fmla="*/ 71 h 186"/>
                    <a:gd name="T42" fmla="*/ 3 w 119"/>
                    <a:gd name="T43" fmla="*/ 132 h 186"/>
                    <a:gd name="T44" fmla="*/ 4 w 119"/>
                    <a:gd name="T45" fmla="*/ 135 h 186"/>
                    <a:gd name="T46" fmla="*/ 4 w 119"/>
                    <a:gd name="T47" fmla="*/ 135 h 186"/>
                    <a:gd name="T48" fmla="*/ 8 w 119"/>
                    <a:gd name="T49" fmla="*/ 134 h 186"/>
                    <a:gd name="T50" fmla="*/ 34 w 119"/>
                    <a:gd name="T51" fmla="*/ 101 h 186"/>
                    <a:gd name="T52" fmla="*/ 31 w 119"/>
                    <a:gd name="T53" fmla="*/ 186 h 186"/>
                    <a:gd name="T54" fmla="*/ 31 w 119"/>
                    <a:gd name="T55" fmla="*/ 186 h 186"/>
                    <a:gd name="T56" fmla="*/ 48 w 119"/>
                    <a:gd name="T57" fmla="*/ 186 h 186"/>
                    <a:gd name="T58" fmla="*/ 48 w 119"/>
                    <a:gd name="T59" fmla="*/ 186 h 186"/>
                    <a:gd name="T60" fmla="*/ 43 w 119"/>
                    <a:gd name="T61" fmla="*/ 77 h 186"/>
                    <a:gd name="T62" fmla="*/ 31 w 119"/>
                    <a:gd name="T63" fmla="*/ 7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86">
                      <a:moveTo>
                        <a:pt x="30" y="62"/>
                      </a:moveTo>
                      <a:cubicBezTo>
                        <a:pt x="32" y="59"/>
                        <a:pt x="34" y="57"/>
                        <a:pt x="37" y="56"/>
                      </a:cubicBezTo>
                      <a:cubicBezTo>
                        <a:pt x="39" y="55"/>
                        <a:pt x="41" y="55"/>
                        <a:pt x="43" y="56"/>
                      </a:cubicBezTo>
                      <a:cubicBezTo>
                        <a:pt x="4" y="1"/>
                        <a:pt x="4" y="1"/>
                        <a:pt x="4" y="1"/>
                      </a:cubicBezTo>
                      <a:cubicBezTo>
                        <a:pt x="4" y="0"/>
                        <a:pt x="2" y="0"/>
                        <a:pt x="1" y="1"/>
                      </a:cubicBezTo>
                      <a:cubicBezTo>
                        <a:pt x="1" y="1"/>
                        <a:pt x="1" y="1"/>
                        <a:pt x="1" y="1"/>
                      </a:cubicBezTo>
                      <a:cubicBezTo>
                        <a:pt x="0" y="2"/>
                        <a:pt x="0" y="3"/>
                        <a:pt x="0" y="4"/>
                      </a:cubicBezTo>
                      <a:cubicBezTo>
                        <a:pt x="0" y="4"/>
                        <a:pt x="8" y="43"/>
                        <a:pt x="30" y="62"/>
                      </a:cubicBezTo>
                      <a:close/>
                      <a:moveTo>
                        <a:pt x="39" y="60"/>
                      </a:moveTo>
                      <a:cubicBezTo>
                        <a:pt x="36" y="61"/>
                        <a:pt x="34" y="65"/>
                        <a:pt x="35" y="68"/>
                      </a:cubicBezTo>
                      <a:cubicBezTo>
                        <a:pt x="35" y="71"/>
                        <a:pt x="39" y="73"/>
                        <a:pt x="42" y="72"/>
                      </a:cubicBezTo>
                      <a:cubicBezTo>
                        <a:pt x="45" y="71"/>
                        <a:pt x="47" y="68"/>
                        <a:pt x="46" y="65"/>
                      </a:cubicBezTo>
                      <a:cubicBezTo>
                        <a:pt x="45" y="61"/>
                        <a:pt x="42" y="60"/>
                        <a:pt x="39" y="60"/>
                      </a:cubicBezTo>
                      <a:close/>
                      <a:moveTo>
                        <a:pt x="119" y="63"/>
                      </a:moveTo>
                      <a:cubicBezTo>
                        <a:pt x="119" y="62"/>
                        <a:pt x="118" y="61"/>
                        <a:pt x="117" y="60"/>
                      </a:cubicBezTo>
                      <a:cubicBezTo>
                        <a:pt x="117" y="60"/>
                        <a:pt x="76" y="46"/>
                        <a:pt x="48" y="59"/>
                      </a:cubicBezTo>
                      <a:cubicBezTo>
                        <a:pt x="49" y="60"/>
                        <a:pt x="50" y="62"/>
                        <a:pt x="51" y="63"/>
                      </a:cubicBezTo>
                      <a:cubicBezTo>
                        <a:pt x="51" y="66"/>
                        <a:pt x="51" y="69"/>
                        <a:pt x="49" y="72"/>
                      </a:cubicBezTo>
                      <a:cubicBezTo>
                        <a:pt x="117" y="66"/>
                        <a:pt x="117" y="66"/>
                        <a:pt x="117" y="66"/>
                      </a:cubicBezTo>
                      <a:cubicBezTo>
                        <a:pt x="118" y="66"/>
                        <a:pt x="119" y="65"/>
                        <a:pt x="119" y="63"/>
                      </a:cubicBezTo>
                      <a:close/>
                      <a:moveTo>
                        <a:pt x="31" y="71"/>
                      </a:moveTo>
                      <a:cubicBezTo>
                        <a:pt x="3" y="132"/>
                        <a:pt x="3" y="132"/>
                        <a:pt x="3" y="132"/>
                      </a:cubicBezTo>
                      <a:cubicBezTo>
                        <a:pt x="2" y="133"/>
                        <a:pt x="3" y="134"/>
                        <a:pt x="4" y="135"/>
                      </a:cubicBezTo>
                      <a:cubicBezTo>
                        <a:pt x="4" y="135"/>
                        <a:pt x="4" y="135"/>
                        <a:pt x="4" y="135"/>
                      </a:cubicBezTo>
                      <a:cubicBezTo>
                        <a:pt x="5" y="135"/>
                        <a:pt x="7" y="135"/>
                        <a:pt x="8" y="134"/>
                      </a:cubicBezTo>
                      <a:cubicBezTo>
                        <a:pt x="8" y="134"/>
                        <a:pt x="24" y="120"/>
                        <a:pt x="34" y="101"/>
                      </a:cubicBezTo>
                      <a:cubicBezTo>
                        <a:pt x="31" y="186"/>
                        <a:pt x="31" y="186"/>
                        <a:pt x="31" y="186"/>
                      </a:cubicBezTo>
                      <a:cubicBezTo>
                        <a:pt x="31" y="186"/>
                        <a:pt x="31" y="186"/>
                        <a:pt x="31" y="186"/>
                      </a:cubicBezTo>
                      <a:cubicBezTo>
                        <a:pt x="48" y="186"/>
                        <a:pt x="48" y="186"/>
                        <a:pt x="48" y="186"/>
                      </a:cubicBezTo>
                      <a:cubicBezTo>
                        <a:pt x="48" y="186"/>
                        <a:pt x="48" y="186"/>
                        <a:pt x="48" y="186"/>
                      </a:cubicBezTo>
                      <a:cubicBezTo>
                        <a:pt x="43" y="77"/>
                        <a:pt x="43" y="77"/>
                        <a:pt x="43" y="77"/>
                      </a:cubicBezTo>
                      <a:cubicBezTo>
                        <a:pt x="38" y="78"/>
                        <a:pt x="33" y="75"/>
                        <a:pt x="31"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35" name="Freeform 106">
                  <a:extLst>
                    <a:ext uri="{FF2B5EF4-FFF2-40B4-BE49-F238E27FC236}">
                      <a16:creationId xmlns:a16="http://schemas.microsoft.com/office/drawing/2014/main" id="{9B015693-97E7-43CA-B712-37981DE2CAD0}"/>
                    </a:ext>
                  </a:extLst>
                </p:cNvPr>
                <p:cNvSpPr>
                  <a:spLocks/>
                </p:cNvSpPr>
                <p:nvPr/>
              </p:nvSpPr>
              <p:spPr bwMode="auto">
                <a:xfrm>
                  <a:off x="5331610" y="3416647"/>
                  <a:ext cx="326342" cy="129305"/>
                </a:xfrm>
                <a:custGeom>
                  <a:avLst/>
                  <a:gdLst>
                    <a:gd name="T0" fmla="*/ 4 w 116"/>
                    <a:gd name="T1" fmla="*/ 46 h 46"/>
                    <a:gd name="T2" fmla="*/ 1 w 116"/>
                    <a:gd name="T3" fmla="*/ 43 h 46"/>
                    <a:gd name="T4" fmla="*/ 18 w 116"/>
                    <a:gd name="T5" fmla="*/ 2 h 46"/>
                    <a:gd name="T6" fmla="*/ 21 w 116"/>
                    <a:gd name="T7" fmla="*/ 0 h 46"/>
                    <a:gd name="T8" fmla="*/ 95 w 116"/>
                    <a:gd name="T9" fmla="*/ 0 h 46"/>
                    <a:gd name="T10" fmla="*/ 98 w 116"/>
                    <a:gd name="T11" fmla="*/ 2 h 46"/>
                    <a:gd name="T12" fmla="*/ 115 w 116"/>
                    <a:gd name="T13" fmla="*/ 43 h 46"/>
                    <a:gd name="T14" fmla="*/ 111 w 116"/>
                    <a:gd name="T15" fmla="*/ 46 h 46"/>
                    <a:gd name="T16" fmla="*/ 4 w 116"/>
                    <a:gd name="T1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6">
                      <a:moveTo>
                        <a:pt x="4" y="46"/>
                      </a:moveTo>
                      <a:cubicBezTo>
                        <a:pt x="2" y="46"/>
                        <a:pt x="0" y="45"/>
                        <a:pt x="1" y="43"/>
                      </a:cubicBezTo>
                      <a:cubicBezTo>
                        <a:pt x="6" y="33"/>
                        <a:pt x="18" y="2"/>
                        <a:pt x="18" y="2"/>
                      </a:cubicBezTo>
                      <a:cubicBezTo>
                        <a:pt x="18" y="1"/>
                        <a:pt x="20" y="0"/>
                        <a:pt x="21" y="0"/>
                      </a:cubicBezTo>
                      <a:cubicBezTo>
                        <a:pt x="95" y="0"/>
                        <a:pt x="95" y="0"/>
                        <a:pt x="95" y="0"/>
                      </a:cubicBezTo>
                      <a:cubicBezTo>
                        <a:pt x="96" y="0"/>
                        <a:pt x="98" y="1"/>
                        <a:pt x="98" y="2"/>
                      </a:cubicBezTo>
                      <a:cubicBezTo>
                        <a:pt x="98" y="2"/>
                        <a:pt x="110" y="33"/>
                        <a:pt x="115" y="43"/>
                      </a:cubicBezTo>
                      <a:cubicBezTo>
                        <a:pt x="116" y="45"/>
                        <a:pt x="114" y="46"/>
                        <a:pt x="111" y="46"/>
                      </a:cubicBezTo>
                      <a:cubicBezTo>
                        <a:pt x="110" y="46"/>
                        <a:pt x="5" y="46"/>
                        <a:pt x="4" y="4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36" name="Freeform 107">
                  <a:extLst>
                    <a:ext uri="{FF2B5EF4-FFF2-40B4-BE49-F238E27FC236}">
                      <a16:creationId xmlns:a16="http://schemas.microsoft.com/office/drawing/2014/main" id="{2156B8C3-113C-4CFA-94D5-9F28466BD874}"/>
                    </a:ext>
                  </a:extLst>
                </p:cNvPr>
                <p:cNvSpPr>
                  <a:spLocks noEditPoints="1"/>
                </p:cNvSpPr>
                <p:nvPr/>
              </p:nvSpPr>
              <p:spPr bwMode="auto">
                <a:xfrm>
                  <a:off x="5362397" y="3433580"/>
                  <a:ext cx="261689" cy="95439"/>
                </a:xfrm>
                <a:custGeom>
                  <a:avLst/>
                  <a:gdLst>
                    <a:gd name="T0" fmla="*/ 58 w 93"/>
                    <a:gd name="T1" fmla="*/ 2 h 34"/>
                    <a:gd name="T2" fmla="*/ 59 w 93"/>
                    <a:gd name="T3" fmla="*/ 13 h 34"/>
                    <a:gd name="T4" fmla="*/ 57 w 93"/>
                    <a:gd name="T5" fmla="*/ 16 h 34"/>
                    <a:gd name="T6" fmla="*/ 37 w 93"/>
                    <a:gd name="T7" fmla="*/ 16 h 34"/>
                    <a:gd name="T8" fmla="*/ 34 w 93"/>
                    <a:gd name="T9" fmla="*/ 14 h 34"/>
                    <a:gd name="T10" fmla="*/ 36 w 93"/>
                    <a:gd name="T11" fmla="*/ 2 h 34"/>
                    <a:gd name="T12" fmla="*/ 38 w 93"/>
                    <a:gd name="T13" fmla="*/ 0 h 34"/>
                    <a:gd name="T14" fmla="*/ 55 w 93"/>
                    <a:gd name="T15" fmla="*/ 0 h 34"/>
                    <a:gd name="T16" fmla="*/ 58 w 93"/>
                    <a:gd name="T17" fmla="*/ 2 h 34"/>
                    <a:gd name="T18" fmla="*/ 36 w 93"/>
                    <a:gd name="T19" fmla="*/ 18 h 34"/>
                    <a:gd name="T20" fmla="*/ 57 w 93"/>
                    <a:gd name="T21" fmla="*/ 18 h 34"/>
                    <a:gd name="T22" fmla="*/ 60 w 93"/>
                    <a:gd name="T23" fmla="*/ 20 h 34"/>
                    <a:gd name="T24" fmla="*/ 61 w 93"/>
                    <a:gd name="T25" fmla="*/ 32 h 34"/>
                    <a:gd name="T26" fmla="*/ 59 w 93"/>
                    <a:gd name="T27" fmla="*/ 34 h 34"/>
                    <a:gd name="T28" fmla="*/ 35 w 93"/>
                    <a:gd name="T29" fmla="*/ 34 h 34"/>
                    <a:gd name="T30" fmla="*/ 33 w 93"/>
                    <a:gd name="T31" fmla="*/ 32 h 34"/>
                    <a:gd name="T32" fmla="*/ 34 w 93"/>
                    <a:gd name="T33" fmla="*/ 20 h 34"/>
                    <a:gd name="T34" fmla="*/ 36 w 93"/>
                    <a:gd name="T35" fmla="*/ 18 h 34"/>
                    <a:gd name="T36" fmla="*/ 27 w 93"/>
                    <a:gd name="T37" fmla="*/ 34 h 34"/>
                    <a:gd name="T38" fmla="*/ 3 w 93"/>
                    <a:gd name="T39" fmla="*/ 34 h 34"/>
                    <a:gd name="T40" fmla="*/ 1 w 93"/>
                    <a:gd name="T41" fmla="*/ 31 h 34"/>
                    <a:gd name="T42" fmla="*/ 5 w 93"/>
                    <a:gd name="T43" fmla="*/ 20 h 34"/>
                    <a:gd name="T44" fmla="*/ 7 w 93"/>
                    <a:gd name="T45" fmla="*/ 18 h 34"/>
                    <a:gd name="T46" fmla="*/ 28 w 93"/>
                    <a:gd name="T47" fmla="*/ 18 h 34"/>
                    <a:gd name="T48" fmla="*/ 30 w 93"/>
                    <a:gd name="T49" fmla="*/ 21 h 34"/>
                    <a:gd name="T50" fmla="*/ 29 w 93"/>
                    <a:gd name="T51" fmla="*/ 32 h 34"/>
                    <a:gd name="T52" fmla="*/ 27 w 93"/>
                    <a:gd name="T53" fmla="*/ 34 h 34"/>
                    <a:gd name="T54" fmla="*/ 33 w 93"/>
                    <a:gd name="T55" fmla="*/ 3 h 34"/>
                    <a:gd name="T56" fmla="*/ 31 w 93"/>
                    <a:gd name="T57" fmla="*/ 14 h 34"/>
                    <a:gd name="T58" fmla="*/ 29 w 93"/>
                    <a:gd name="T59" fmla="*/ 16 h 34"/>
                    <a:gd name="T60" fmla="*/ 9 w 93"/>
                    <a:gd name="T61" fmla="*/ 16 h 34"/>
                    <a:gd name="T62" fmla="*/ 7 w 93"/>
                    <a:gd name="T63" fmla="*/ 13 h 34"/>
                    <a:gd name="T64" fmla="*/ 11 w 93"/>
                    <a:gd name="T65" fmla="*/ 2 h 34"/>
                    <a:gd name="T66" fmla="*/ 14 w 93"/>
                    <a:gd name="T67" fmla="*/ 0 h 34"/>
                    <a:gd name="T68" fmla="*/ 31 w 93"/>
                    <a:gd name="T69" fmla="*/ 0 h 34"/>
                    <a:gd name="T70" fmla="*/ 33 w 93"/>
                    <a:gd name="T71" fmla="*/ 3 h 34"/>
                    <a:gd name="T72" fmla="*/ 91 w 93"/>
                    <a:gd name="T73" fmla="*/ 34 h 34"/>
                    <a:gd name="T74" fmla="*/ 67 w 93"/>
                    <a:gd name="T75" fmla="*/ 34 h 34"/>
                    <a:gd name="T76" fmla="*/ 65 w 93"/>
                    <a:gd name="T77" fmla="*/ 32 h 34"/>
                    <a:gd name="T78" fmla="*/ 63 w 93"/>
                    <a:gd name="T79" fmla="*/ 21 h 34"/>
                    <a:gd name="T80" fmla="*/ 65 w 93"/>
                    <a:gd name="T81" fmla="*/ 18 h 34"/>
                    <a:gd name="T82" fmla="*/ 87 w 93"/>
                    <a:gd name="T83" fmla="*/ 18 h 34"/>
                    <a:gd name="T84" fmla="*/ 89 w 93"/>
                    <a:gd name="T85" fmla="*/ 20 h 34"/>
                    <a:gd name="T86" fmla="*/ 93 w 93"/>
                    <a:gd name="T87" fmla="*/ 31 h 34"/>
                    <a:gd name="T88" fmla="*/ 91 w 93"/>
                    <a:gd name="T89" fmla="*/ 34 h 34"/>
                    <a:gd name="T90" fmla="*/ 84 w 93"/>
                    <a:gd name="T91" fmla="*/ 16 h 34"/>
                    <a:gd name="T92" fmla="*/ 64 w 93"/>
                    <a:gd name="T93" fmla="*/ 16 h 34"/>
                    <a:gd name="T94" fmla="*/ 62 w 93"/>
                    <a:gd name="T95" fmla="*/ 14 h 34"/>
                    <a:gd name="T96" fmla="*/ 61 w 93"/>
                    <a:gd name="T97" fmla="*/ 3 h 34"/>
                    <a:gd name="T98" fmla="*/ 63 w 93"/>
                    <a:gd name="T99" fmla="*/ 0 h 34"/>
                    <a:gd name="T100" fmla="*/ 79 w 93"/>
                    <a:gd name="T101" fmla="*/ 0 h 34"/>
                    <a:gd name="T102" fmla="*/ 83 w 93"/>
                    <a:gd name="T103" fmla="*/ 2 h 34"/>
                    <a:gd name="T104" fmla="*/ 86 w 93"/>
                    <a:gd name="T105" fmla="*/ 13 h 34"/>
                    <a:gd name="T106" fmla="*/ 84 w 93"/>
                    <a:gd name="T10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3" h="34">
                      <a:moveTo>
                        <a:pt x="58" y="2"/>
                      </a:moveTo>
                      <a:cubicBezTo>
                        <a:pt x="59" y="13"/>
                        <a:pt x="59" y="13"/>
                        <a:pt x="59" y="13"/>
                      </a:cubicBezTo>
                      <a:cubicBezTo>
                        <a:pt x="59" y="15"/>
                        <a:pt x="58" y="16"/>
                        <a:pt x="57" y="16"/>
                      </a:cubicBezTo>
                      <a:cubicBezTo>
                        <a:pt x="37" y="16"/>
                        <a:pt x="37" y="16"/>
                        <a:pt x="37" y="16"/>
                      </a:cubicBezTo>
                      <a:cubicBezTo>
                        <a:pt x="35" y="16"/>
                        <a:pt x="34" y="15"/>
                        <a:pt x="34" y="14"/>
                      </a:cubicBezTo>
                      <a:cubicBezTo>
                        <a:pt x="36" y="2"/>
                        <a:pt x="36" y="2"/>
                        <a:pt x="36" y="2"/>
                      </a:cubicBezTo>
                      <a:cubicBezTo>
                        <a:pt x="36" y="1"/>
                        <a:pt x="37" y="0"/>
                        <a:pt x="38" y="0"/>
                      </a:cubicBezTo>
                      <a:cubicBezTo>
                        <a:pt x="55" y="0"/>
                        <a:pt x="55" y="0"/>
                        <a:pt x="55" y="0"/>
                      </a:cubicBezTo>
                      <a:cubicBezTo>
                        <a:pt x="57" y="0"/>
                        <a:pt x="58" y="1"/>
                        <a:pt x="58" y="2"/>
                      </a:cubicBezTo>
                      <a:close/>
                      <a:moveTo>
                        <a:pt x="36" y="18"/>
                      </a:moveTo>
                      <a:cubicBezTo>
                        <a:pt x="57" y="18"/>
                        <a:pt x="57" y="18"/>
                        <a:pt x="57" y="18"/>
                      </a:cubicBezTo>
                      <a:cubicBezTo>
                        <a:pt x="59" y="18"/>
                        <a:pt x="60" y="19"/>
                        <a:pt x="60" y="20"/>
                      </a:cubicBezTo>
                      <a:cubicBezTo>
                        <a:pt x="61" y="32"/>
                        <a:pt x="61" y="32"/>
                        <a:pt x="61" y="32"/>
                      </a:cubicBezTo>
                      <a:cubicBezTo>
                        <a:pt x="61" y="33"/>
                        <a:pt x="60" y="34"/>
                        <a:pt x="59" y="34"/>
                      </a:cubicBezTo>
                      <a:cubicBezTo>
                        <a:pt x="35" y="34"/>
                        <a:pt x="35" y="34"/>
                        <a:pt x="35" y="34"/>
                      </a:cubicBezTo>
                      <a:cubicBezTo>
                        <a:pt x="33" y="34"/>
                        <a:pt x="32" y="33"/>
                        <a:pt x="33" y="32"/>
                      </a:cubicBezTo>
                      <a:cubicBezTo>
                        <a:pt x="34" y="20"/>
                        <a:pt x="34" y="20"/>
                        <a:pt x="34" y="20"/>
                      </a:cubicBezTo>
                      <a:cubicBezTo>
                        <a:pt x="34" y="19"/>
                        <a:pt x="35" y="18"/>
                        <a:pt x="36" y="18"/>
                      </a:cubicBezTo>
                      <a:close/>
                      <a:moveTo>
                        <a:pt x="27" y="34"/>
                      </a:moveTo>
                      <a:cubicBezTo>
                        <a:pt x="3" y="34"/>
                        <a:pt x="3" y="34"/>
                        <a:pt x="3" y="34"/>
                      </a:cubicBezTo>
                      <a:cubicBezTo>
                        <a:pt x="1" y="34"/>
                        <a:pt x="0" y="33"/>
                        <a:pt x="1" y="31"/>
                      </a:cubicBezTo>
                      <a:cubicBezTo>
                        <a:pt x="5" y="20"/>
                        <a:pt x="5" y="20"/>
                        <a:pt x="5" y="20"/>
                      </a:cubicBezTo>
                      <a:cubicBezTo>
                        <a:pt x="5" y="19"/>
                        <a:pt x="6" y="18"/>
                        <a:pt x="7" y="18"/>
                      </a:cubicBezTo>
                      <a:cubicBezTo>
                        <a:pt x="28" y="18"/>
                        <a:pt x="28" y="18"/>
                        <a:pt x="28" y="18"/>
                      </a:cubicBezTo>
                      <a:cubicBezTo>
                        <a:pt x="30" y="18"/>
                        <a:pt x="31" y="19"/>
                        <a:pt x="30" y="21"/>
                      </a:cubicBezTo>
                      <a:cubicBezTo>
                        <a:pt x="29" y="32"/>
                        <a:pt x="29" y="32"/>
                        <a:pt x="29" y="32"/>
                      </a:cubicBezTo>
                      <a:cubicBezTo>
                        <a:pt x="29" y="33"/>
                        <a:pt x="28" y="34"/>
                        <a:pt x="27" y="34"/>
                      </a:cubicBezTo>
                      <a:close/>
                      <a:moveTo>
                        <a:pt x="33" y="3"/>
                      </a:moveTo>
                      <a:cubicBezTo>
                        <a:pt x="31" y="14"/>
                        <a:pt x="31" y="14"/>
                        <a:pt x="31" y="14"/>
                      </a:cubicBezTo>
                      <a:cubicBezTo>
                        <a:pt x="31" y="15"/>
                        <a:pt x="30" y="16"/>
                        <a:pt x="29" y="16"/>
                      </a:cubicBezTo>
                      <a:cubicBezTo>
                        <a:pt x="9" y="16"/>
                        <a:pt x="9" y="16"/>
                        <a:pt x="9" y="16"/>
                      </a:cubicBezTo>
                      <a:cubicBezTo>
                        <a:pt x="8" y="16"/>
                        <a:pt x="6" y="15"/>
                        <a:pt x="7" y="13"/>
                      </a:cubicBezTo>
                      <a:cubicBezTo>
                        <a:pt x="11" y="2"/>
                        <a:pt x="11" y="2"/>
                        <a:pt x="11" y="2"/>
                      </a:cubicBezTo>
                      <a:cubicBezTo>
                        <a:pt x="11" y="1"/>
                        <a:pt x="13" y="0"/>
                        <a:pt x="14" y="0"/>
                      </a:cubicBezTo>
                      <a:cubicBezTo>
                        <a:pt x="31" y="0"/>
                        <a:pt x="31" y="0"/>
                        <a:pt x="31" y="0"/>
                      </a:cubicBezTo>
                      <a:cubicBezTo>
                        <a:pt x="32" y="0"/>
                        <a:pt x="33" y="1"/>
                        <a:pt x="33" y="3"/>
                      </a:cubicBezTo>
                      <a:close/>
                      <a:moveTo>
                        <a:pt x="91" y="34"/>
                      </a:moveTo>
                      <a:cubicBezTo>
                        <a:pt x="67" y="34"/>
                        <a:pt x="67" y="34"/>
                        <a:pt x="67" y="34"/>
                      </a:cubicBezTo>
                      <a:cubicBezTo>
                        <a:pt x="66" y="34"/>
                        <a:pt x="65" y="33"/>
                        <a:pt x="65" y="32"/>
                      </a:cubicBezTo>
                      <a:cubicBezTo>
                        <a:pt x="63" y="21"/>
                        <a:pt x="63" y="21"/>
                        <a:pt x="63" y="21"/>
                      </a:cubicBezTo>
                      <a:cubicBezTo>
                        <a:pt x="63" y="19"/>
                        <a:pt x="64" y="18"/>
                        <a:pt x="65" y="18"/>
                      </a:cubicBezTo>
                      <a:cubicBezTo>
                        <a:pt x="87" y="18"/>
                        <a:pt x="87" y="18"/>
                        <a:pt x="87" y="18"/>
                      </a:cubicBezTo>
                      <a:cubicBezTo>
                        <a:pt x="88" y="18"/>
                        <a:pt x="88" y="19"/>
                        <a:pt x="89" y="20"/>
                      </a:cubicBezTo>
                      <a:cubicBezTo>
                        <a:pt x="93" y="31"/>
                        <a:pt x="93" y="31"/>
                        <a:pt x="93" y="31"/>
                      </a:cubicBezTo>
                      <a:cubicBezTo>
                        <a:pt x="93" y="33"/>
                        <a:pt x="92" y="34"/>
                        <a:pt x="91" y="34"/>
                      </a:cubicBezTo>
                      <a:close/>
                      <a:moveTo>
                        <a:pt x="84" y="16"/>
                      </a:moveTo>
                      <a:cubicBezTo>
                        <a:pt x="64" y="16"/>
                        <a:pt x="64" y="16"/>
                        <a:pt x="64" y="16"/>
                      </a:cubicBezTo>
                      <a:cubicBezTo>
                        <a:pt x="63" y="16"/>
                        <a:pt x="62" y="15"/>
                        <a:pt x="62" y="14"/>
                      </a:cubicBezTo>
                      <a:cubicBezTo>
                        <a:pt x="61" y="3"/>
                        <a:pt x="61" y="3"/>
                        <a:pt x="61" y="3"/>
                      </a:cubicBezTo>
                      <a:cubicBezTo>
                        <a:pt x="60" y="1"/>
                        <a:pt x="61" y="0"/>
                        <a:pt x="63" y="0"/>
                      </a:cubicBezTo>
                      <a:cubicBezTo>
                        <a:pt x="79" y="0"/>
                        <a:pt x="79" y="0"/>
                        <a:pt x="79" y="0"/>
                      </a:cubicBezTo>
                      <a:cubicBezTo>
                        <a:pt x="81" y="0"/>
                        <a:pt x="82" y="1"/>
                        <a:pt x="83" y="2"/>
                      </a:cubicBezTo>
                      <a:cubicBezTo>
                        <a:pt x="86" y="13"/>
                        <a:pt x="86" y="13"/>
                        <a:pt x="86" y="13"/>
                      </a:cubicBezTo>
                      <a:cubicBezTo>
                        <a:pt x="87" y="15"/>
                        <a:pt x="86" y="16"/>
                        <a:pt x="84" y="16"/>
                      </a:cubicBezTo>
                      <a:close/>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37" name="Freeform 36">
                  <a:extLst>
                    <a:ext uri="{FF2B5EF4-FFF2-40B4-BE49-F238E27FC236}">
                      <a16:creationId xmlns:a16="http://schemas.microsoft.com/office/drawing/2014/main" id="{C754C6B8-F5CB-4EAF-8B46-F26AFBBB4189}"/>
                    </a:ext>
                  </a:extLst>
                </p:cNvPr>
                <p:cNvSpPr>
                  <a:spLocks/>
                </p:cNvSpPr>
                <p:nvPr/>
              </p:nvSpPr>
              <p:spPr bwMode="auto">
                <a:xfrm rot="10800000" flipV="1">
                  <a:off x="5615533" y="3274282"/>
                  <a:ext cx="94471" cy="212222"/>
                </a:xfrm>
                <a:custGeom>
                  <a:avLst/>
                  <a:gdLst>
                    <a:gd name="T0" fmla="*/ 97 w 97"/>
                    <a:gd name="T1" fmla="*/ 49 h 114"/>
                    <a:gd name="T2" fmla="*/ 97 w 97"/>
                    <a:gd name="T3" fmla="*/ 21 h 114"/>
                    <a:gd name="T4" fmla="*/ 77 w 97"/>
                    <a:gd name="T5" fmla="*/ 0 h 114"/>
                    <a:gd name="T6" fmla="*/ 56 w 97"/>
                    <a:gd name="T7" fmla="*/ 21 h 114"/>
                    <a:gd name="T8" fmla="*/ 56 w 97"/>
                    <a:gd name="T9" fmla="*/ 94 h 114"/>
                    <a:gd name="T10" fmla="*/ 41 w 97"/>
                    <a:gd name="T11" fmla="*/ 108 h 114"/>
                    <a:gd name="T12" fmla="*/ 27 w 97"/>
                    <a:gd name="T13" fmla="*/ 94 h 114"/>
                    <a:gd name="T14" fmla="*/ 27 w 97"/>
                    <a:gd name="T15" fmla="*/ 64 h 114"/>
                    <a:gd name="T16" fmla="*/ 46 w 97"/>
                    <a:gd name="T17" fmla="*/ 41 h 114"/>
                    <a:gd name="T18" fmla="*/ 46 w 97"/>
                    <a:gd name="T19" fmla="*/ 32 h 114"/>
                    <a:gd name="T20" fmla="*/ 39 w 97"/>
                    <a:gd name="T21" fmla="*/ 25 h 114"/>
                    <a:gd name="T22" fmla="*/ 37 w 97"/>
                    <a:gd name="T23" fmla="*/ 25 h 114"/>
                    <a:gd name="T24" fmla="*/ 37 w 97"/>
                    <a:gd name="T25" fmla="*/ 14 h 114"/>
                    <a:gd name="T26" fmla="*/ 30 w 97"/>
                    <a:gd name="T27" fmla="*/ 14 h 114"/>
                    <a:gd name="T28" fmla="*/ 30 w 97"/>
                    <a:gd name="T29" fmla="*/ 25 h 114"/>
                    <a:gd name="T30" fmla="*/ 14 w 97"/>
                    <a:gd name="T31" fmla="*/ 25 h 114"/>
                    <a:gd name="T32" fmla="*/ 14 w 97"/>
                    <a:gd name="T33" fmla="*/ 14 h 114"/>
                    <a:gd name="T34" fmla="*/ 8 w 97"/>
                    <a:gd name="T35" fmla="*/ 14 h 114"/>
                    <a:gd name="T36" fmla="*/ 8 w 97"/>
                    <a:gd name="T37" fmla="*/ 25 h 114"/>
                    <a:gd name="T38" fmla="*/ 6 w 97"/>
                    <a:gd name="T39" fmla="*/ 25 h 114"/>
                    <a:gd name="T40" fmla="*/ 0 w 97"/>
                    <a:gd name="T41" fmla="*/ 32 h 114"/>
                    <a:gd name="T42" fmla="*/ 0 w 97"/>
                    <a:gd name="T43" fmla="*/ 41 h 114"/>
                    <a:gd name="T44" fmla="*/ 21 w 97"/>
                    <a:gd name="T45" fmla="*/ 64 h 114"/>
                    <a:gd name="T46" fmla="*/ 21 w 97"/>
                    <a:gd name="T47" fmla="*/ 94 h 114"/>
                    <a:gd name="T48" fmla="*/ 41 w 97"/>
                    <a:gd name="T49" fmla="*/ 114 h 114"/>
                    <a:gd name="T50" fmla="*/ 62 w 97"/>
                    <a:gd name="T51" fmla="*/ 94 h 114"/>
                    <a:gd name="T52" fmla="*/ 62 w 97"/>
                    <a:gd name="T53" fmla="*/ 21 h 114"/>
                    <a:gd name="T54" fmla="*/ 77 w 97"/>
                    <a:gd name="T55" fmla="*/ 7 h 114"/>
                    <a:gd name="T56" fmla="*/ 91 w 97"/>
                    <a:gd name="T57" fmla="*/ 21 h 114"/>
                    <a:gd name="T58" fmla="*/ 91 w 97"/>
                    <a:gd name="T59" fmla="*/ 49 h 114"/>
                    <a:gd name="connsiteX0" fmla="*/ 10000 w 10000"/>
                    <a:gd name="connsiteY0" fmla="*/ 4298 h 10000"/>
                    <a:gd name="connsiteX1" fmla="*/ 10000 w 10000"/>
                    <a:gd name="connsiteY1" fmla="*/ 1842 h 10000"/>
                    <a:gd name="connsiteX2" fmla="*/ 7938 w 10000"/>
                    <a:gd name="connsiteY2" fmla="*/ 0 h 10000"/>
                    <a:gd name="connsiteX3" fmla="*/ 5773 w 10000"/>
                    <a:gd name="connsiteY3" fmla="*/ 1842 h 10000"/>
                    <a:gd name="connsiteX4" fmla="*/ 5773 w 10000"/>
                    <a:gd name="connsiteY4" fmla="*/ 8246 h 10000"/>
                    <a:gd name="connsiteX5" fmla="*/ 4227 w 10000"/>
                    <a:gd name="connsiteY5" fmla="*/ 9474 h 10000"/>
                    <a:gd name="connsiteX6" fmla="*/ 2784 w 10000"/>
                    <a:gd name="connsiteY6" fmla="*/ 8246 h 10000"/>
                    <a:gd name="connsiteX7" fmla="*/ 2784 w 10000"/>
                    <a:gd name="connsiteY7" fmla="*/ 5614 h 10000"/>
                    <a:gd name="connsiteX8" fmla="*/ 4742 w 10000"/>
                    <a:gd name="connsiteY8" fmla="*/ 3596 h 10000"/>
                    <a:gd name="connsiteX9" fmla="*/ 4742 w 10000"/>
                    <a:gd name="connsiteY9" fmla="*/ 2807 h 10000"/>
                    <a:gd name="connsiteX10" fmla="*/ 4021 w 10000"/>
                    <a:gd name="connsiteY10" fmla="*/ 2193 h 10000"/>
                    <a:gd name="connsiteX11" fmla="*/ 3814 w 10000"/>
                    <a:gd name="connsiteY11" fmla="*/ 2193 h 10000"/>
                    <a:gd name="connsiteX12" fmla="*/ 3814 w 10000"/>
                    <a:gd name="connsiteY12" fmla="*/ 1228 h 10000"/>
                    <a:gd name="connsiteX13" fmla="*/ 3093 w 10000"/>
                    <a:gd name="connsiteY13" fmla="*/ 1228 h 10000"/>
                    <a:gd name="connsiteX14" fmla="*/ 3093 w 10000"/>
                    <a:gd name="connsiteY14" fmla="*/ 2193 h 10000"/>
                    <a:gd name="connsiteX15" fmla="*/ 1443 w 10000"/>
                    <a:gd name="connsiteY15" fmla="*/ 2193 h 10000"/>
                    <a:gd name="connsiteX16" fmla="*/ 1443 w 10000"/>
                    <a:gd name="connsiteY16" fmla="*/ 1228 h 10000"/>
                    <a:gd name="connsiteX17" fmla="*/ 825 w 10000"/>
                    <a:gd name="connsiteY17" fmla="*/ 1228 h 10000"/>
                    <a:gd name="connsiteX18" fmla="*/ 825 w 10000"/>
                    <a:gd name="connsiteY18" fmla="*/ 2193 h 10000"/>
                    <a:gd name="connsiteX19" fmla="*/ 619 w 10000"/>
                    <a:gd name="connsiteY19" fmla="*/ 2193 h 10000"/>
                    <a:gd name="connsiteX20" fmla="*/ 0 w 10000"/>
                    <a:gd name="connsiteY20" fmla="*/ 2807 h 10000"/>
                    <a:gd name="connsiteX21" fmla="*/ 0 w 10000"/>
                    <a:gd name="connsiteY21" fmla="*/ 3596 h 10000"/>
                    <a:gd name="connsiteX22" fmla="*/ 2165 w 10000"/>
                    <a:gd name="connsiteY22" fmla="*/ 5614 h 10000"/>
                    <a:gd name="connsiteX23" fmla="*/ 2165 w 10000"/>
                    <a:gd name="connsiteY23" fmla="*/ 8246 h 10000"/>
                    <a:gd name="connsiteX24" fmla="*/ 4227 w 10000"/>
                    <a:gd name="connsiteY24" fmla="*/ 10000 h 10000"/>
                    <a:gd name="connsiteX25" fmla="*/ 6392 w 10000"/>
                    <a:gd name="connsiteY25" fmla="*/ 8246 h 10000"/>
                    <a:gd name="connsiteX26" fmla="*/ 6392 w 10000"/>
                    <a:gd name="connsiteY26" fmla="*/ 1842 h 10000"/>
                    <a:gd name="connsiteX27" fmla="*/ 7938 w 10000"/>
                    <a:gd name="connsiteY27" fmla="*/ 614 h 10000"/>
                    <a:gd name="connsiteX28" fmla="*/ 9381 w 10000"/>
                    <a:gd name="connsiteY28" fmla="*/ 1842 h 10000"/>
                    <a:gd name="connsiteX0" fmla="*/ 9960 w 10142"/>
                    <a:gd name="connsiteY0" fmla="*/ 4348 h 10000"/>
                    <a:gd name="connsiteX1" fmla="*/ 10000 w 10142"/>
                    <a:gd name="connsiteY1" fmla="*/ 1842 h 10000"/>
                    <a:gd name="connsiteX2" fmla="*/ 7938 w 10142"/>
                    <a:gd name="connsiteY2" fmla="*/ 0 h 10000"/>
                    <a:gd name="connsiteX3" fmla="*/ 5773 w 10142"/>
                    <a:gd name="connsiteY3" fmla="*/ 1842 h 10000"/>
                    <a:gd name="connsiteX4" fmla="*/ 5773 w 10142"/>
                    <a:gd name="connsiteY4" fmla="*/ 8246 h 10000"/>
                    <a:gd name="connsiteX5" fmla="*/ 4227 w 10142"/>
                    <a:gd name="connsiteY5" fmla="*/ 9474 h 10000"/>
                    <a:gd name="connsiteX6" fmla="*/ 2784 w 10142"/>
                    <a:gd name="connsiteY6" fmla="*/ 8246 h 10000"/>
                    <a:gd name="connsiteX7" fmla="*/ 2784 w 10142"/>
                    <a:gd name="connsiteY7" fmla="*/ 5614 h 10000"/>
                    <a:gd name="connsiteX8" fmla="*/ 4742 w 10142"/>
                    <a:gd name="connsiteY8" fmla="*/ 3596 h 10000"/>
                    <a:gd name="connsiteX9" fmla="*/ 4742 w 10142"/>
                    <a:gd name="connsiteY9" fmla="*/ 2807 h 10000"/>
                    <a:gd name="connsiteX10" fmla="*/ 4021 w 10142"/>
                    <a:gd name="connsiteY10" fmla="*/ 2193 h 10000"/>
                    <a:gd name="connsiteX11" fmla="*/ 3814 w 10142"/>
                    <a:gd name="connsiteY11" fmla="*/ 2193 h 10000"/>
                    <a:gd name="connsiteX12" fmla="*/ 3814 w 10142"/>
                    <a:gd name="connsiteY12" fmla="*/ 1228 h 10000"/>
                    <a:gd name="connsiteX13" fmla="*/ 3093 w 10142"/>
                    <a:gd name="connsiteY13" fmla="*/ 1228 h 10000"/>
                    <a:gd name="connsiteX14" fmla="*/ 3093 w 10142"/>
                    <a:gd name="connsiteY14" fmla="*/ 2193 h 10000"/>
                    <a:gd name="connsiteX15" fmla="*/ 1443 w 10142"/>
                    <a:gd name="connsiteY15" fmla="*/ 2193 h 10000"/>
                    <a:gd name="connsiteX16" fmla="*/ 1443 w 10142"/>
                    <a:gd name="connsiteY16" fmla="*/ 1228 h 10000"/>
                    <a:gd name="connsiteX17" fmla="*/ 825 w 10142"/>
                    <a:gd name="connsiteY17" fmla="*/ 1228 h 10000"/>
                    <a:gd name="connsiteX18" fmla="*/ 825 w 10142"/>
                    <a:gd name="connsiteY18" fmla="*/ 2193 h 10000"/>
                    <a:gd name="connsiteX19" fmla="*/ 619 w 10142"/>
                    <a:gd name="connsiteY19" fmla="*/ 2193 h 10000"/>
                    <a:gd name="connsiteX20" fmla="*/ 0 w 10142"/>
                    <a:gd name="connsiteY20" fmla="*/ 2807 h 10000"/>
                    <a:gd name="connsiteX21" fmla="*/ 0 w 10142"/>
                    <a:gd name="connsiteY21" fmla="*/ 3596 h 10000"/>
                    <a:gd name="connsiteX22" fmla="*/ 2165 w 10142"/>
                    <a:gd name="connsiteY22" fmla="*/ 5614 h 10000"/>
                    <a:gd name="connsiteX23" fmla="*/ 2165 w 10142"/>
                    <a:gd name="connsiteY23" fmla="*/ 8246 h 10000"/>
                    <a:gd name="connsiteX24" fmla="*/ 4227 w 10142"/>
                    <a:gd name="connsiteY24" fmla="*/ 10000 h 10000"/>
                    <a:gd name="connsiteX25" fmla="*/ 6392 w 10142"/>
                    <a:gd name="connsiteY25" fmla="*/ 8246 h 10000"/>
                    <a:gd name="connsiteX26" fmla="*/ 6392 w 10142"/>
                    <a:gd name="connsiteY26" fmla="*/ 1842 h 10000"/>
                    <a:gd name="connsiteX27" fmla="*/ 7938 w 10142"/>
                    <a:gd name="connsiteY27" fmla="*/ 614 h 10000"/>
                    <a:gd name="connsiteX28" fmla="*/ 9381 w 10142"/>
                    <a:gd name="connsiteY28" fmla="*/ 1842 h 10000"/>
                    <a:gd name="connsiteX0" fmla="*/ 10000 w 10000"/>
                    <a:gd name="connsiteY0" fmla="*/ 1842 h 10000"/>
                    <a:gd name="connsiteX1" fmla="*/ 7938 w 10000"/>
                    <a:gd name="connsiteY1" fmla="*/ 0 h 10000"/>
                    <a:gd name="connsiteX2" fmla="*/ 5773 w 10000"/>
                    <a:gd name="connsiteY2" fmla="*/ 1842 h 10000"/>
                    <a:gd name="connsiteX3" fmla="*/ 5773 w 10000"/>
                    <a:gd name="connsiteY3" fmla="*/ 8246 h 10000"/>
                    <a:gd name="connsiteX4" fmla="*/ 4227 w 10000"/>
                    <a:gd name="connsiteY4" fmla="*/ 9474 h 10000"/>
                    <a:gd name="connsiteX5" fmla="*/ 2784 w 10000"/>
                    <a:gd name="connsiteY5" fmla="*/ 8246 h 10000"/>
                    <a:gd name="connsiteX6" fmla="*/ 2784 w 10000"/>
                    <a:gd name="connsiteY6" fmla="*/ 5614 h 10000"/>
                    <a:gd name="connsiteX7" fmla="*/ 4742 w 10000"/>
                    <a:gd name="connsiteY7" fmla="*/ 3596 h 10000"/>
                    <a:gd name="connsiteX8" fmla="*/ 4742 w 10000"/>
                    <a:gd name="connsiteY8" fmla="*/ 2807 h 10000"/>
                    <a:gd name="connsiteX9" fmla="*/ 4021 w 10000"/>
                    <a:gd name="connsiteY9" fmla="*/ 2193 h 10000"/>
                    <a:gd name="connsiteX10" fmla="*/ 3814 w 10000"/>
                    <a:gd name="connsiteY10" fmla="*/ 2193 h 10000"/>
                    <a:gd name="connsiteX11" fmla="*/ 3814 w 10000"/>
                    <a:gd name="connsiteY11" fmla="*/ 1228 h 10000"/>
                    <a:gd name="connsiteX12" fmla="*/ 3093 w 10000"/>
                    <a:gd name="connsiteY12" fmla="*/ 1228 h 10000"/>
                    <a:gd name="connsiteX13" fmla="*/ 3093 w 10000"/>
                    <a:gd name="connsiteY13" fmla="*/ 2193 h 10000"/>
                    <a:gd name="connsiteX14" fmla="*/ 1443 w 10000"/>
                    <a:gd name="connsiteY14" fmla="*/ 2193 h 10000"/>
                    <a:gd name="connsiteX15" fmla="*/ 1443 w 10000"/>
                    <a:gd name="connsiteY15" fmla="*/ 1228 h 10000"/>
                    <a:gd name="connsiteX16" fmla="*/ 825 w 10000"/>
                    <a:gd name="connsiteY16" fmla="*/ 1228 h 10000"/>
                    <a:gd name="connsiteX17" fmla="*/ 825 w 10000"/>
                    <a:gd name="connsiteY17" fmla="*/ 2193 h 10000"/>
                    <a:gd name="connsiteX18" fmla="*/ 619 w 10000"/>
                    <a:gd name="connsiteY18" fmla="*/ 2193 h 10000"/>
                    <a:gd name="connsiteX19" fmla="*/ 0 w 10000"/>
                    <a:gd name="connsiteY19" fmla="*/ 2807 h 10000"/>
                    <a:gd name="connsiteX20" fmla="*/ 0 w 10000"/>
                    <a:gd name="connsiteY20" fmla="*/ 3596 h 10000"/>
                    <a:gd name="connsiteX21" fmla="*/ 2165 w 10000"/>
                    <a:gd name="connsiteY21" fmla="*/ 5614 h 10000"/>
                    <a:gd name="connsiteX22" fmla="*/ 2165 w 10000"/>
                    <a:gd name="connsiteY22" fmla="*/ 8246 h 10000"/>
                    <a:gd name="connsiteX23" fmla="*/ 4227 w 10000"/>
                    <a:gd name="connsiteY23" fmla="*/ 10000 h 10000"/>
                    <a:gd name="connsiteX24" fmla="*/ 6392 w 10000"/>
                    <a:gd name="connsiteY24" fmla="*/ 8246 h 10000"/>
                    <a:gd name="connsiteX25" fmla="*/ 6392 w 10000"/>
                    <a:gd name="connsiteY25" fmla="*/ 1842 h 10000"/>
                    <a:gd name="connsiteX26" fmla="*/ 7938 w 10000"/>
                    <a:gd name="connsiteY26" fmla="*/ 614 h 10000"/>
                    <a:gd name="connsiteX27" fmla="*/ 9381 w 10000"/>
                    <a:gd name="connsiteY27" fmla="*/ 1842 h 10000"/>
                    <a:gd name="connsiteX0" fmla="*/ 7938 w 9381"/>
                    <a:gd name="connsiteY0" fmla="*/ 0 h 10000"/>
                    <a:gd name="connsiteX1" fmla="*/ 5773 w 9381"/>
                    <a:gd name="connsiteY1" fmla="*/ 1842 h 10000"/>
                    <a:gd name="connsiteX2" fmla="*/ 5773 w 9381"/>
                    <a:gd name="connsiteY2" fmla="*/ 8246 h 10000"/>
                    <a:gd name="connsiteX3" fmla="*/ 4227 w 9381"/>
                    <a:gd name="connsiteY3" fmla="*/ 9474 h 10000"/>
                    <a:gd name="connsiteX4" fmla="*/ 2784 w 9381"/>
                    <a:gd name="connsiteY4" fmla="*/ 8246 h 10000"/>
                    <a:gd name="connsiteX5" fmla="*/ 2784 w 9381"/>
                    <a:gd name="connsiteY5" fmla="*/ 5614 h 10000"/>
                    <a:gd name="connsiteX6" fmla="*/ 4742 w 9381"/>
                    <a:gd name="connsiteY6" fmla="*/ 3596 h 10000"/>
                    <a:gd name="connsiteX7" fmla="*/ 4742 w 9381"/>
                    <a:gd name="connsiteY7" fmla="*/ 2807 h 10000"/>
                    <a:gd name="connsiteX8" fmla="*/ 4021 w 9381"/>
                    <a:gd name="connsiteY8" fmla="*/ 2193 h 10000"/>
                    <a:gd name="connsiteX9" fmla="*/ 3814 w 9381"/>
                    <a:gd name="connsiteY9" fmla="*/ 2193 h 10000"/>
                    <a:gd name="connsiteX10" fmla="*/ 3814 w 9381"/>
                    <a:gd name="connsiteY10" fmla="*/ 1228 h 10000"/>
                    <a:gd name="connsiteX11" fmla="*/ 3093 w 9381"/>
                    <a:gd name="connsiteY11" fmla="*/ 1228 h 10000"/>
                    <a:gd name="connsiteX12" fmla="*/ 3093 w 9381"/>
                    <a:gd name="connsiteY12" fmla="*/ 2193 h 10000"/>
                    <a:gd name="connsiteX13" fmla="*/ 1443 w 9381"/>
                    <a:gd name="connsiteY13" fmla="*/ 2193 h 10000"/>
                    <a:gd name="connsiteX14" fmla="*/ 1443 w 9381"/>
                    <a:gd name="connsiteY14" fmla="*/ 1228 h 10000"/>
                    <a:gd name="connsiteX15" fmla="*/ 825 w 9381"/>
                    <a:gd name="connsiteY15" fmla="*/ 1228 h 10000"/>
                    <a:gd name="connsiteX16" fmla="*/ 825 w 9381"/>
                    <a:gd name="connsiteY16" fmla="*/ 2193 h 10000"/>
                    <a:gd name="connsiteX17" fmla="*/ 619 w 9381"/>
                    <a:gd name="connsiteY17" fmla="*/ 2193 h 10000"/>
                    <a:gd name="connsiteX18" fmla="*/ 0 w 9381"/>
                    <a:gd name="connsiteY18" fmla="*/ 2807 h 10000"/>
                    <a:gd name="connsiteX19" fmla="*/ 0 w 9381"/>
                    <a:gd name="connsiteY19" fmla="*/ 3596 h 10000"/>
                    <a:gd name="connsiteX20" fmla="*/ 2165 w 9381"/>
                    <a:gd name="connsiteY20" fmla="*/ 5614 h 10000"/>
                    <a:gd name="connsiteX21" fmla="*/ 2165 w 9381"/>
                    <a:gd name="connsiteY21" fmla="*/ 8246 h 10000"/>
                    <a:gd name="connsiteX22" fmla="*/ 4227 w 9381"/>
                    <a:gd name="connsiteY22" fmla="*/ 10000 h 10000"/>
                    <a:gd name="connsiteX23" fmla="*/ 6392 w 9381"/>
                    <a:gd name="connsiteY23" fmla="*/ 8246 h 10000"/>
                    <a:gd name="connsiteX24" fmla="*/ 6392 w 9381"/>
                    <a:gd name="connsiteY24" fmla="*/ 1842 h 10000"/>
                    <a:gd name="connsiteX25" fmla="*/ 7938 w 9381"/>
                    <a:gd name="connsiteY25" fmla="*/ 614 h 10000"/>
                    <a:gd name="connsiteX26" fmla="*/ 9381 w 9381"/>
                    <a:gd name="connsiteY26" fmla="*/ 1842 h 10000"/>
                    <a:gd name="connsiteX0" fmla="*/ 8462 w 8462"/>
                    <a:gd name="connsiteY0" fmla="*/ 0 h 10000"/>
                    <a:gd name="connsiteX1" fmla="*/ 6154 w 8462"/>
                    <a:gd name="connsiteY1" fmla="*/ 1842 h 10000"/>
                    <a:gd name="connsiteX2" fmla="*/ 6154 w 8462"/>
                    <a:gd name="connsiteY2" fmla="*/ 8246 h 10000"/>
                    <a:gd name="connsiteX3" fmla="*/ 4506 w 8462"/>
                    <a:gd name="connsiteY3" fmla="*/ 9474 h 10000"/>
                    <a:gd name="connsiteX4" fmla="*/ 2968 w 8462"/>
                    <a:gd name="connsiteY4" fmla="*/ 8246 h 10000"/>
                    <a:gd name="connsiteX5" fmla="*/ 2968 w 8462"/>
                    <a:gd name="connsiteY5" fmla="*/ 5614 h 10000"/>
                    <a:gd name="connsiteX6" fmla="*/ 5055 w 8462"/>
                    <a:gd name="connsiteY6" fmla="*/ 3596 h 10000"/>
                    <a:gd name="connsiteX7" fmla="*/ 5055 w 8462"/>
                    <a:gd name="connsiteY7" fmla="*/ 2807 h 10000"/>
                    <a:gd name="connsiteX8" fmla="*/ 4286 w 8462"/>
                    <a:gd name="connsiteY8" fmla="*/ 2193 h 10000"/>
                    <a:gd name="connsiteX9" fmla="*/ 4066 w 8462"/>
                    <a:gd name="connsiteY9" fmla="*/ 2193 h 10000"/>
                    <a:gd name="connsiteX10" fmla="*/ 4066 w 8462"/>
                    <a:gd name="connsiteY10" fmla="*/ 1228 h 10000"/>
                    <a:gd name="connsiteX11" fmla="*/ 3297 w 8462"/>
                    <a:gd name="connsiteY11" fmla="*/ 1228 h 10000"/>
                    <a:gd name="connsiteX12" fmla="*/ 3297 w 8462"/>
                    <a:gd name="connsiteY12" fmla="*/ 2193 h 10000"/>
                    <a:gd name="connsiteX13" fmla="*/ 1538 w 8462"/>
                    <a:gd name="connsiteY13" fmla="*/ 2193 h 10000"/>
                    <a:gd name="connsiteX14" fmla="*/ 1538 w 8462"/>
                    <a:gd name="connsiteY14" fmla="*/ 1228 h 10000"/>
                    <a:gd name="connsiteX15" fmla="*/ 879 w 8462"/>
                    <a:gd name="connsiteY15" fmla="*/ 1228 h 10000"/>
                    <a:gd name="connsiteX16" fmla="*/ 879 w 8462"/>
                    <a:gd name="connsiteY16" fmla="*/ 2193 h 10000"/>
                    <a:gd name="connsiteX17" fmla="*/ 660 w 8462"/>
                    <a:gd name="connsiteY17" fmla="*/ 2193 h 10000"/>
                    <a:gd name="connsiteX18" fmla="*/ 0 w 8462"/>
                    <a:gd name="connsiteY18" fmla="*/ 2807 h 10000"/>
                    <a:gd name="connsiteX19" fmla="*/ 0 w 8462"/>
                    <a:gd name="connsiteY19" fmla="*/ 3596 h 10000"/>
                    <a:gd name="connsiteX20" fmla="*/ 2308 w 8462"/>
                    <a:gd name="connsiteY20" fmla="*/ 5614 h 10000"/>
                    <a:gd name="connsiteX21" fmla="*/ 2308 w 8462"/>
                    <a:gd name="connsiteY21" fmla="*/ 8246 h 10000"/>
                    <a:gd name="connsiteX22" fmla="*/ 4506 w 8462"/>
                    <a:gd name="connsiteY22" fmla="*/ 10000 h 10000"/>
                    <a:gd name="connsiteX23" fmla="*/ 6814 w 8462"/>
                    <a:gd name="connsiteY23" fmla="*/ 8246 h 10000"/>
                    <a:gd name="connsiteX24" fmla="*/ 6814 w 8462"/>
                    <a:gd name="connsiteY24" fmla="*/ 1842 h 10000"/>
                    <a:gd name="connsiteX25" fmla="*/ 8462 w 8462"/>
                    <a:gd name="connsiteY25" fmla="*/ 614 h 10000"/>
                    <a:gd name="connsiteX0" fmla="*/ 10000 w 10000"/>
                    <a:gd name="connsiteY0" fmla="*/ 0 h 10000"/>
                    <a:gd name="connsiteX1" fmla="*/ 7273 w 10000"/>
                    <a:gd name="connsiteY1" fmla="*/ 1842 h 10000"/>
                    <a:gd name="connsiteX2" fmla="*/ 7273 w 10000"/>
                    <a:gd name="connsiteY2" fmla="*/ 8246 h 10000"/>
                    <a:gd name="connsiteX3" fmla="*/ 5325 w 10000"/>
                    <a:gd name="connsiteY3" fmla="*/ 9474 h 10000"/>
                    <a:gd name="connsiteX4" fmla="*/ 3507 w 10000"/>
                    <a:gd name="connsiteY4" fmla="*/ 8246 h 10000"/>
                    <a:gd name="connsiteX5" fmla="*/ 3507 w 10000"/>
                    <a:gd name="connsiteY5" fmla="*/ 5614 h 10000"/>
                    <a:gd name="connsiteX6" fmla="*/ 5974 w 10000"/>
                    <a:gd name="connsiteY6" fmla="*/ 3596 h 10000"/>
                    <a:gd name="connsiteX7" fmla="*/ 5974 w 10000"/>
                    <a:gd name="connsiteY7" fmla="*/ 2807 h 10000"/>
                    <a:gd name="connsiteX8" fmla="*/ 5065 w 10000"/>
                    <a:gd name="connsiteY8" fmla="*/ 2193 h 10000"/>
                    <a:gd name="connsiteX9" fmla="*/ 4805 w 10000"/>
                    <a:gd name="connsiteY9" fmla="*/ 2193 h 10000"/>
                    <a:gd name="connsiteX10" fmla="*/ 4805 w 10000"/>
                    <a:gd name="connsiteY10" fmla="*/ 1228 h 10000"/>
                    <a:gd name="connsiteX11" fmla="*/ 3896 w 10000"/>
                    <a:gd name="connsiteY11" fmla="*/ 1228 h 10000"/>
                    <a:gd name="connsiteX12" fmla="*/ 3896 w 10000"/>
                    <a:gd name="connsiteY12" fmla="*/ 2193 h 10000"/>
                    <a:gd name="connsiteX13" fmla="*/ 1818 w 10000"/>
                    <a:gd name="connsiteY13" fmla="*/ 2193 h 10000"/>
                    <a:gd name="connsiteX14" fmla="*/ 1818 w 10000"/>
                    <a:gd name="connsiteY14" fmla="*/ 1228 h 10000"/>
                    <a:gd name="connsiteX15" fmla="*/ 1039 w 10000"/>
                    <a:gd name="connsiteY15" fmla="*/ 1228 h 10000"/>
                    <a:gd name="connsiteX16" fmla="*/ 1039 w 10000"/>
                    <a:gd name="connsiteY16" fmla="*/ 2193 h 10000"/>
                    <a:gd name="connsiteX17" fmla="*/ 780 w 10000"/>
                    <a:gd name="connsiteY17" fmla="*/ 2193 h 10000"/>
                    <a:gd name="connsiteX18" fmla="*/ 0 w 10000"/>
                    <a:gd name="connsiteY18" fmla="*/ 2807 h 10000"/>
                    <a:gd name="connsiteX19" fmla="*/ 0 w 10000"/>
                    <a:gd name="connsiteY19" fmla="*/ 3596 h 10000"/>
                    <a:gd name="connsiteX20" fmla="*/ 2727 w 10000"/>
                    <a:gd name="connsiteY20" fmla="*/ 5614 h 10000"/>
                    <a:gd name="connsiteX21" fmla="*/ 2727 w 10000"/>
                    <a:gd name="connsiteY21" fmla="*/ 8246 h 10000"/>
                    <a:gd name="connsiteX22" fmla="*/ 5325 w 10000"/>
                    <a:gd name="connsiteY22" fmla="*/ 10000 h 10000"/>
                    <a:gd name="connsiteX23" fmla="*/ 8052 w 10000"/>
                    <a:gd name="connsiteY23" fmla="*/ 8246 h 10000"/>
                    <a:gd name="connsiteX24" fmla="*/ 8052 w 10000"/>
                    <a:gd name="connsiteY24" fmla="*/ 1842 h 10000"/>
                    <a:gd name="connsiteX0" fmla="*/ 7273 w 8052"/>
                    <a:gd name="connsiteY0" fmla="*/ 878 h 9036"/>
                    <a:gd name="connsiteX1" fmla="*/ 7273 w 8052"/>
                    <a:gd name="connsiteY1" fmla="*/ 7282 h 9036"/>
                    <a:gd name="connsiteX2" fmla="*/ 5325 w 8052"/>
                    <a:gd name="connsiteY2" fmla="*/ 8510 h 9036"/>
                    <a:gd name="connsiteX3" fmla="*/ 3507 w 8052"/>
                    <a:gd name="connsiteY3" fmla="*/ 7282 h 9036"/>
                    <a:gd name="connsiteX4" fmla="*/ 3507 w 8052"/>
                    <a:gd name="connsiteY4" fmla="*/ 4650 h 9036"/>
                    <a:gd name="connsiteX5" fmla="*/ 5974 w 8052"/>
                    <a:gd name="connsiteY5" fmla="*/ 2632 h 9036"/>
                    <a:gd name="connsiteX6" fmla="*/ 5974 w 8052"/>
                    <a:gd name="connsiteY6" fmla="*/ 1843 h 9036"/>
                    <a:gd name="connsiteX7" fmla="*/ 5065 w 8052"/>
                    <a:gd name="connsiteY7" fmla="*/ 1229 h 9036"/>
                    <a:gd name="connsiteX8" fmla="*/ 4805 w 8052"/>
                    <a:gd name="connsiteY8" fmla="*/ 1229 h 9036"/>
                    <a:gd name="connsiteX9" fmla="*/ 4805 w 8052"/>
                    <a:gd name="connsiteY9" fmla="*/ 264 h 9036"/>
                    <a:gd name="connsiteX10" fmla="*/ 3896 w 8052"/>
                    <a:gd name="connsiteY10" fmla="*/ 264 h 9036"/>
                    <a:gd name="connsiteX11" fmla="*/ 3896 w 8052"/>
                    <a:gd name="connsiteY11" fmla="*/ 1229 h 9036"/>
                    <a:gd name="connsiteX12" fmla="*/ 1818 w 8052"/>
                    <a:gd name="connsiteY12" fmla="*/ 1229 h 9036"/>
                    <a:gd name="connsiteX13" fmla="*/ 1818 w 8052"/>
                    <a:gd name="connsiteY13" fmla="*/ 264 h 9036"/>
                    <a:gd name="connsiteX14" fmla="*/ 1039 w 8052"/>
                    <a:gd name="connsiteY14" fmla="*/ 264 h 9036"/>
                    <a:gd name="connsiteX15" fmla="*/ 1039 w 8052"/>
                    <a:gd name="connsiteY15" fmla="*/ 1229 h 9036"/>
                    <a:gd name="connsiteX16" fmla="*/ 780 w 8052"/>
                    <a:gd name="connsiteY16" fmla="*/ 1229 h 9036"/>
                    <a:gd name="connsiteX17" fmla="*/ 0 w 8052"/>
                    <a:gd name="connsiteY17" fmla="*/ 1843 h 9036"/>
                    <a:gd name="connsiteX18" fmla="*/ 0 w 8052"/>
                    <a:gd name="connsiteY18" fmla="*/ 2632 h 9036"/>
                    <a:gd name="connsiteX19" fmla="*/ 2727 w 8052"/>
                    <a:gd name="connsiteY19" fmla="*/ 4650 h 9036"/>
                    <a:gd name="connsiteX20" fmla="*/ 2727 w 8052"/>
                    <a:gd name="connsiteY20" fmla="*/ 7282 h 9036"/>
                    <a:gd name="connsiteX21" fmla="*/ 5325 w 8052"/>
                    <a:gd name="connsiteY21" fmla="*/ 9036 h 9036"/>
                    <a:gd name="connsiteX22" fmla="*/ 8052 w 8052"/>
                    <a:gd name="connsiteY22" fmla="*/ 7282 h 9036"/>
                    <a:gd name="connsiteX23" fmla="*/ 8052 w 8052"/>
                    <a:gd name="connsiteY23" fmla="*/ 878 h 9036"/>
                    <a:gd name="connsiteX0" fmla="*/ 9033 w 10000"/>
                    <a:gd name="connsiteY0" fmla="*/ 8058 h 9999"/>
                    <a:gd name="connsiteX1" fmla="*/ 6613 w 10000"/>
                    <a:gd name="connsiteY1" fmla="*/ 9417 h 9999"/>
                    <a:gd name="connsiteX2" fmla="*/ 4355 w 10000"/>
                    <a:gd name="connsiteY2" fmla="*/ 8058 h 9999"/>
                    <a:gd name="connsiteX3" fmla="*/ 4355 w 10000"/>
                    <a:gd name="connsiteY3" fmla="*/ 5145 h 9999"/>
                    <a:gd name="connsiteX4" fmla="*/ 7419 w 10000"/>
                    <a:gd name="connsiteY4" fmla="*/ 2912 h 9999"/>
                    <a:gd name="connsiteX5" fmla="*/ 7419 w 10000"/>
                    <a:gd name="connsiteY5" fmla="*/ 2039 h 9999"/>
                    <a:gd name="connsiteX6" fmla="*/ 6290 w 10000"/>
                    <a:gd name="connsiteY6" fmla="*/ 1359 h 9999"/>
                    <a:gd name="connsiteX7" fmla="*/ 5967 w 10000"/>
                    <a:gd name="connsiteY7" fmla="*/ 1359 h 9999"/>
                    <a:gd name="connsiteX8" fmla="*/ 5967 w 10000"/>
                    <a:gd name="connsiteY8" fmla="*/ 291 h 9999"/>
                    <a:gd name="connsiteX9" fmla="*/ 4839 w 10000"/>
                    <a:gd name="connsiteY9" fmla="*/ 291 h 9999"/>
                    <a:gd name="connsiteX10" fmla="*/ 4839 w 10000"/>
                    <a:gd name="connsiteY10" fmla="*/ 1359 h 9999"/>
                    <a:gd name="connsiteX11" fmla="*/ 2258 w 10000"/>
                    <a:gd name="connsiteY11" fmla="*/ 1359 h 9999"/>
                    <a:gd name="connsiteX12" fmla="*/ 2258 w 10000"/>
                    <a:gd name="connsiteY12" fmla="*/ 291 h 9999"/>
                    <a:gd name="connsiteX13" fmla="*/ 1290 w 10000"/>
                    <a:gd name="connsiteY13" fmla="*/ 291 h 9999"/>
                    <a:gd name="connsiteX14" fmla="*/ 1290 w 10000"/>
                    <a:gd name="connsiteY14" fmla="*/ 1359 h 9999"/>
                    <a:gd name="connsiteX15" fmla="*/ 969 w 10000"/>
                    <a:gd name="connsiteY15" fmla="*/ 1359 h 9999"/>
                    <a:gd name="connsiteX16" fmla="*/ 0 w 10000"/>
                    <a:gd name="connsiteY16" fmla="*/ 2039 h 9999"/>
                    <a:gd name="connsiteX17" fmla="*/ 0 w 10000"/>
                    <a:gd name="connsiteY17" fmla="*/ 2912 h 9999"/>
                    <a:gd name="connsiteX18" fmla="*/ 3387 w 10000"/>
                    <a:gd name="connsiteY18" fmla="*/ 5145 h 9999"/>
                    <a:gd name="connsiteX19" fmla="*/ 3387 w 10000"/>
                    <a:gd name="connsiteY19" fmla="*/ 8058 h 9999"/>
                    <a:gd name="connsiteX20" fmla="*/ 6613 w 10000"/>
                    <a:gd name="connsiteY20" fmla="*/ 9999 h 9999"/>
                    <a:gd name="connsiteX21" fmla="*/ 10000 w 10000"/>
                    <a:gd name="connsiteY21" fmla="*/ 8058 h 9999"/>
                    <a:gd name="connsiteX22" fmla="*/ 10000 w 10000"/>
                    <a:gd name="connsiteY22" fmla="*/ 971 h 9999"/>
                    <a:gd name="connsiteX0" fmla="*/ 9033 w 10000"/>
                    <a:gd name="connsiteY0" fmla="*/ 8059 h 10000"/>
                    <a:gd name="connsiteX1" fmla="*/ 6613 w 10000"/>
                    <a:gd name="connsiteY1" fmla="*/ 9418 h 10000"/>
                    <a:gd name="connsiteX2" fmla="*/ 4355 w 10000"/>
                    <a:gd name="connsiteY2" fmla="*/ 8059 h 10000"/>
                    <a:gd name="connsiteX3" fmla="*/ 4355 w 10000"/>
                    <a:gd name="connsiteY3" fmla="*/ 5146 h 10000"/>
                    <a:gd name="connsiteX4" fmla="*/ 7419 w 10000"/>
                    <a:gd name="connsiteY4" fmla="*/ 2912 h 10000"/>
                    <a:gd name="connsiteX5" fmla="*/ 7419 w 10000"/>
                    <a:gd name="connsiteY5" fmla="*/ 2039 h 10000"/>
                    <a:gd name="connsiteX6" fmla="*/ 6290 w 10000"/>
                    <a:gd name="connsiteY6" fmla="*/ 1359 h 10000"/>
                    <a:gd name="connsiteX7" fmla="*/ 5967 w 10000"/>
                    <a:gd name="connsiteY7" fmla="*/ 1359 h 10000"/>
                    <a:gd name="connsiteX8" fmla="*/ 5967 w 10000"/>
                    <a:gd name="connsiteY8" fmla="*/ 291 h 10000"/>
                    <a:gd name="connsiteX9" fmla="*/ 4839 w 10000"/>
                    <a:gd name="connsiteY9" fmla="*/ 291 h 10000"/>
                    <a:gd name="connsiteX10" fmla="*/ 4839 w 10000"/>
                    <a:gd name="connsiteY10" fmla="*/ 1359 h 10000"/>
                    <a:gd name="connsiteX11" fmla="*/ 2258 w 10000"/>
                    <a:gd name="connsiteY11" fmla="*/ 1359 h 10000"/>
                    <a:gd name="connsiteX12" fmla="*/ 2258 w 10000"/>
                    <a:gd name="connsiteY12" fmla="*/ 291 h 10000"/>
                    <a:gd name="connsiteX13" fmla="*/ 1290 w 10000"/>
                    <a:gd name="connsiteY13" fmla="*/ 291 h 10000"/>
                    <a:gd name="connsiteX14" fmla="*/ 1290 w 10000"/>
                    <a:gd name="connsiteY14" fmla="*/ 1359 h 10000"/>
                    <a:gd name="connsiteX15" fmla="*/ 969 w 10000"/>
                    <a:gd name="connsiteY15" fmla="*/ 1359 h 10000"/>
                    <a:gd name="connsiteX16" fmla="*/ 0 w 10000"/>
                    <a:gd name="connsiteY16" fmla="*/ 2039 h 10000"/>
                    <a:gd name="connsiteX17" fmla="*/ 0 w 10000"/>
                    <a:gd name="connsiteY17" fmla="*/ 2912 h 10000"/>
                    <a:gd name="connsiteX18" fmla="*/ 3387 w 10000"/>
                    <a:gd name="connsiteY18" fmla="*/ 5146 h 10000"/>
                    <a:gd name="connsiteX19" fmla="*/ 3387 w 10000"/>
                    <a:gd name="connsiteY19" fmla="*/ 8059 h 10000"/>
                    <a:gd name="connsiteX20" fmla="*/ 6613 w 10000"/>
                    <a:gd name="connsiteY20" fmla="*/ 10000 h 10000"/>
                    <a:gd name="connsiteX21" fmla="*/ 10000 w 10000"/>
                    <a:gd name="connsiteY21" fmla="*/ 8059 h 10000"/>
                    <a:gd name="connsiteX0" fmla="*/ 6613 w 10000"/>
                    <a:gd name="connsiteY0" fmla="*/ 9418 h 10000"/>
                    <a:gd name="connsiteX1" fmla="*/ 4355 w 10000"/>
                    <a:gd name="connsiteY1" fmla="*/ 8059 h 10000"/>
                    <a:gd name="connsiteX2" fmla="*/ 4355 w 10000"/>
                    <a:gd name="connsiteY2" fmla="*/ 5146 h 10000"/>
                    <a:gd name="connsiteX3" fmla="*/ 7419 w 10000"/>
                    <a:gd name="connsiteY3" fmla="*/ 2912 h 10000"/>
                    <a:gd name="connsiteX4" fmla="*/ 7419 w 10000"/>
                    <a:gd name="connsiteY4" fmla="*/ 2039 h 10000"/>
                    <a:gd name="connsiteX5" fmla="*/ 6290 w 10000"/>
                    <a:gd name="connsiteY5" fmla="*/ 1359 h 10000"/>
                    <a:gd name="connsiteX6" fmla="*/ 5967 w 10000"/>
                    <a:gd name="connsiteY6" fmla="*/ 1359 h 10000"/>
                    <a:gd name="connsiteX7" fmla="*/ 5967 w 10000"/>
                    <a:gd name="connsiteY7" fmla="*/ 291 h 10000"/>
                    <a:gd name="connsiteX8" fmla="*/ 4839 w 10000"/>
                    <a:gd name="connsiteY8" fmla="*/ 291 h 10000"/>
                    <a:gd name="connsiteX9" fmla="*/ 4839 w 10000"/>
                    <a:gd name="connsiteY9" fmla="*/ 1359 h 10000"/>
                    <a:gd name="connsiteX10" fmla="*/ 2258 w 10000"/>
                    <a:gd name="connsiteY10" fmla="*/ 1359 h 10000"/>
                    <a:gd name="connsiteX11" fmla="*/ 2258 w 10000"/>
                    <a:gd name="connsiteY11" fmla="*/ 291 h 10000"/>
                    <a:gd name="connsiteX12" fmla="*/ 1290 w 10000"/>
                    <a:gd name="connsiteY12" fmla="*/ 291 h 10000"/>
                    <a:gd name="connsiteX13" fmla="*/ 1290 w 10000"/>
                    <a:gd name="connsiteY13" fmla="*/ 1359 h 10000"/>
                    <a:gd name="connsiteX14" fmla="*/ 969 w 10000"/>
                    <a:gd name="connsiteY14" fmla="*/ 1359 h 10000"/>
                    <a:gd name="connsiteX15" fmla="*/ 0 w 10000"/>
                    <a:gd name="connsiteY15" fmla="*/ 2039 h 10000"/>
                    <a:gd name="connsiteX16" fmla="*/ 0 w 10000"/>
                    <a:gd name="connsiteY16" fmla="*/ 2912 h 10000"/>
                    <a:gd name="connsiteX17" fmla="*/ 3387 w 10000"/>
                    <a:gd name="connsiteY17" fmla="*/ 5146 h 10000"/>
                    <a:gd name="connsiteX18" fmla="*/ 3387 w 10000"/>
                    <a:gd name="connsiteY18" fmla="*/ 8059 h 10000"/>
                    <a:gd name="connsiteX19" fmla="*/ 6613 w 10000"/>
                    <a:gd name="connsiteY19" fmla="*/ 10000 h 10000"/>
                    <a:gd name="connsiteX20" fmla="*/ 10000 w 10000"/>
                    <a:gd name="connsiteY20" fmla="*/ 8059 h 10000"/>
                    <a:gd name="connsiteX0" fmla="*/ 6613 w 7419"/>
                    <a:gd name="connsiteY0" fmla="*/ 9418 h 10000"/>
                    <a:gd name="connsiteX1" fmla="*/ 4355 w 7419"/>
                    <a:gd name="connsiteY1" fmla="*/ 8059 h 10000"/>
                    <a:gd name="connsiteX2" fmla="*/ 4355 w 7419"/>
                    <a:gd name="connsiteY2" fmla="*/ 5146 h 10000"/>
                    <a:gd name="connsiteX3" fmla="*/ 7419 w 7419"/>
                    <a:gd name="connsiteY3" fmla="*/ 2912 h 10000"/>
                    <a:gd name="connsiteX4" fmla="*/ 7419 w 7419"/>
                    <a:gd name="connsiteY4" fmla="*/ 2039 h 10000"/>
                    <a:gd name="connsiteX5" fmla="*/ 6290 w 7419"/>
                    <a:gd name="connsiteY5" fmla="*/ 1359 h 10000"/>
                    <a:gd name="connsiteX6" fmla="*/ 5967 w 7419"/>
                    <a:gd name="connsiteY6" fmla="*/ 1359 h 10000"/>
                    <a:gd name="connsiteX7" fmla="*/ 5967 w 7419"/>
                    <a:gd name="connsiteY7" fmla="*/ 291 h 10000"/>
                    <a:gd name="connsiteX8" fmla="*/ 4839 w 7419"/>
                    <a:gd name="connsiteY8" fmla="*/ 291 h 10000"/>
                    <a:gd name="connsiteX9" fmla="*/ 4839 w 7419"/>
                    <a:gd name="connsiteY9" fmla="*/ 1359 h 10000"/>
                    <a:gd name="connsiteX10" fmla="*/ 2258 w 7419"/>
                    <a:gd name="connsiteY10" fmla="*/ 1359 h 10000"/>
                    <a:gd name="connsiteX11" fmla="*/ 2258 w 7419"/>
                    <a:gd name="connsiteY11" fmla="*/ 291 h 10000"/>
                    <a:gd name="connsiteX12" fmla="*/ 1290 w 7419"/>
                    <a:gd name="connsiteY12" fmla="*/ 291 h 10000"/>
                    <a:gd name="connsiteX13" fmla="*/ 1290 w 7419"/>
                    <a:gd name="connsiteY13" fmla="*/ 1359 h 10000"/>
                    <a:gd name="connsiteX14" fmla="*/ 969 w 7419"/>
                    <a:gd name="connsiteY14" fmla="*/ 1359 h 10000"/>
                    <a:gd name="connsiteX15" fmla="*/ 0 w 7419"/>
                    <a:gd name="connsiteY15" fmla="*/ 2039 h 10000"/>
                    <a:gd name="connsiteX16" fmla="*/ 0 w 7419"/>
                    <a:gd name="connsiteY16" fmla="*/ 2912 h 10000"/>
                    <a:gd name="connsiteX17" fmla="*/ 3387 w 7419"/>
                    <a:gd name="connsiteY17" fmla="*/ 5146 h 10000"/>
                    <a:gd name="connsiteX18" fmla="*/ 3387 w 7419"/>
                    <a:gd name="connsiteY18" fmla="*/ 8059 h 10000"/>
                    <a:gd name="connsiteX19" fmla="*/ 6613 w 7419"/>
                    <a:gd name="connsiteY1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419" h="10000">
                      <a:moveTo>
                        <a:pt x="6613" y="9418"/>
                      </a:moveTo>
                      <a:cubicBezTo>
                        <a:pt x="5322" y="9418"/>
                        <a:pt x="4355" y="8835"/>
                        <a:pt x="4355" y="8059"/>
                      </a:cubicBezTo>
                      <a:lnTo>
                        <a:pt x="4355" y="5146"/>
                      </a:lnTo>
                      <a:cubicBezTo>
                        <a:pt x="6130" y="4951"/>
                        <a:pt x="7419" y="3980"/>
                        <a:pt x="7419" y="2912"/>
                      </a:cubicBezTo>
                      <a:lnTo>
                        <a:pt x="7419" y="2039"/>
                      </a:lnTo>
                      <a:cubicBezTo>
                        <a:pt x="7419" y="1650"/>
                        <a:pt x="6936" y="1359"/>
                        <a:pt x="6290" y="1359"/>
                      </a:cubicBezTo>
                      <a:lnTo>
                        <a:pt x="5967" y="1359"/>
                      </a:lnTo>
                      <a:lnTo>
                        <a:pt x="5967" y="291"/>
                      </a:lnTo>
                      <a:cubicBezTo>
                        <a:pt x="5967" y="-97"/>
                        <a:pt x="4839" y="-97"/>
                        <a:pt x="4839" y="291"/>
                      </a:cubicBezTo>
                      <a:lnTo>
                        <a:pt x="4839" y="1359"/>
                      </a:lnTo>
                      <a:lnTo>
                        <a:pt x="2258" y="1359"/>
                      </a:lnTo>
                      <a:lnTo>
                        <a:pt x="2258" y="291"/>
                      </a:lnTo>
                      <a:cubicBezTo>
                        <a:pt x="2258" y="-97"/>
                        <a:pt x="1290" y="-97"/>
                        <a:pt x="1290" y="291"/>
                      </a:cubicBezTo>
                      <a:lnTo>
                        <a:pt x="1290" y="1359"/>
                      </a:lnTo>
                      <a:lnTo>
                        <a:pt x="969" y="1359"/>
                      </a:lnTo>
                      <a:cubicBezTo>
                        <a:pt x="483" y="1359"/>
                        <a:pt x="0" y="1650"/>
                        <a:pt x="0" y="2039"/>
                      </a:cubicBezTo>
                      <a:lnTo>
                        <a:pt x="0" y="2912"/>
                      </a:lnTo>
                      <a:cubicBezTo>
                        <a:pt x="0" y="4077"/>
                        <a:pt x="1452" y="5049"/>
                        <a:pt x="3387" y="5146"/>
                      </a:cubicBezTo>
                      <a:lnTo>
                        <a:pt x="3387" y="8059"/>
                      </a:lnTo>
                      <a:cubicBezTo>
                        <a:pt x="3387" y="9127"/>
                        <a:pt x="4839" y="10000"/>
                        <a:pt x="6613" y="1000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grpSp>
        </p:grpSp>
      </p:grpSp>
      <p:sp>
        <p:nvSpPr>
          <p:cNvPr id="257" name="Ellipse 27">
            <a:extLst>
              <a:ext uri="{FF2B5EF4-FFF2-40B4-BE49-F238E27FC236}">
                <a16:creationId xmlns:a16="http://schemas.microsoft.com/office/drawing/2014/main" id="{2212228C-06B1-4D6F-BAC0-696913EE68D1}"/>
              </a:ext>
            </a:extLst>
          </p:cNvPr>
          <p:cNvSpPr>
            <a:spLocks noChangeAspect="1"/>
          </p:cNvSpPr>
          <p:nvPr/>
        </p:nvSpPr>
        <p:spPr bwMode="gray">
          <a:xfrm>
            <a:off x="4314419" y="5581686"/>
            <a:ext cx="576000" cy="576000"/>
          </a:xfrm>
          <a:prstGeom prst="ellipse">
            <a:avLst/>
          </a:prstGeom>
          <a:solidFill>
            <a:schemeClr val="accent1"/>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258" name="Group 1212">
            <a:extLst>
              <a:ext uri="{FF2B5EF4-FFF2-40B4-BE49-F238E27FC236}">
                <a16:creationId xmlns:a16="http://schemas.microsoft.com/office/drawing/2014/main" id="{5A18A228-3F6A-4853-863C-7D7E6F864E58}"/>
              </a:ext>
            </a:extLst>
          </p:cNvPr>
          <p:cNvGrpSpPr/>
          <p:nvPr/>
        </p:nvGrpSpPr>
        <p:grpSpPr>
          <a:xfrm>
            <a:off x="4393104" y="5670545"/>
            <a:ext cx="418631" cy="398283"/>
            <a:chOff x="6641933" y="3772543"/>
            <a:chExt cx="498008" cy="473802"/>
          </a:xfrm>
        </p:grpSpPr>
        <p:grpSp>
          <p:nvGrpSpPr>
            <p:cNvPr id="259" name="Group 617">
              <a:extLst>
                <a:ext uri="{FF2B5EF4-FFF2-40B4-BE49-F238E27FC236}">
                  <a16:creationId xmlns:a16="http://schemas.microsoft.com/office/drawing/2014/main" id="{5E9713CA-19C0-42F8-8724-3F8DBF87984E}"/>
                </a:ext>
              </a:extLst>
            </p:cNvPr>
            <p:cNvGrpSpPr/>
            <p:nvPr/>
          </p:nvGrpSpPr>
          <p:grpSpPr>
            <a:xfrm>
              <a:off x="6641933" y="3772543"/>
              <a:ext cx="354285" cy="465221"/>
              <a:chOff x="7615463" y="4322679"/>
              <a:chExt cx="407400" cy="534968"/>
            </a:xfrm>
          </p:grpSpPr>
          <p:sp>
            <p:nvSpPr>
              <p:cNvPr id="263" name="Freeform 120">
                <a:extLst>
                  <a:ext uri="{FF2B5EF4-FFF2-40B4-BE49-F238E27FC236}">
                    <a16:creationId xmlns:a16="http://schemas.microsoft.com/office/drawing/2014/main" id="{0F0BF509-429F-4311-88AD-0E35601D69D8}"/>
                  </a:ext>
                </a:extLst>
              </p:cNvPr>
              <p:cNvSpPr>
                <a:spLocks/>
              </p:cNvSpPr>
              <p:nvPr/>
            </p:nvSpPr>
            <p:spPr bwMode="auto">
              <a:xfrm>
                <a:off x="7615463" y="4322679"/>
                <a:ext cx="407400" cy="534968"/>
              </a:xfrm>
              <a:custGeom>
                <a:avLst/>
                <a:gdLst>
                  <a:gd name="T0" fmla="*/ 84 w 84"/>
                  <a:gd name="T1" fmla="*/ 15 h 110"/>
                  <a:gd name="T2" fmla="*/ 84 w 84"/>
                  <a:gd name="T3" fmla="*/ 51 h 110"/>
                  <a:gd name="T4" fmla="*/ 60 w 84"/>
                  <a:gd name="T5" fmla="*/ 100 h 110"/>
                  <a:gd name="T6" fmla="*/ 42 w 84"/>
                  <a:gd name="T7" fmla="*/ 110 h 110"/>
                  <a:gd name="T8" fmla="*/ 24 w 84"/>
                  <a:gd name="T9" fmla="*/ 100 h 110"/>
                  <a:gd name="T10" fmla="*/ 0 w 84"/>
                  <a:gd name="T11" fmla="*/ 51 h 110"/>
                  <a:gd name="T12" fmla="*/ 0 w 84"/>
                  <a:gd name="T13" fmla="*/ 15 h 110"/>
                  <a:gd name="T14" fmla="*/ 42 w 84"/>
                  <a:gd name="T15" fmla="*/ 0 h 110"/>
                  <a:gd name="T16" fmla="*/ 84 w 84"/>
                  <a:gd name="T17" fmla="*/ 1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110">
                    <a:moveTo>
                      <a:pt x="84" y="15"/>
                    </a:moveTo>
                    <a:cubicBezTo>
                      <a:pt x="84" y="51"/>
                      <a:pt x="84" y="51"/>
                      <a:pt x="84" y="51"/>
                    </a:cubicBezTo>
                    <a:cubicBezTo>
                      <a:pt x="84" y="70"/>
                      <a:pt x="75" y="89"/>
                      <a:pt x="60" y="100"/>
                    </a:cubicBezTo>
                    <a:cubicBezTo>
                      <a:pt x="55" y="105"/>
                      <a:pt x="48" y="108"/>
                      <a:pt x="42" y="110"/>
                    </a:cubicBezTo>
                    <a:cubicBezTo>
                      <a:pt x="35" y="108"/>
                      <a:pt x="29" y="105"/>
                      <a:pt x="24" y="100"/>
                    </a:cubicBezTo>
                    <a:cubicBezTo>
                      <a:pt x="9" y="89"/>
                      <a:pt x="0" y="70"/>
                      <a:pt x="0" y="51"/>
                    </a:cubicBezTo>
                    <a:cubicBezTo>
                      <a:pt x="0" y="15"/>
                      <a:pt x="0" y="15"/>
                      <a:pt x="0" y="15"/>
                    </a:cubicBezTo>
                    <a:cubicBezTo>
                      <a:pt x="25" y="14"/>
                      <a:pt x="38" y="4"/>
                      <a:pt x="42" y="0"/>
                    </a:cubicBezTo>
                    <a:cubicBezTo>
                      <a:pt x="46" y="4"/>
                      <a:pt x="59" y="14"/>
                      <a:pt x="84" y="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4" name="Freeform 146">
                <a:extLst>
                  <a:ext uri="{FF2B5EF4-FFF2-40B4-BE49-F238E27FC236}">
                    <a16:creationId xmlns:a16="http://schemas.microsoft.com/office/drawing/2014/main" id="{D5ADDDA8-2258-400D-B965-6798BBB1CEBB}"/>
                  </a:ext>
                </a:extLst>
              </p:cNvPr>
              <p:cNvSpPr>
                <a:spLocks noEditPoints="1"/>
              </p:cNvSpPr>
              <p:nvPr/>
            </p:nvSpPr>
            <p:spPr bwMode="auto">
              <a:xfrm>
                <a:off x="7813586" y="4413132"/>
                <a:ext cx="158970" cy="157577"/>
              </a:xfrm>
              <a:custGeom>
                <a:avLst/>
                <a:gdLst>
                  <a:gd name="T0" fmla="*/ 25 w 62"/>
                  <a:gd name="T1" fmla="*/ 6 h 62"/>
                  <a:gd name="T2" fmla="*/ 19 w 62"/>
                  <a:gd name="T3" fmla="*/ 9 h 62"/>
                  <a:gd name="T4" fmla="*/ 17 w 62"/>
                  <a:gd name="T5" fmla="*/ 7 h 62"/>
                  <a:gd name="T6" fmla="*/ 11 w 62"/>
                  <a:gd name="T7" fmla="*/ 7 h 62"/>
                  <a:gd name="T8" fmla="*/ 8 w 62"/>
                  <a:gd name="T9" fmla="*/ 10 h 62"/>
                  <a:gd name="T10" fmla="*/ 7 w 62"/>
                  <a:gd name="T11" fmla="*/ 16 h 62"/>
                  <a:gd name="T12" fmla="*/ 9 w 62"/>
                  <a:gd name="T13" fmla="*/ 18 h 62"/>
                  <a:gd name="T14" fmla="*/ 7 w 62"/>
                  <a:gd name="T15" fmla="*/ 24 h 62"/>
                  <a:gd name="T16" fmla="*/ 4 w 62"/>
                  <a:gd name="T17" fmla="*/ 24 h 62"/>
                  <a:gd name="T18" fmla="*/ 0 w 62"/>
                  <a:gd name="T19" fmla="*/ 29 h 62"/>
                  <a:gd name="T20" fmla="*/ 0 w 62"/>
                  <a:gd name="T21" fmla="*/ 33 h 62"/>
                  <a:gd name="T22" fmla="*/ 4 w 62"/>
                  <a:gd name="T23" fmla="*/ 37 h 62"/>
                  <a:gd name="T24" fmla="*/ 7 w 62"/>
                  <a:gd name="T25" fmla="*/ 38 h 62"/>
                  <a:gd name="T26" fmla="*/ 9 w 62"/>
                  <a:gd name="T27" fmla="*/ 43 h 62"/>
                  <a:gd name="T28" fmla="*/ 7 w 62"/>
                  <a:gd name="T29" fmla="*/ 45 h 62"/>
                  <a:gd name="T30" fmla="*/ 7 w 62"/>
                  <a:gd name="T31" fmla="*/ 51 h 62"/>
                  <a:gd name="T32" fmla="*/ 10 w 62"/>
                  <a:gd name="T33" fmla="*/ 54 h 62"/>
                  <a:gd name="T34" fmla="*/ 16 w 62"/>
                  <a:gd name="T35" fmla="*/ 55 h 62"/>
                  <a:gd name="T36" fmla="*/ 18 w 62"/>
                  <a:gd name="T37" fmla="*/ 53 h 62"/>
                  <a:gd name="T38" fmla="*/ 24 w 62"/>
                  <a:gd name="T39" fmla="*/ 55 h 62"/>
                  <a:gd name="T40" fmla="*/ 24 w 62"/>
                  <a:gd name="T41" fmla="*/ 58 h 62"/>
                  <a:gd name="T42" fmla="*/ 29 w 62"/>
                  <a:gd name="T43" fmla="*/ 62 h 62"/>
                  <a:gd name="T44" fmla="*/ 33 w 62"/>
                  <a:gd name="T45" fmla="*/ 62 h 62"/>
                  <a:gd name="T46" fmla="*/ 37 w 62"/>
                  <a:gd name="T47" fmla="*/ 58 h 62"/>
                  <a:gd name="T48" fmla="*/ 37 w 62"/>
                  <a:gd name="T49" fmla="*/ 55 h 62"/>
                  <a:gd name="T50" fmla="*/ 44 w 62"/>
                  <a:gd name="T51" fmla="*/ 53 h 62"/>
                  <a:gd name="T52" fmla="*/ 46 w 62"/>
                  <a:gd name="T53" fmla="*/ 55 h 62"/>
                  <a:gd name="T54" fmla="*/ 52 w 62"/>
                  <a:gd name="T55" fmla="*/ 55 h 62"/>
                  <a:gd name="T56" fmla="*/ 55 w 62"/>
                  <a:gd name="T57" fmla="*/ 52 h 62"/>
                  <a:gd name="T58" fmla="*/ 55 w 62"/>
                  <a:gd name="T59" fmla="*/ 46 h 62"/>
                  <a:gd name="T60" fmla="*/ 53 w 62"/>
                  <a:gd name="T61" fmla="*/ 44 h 62"/>
                  <a:gd name="T62" fmla="*/ 56 w 62"/>
                  <a:gd name="T63" fmla="*/ 38 h 62"/>
                  <a:gd name="T64" fmla="*/ 59 w 62"/>
                  <a:gd name="T65" fmla="*/ 37 h 62"/>
                  <a:gd name="T66" fmla="*/ 62 w 62"/>
                  <a:gd name="T67" fmla="*/ 33 h 62"/>
                  <a:gd name="T68" fmla="*/ 62 w 62"/>
                  <a:gd name="T69" fmla="*/ 29 h 62"/>
                  <a:gd name="T70" fmla="*/ 59 w 62"/>
                  <a:gd name="T71" fmla="*/ 25 h 62"/>
                  <a:gd name="T72" fmla="*/ 56 w 62"/>
                  <a:gd name="T73" fmla="*/ 24 h 62"/>
                  <a:gd name="T74" fmla="*/ 54 w 62"/>
                  <a:gd name="T75" fmla="*/ 19 h 62"/>
                  <a:gd name="T76" fmla="*/ 55 w 62"/>
                  <a:gd name="T77" fmla="*/ 16 h 62"/>
                  <a:gd name="T78" fmla="*/ 55 w 62"/>
                  <a:gd name="T79" fmla="*/ 11 h 62"/>
                  <a:gd name="T80" fmla="*/ 52 w 62"/>
                  <a:gd name="T81" fmla="*/ 8 h 62"/>
                  <a:gd name="T82" fmla="*/ 47 w 62"/>
                  <a:gd name="T83" fmla="*/ 7 h 62"/>
                  <a:gd name="T84" fmla="*/ 44 w 62"/>
                  <a:gd name="T85" fmla="*/ 9 h 62"/>
                  <a:gd name="T86" fmla="*/ 38 w 62"/>
                  <a:gd name="T87" fmla="*/ 6 h 62"/>
                  <a:gd name="T88" fmla="*/ 38 w 62"/>
                  <a:gd name="T89" fmla="*/ 4 h 62"/>
                  <a:gd name="T90" fmla="*/ 34 w 62"/>
                  <a:gd name="T91" fmla="*/ 0 h 62"/>
                  <a:gd name="T92" fmla="*/ 30 w 62"/>
                  <a:gd name="T93" fmla="*/ 0 h 62"/>
                  <a:gd name="T94" fmla="*/ 25 w 62"/>
                  <a:gd name="T95" fmla="*/ 0 h 62"/>
                  <a:gd name="T96" fmla="*/ 25 w 62"/>
                  <a:gd name="T97" fmla="*/ 6 h 62"/>
                  <a:gd name="T98" fmla="*/ 32 w 62"/>
                  <a:gd name="T99" fmla="*/ 20 h 62"/>
                  <a:gd name="T100" fmla="*/ 42 w 62"/>
                  <a:gd name="T101" fmla="*/ 33 h 62"/>
                  <a:gd name="T102" fmla="*/ 34 w 62"/>
                  <a:gd name="T103" fmla="*/ 42 h 62"/>
                  <a:gd name="T104" fmla="*/ 20 w 62"/>
                  <a:gd name="T105" fmla="*/ 31 h 62"/>
                  <a:gd name="T106" fmla="*/ 32 w 62"/>
                  <a:gd name="T107"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 h="62">
                    <a:moveTo>
                      <a:pt x="25" y="6"/>
                    </a:moveTo>
                    <a:cubicBezTo>
                      <a:pt x="23" y="7"/>
                      <a:pt x="21" y="8"/>
                      <a:pt x="19" y="9"/>
                    </a:cubicBezTo>
                    <a:cubicBezTo>
                      <a:pt x="17" y="7"/>
                      <a:pt x="17" y="7"/>
                      <a:pt x="17" y="7"/>
                    </a:cubicBezTo>
                    <a:cubicBezTo>
                      <a:pt x="15" y="6"/>
                      <a:pt x="12" y="6"/>
                      <a:pt x="11" y="7"/>
                    </a:cubicBezTo>
                    <a:cubicBezTo>
                      <a:pt x="8" y="10"/>
                      <a:pt x="8" y="10"/>
                      <a:pt x="8" y="10"/>
                    </a:cubicBezTo>
                    <a:cubicBezTo>
                      <a:pt x="6" y="12"/>
                      <a:pt x="6" y="14"/>
                      <a:pt x="7" y="16"/>
                    </a:cubicBezTo>
                    <a:cubicBezTo>
                      <a:pt x="9" y="18"/>
                      <a:pt x="9" y="18"/>
                      <a:pt x="9" y="18"/>
                    </a:cubicBezTo>
                    <a:cubicBezTo>
                      <a:pt x="8" y="20"/>
                      <a:pt x="7" y="22"/>
                      <a:pt x="7" y="24"/>
                    </a:cubicBezTo>
                    <a:cubicBezTo>
                      <a:pt x="4" y="24"/>
                      <a:pt x="4" y="24"/>
                      <a:pt x="4" y="24"/>
                    </a:cubicBezTo>
                    <a:cubicBezTo>
                      <a:pt x="2" y="25"/>
                      <a:pt x="0" y="26"/>
                      <a:pt x="0" y="29"/>
                    </a:cubicBezTo>
                    <a:cubicBezTo>
                      <a:pt x="0" y="33"/>
                      <a:pt x="0" y="33"/>
                      <a:pt x="0" y="33"/>
                    </a:cubicBezTo>
                    <a:cubicBezTo>
                      <a:pt x="0" y="35"/>
                      <a:pt x="2" y="37"/>
                      <a:pt x="4" y="37"/>
                    </a:cubicBezTo>
                    <a:cubicBezTo>
                      <a:pt x="7" y="38"/>
                      <a:pt x="7" y="38"/>
                      <a:pt x="7" y="38"/>
                    </a:cubicBezTo>
                    <a:cubicBezTo>
                      <a:pt x="7" y="39"/>
                      <a:pt x="8" y="41"/>
                      <a:pt x="9" y="43"/>
                    </a:cubicBezTo>
                    <a:cubicBezTo>
                      <a:pt x="7" y="45"/>
                      <a:pt x="7" y="45"/>
                      <a:pt x="7" y="45"/>
                    </a:cubicBezTo>
                    <a:cubicBezTo>
                      <a:pt x="6" y="47"/>
                      <a:pt x="6" y="50"/>
                      <a:pt x="7" y="51"/>
                    </a:cubicBezTo>
                    <a:cubicBezTo>
                      <a:pt x="10" y="54"/>
                      <a:pt x="10" y="54"/>
                      <a:pt x="10" y="54"/>
                    </a:cubicBezTo>
                    <a:cubicBezTo>
                      <a:pt x="12" y="56"/>
                      <a:pt x="14" y="56"/>
                      <a:pt x="16" y="55"/>
                    </a:cubicBezTo>
                    <a:cubicBezTo>
                      <a:pt x="18" y="53"/>
                      <a:pt x="18" y="53"/>
                      <a:pt x="18" y="53"/>
                    </a:cubicBezTo>
                    <a:cubicBezTo>
                      <a:pt x="20" y="54"/>
                      <a:pt x="22" y="54"/>
                      <a:pt x="24" y="55"/>
                    </a:cubicBezTo>
                    <a:cubicBezTo>
                      <a:pt x="24" y="58"/>
                      <a:pt x="24" y="58"/>
                      <a:pt x="24" y="58"/>
                    </a:cubicBezTo>
                    <a:cubicBezTo>
                      <a:pt x="25" y="60"/>
                      <a:pt x="26" y="62"/>
                      <a:pt x="29" y="62"/>
                    </a:cubicBezTo>
                    <a:cubicBezTo>
                      <a:pt x="33" y="62"/>
                      <a:pt x="33" y="62"/>
                      <a:pt x="33" y="62"/>
                    </a:cubicBezTo>
                    <a:cubicBezTo>
                      <a:pt x="35" y="62"/>
                      <a:pt x="37" y="61"/>
                      <a:pt x="37" y="58"/>
                    </a:cubicBezTo>
                    <a:cubicBezTo>
                      <a:pt x="37" y="55"/>
                      <a:pt x="37" y="55"/>
                      <a:pt x="37" y="55"/>
                    </a:cubicBezTo>
                    <a:cubicBezTo>
                      <a:pt x="40" y="55"/>
                      <a:pt x="42" y="54"/>
                      <a:pt x="44" y="53"/>
                    </a:cubicBezTo>
                    <a:cubicBezTo>
                      <a:pt x="46" y="55"/>
                      <a:pt x="46" y="55"/>
                      <a:pt x="46" y="55"/>
                    </a:cubicBezTo>
                    <a:cubicBezTo>
                      <a:pt x="48" y="56"/>
                      <a:pt x="50" y="56"/>
                      <a:pt x="52" y="55"/>
                    </a:cubicBezTo>
                    <a:cubicBezTo>
                      <a:pt x="55" y="52"/>
                      <a:pt x="55" y="52"/>
                      <a:pt x="55" y="52"/>
                    </a:cubicBezTo>
                    <a:cubicBezTo>
                      <a:pt x="56" y="50"/>
                      <a:pt x="56" y="48"/>
                      <a:pt x="55" y="46"/>
                    </a:cubicBezTo>
                    <a:cubicBezTo>
                      <a:pt x="53" y="44"/>
                      <a:pt x="53" y="44"/>
                      <a:pt x="53" y="44"/>
                    </a:cubicBezTo>
                    <a:cubicBezTo>
                      <a:pt x="54" y="42"/>
                      <a:pt x="55" y="40"/>
                      <a:pt x="56" y="38"/>
                    </a:cubicBezTo>
                    <a:cubicBezTo>
                      <a:pt x="59" y="37"/>
                      <a:pt x="59" y="37"/>
                      <a:pt x="59" y="37"/>
                    </a:cubicBezTo>
                    <a:cubicBezTo>
                      <a:pt x="61" y="37"/>
                      <a:pt x="62" y="35"/>
                      <a:pt x="62" y="33"/>
                    </a:cubicBezTo>
                    <a:cubicBezTo>
                      <a:pt x="62" y="29"/>
                      <a:pt x="62" y="29"/>
                      <a:pt x="62" y="29"/>
                    </a:cubicBezTo>
                    <a:cubicBezTo>
                      <a:pt x="62" y="27"/>
                      <a:pt x="61" y="25"/>
                      <a:pt x="59" y="25"/>
                    </a:cubicBezTo>
                    <a:cubicBezTo>
                      <a:pt x="56" y="24"/>
                      <a:pt x="56" y="24"/>
                      <a:pt x="56" y="24"/>
                    </a:cubicBezTo>
                    <a:cubicBezTo>
                      <a:pt x="55" y="22"/>
                      <a:pt x="55" y="20"/>
                      <a:pt x="54" y="19"/>
                    </a:cubicBezTo>
                    <a:cubicBezTo>
                      <a:pt x="55" y="16"/>
                      <a:pt x="55" y="16"/>
                      <a:pt x="55" y="16"/>
                    </a:cubicBezTo>
                    <a:cubicBezTo>
                      <a:pt x="57" y="15"/>
                      <a:pt x="57" y="12"/>
                      <a:pt x="55" y="11"/>
                    </a:cubicBezTo>
                    <a:cubicBezTo>
                      <a:pt x="52" y="8"/>
                      <a:pt x="52" y="8"/>
                      <a:pt x="52" y="8"/>
                    </a:cubicBezTo>
                    <a:cubicBezTo>
                      <a:pt x="51" y="6"/>
                      <a:pt x="48" y="6"/>
                      <a:pt x="47" y="7"/>
                    </a:cubicBezTo>
                    <a:cubicBezTo>
                      <a:pt x="44" y="9"/>
                      <a:pt x="44" y="9"/>
                      <a:pt x="44" y="9"/>
                    </a:cubicBezTo>
                    <a:cubicBezTo>
                      <a:pt x="43" y="8"/>
                      <a:pt x="40" y="7"/>
                      <a:pt x="38" y="6"/>
                    </a:cubicBezTo>
                    <a:cubicBezTo>
                      <a:pt x="38" y="4"/>
                      <a:pt x="38" y="4"/>
                      <a:pt x="38" y="4"/>
                    </a:cubicBezTo>
                    <a:cubicBezTo>
                      <a:pt x="38" y="1"/>
                      <a:pt x="36" y="0"/>
                      <a:pt x="34" y="0"/>
                    </a:cubicBezTo>
                    <a:cubicBezTo>
                      <a:pt x="30" y="0"/>
                      <a:pt x="30" y="0"/>
                      <a:pt x="30" y="0"/>
                    </a:cubicBezTo>
                    <a:cubicBezTo>
                      <a:pt x="30" y="0"/>
                      <a:pt x="28" y="0"/>
                      <a:pt x="25" y="0"/>
                    </a:cubicBezTo>
                    <a:cubicBezTo>
                      <a:pt x="26" y="3"/>
                      <a:pt x="25" y="6"/>
                      <a:pt x="25" y="6"/>
                    </a:cubicBezTo>
                    <a:close/>
                    <a:moveTo>
                      <a:pt x="32" y="20"/>
                    </a:moveTo>
                    <a:cubicBezTo>
                      <a:pt x="38" y="20"/>
                      <a:pt x="44" y="26"/>
                      <a:pt x="42" y="33"/>
                    </a:cubicBezTo>
                    <a:cubicBezTo>
                      <a:pt x="41" y="37"/>
                      <a:pt x="38" y="41"/>
                      <a:pt x="34" y="42"/>
                    </a:cubicBezTo>
                    <a:cubicBezTo>
                      <a:pt x="26" y="43"/>
                      <a:pt x="20" y="37"/>
                      <a:pt x="20" y="31"/>
                    </a:cubicBezTo>
                    <a:cubicBezTo>
                      <a:pt x="20" y="24"/>
                      <a:pt x="25" y="20"/>
                      <a:pt x="32" y="20"/>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5" name="Freeform 147">
                <a:extLst>
                  <a:ext uri="{FF2B5EF4-FFF2-40B4-BE49-F238E27FC236}">
                    <a16:creationId xmlns:a16="http://schemas.microsoft.com/office/drawing/2014/main" id="{B638F57F-A809-4446-8AA0-DAB2AE333416}"/>
                  </a:ext>
                </a:extLst>
              </p:cNvPr>
              <p:cNvSpPr>
                <a:spLocks noEditPoints="1"/>
              </p:cNvSpPr>
              <p:nvPr/>
            </p:nvSpPr>
            <p:spPr bwMode="auto">
              <a:xfrm>
                <a:off x="7665771" y="4534315"/>
                <a:ext cx="232878" cy="232879"/>
              </a:xfrm>
              <a:custGeom>
                <a:avLst/>
                <a:gdLst>
                  <a:gd name="T0" fmla="*/ 36 w 91"/>
                  <a:gd name="T1" fmla="*/ 9 h 91"/>
                  <a:gd name="T2" fmla="*/ 27 w 91"/>
                  <a:gd name="T3" fmla="*/ 13 h 91"/>
                  <a:gd name="T4" fmla="*/ 24 w 91"/>
                  <a:gd name="T5" fmla="*/ 10 h 91"/>
                  <a:gd name="T6" fmla="*/ 16 w 91"/>
                  <a:gd name="T7" fmla="*/ 11 h 91"/>
                  <a:gd name="T8" fmla="*/ 11 w 91"/>
                  <a:gd name="T9" fmla="*/ 15 h 91"/>
                  <a:gd name="T10" fmla="*/ 11 w 91"/>
                  <a:gd name="T11" fmla="*/ 23 h 91"/>
                  <a:gd name="T12" fmla="*/ 13 w 91"/>
                  <a:gd name="T13" fmla="*/ 27 h 91"/>
                  <a:gd name="T14" fmla="*/ 10 w 91"/>
                  <a:gd name="T15" fmla="*/ 35 h 91"/>
                  <a:gd name="T16" fmla="*/ 5 w 91"/>
                  <a:gd name="T17" fmla="*/ 36 h 91"/>
                  <a:gd name="T18" fmla="*/ 0 w 91"/>
                  <a:gd name="T19" fmla="*/ 42 h 91"/>
                  <a:gd name="T20" fmla="*/ 0 w 91"/>
                  <a:gd name="T21" fmla="*/ 48 h 91"/>
                  <a:gd name="T22" fmla="*/ 5 w 91"/>
                  <a:gd name="T23" fmla="*/ 54 h 91"/>
                  <a:gd name="T24" fmla="*/ 10 w 91"/>
                  <a:gd name="T25" fmla="*/ 55 h 91"/>
                  <a:gd name="T26" fmla="*/ 13 w 91"/>
                  <a:gd name="T27" fmla="*/ 63 h 91"/>
                  <a:gd name="T28" fmla="*/ 10 w 91"/>
                  <a:gd name="T29" fmla="*/ 67 h 91"/>
                  <a:gd name="T30" fmla="*/ 10 w 91"/>
                  <a:gd name="T31" fmla="*/ 75 h 91"/>
                  <a:gd name="T32" fmla="*/ 15 w 91"/>
                  <a:gd name="T33" fmla="*/ 79 h 91"/>
                  <a:gd name="T34" fmla="*/ 23 w 91"/>
                  <a:gd name="T35" fmla="*/ 80 h 91"/>
                  <a:gd name="T36" fmla="*/ 27 w 91"/>
                  <a:gd name="T37" fmla="*/ 77 h 91"/>
                  <a:gd name="T38" fmla="*/ 35 w 91"/>
                  <a:gd name="T39" fmla="*/ 81 h 91"/>
                  <a:gd name="T40" fmla="*/ 35 w 91"/>
                  <a:gd name="T41" fmla="*/ 86 h 91"/>
                  <a:gd name="T42" fmla="*/ 42 w 91"/>
                  <a:gd name="T43" fmla="*/ 91 h 91"/>
                  <a:gd name="T44" fmla="*/ 48 w 91"/>
                  <a:gd name="T45" fmla="*/ 91 h 91"/>
                  <a:gd name="T46" fmla="*/ 54 w 91"/>
                  <a:gd name="T47" fmla="*/ 86 h 91"/>
                  <a:gd name="T48" fmla="*/ 55 w 91"/>
                  <a:gd name="T49" fmla="*/ 81 h 91"/>
                  <a:gd name="T50" fmla="*/ 64 w 91"/>
                  <a:gd name="T51" fmla="*/ 78 h 91"/>
                  <a:gd name="T52" fmla="*/ 67 w 91"/>
                  <a:gd name="T53" fmla="*/ 81 h 91"/>
                  <a:gd name="T54" fmla="*/ 75 w 91"/>
                  <a:gd name="T55" fmla="*/ 80 h 91"/>
                  <a:gd name="T56" fmla="*/ 80 w 91"/>
                  <a:gd name="T57" fmla="*/ 76 h 91"/>
                  <a:gd name="T58" fmla="*/ 80 w 91"/>
                  <a:gd name="T59" fmla="*/ 68 h 91"/>
                  <a:gd name="T60" fmla="*/ 78 w 91"/>
                  <a:gd name="T61" fmla="*/ 64 h 91"/>
                  <a:gd name="T62" fmla="*/ 81 w 91"/>
                  <a:gd name="T63" fmla="*/ 55 h 91"/>
                  <a:gd name="T64" fmla="*/ 86 w 91"/>
                  <a:gd name="T65" fmla="*/ 55 h 91"/>
                  <a:gd name="T66" fmla="*/ 91 w 91"/>
                  <a:gd name="T67" fmla="*/ 49 h 91"/>
                  <a:gd name="T68" fmla="*/ 91 w 91"/>
                  <a:gd name="T69" fmla="*/ 43 h 91"/>
                  <a:gd name="T70" fmla="*/ 86 w 91"/>
                  <a:gd name="T71" fmla="*/ 36 h 91"/>
                  <a:gd name="T72" fmla="*/ 82 w 91"/>
                  <a:gd name="T73" fmla="*/ 36 h 91"/>
                  <a:gd name="T74" fmla="*/ 78 w 91"/>
                  <a:gd name="T75" fmla="*/ 27 h 91"/>
                  <a:gd name="T76" fmla="*/ 81 w 91"/>
                  <a:gd name="T77" fmla="*/ 24 h 91"/>
                  <a:gd name="T78" fmla="*/ 81 w 91"/>
                  <a:gd name="T79" fmla="*/ 16 h 91"/>
                  <a:gd name="T80" fmla="*/ 76 w 91"/>
                  <a:gd name="T81" fmla="*/ 11 h 91"/>
                  <a:gd name="T82" fmla="*/ 68 w 91"/>
                  <a:gd name="T83" fmla="*/ 11 h 91"/>
                  <a:gd name="T84" fmla="*/ 65 w 91"/>
                  <a:gd name="T85" fmla="*/ 13 h 91"/>
                  <a:gd name="T86" fmla="*/ 56 w 91"/>
                  <a:gd name="T87" fmla="*/ 9 h 91"/>
                  <a:gd name="T88" fmla="*/ 55 w 91"/>
                  <a:gd name="T89" fmla="*/ 5 h 91"/>
                  <a:gd name="T90" fmla="*/ 49 w 91"/>
                  <a:gd name="T91" fmla="*/ 0 h 91"/>
                  <a:gd name="T92" fmla="*/ 43 w 91"/>
                  <a:gd name="T93" fmla="*/ 0 h 91"/>
                  <a:gd name="T94" fmla="*/ 37 w 91"/>
                  <a:gd name="T95" fmla="*/ 0 h 91"/>
                  <a:gd name="T96" fmla="*/ 36 w 91"/>
                  <a:gd name="T97" fmla="*/ 9 h 91"/>
                  <a:gd name="T98" fmla="*/ 46 w 91"/>
                  <a:gd name="T99" fmla="*/ 29 h 91"/>
                  <a:gd name="T100" fmla="*/ 62 w 91"/>
                  <a:gd name="T101" fmla="*/ 48 h 91"/>
                  <a:gd name="T102" fmla="*/ 49 w 91"/>
                  <a:gd name="T103" fmla="*/ 61 h 91"/>
                  <a:gd name="T104" fmla="*/ 29 w 91"/>
                  <a:gd name="T105" fmla="*/ 45 h 91"/>
                  <a:gd name="T106" fmla="*/ 46 w 91"/>
                  <a:gd name="T107" fmla="*/ 2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 h="91">
                    <a:moveTo>
                      <a:pt x="36" y="9"/>
                    </a:moveTo>
                    <a:cubicBezTo>
                      <a:pt x="33" y="10"/>
                      <a:pt x="30" y="11"/>
                      <a:pt x="27" y="13"/>
                    </a:cubicBezTo>
                    <a:cubicBezTo>
                      <a:pt x="24" y="10"/>
                      <a:pt x="24" y="10"/>
                      <a:pt x="24" y="10"/>
                    </a:cubicBezTo>
                    <a:cubicBezTo>
                      <a:pt x="21" y="8"/>
                      <a:pt x="18" y="8"/>
                      <a:pt x="16" y="11"/>
                    </a:cubicBezTo>
                    <a:cubicBezTo>
                      <a:pt x="11" y="15"/>
                      <a:pt x="11" y="15"/>
                      <a:pt x="11" y="15"/>
                    </a:cubicBezTo>
                    <a:cubicBezTo>
                      <a:pt x="9" y="17"/>
                      <a:pt x="9" y="21"/>
                      <a:pt x="11" y="23"/>
                    </a:cubicBezTo>
                    <a:cubicBezTo>
                      <a:pt x="13" y="27"/>
                      <a:pt x="13" y="27"/>
                      <a:pt x="13" y="27"/>
                    </a:cubicBezTo>
                    <a:cubicBezTo>
                      <a:pt x="12" y="29"/>
                      <a:pt x="10" y="32"/>
                      <a:pt x="10" y="35"/>
                    </a:cubicBezTo>
                    <a:cubicBezTo>
                      <a:pt x="5" y="36"/>
                      <a:pt x="5" y="36"/>
                      <a:pt x="5" y="36"/>
                    </a:cubicBezTo>
                    <a:cubicBezTo>
                      <a:pt x="2" y="36"/>
                      <a:pt x="0" y="39"/>
                      <a:pt x="0" y="42"/>
                    </a:cubicBezTo>
                    <a:cubicBezTo>
                      <a:pt x="0" y="48"/>
                      <a:pt x="0" y="48"/>
                      <a:pt x="0" y="48"/>
                    </a:cubicBezTo>
                    <a:cubicBezTo>
                      <a:pt x="0" y="51"/>
                      <a:pt x="2" y="54"/>
                      <a:pt x="5" y="54"/>
                    </a:cubicBezTo>
                    <a:cubicBezTo>
                      <a:pt x="10" y="55"/>
                      <a:pt x="10" y="55"/>
                      <a:pt x="10" y="55"/>
                    </a:cubicBezTo>
                    <a:cubicBezTo>
                      <a:pt x="10" y="58"/>
                      <a:pt x="12" y="61"/>
                      <a:pt x="13" y="63"/>
                    </a:cubicBezTo>
                    <a:cubicBezTo>
                      <a:pt x="10" y="67"/>
                      <a:pt x="10" y="67"/>
                      <a:pt x="10" y="67"/>
                    </a:cubicBezTo>
                    <a:cubicBezTo>
                      <a:pt x="8" y="69"/>
                      <a:pt x="8" y="73"/>
                      <a:pt x="10" y="75"/>
                    </a:cubicBezTo>
                    <a:cubicBezTo>
                      <a:pt x="15" y="79"/>
                      <a:pt x="15" y="79"/>
                      <a:pt x="15" y="79"/>
                    </a:cubicBezTo>
                    <a:cubicBezTo>
                      <a:pt x="17" y="82"/>
                      <a:pt x="20" y="82"/>
                      <a:pt x="23" y="80"/>
                    </a:cubicBezTo>
                    <a:cubicBezTo>
                      <a:pt x="27" y="77"/>
                      <a:pt x="27" y="77"/>
                      <a:pt x="27" y="77"/>
                    </a:cubicBezTo>
                    <a:cubicBezTo>
                      <a:pt x="29" y="79"/>
                      <a:pt x="32" y="80"/>
                      <a:pt x="35" y="81"/>
                    </a:cubicBezTo>
                    <a:cubicBezTo>
                      <a:pt x="35" y="86"/>
                      <a:pt x="35" y="86"/>
                      <a:pt x="35" y="86"/>
                    </a:cubicBezTo>
                    <a:cubicBezTo>
                      <a:pt x="36" y="89"/>
                      <a:pt x="38" y="91"/>
                      <a:pt x="42" y="91"/>
                    </a:cubicBezTo>
                    <a:cubicBezTo>
                      <a:pt x="48" y="91"/>
                      <a:pt x="48" y="91"/>
                      <a:pt x="48" y="91"/>
                    </a:cubicBezTo>
                    <a:cubicBezTo>
                      <a:pt x="51" y="91"/>
                      <a:pt x="54" y="89"/>
                      <a:pt x="54" y="86"/>
                    </a:cubicBezTo>
                    <a:cubicBezTo>
                      <a:pt x="55" y="81"/>
                      <a:pt x="55" y="81"/>
                      <a:pt x="55" y="81"/>
                    </a:cubicBezTo>
                    <a:cubicBezTo>
                      <a:pt x="58" y="80"/>
                      <a:pt x="61" y="79"/>
                      <a:pt x="64" y="78"/>
                    </a:cubicBezTo>
                    <a:cubicBezTo>
                      <a:pt x="67" y="81"/>
                      <a:pt x="67" y="81"/>
                      <a:pt x="67" y="81"/>
                    </a:cubicBezTo>
                    <a:cubicBezTo>
                      <a:pt x="70" y="83"/>
                      <a:pt x="73" y="82"/>
                      <a:pt x="75" y="80"/>
                    </a:cubicBezTo>
                    <a:cubicBezTo>
                      <a:pt x="80" y="76"/>
                      <a:pt x="80" y="76"/>
                      <a:pt x="80" y="76"/>
                    </a:cubicBezTo>
                    <a:cubicBezTo>
                      <a:pt x="82" y="74"/>
                      <a:pt x="82" y="70"/>
                      <a:pt x="80" y="68"/>
                    </a:cubicBezTo>
                    <a:cubicBezTo>
                      <a:pt x="78" y="64"/>
                      <a:pt x="78" y="64"/>
                      <a:pt x="78" y="64"/>
                    </a:cubicBezTo>
                    <a:cubicBezTo>
                      <a:pt x="79" y="61"/>
                      <a:pt x="81" y="58"/>
                      <a:pt x="81" y="55"/>
                    </a:cubicBezTo>
                    <a:cubicBezTo>
                      <a:pt x="86" y="55"/>
                      <a:pt x="86" y="55"/>
                      <a:pt x="86" y="55"/>
                    </a:cubicBezTo>
                    <a:cubicBezTo>
                      <a:pt x="89" y="55"/>
                      <a:pt x="91" y="52"/>
                      <a:pt x="91" y="49"/>
                    </a:cubicBezTo>
                    <a:cubicBezTo>
                      <a:pt x="91" y="43"/>
                      <a:pt x="91" y="43"/>
                      <a:pt x="91" y="43"/>
                    </a:cubicBezTo>
                    <a:cubicBezTo>
                      <a:pt x="91" y="39"/>
                      <a:pt x="89" y="37"/>
                      <a:pt x="86" y="36"/>
                    </a:cubicBezTo>
                    <a:cubicBezTo>
                      <a:pt x="82" y="36"/>
                      <a:pt x="82" y="36"/>
                      <a:pt x="82" y="36"/>
                    </a:cubicBezTo>
                    <a:cubicBezTo>
                      <a:pt x="81" y="33"/>
                      <a:pt x="80" y="30"/>
                      <a:pt x="78" y="27"/>
                    </a:cubicBezTo>
                    <a:cubicBezTo>
                      <a:pt x="81" y="24"/>
                      <a:pt x="81" y="24"/>
                      <a:pt x="81" y="24"/>
                    </a:cubicBezTo>
                    <a:cubicBezTo>
                      <a:pt x="83" y="22"/>
                      <a:pt x="83" y="18"/>
                      <a:pt x="81" y="16"/>
                    </a:cubicBezTo>
                    <a:cubicBezTo>
                      <a:pt x="76" y="11"/>
                      <a:pt x="76" y="11"/>
                      <a:pt x="76" y="11"/>
                    </a:cubicBezTo>
                    <a:cubicBezTo>
                      <a:pt x="74" y="9"/>
                      <a:pt x="70" y="9"/>
                      <a:pt x="68" y="11"/>
                    </a:cubicBezTo>
                    <a:cubicBezTo>
                      <a:pt x="65" y="13"/>
                      <a:pt x="65" y="13"/>
                      <a:pt x="65" y="13"/>
                    </a:cubicBezTo>
                    <a:cubicBezTo>
                      <a:pt x="62" y="11"/>
                      <a:pt x="59" y="10"/>
                      <a:pt x="56" y="9"/>
                    </a:cubicBezTo>
                    <a:cubicBezTo>
                      <a:pt x="55" y="5"/>
                      <a:pt x="55" y="5"/>
                      <a:pt x="55" y="5"/>
                    </a:cubicBezTo>
                    <a:cubicBezTo>
                      <a:pt x="55" y="2"/>
                      <a:pt x="52" y="0"/>
                      <a:pt x="49" y="0"/>
                    </a:cubicBezTo>
                    <a:cubicBezTo>
                      <a:pt x="43" y="0"/>
                      <a:pt x="43" y="0"/>
                      <a:pt x="43" y="0"/>
                    </a:cubicBezTo>
                    <a:cubicBezTo>
                      <a:pt x="43" y="0"/>
                      <a:pt x="41" y="0"/>
                      <a:pt x="37" y="0"/>
                    </a:cubicBezTo>
                    <a:cubicBezTo>
                      <a:pt x="38" y="5"/>
                      <a:pt x="36" y="9"/>
                      <a:pt x="36" y="9"/>
                    </a:cubicBezTo>
                    <a:close/>
                    <a:moveTo>
                      <a:pt x="46" y="29"/>
                    </a:moveTo>
                    <a:cubicBezTo>
                      <a:pt x="56" y="29"/>
                      <a:pt x="64" y="38"/>
                      <a:pt x="62" y="48"/>
                    </a:cubicBezTo>
                    <a:cubicBezTo>
                      <a:pt x="60" y="55"/>
                      <a:pt x="55" y="60"/>
                      <a:pt x="49" y="61"/>
                    </a:cubicBezTo>
                    <a:cubicBezTo>
                      <a:pt x="38" y="63"/>
                      <a:pt x="29" y="55"/>
                      <a:pt x="29" y="45"/>
                    </a:cubicBezTo>
                    <a:cubicBezTo>
                      <a:pt x="29" y="36"/>
                      <a:pt x="37" y="29"/>
                      <a:pt x="46" y="29"/>
                    </a:cubicBezTo>
                  </a:path>
                </a:pathLst>
              </a:custGeom>
              <a:solidFill>
                <a:srgbClr val="0070A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60" name="Isosceles Triangle 460">
              <a:extLst>
                <a:ext uri="{FF2B5EF4-FFF2-40B4-BE49-F238E27FC236}">
                  <a16:creationId xmlns:a16="http://schemas.microsoft.com/office/drawing/2014/main" id="{6027B9A2-466A-4EF1-9864-764433CA3850}"/>
                </a:ext>
              </a:extLst>
            </p:cNvPr>
            <p:cNvSpPr/>
            <p:nvPr/>
          </p:nvSpPr>
          <p:spPr>
            <a:xfrm>
              <a:off x="6872069" y="4028711"/>
              <a:ext cx="267872" cy="217634"/>
            </a:xfrm>
            <a:prstGeom prst="triangle">
              <a:avLst/>
            </a:prstGeom>
            <a:solidFill>
              <a:schemeClr val="bg1"/>
            </a:solidFill>
            <a:ln w="9525">
              <a:solidFill>
                <a:srgbClr val="0070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sp>
          <p:nvSpPr>
            <p:cNvPr id="261" name="Freeform 112">
              <a:extLst>
                <a:ext uri="{FF2B5EF4-FFF2-40B4-BE49-F238E27FC236}">
                  <a16:creationId xmlns:a16="http://schemas.microsoft.com/office/drawing/2014/main" id="{C14CA288-A657-4400-8EC6-D41F33B7800D}"/>
                </a:ext>
              </a:extLst>
            </p:cNvPr>
            <p:cNvSpPr>
              <a:spLocks/>
            </p:cNvSpPr>
            <p:nvPr/>
          </p:nvSpPr>
          <p:spPr bwMode="auto">
            <a:xfrm>
              <a:off x="6990967" y="4081539"/>
              <a:ext cx="30087" cy="98511"/>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62" name="Freeform 113">
              <a:extLst>
                <a:ext uri="{FF2B5EF4-FFF2-40B4-BE49-F238E27FC236}">
                  <a16:creationId xmlns:a16="http://schemas.microsoft.com/office/drawing/2014/main" id="{53766838-5639-4355-AB1C-A2539EE7537F}"/>
                </a:ext>
              </a:extLst>
            </p:cNvPr>
            <p:cNvSpPr>
              <a:spLocks/>
            </p:cNvSpPr>
            <p:nvPr/>
          </p:nvSpPr>
          <p:spPr bwMode="auto">
            <a:xfrm>
              <a:off x="6985144" y="4185874"/>
              <a:ext cx="41734" cy="37851"/>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6" name="Groupe 15">
            <a:extLst>
              <a:ext uri="{FF2B5EF4-FFF2-40B4-BE49-F238E27FC236}">
                <a16:creationId xmlns:a16="http://schemas.microsoft.com/office/drawing/2014/main" id="{5D56C693-0B0E-49D1-95C2-B0A79D8E4C04}"/>
              </a:ext>
            </a:extLst>
          </p:cNvPr>
          <p:cNvGrpSpPr/>
          <p:nvPr/>
        </p:nvGrpSpPr>
        <p:grpSpPr>
          <a:xfrm>
            <a:off x="4314419" y="4628699"/>
            <a:ext cx="3642088" cy="738664"/>
            <a:chOff x="4314419" y="3789390"/>
            <a:chExt cx="3642088" cy="738664"/>
          </a:xfrm>
        </p:grpSpPr>
        <p:grpSp>
          <p:nvGrpSpPr>
            <p:cNvPr id="15" name="Groupe 14">
              <a:extLst>
                <a:ext uri="{FF2B5EF4-FFF2-40B4-BE49-F238E27FC236}">
                  <a16:creationId xmlns:a16="http://schemas.microsoft.com/office/drawing/2014/main" id="{F0604E9C-912C-48A3-99CC-8E55ECE2BDFB}"/>
                </a:ext>
              </a:extLst>
            </p:cNvPr>
            <p:cNvGrpSpPr/>
            <p:nvPr/>
          </p:nvGrpSpPr>
          <p:grpSpPr>
            <a:xfrm>
              <a:off x="4314419" y="3887854"/>
              <a:ext cx="576000" cy="576000"/>
              <a:chOff x="4314419" y="3887854"/>
              <a:chExt cx="576000" cy="576000"/>
            </a:xfrm>
          </p:grpSpPr>
          <p:sp>
            <p:nvSpPr>
              <p:cNvPr id="267" name="Ellipse 27">
                <a:extLst>
                  <a:ext uri="{FF2B5EF4-FFF2-40B4-BE49-F238E27FC236}">
                    <a16:creationId xmlns:a16="http://schemas.microsoft.com/office/drawing/2014/main" id="{BFB177FB-7B93-48A7-A12F-4B3C897567AD}"/>
                  </a:ext>
                </a:extLst>
              </p:cNvPr>
              <p:cNvSpPr>
                <a:spLocks noChangeAspect="1"/>
              </p:cNvSpPr>
              <p:nvPr/>
            </p:nvSpPr>
            <p:spPr bwMode="gray">
              <a:xfrm>
                <a:off x="4314419" y="3887854"/>
                <a:ext cx="576000" cy="576000"/>
              </a:xfrm>
              <a:prstGeom prst="ellipse">
                <a:avLst/>
              </a:prstGeom>
              <a:solidFill>
                <a:schemeClr val="accent1"/>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268" name="Group 10">
                <a:extLst>
                  <a:ext uri="{FF2B5EF4-FFF2-40B4-BE49-F238E27FC236}">
                    <a16:creationId xmlns:a16="http://schemas.microsoft.com/office/drawing/2014/main" id="{717FBCA1-C42F-4607-A46E-6551300921DE}"/>
                  </a:ext>
                </a:extLst>
              </p:cNvPr>
              <p:cNvGrpSpPr/>
              <p:nvPr/>
            </p:nvGrpSpPr>
            <p:grpSpPr>
              <a:xfrm>
                <a:off x="4392532" y="4001198"/>
                <a:ext cx="419774" cy="349313"/>
                <a:chOff x="6361325" y="2323235"/>
                <a:chExt cx="593237" cy="493660"/>
              </a:xfrm>
            </p:grpSpPr>
            <p:grpSp>
              <p:nvGrpSpPr>
                <p:cNvPr id="269" name="Group 200">
                  <a:extLst>
                    <a:ext uri="{FF2B5EF4-FFF2-40B4-BE49-F238E27FC236}">
                      <a16:creationId xmlns:a16="http://schemas.microsoft.com/office/drawing/2014/main" id="{DEFB5C4C-1E1C-4F85-8B46-3334036E5930}"/>
                    </a:ext>
                  </a:extLst>
                </p:cNvPr>
                <p:cNvGrpSpPr/>
                <p:nvPr/>
              </p:nvGrpSpPr>
              <p:grpSpPr>
                <a:xfrm>
                  <a:off x="6361325" y="2323235"/>
                  <a:ext cx="502197" cy="493660"/>
                  <a:chOff x="536676" y="4374462"/>
                  <a:chExt cx="515819" cy="507050"/>
                </a:xfrm>
              </p:grpSpPr>
              <p:sp>
                <p:nvSpPr>
                  <p:cNvPr id="273" name="Freeform 79">
                    <a:extLst>
                      <a:ext uri="{FF2B5EF4-FFF2-40B4-BE49-F238E27FC236}">
                        <a16:creationId xmlns:a16="http://schemas.microsoft.com/office/drawing/2014/main" id="{3AD6FA3F-4A1E-4D00-AF3D-FA9065227E99}"/>
                      </a:ext>
                    </a:extLst>
                  </p:cNvPr>
                  <p:cNvSpPr>
                    <a:spLocks/>
                  </p:cNvSpPr>
                  <p:nvPr/>
                </p:nvSpPr>
                <p:spPr bwMode="auto">
                  <a:xfrm>
                    <a:off x="551004" y="4381112"/>
                    <a:ext cx="501491" cy="5004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74" name="Freeform 80">
                    <a:extLst>
                      <a:ext uri="{FF2B5EF4-FFF2-40B4-BE49-F238E27FC236}">
                        <a16:creationId xmlns:a16="http://schemas.microsoft.com/office/drawing/2014/main" id="{053E5684-A089-4E62-8FC4-C40DC3C94D64}"/>
                      </a:ext>
                    </a:extLst>
                  </p:cNvPr>
                  <p:cNvSpPr>
                    <a:spLocks/>
                  </p:cNvSpPr>
                  <p:nvPr/>
                </p:nvSpPr>
                <p:spPr bwMode="auto">
                  <a:xfrm>
                    <a:off x="667395" y="4374462"/>
                    <a:ext cx="137946" cy="48856"/>
                  </a:xfrm>
                  <a:custGeom>
                    <a:avLst/>
                    <a:gdLst>
                      <a:gd name="T0" fmla="*/ 79 w 79"/>
                      <a:gd name="T1" fmla="*/ 3 h 28"/>
                      <a:gd name="T2" fmla="*/ 50 w 79"/>
                      <a:gd name="T3" fmla="*/ 17 h 28"/>
                      <a:gd name="T4" fmla="*/ 0 w 79"/>
                      <a:gd name="T5" fmla="*/ 22 h 28"/>
                      <a:gd name="T6" fmla="*/ 79 w 79"/>
                      <a:gd name="T7" fmla="*/ 3 h 28"/>
                    </a:gdLst>
                    <a:ahLst/>
                    <a:cxnLst>
                      <a:cxn ang="0">
                        <a:pos x="T0" y="T1"/>
                      </a:cxn>
                      <a:cxn ang="0">
                        <a:pos x="T2" y="T3"/>
                      </a:cxn>
                      <a:cxn ang="0">
                        <a:pos x="T4" y="T5"/>
                      </a:cxn>
                      <a:cxn ang="0">
                        <a:pos x="T6" y="T7"/>
                      </a:cxn>
                    </a:cxnLst>
                    <a:rect l="0" t="0" r="r" b="b"/>
                    <a:pathLst>
                      <a:path w="79" h="28">
                        <a:moveTo>
                          <a:pt x="79" y="3"/>
                        </a:moveTo>
                        <a:cubicBezTo>
                          <a:pt x="72" y="10"/>
                          <a:pt x="61" y="15"/>
                          <a:pt x="50" y="17"/>
                        </a:cubicBezTo>
                        <a:cubicBezTo>
                          <a:pt x="34" y="21"/>
                          <a:pt x="20" y="28"/>
                          <a:pt x="0" y="22"/>
                        </a:cubicBezTo>
                        <a:cubicBezTo>
                          <a:pt x="20" y="10"/>
                          <a:pt x="37" y="0"/>
                          <a:pt x="79" y="3"/>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75" name="Freeform 81">
                    <a:extLst>
                      <a:ext uri="{FF2B5EF4-FFF2-40B4-BE49-F238E27FC236}">
                        <a16:creationId xmlns:a16="http://schemas.microsoft.com/office/drawing/2014/main" id="{ACC13F2E-CE91-42C9-A22F-620CF2C84FFD}"/>
                      </a:ext>
                    </a:extLst>
                  </p:cNvPr>
                  <p:cNvSpPr>
                    <a:spLocks/>
                  </p:cNvSpPr>
                  <p:nvPr/>
                </p:nvSpPr>
                <p:spPr bwMode="auto">
                  <a:xfrm>
                    <a:off x="755049" y="4408414"/>
                    <a:ext cx="251464" cy="389410"/>
                  </a:xfrm>
                  <a:custGeom>
                    <a:avLst/>
                    <a:gdLst>
                      <a:gd name="T0" fmla="*/ 133 w 145"/>
                      <a:gd name="T1" fmla="*/ 144 h 222"/>
                      <a:gd name="T2" fmla="*/ 136 w 145"/>
                      <a:gd name="T3" fmla="*/ 165 h 222"/>
                      <a:gd name="T4" fmla="*/ 80 w 145"/>
                      <a:gd name="T5" fmla="*/ 222 h 222"/>
                      <a:gd name="T6" fmla="*/ 68 w 145"/>
                      <a:gd name="T7" fmla="*/ 200 h 222"/>
                      <a:gd name="T8" fmla="*/ 54 w 145"/>
                      <a:gd name="T9" fmla="*/ 163 h 222"/>
                      <a:gd name="T10" fmla="*/ 62 w 145"/>
                      <a:gd name="T11" fmla="*/ 142 h 222"/>
                      <a:gd name="T12" fmla="*/ 96 w 145"/>
                      <a:gd name="T13" fmla="*/ 132 h 222"/>
                      <a:gd name="T14" fmla="*/ 93 w 145"/>
                      <a:gd name="T15" fmla="*/ 110 h 222"/>
                      <a:gd name="T16" fmla="*/ 88 w 145"/>
                      <a:gd name="T17" fmla="*/ 103 h 222"/>
                      <a:gd name="T18" fmla="*/ 91 w 145"/>
                      <a:gd name="T19" fmla="*/ 96 h 222"/>
                      <a:gd name="T20" fmla="*/ 71 w 145"/>
                      <a:gd name="T21" fmla="*/ 67 h 222"/>
                      <a:gd name="T22" fmla="*/ 45 w 145"/>
                      <a:gd name="T23" fmla="*/ 78 h 222"/>
                      <a:gd name="T24" fmla="*/ 15 w 145"/>
                      <a:gd name="T25" fmla="*/ 66 h 222"/>
                      <a:gd name="T26" fmla="*/ 9 w 145"/>
                      <a:gd name="T27" fmla="*/ 61 h 222"/>
                      <a:gd name="T28" fmla="*/ 0 w 145"/>
                      <a:gd name="T29" fmla="*/ 69 h 222"/>
                      <a:gd name="T30" fmla="*/ 15 w 145"/>
                      <a:gd name="T31" fmla="*/ 30 h 222"/>
                      <a:gd name="T32" fmla="*/ 49 w 145"/>
                      <a:gd name="T33" fmla="*/ 7 h 222"/>
                      <a:gd name="T34" fmla="*/ 69 w 145"/>
                      <a:gd name="T35" fmla="*/ 1 h 222"/>
                      <a:gd name="T36" fmla="*/ 93 w 145"/>
                      <a:gd name="T37" fmla="*/ 13 h 222"/>
                      <a:gd name="T38" fmla="*/ 127 w 145"/>
                      <a:gd name="T39" fmla="*/ 50 h 222"/>
                      <a:gd name="T40" fmla="*/ 134 w 145"/>
                      <a:gd name="T41" fmla="*/ 87 h 222"/>
                      <a:gd name="T42" fmla="*/ 114 w 145"/>
                      <a:gd name="T43" fmla="*/ 98 h 222"/>
                      <a:gd name="T44" fmla="*/ 111 w 145"/>
                      <a:gd name="T45" fmla="*/ 126 h 222"/>
                      <a:gd name="T46" fmla="*/ 133 w 145"/>
                      <a:gd name="T47" fmla="*/ 14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5" h="222">
                        <a:moveTo>
                          <a:pt x="133" y="144"/>
                        </a:moveTo>
                        <a:cubicBezTo>
                          <a:pt x="134" y="152"/>
                          <a:pt x="132" y="159"/>
                          <a:pt x="136" y="165"/>
                        </a:cubicBezTo>
                        <a:cubicBezTo>
                          <a:pt x="122" y="189"/>
                          <a:pt x="98" y="202"/>
                          <a:pt x="80" y="222"/>
                        </a:cubicBezTo>
                        <a:cubicBezTo>
                          <a:pt x="73" y="217"/>
                          <a:pt x="72" y="210"/>
                          <a:pt x="68" y="200"/>
                        </a:cubicBezTo>
                        <a:cubicBezTo>
                          <a:pt x="64" y="188"/>
                          <a:pt x="49" y="179"/>
                          <a:pt x="54" y="163"/>
                        </a:cubicBezTo>
                        <a:cubicBezTo>
                          <a:pt x="67" y="160"/>
                          <a:pt x="71" y="152"/>
                          <a:pt x="62" y="142"/>
                        </a:cubicBezTo>
                        <a:cubicBezTo>
                          <a:pt x="70" y="135"/>
                          <a:pt x="83" y="127"/>
                          <a:pt x="96" y="132"/>
                        </a:cubicBezTo>
                        <a:cubicBezTo>
                          <a:pt x="103" y="125"/>
                          <a:pt x="97" y="115"/>
                          <a:pt x="93" y="110"/>
                        </a:cubicBezTo>
                        <a:cubicBezTo>
                          <a:pt x="93" y="108"/>
                          <a:pt x="88" y="104"/>
                          <a:pt x="88" y="103"/>
                        </a:cubicBezTo>
                        <a:cubicBezTo>
                          <a:pt x="88" y="102"/>
                          <a:pt x="91" y="99"/>
                          <a:pt x="91" y="96"/>
                        </a:cubicBezTo>
                        <a:cubicBezTo>
                          <a:pt x="91" y="90"/>
                          <a:pt x="77" y="67"/>
                          <a:pt x="71" y="67"/>
                        </a:cubicBezTo>
                        <a:cubicBezTo>
                          <a:pt x="62" y="66"/>
                          <a:pt x="55" y="78"/>
                          <a:pt x="45" y="78"/>
                        </a:cubicBezTo>
                        <a:cubicBezTo>
                          <a:pt x="33" y="77"/>
                          <a:pt x="29" y="59"/>
                          <a:pt x="15" y="66"/>
                        </a:cubicBezTo>
                        <a:cubicBezTo>
                          <a:pt x="11" y="66"/>
                          <a:pt x="12" y="61"/>
                          <a:pt x="9" y="61"/>
                        </a:cubicBezTo>
                        <a:cubicBezTo>
                          <a:pt x="4" y="61"/>
                          <a:pt x="2" y="69"/>
                          <a:pt x="0" y="69"/>
                        </a:cubicBezTo>
                        <a:cubicBezTo>
                          <a:pt x="2" y="52"/>
                          <a:pt x="15" y="47"/>
                          <a:pt x="15" y="30"/>
                        </a:cubicBezTo>
                        <a:cubicBezTo>
                          <a:pt x="26" y="22"/>
                          <a:pt x="46" y="23"/>
                          <a:pt x="49" y="7"/>
                        </a:cubicBezTo>
                        <a:cubicBezTo>
                          <a:pt x="55" y="5"/>
                          <a:pt x="62" y="0"/>
                          <a:pt x="69" y="1"/>
                        </a:cubicBezTo>
                        <a:cubicBezTo>
                          <a:pt x="77" y="1"/>
                          <a:pt x="87" y="8"/>
                          <a:pt x="93" y="13"/>
                        </a:cubicBezTo>
                        <a:cubicBezTo>
                          <a:pt x="108" y="24"/>
                          <a:pt x="117" y="33"/>
                          <a:pt x="127" y="50"/>
                        </a:cubicBezTo>
                        <a:cubicBezTo>
                          <a:pt x="134" y="61"/>
                          <a:pt x="145" y="77"/>
                          <a:pt x="134" y="87"/>
                        </a:cubicBezTo>
                        <a:cubicBezTo>
                          <a:pt x="127" y="93"/>
                          <a:pt x="118" y="90"/>
                          <a:pt x="114" y="98"/>
                        </a:cubicBezTo>
                        <a:cubicBezTo>
                          <a:pt x="111" y="104"/>
                          <a:pt x="109" y="120"/>
                          <a:pt x="111" y="126"/>
                        </a:cubicBezTo>
                        <a:cubicBezTo>
                          <a:pt x="113" y="136"/>
                          <a:pt x="128" y="138"/>
                          <a:pt x="133" y="144"/>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76" name="Freeform 82">
                    <a:extLst>
                      <a:ext uri="{FF2B5EF4-FFF2-40B4-BE49-F238E27FC236}">
                        <a16:creationId xmlns:a16="http://schemas.microsoft.com/office/drawing/2014/main" id="{39A29062-6EDD-43B0-8190-2CB71E374F65}"/>
                      </a:ext>
                    </a:extLst>
                  </p:cNvPr>
                  <p:cNvSpPr>
                    <a:spLocks/>
                  </p:cNvSpPr>
                  <p:nvPr/>
                </p:nvSpPr>
                <p:spPr bwMode="auto">
                  <a:xfrm>
                    <a:off x="536676" y="4498448"/>
                    <a:ext cx="133635" cy="225599"/>
                  </a:xfrm>
                  <a:custGeom>
                    <a:avLst/>
                    <a:gdLst>
                      <a:gd name="T0" fmla="*/ 57 w 77"/>
                      <a:gd name="T1" fmla="*/ 103 h 129"/>
                      <a:gd name="T2" fmla="*/ 54 w 77"/>
                      <a:gd name="T3" fmla="*/ 98 h 129"/>
                      <a:gd name="T4" fmla="*/ 66 w 77"/>
                      <a:gd name="T5" fmla="*/ 76 h 129"/>
                      <a:gd name="T6" fmla="*/ 59 w 77"/>
                      <a:gd name="T7" fmla="*/ 60 h 129"/>
                      <a:gd name="T8" fmla="*/ 76 w 77"/>
                      <a:gd name="T9" fmla="*/ 47 h 129"/>
                      <a:gd name="T10" fmla="*/ 75 w 77"/>
                      <a:gd name="T11" fmla="*/ 34 h 129"/>
                      <a:gd name="T12" fmla="*/ 76 w 77"/>
                      <a:gd name="T13" fmla="*/ 23 h 129"/>
                      <a:gd name="T14" fmla="*/ 25 w 77"/>
                      <a:gd name="T15" fmla="*/ 1 h 129"/>
                      <a:gd name="T16" fmla="*/ 16 w 77"/>
                      <a:gd name="T17" fmla="*/ 129 h 129"/>
                      <a:gd name="T18" fmla="*/ 51 w 77"/>
                      <a:gd name="T19" fmla="*/ 111 h 129"/>
                      <a:gd name="T20" fmla="*/ 57 w 77"/>
                      <a:gd name="T21" fmla="*/ 10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29">
                        <a:moveTo>
                          <a:pt x="57" y="103"/>
                        </a:moveTo>
                        <a:cubicBezTo>
                          <a:pt x="56" y="102"/>
                          <a:pt x="55" y="100"/>
                          <a:pt x="54" y="98"/>
                        </a:cubicBezTo>
                        <a:cubicBezTo>
                          <a:pt x="54" y="88"/>
                          <a:pt x="66" y="86"/>
                          <a:pt x="66" y="76"/>
                        </a:cubicBezTo>
                        <a:cubicBezTo>
                          <a:pt x="66" y="69"/>
                          <a:pt x="60" y="69"/>
                          <a:pt x="59" y="60"/>
                        </a:cubicBezTo>
                        <a:cubicBezTo>
                          <a:pt x="65" y="56"/>
                          <a:pt x="73" y="54"/>
                          <a:pt x="76" y="47"/>
                        </a:cubicBezTo>
                        <a:cubicBezTo>
                          <a:pt x="77" y="43"/>
                          <a:pt x="75" y="40"/>
                          <a:pt x="75" y="34"/>
                        </a:cubicBezTo>
                        <a:cubicBezTo>
                          <a:pt x="75" y="30"/>
                          <a:pt x="76" y="26"/>
                          <a:pt x="76" y="23"/>
                        </a:cubicBezTo>
                        <a:cubicBezTo>
                          <a:pt x="72" y="6"/>
                          <a:pt x="46" y="0"/>
                          <a:pt x="25" y="1"/>
                        </a:cubicBezTo>
                        <a:cubicBezTo>
                          <a:pt x="1" y="30"/>
                          <a:pt x="0" y="91"/>
                          <a:pt x="16" y="129"/>
                        </a:cubicBezTo>
                        <a:cubicBezTo>
                          <a:pt x="26" y="120"/>
                          <a:pt x="38" y="114"/>
                          <a:pt x="51" y="111"/>
                        </a:cubicBezTo>
                        <a:cubicBezTo>
                          <a:pt x="53" y="108"/>
                          <a:pt x="55" y="106"/>
                          <a:pt x="57" y="103"/>
                        </a:cubicBez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70" name="Oval 161">
                  <a:extLst>
                    <a:ext uri="{FF2B5EF4-FFF2-40B4-BE49-F238E27FC236}">
                      <a16:creationId xmlns:a16="http://schemas.microsoft.com/office/drawing/2014/main" id="{FC92312C-8DF8-4B67-8D33-5AD367420C56}"/>
                    </a:ext>
                  </a:extLst>
                </p:cNvPr>
                <p:cNvSpPr>
                  <a:spLocks noChangeArrowheads="1"/>
                </p:cNvSpPr>
                <p:nvPr/>
              </p:nvSpPr>
              <p:spPr bwMode="auto">
                <a:xfrm>
                  <a:off x="6871269" y="2742258"/>
                  <a:ext cx="54803" cy="5480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71" name="Freeform 162">
                  <a:extLst>
                    <a:ext uri="{FF2B5EF4-FFF2-40B4-BE49-F238E27FC236}">
                      <a16:creationId xmlns:a16="http://schemas.microsoft.com/office/drawing/2014/main" id="{C5E5F6E5-8A85-44FC-BD5F-F446FCD02E8E}"/>
                    </a:ext>
                  </a:extLst>
                </p:cNvPr>
                <p:cNvSpPr>
                  <a:spLocks/>
                </p:cNvSpPr>
                <p:nvPr/>
              </p:nvSpPr>
              <p:spPr bwMode="auto">
                <a:xfrm>
                  <a:off x="6885993" y="2594687"/>
                  <a:ext cx="24054" cy="191937"/>
                </a:xfrm>
                <a:custGeom>
                  <a:avLst/>
                  <a:gdLst>
                    <a:gd name="T0" fmla="*/ 4 w 8"/>
                    <a:gd name="T1" fmla="*/ 76 h 76"/>
                    <a:gd name="T2" fmla="*/ 0 w 8"/>
                    <a:gd name="T3" fmla="*/ 73 h 76"/>
                    <a:gd name="T4" fmla="*/ 0 w 8"/>
                    <a:gd name="T5" fmla="*/ 4 h 76"/>
                    <a:gd name="T6" fmla="*/ 4 w 8"/>
                    <a:gd name="T7" fmla="*/ 0 h 76"/>
                    <a:gd name="T8" fmla="*/ 8 w 8"/>
                    <a:gd name="T9" fmla="*/ 4 h 76"/>
                    <a:gd name="T10" fmla="*/ 8 w 8"/>
                    <a:gd name="T11" fmla="*/ 73 h 76"/>
                    <a:gd name="T12" fmla="*/ 4 w 8"/>
                    <a:gd name="T13" fmla="*/ 76 h 76"/>
                  </a:gdLst>
                  <a:ahLst/>
                  <a:cxnLst>
                    <a:cxn ang="0">
                      <a:pos x="T0" y="T1"/>
                    </a:cxn>
                    <a:cxn ang="0">
                      <a:pos x="T2" y="T3"/>
                    </a:cxn>
                    <a:cxn ang="0">
                      <a:pos x="T4" y="T5"/>
                    </a:cxn>
                    <a:cxn ang="0">
                      <a:pos x="T6" y="T7"/>
                    </a:cxn>
                    <a:cxn ang="0">
                      <a:pos x="T8" y="T9"/>
                    </a:cxn>
                    <a:cxn ang="0">
                      <a:pos x="T10" y="T11"/>
                    </a:cxn>
                    <a:cxn ang="0">
                      <a:pos x="T12" y="T13"/>
                    </a:cxn>
                  </a:cxnLst>
                  <a:rect l="0" t="0" r="r" b="b"/>
                  <a:pathLst>
                    <a:path w="8" h="76">
                      <a:moveTo>
                        <a:pt x="4" y="76"/>
                      </a:moveTo>
                      <a:cubicBezTo>
                        <a:pt x="2" y="76"/>
                        <a:pt x="0" y="75"/>
                        <a:pt x="0" y="73"/>
                      </a:cubicBezTo>
                      <a:cubicBezTo>
                        <a:pt x="0" y="4"/>
                        <a:pt x="0" y="4"/>
                        <a:pt x="0" y="4"/>
                      </a:cubicBezTo>
                      <a:cubicBezTo>
                        <a:pt x="0" y="2"/>
                        <a:pt x="2" y="0"/>
                        <a:pt x="4" y="0"/>
                      </a:cubicBezTo>
                      <a:cubicBezTo>
                        <a:pt x="6" y="0"/>
                        <a:pt x="8" y="2"/>
                        <a:pt x="8" y="4"/>
                      </a:cubicBezTo>
                      <a:cubicBezTo>
                        <a:pt x="8" y="73"/>
                        <a:pt x="8" y="73"/>
                        <a:pt x="8" y="73"/>
                      </a:cubicBezTo>
                      <a:cubicBezTo>
                        <a:pt x="8" y="75"/>
                        <a:pt x="6" y="76"/>
                        <a:pt x="4" y="7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72" name="Oval 161">
                  <a:extLst>
                    <a:ext uri="{FF2B5EF4-FFF2-40B4-BE49-F238E27FC236}">
                      <a16:creationId xmlns:a16="http://schemas.microsoft.com/office/drawing/2014/main" id="{527B41C3-AF95-46E0-9F6B-01829996648B}"/>
                    </a:ext>
                  </a:extLst>
                </p:cNvPr>
                <p:cNvSpPr>
                  <a:spLocks noChangeArrowheads="1"/>
                </p:cNvSpPr>
                <p:nvPr/>
              </p:nvSpPr>
              <p:spPr bwMode="auto">
                <a:xfrm flipH="1" flipV="1">
                  <a:off x="6908842" y="2545865"/>
                  <a:ext cx="45720" cy="45719"/>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306" name="ZoneTexte 204">
              <a:extLst>
                <a:ext uri="{FF2B5EF4-FFF2-40B4-BE49-F238E27FC236}">
                  <a16:creationId xmlns:a16="http://schemas.microsoft.com/office/drawing/2014/main" id="{C74F7AAC-7B48-4901-8985-4A4F30CD37A9}"/>
                </a:ext>
              </a:extLst>
            </p:cNvPr>
            <p:cNvSpPr txBox="1"/>
            <p:nvPr/>
          </p:nvSpPr>
          <p:spPr>
            <a:xfrm>
              <a:off x="4963019" y="3789390"/>
              <a:ext cx="299348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Corporations and Western Governments continue their fight against climate change</a:t>
              </a:r>
            </a:p>
          </p:txBody>
        </p:sp>
      </p:grpSp>
      <p:sp>
        <p:nvSpPr>
          <p:cNvPr id="308" name="ZoneTexte 204">
            <a:extLst>
              <a:ext uri="{FF2B5EF4-FFF2-40B4-BE49-F238E27FC236}">
                <a16:creationId xmlns:a16="http://schemas.microsoft.com/office/drawing/2014/main" id="{CB8D875E-9F06-4656-BC02-07B6203A5414}"/>
              </a:ext>
            </a:extLst>
          </p:cNvPr>
          <p:cNvSpPr txBox="1"/>
          <p:nvPr/>
        </p:nvSpPr>
        <p:spPr>
          <a:xfrm>
            <a:off x="4963019" y="5482527"/>
            <a:ext cx="299348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a:ea typeface="+mn-ea"/>
                <a:cs typeface="+mn-cs"/>
              </a:rPr>
              <a:t>The crisis is threatening the already fragile climate change-related commitments</a:t>
            </a:r>
          </a:p>
        </p:txBody>
      </p:sp>
      <p:grpSp>
        <p:nvGrpSpPr>
          <p:cNvPr id="14" name="Groupe 13">
            <a:extLst>
              <a:ext uri="{FF2B5EF4-FFF2-40B4-BE49-F238E27FC236}">
                <a16:creationId xmlns:a16="http://schemas.microsoft.com/office/drawing/2014/main" id="{DB39E903-9741-48C7-A747-6B7062ED4508}"/>
              </a:ext>
            </a:extLst>
          </p:cNvPr>
          <p:cNvGrpSpPr/>
          <p:nvPr/>
        </p:nvGrpSpPr>
        <p:grpSpPr>
          <a:xfrm>
            <a:off x="4314419" y="3789390"/>
            <a:ext cx="3642088" cy="738664"/>
            <a:chOff x="4314419" y="4628699"/>
            <a:chExt cx="3642088" cy="738664"/>
          </a:xfrm>
        </p:grpSpPr>
        <p:grpSp>
          <p:nvGrpSpPr>
            <p:cNvPr id="13" name="Groupe 12">
              <a:extLst>
                <a:ext uri="{FF2B5EF4-FFF2-40B4-BE49-F238E27FC236}">
                  <a16:creationId xmlns:a16="http://schemas.microsoft.com/office/drawing/2014/main" id="{D9737108-0FE8-4510-9B73-85C6ABA84FB0}"/>
                </a:ext>
              </a:extLst>
            </p:cNvPr>
            <p:cNvGrpSpPr/>
            <p:nvPr/>
          </p:nvGrpSpPr>
          <p:grpSpPr>
            <a:xfrm>
              <a:off x="4314419" y="4734770"/>
              <a:ext cx="576000" cy="576000"/>
              <a:chOff x="4314419" y="4734770"/>
              <a:chExt cx="576000" cy="576000"/>
            </a:xfrm>
          </p:grpSpPr>
          <p:sp>
            <p:nvSpPr>
              <p:cNvPr id="249" name="Ellipse 27">
                <a:extLst>
                  <a:ext uri="{FF2B5EF4-FFF2-40B4-BE49-F238E27FC236}">
                    <a16:creationId xmlns:a16="http://schemas.microsoft.com/office/drawing/2014/main" id="{9FBD6534-5D34-4640-AB33-2A39D743E9F2}"/>
                  </a:ext>
                </a:extLst>
              </p:cNvPr>
              <p:cNvSpPr>
                <a:spLocks noChangeAspect="1"/>
              </p:cNvSpPr>
              <p:nvPr/>
            </p:nvSpPr>
            <p:spPr bwMode="gray">
              <a:xfrm>
                <a:off x="4314419" y="4734770"/>
                <a:ext cx="576000" cy="576000"/>
              </a:xfrm>
              <a:prstGeom prst="ellipse">
                <a:avLst/>
              </a:prstGeom>
              <a:solidFill>
                <a:schemeClr val="accent1"/>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grpSp>
            <p:nvGrpSpPr>
              <p:cNvPr id="250" name="Group 197">
                <a:extLst>
                  <a:ext uri="{FF2B5EF4-FFF2-40B4-BE49-F238E27FC236}">
                    <a16:creationId xmlns:a16="http://schemas.microsoft.com/office/drawing/2014/main" id="{85DBE2E4-4F2D-49A7-BF51-1C14DBDCA22E}"/>
                  </a:ext>
                </a:extLst>
              </p:cNvPr>
              <p:cNvGrpSpPr/>
              <p:nvPr/>
            </p:nvGrpSpPr>
            <p:grpSpPr>
              <a:xfrm>
                <a:off x="4450814" y="4853404"/>
                <a:ext cx="303210" cy="338732"/>
                <a:chOff x="697434" y="5564478"/>
                <a:chExt cx="324069" cy="362035"/>
              </a:xfrm>
            </p:grpSpPr>
            <p:sp>
              <p:nvSpPr>
                <p:cNvPr id="251" name="Freeform 126">
                  <a:extLst>
                    <a:ext uri="{FF2B5EF4-FFF2-40B4-BE49-F238E27FC236}">
                      <a16:creationId xmlns:a16="http://schemas.microsoft.com/office/drawing/2014/main" id="{C0E2D067-A0DD-4E5D-A7AE-26314641D709}"/>
                    </a:ext>
                  </a:extLst>
                </p:cNvPr>
                <p:cNvSpPr>
                  <a:spLocks/>
                </p:cNvSpPr>
                <p:nvPr/>
              </p:nvSpPr>
              <p:spPr bwMode="auto">
                <a:xfrm>
                  <a:off x="965909" y="5637699"/>
                  <a:ext cx="55594" cy="28881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2" name="Freeform 127">
                  <a:extLst>
                    <a:ext uri="{FF2B5EF4-FFF2-40B4-BE49-F238E27FC236}">
                      <a16:creationId xmlns:a16="http://schemas.microsoft.com/office/drawing/2014/main" id="{E0A2B0D4-333E-495A-A601-01FF3DA11DD5}"/>
                    </a:ext>
                  </a:extLst>
                </p:cNvPr>
                <p:cNvSpPr>
                  <a:spLocks/>
                </p:cNvSpPr>
                <p:nvPr/>
              </p:nvSpPr>
              <p:spPr bwMode="auto">
                <a:xfrm>
                  <a:off x="885909" y="5719055"/>
                  <a:ext cx="51525" cy="207458"/>
                </a:xfrm>
                <a:custGeom>
                  <a:avLst/>
                  <a:gdLst>
                    <a:gd name="T0" fmla="*/ 0 w 16"/>
                    <a:gd name="T1" fmla="*/ 8 h 65"/>
                    <a:gd name="T2" fmla="*/ 8 w 16"/>
                    <a:gd name="T3" fmla="*/ 0 h 65"/>
                    <a:gd name="T4" fmla="*/ 9 w 16"/>
                    <a:gd name="T5" fmla="*/ 0 h 65"/>
                    <a:gd name="T6" fmla="*/ 16 w 16"/>
                    <a:gd name="T7" fmla="*/ 0 h 65"/>
                    <a:gd name="T8" fmla="*/ 16 w 16"/>
                    <a:gd name="T9" fmla="*/ 65 h 65"/>
                    <a:gd name="T10" fmla="*/ 0 w 16"/>
                    <a:gd name="T11" fmla="*/ 65 h 65"/>
                    <a:gd name="T12" fmla="*/ 0 w 16"/>
                    <a:gd name="T13" fmla="*/ 8 h 65"/>
                  </a:gdLst>
                  <a:ahLst/>
                  <a:cxnLst>
                    <a:cxn ang="0">
                      <a:pos x="T0" y="T1"/>
                    </a:cxn>
                    <a:cxn ang="0">
                      <a:pos x="T2" y="T3"/>
                    </a:cxn>
                    <a:cxn ang="0">
                      <a:pos x="T4" y="T5"/>
                    </a:cxn>
                    <a:cxn ang="0">
                      <a:pos x="T6" y="T7"/>
                    </a:cxn>
                    <a:cxn ang="0">
                      <a:pos x="T8" y="T9"/>
                    </a:cxn>
                    <a:cxn ang="0">
                      <a:pos x="T10" y="T11"/>
                    </a:cxn>
                    <a:cxn ang="0">
                      <a:pos x="T12" y="T13"/>
                    </a:cxn>
                  </a:cxnLst>
                  <a:rect l="0" t="0" r="r" b="b"/>
                  <a:pathLst>
                    <a:path w="16" h="65">
                      <a:moveTo>
                        <a:pt x="0" y="8"/>
                      </a:moveTo>
                      <a:cubicBezTo>
                        <a:pt x="0" y="4"/>
                        <a:pt x="3" y="0"/>
                        <a:pt x="8" y="0"/>
                      </a:cubicBezTo>
                      <a:cubicBezTo>
                        <a:pt x="9" y="0"/>
                        <a:pt x="9" y="0"/>
                        <a:pt x="9" y="0"/>
                      </a:cubicBezTo>
                      <a:cubicBezTo>
                        <a:pt x="16" y="0"/>
                        <a:pt x="16" y="0"/>
                        <a:pt x="16" y="0"/>
                      </a:cubicBezTo>
                      <a:cubicBezTo>
                        <a:pt x="16" y="65"/>
                        <a:pt x="16" y="65"/>
                        <a:pt x="16" y="65"/>
                      </a:cubicBezTo>
                      <a:cubicBezTo>
                        <a:pt x="0" y="65"/>
                        <a:pt x="0" y="65"/>
                        <a:pt x="0" y="65"/>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3" name="Freeform 128">
                  <a:extLst>
                    <a:ext uri="{FF2B5EF4-FFF2-40B4-BE49-F238E27FC236}">
                      <a16:creationId xmlns:a16="http://schemas.microsoft.com/office/drawing/2014/main" id="{98873CBA-F4E5-40D1-B471-2EBC1BEB6AC7}"/>
                    </a:ext>
                  </a:extLst>
                </p:cNvPr>
                <p:cNvSpPr>
                  <a:spLocks/>
                </p:cNvSpPr>
                <p:nvPr/>
              </p:nvSpPr>
              <p:spPr bwMode="auto">
                <a:xfrm>
                  <a:off x="805909" y="5763801"/>
                  <a:ext cx="51525" cy="162712"/>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4" name="Freeform 129">
                  <a:extLst>
                    <a:ext uri="{FF2B5EF4-FFF2-40B4-BE49-F238E27FC236}">
                      <a16:creationId xmlns:a16="http://schemas.microsoft.com/office/drawing/2014/main" id="{ADB61C8A-88AD-43E7-8FF1-6C8DD87EC5A3}"/>
                    </a:ext>
                  </a:extLst>
                </p:cNvPr>
                <p:cNvSpPr>
                  <a:spLocks/>
                </p:cNvSpPr>
                <p:nvPr/>
              </p:nvSpPr>
              <p:spPr bwMode="auto">
                <a:xfrm>
                  <a:off x="725909" y="5811258"/>
                  <a:ext cx="51525" cy="11525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5" name="Freeform 130">
                  <a:extLst>
                    <a:ext uri="{FF2B5EF4-FFF2-40B4-BE49-F238E27FC236}">
                      <a16:creationId xmlns:a16="http://schemas.microsoft.com/office/drawing/2014/main" id="{9418DC90-7E7E-4677-AB26-1CC60922C7E8}"/>
                    </a:ext>
                  </a:extLst>
                </p:cNvPr>
                <p:cNvSpPr>
                  <a:spLocks/>
                </p:cNvSpPr>
                <p:nvPr/>
              </p:nvSpPr>
              <p:spPr bwMode="auto">
                <a:xfrm>
                  <a:off x="697434" y="5564478"/>
                  <a:ext cx="275255" cy="21830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309" name="ZoneTexte 204">
              <a:extLst>
                <a:ext uri="{FF2B5EF4-FFF2-40B4-BE49-F238E27FC236}">
                  <a16:creationId xmlns:a16="http://schemas.microsoft.com/office/drawing/2014/main" id="{A7259888-E04F-40BC-A5A7-E33E5FA9EDCA}"/>
                </a:ext>
              </a:extLst>
            </p:cNvPr>
            <p:cNvSpPr txBox="1"/>
            <p:nvPr/>
          </p:nvSpPr>
          <p:spPr>
            <a:xfrm>
              <a:off x="4963019" y="4628699"/>
              <a:ext cx="299348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a:ea typeface="+mn-ea"/>
                  <a:cs typeface="+mn-cs"/>
                </a:rPr>
                <a:t>Pre-crisis, climate pledges led to a global temperature rise of 2.7°C by 2100</a:t>
              </a:r>
            </a:p>
          </p:txBody>
        </p:sp>
      </p:grpSp>
      <p:grpSp>
        <p:nvGrpSpPr>
          <p:cNvPr id="10" name="Group 9">
            <a:extLst>
              <a:ext uri="{FF2B5EF4-FFF2-40B4-BE49-F238E27FC236}">
                <a16:creationId xmlns:a16="http://schemas.microsoft.com/office/drawing/2014/main" id="{58D360D1-BB63-4D50-9734-8992969011E0}"/>
              </a:ext>
            </a:extLst>
          </p:cNvPr>
          <p:cNvGrpSpPr/>
          <p:nvPr/>
        </p:nvGrpSpPr>
        <p:grpSpPr>
          <a:xfrm>
            <a:off x="8691297" y="4706393"/>
            <a:ext cx="2251767" cy="583276"/>
            <a:chOff x="8892013" y="5066187"/>
            <a:chExt cx="2251767" cy="583276"/>
          </a:xfrm>
        </p:grpSpPr>
        <p:sp>
          <p:nvSpPr>
            <p:cNvPr id="315" name="Ellipse 27">
              <a:extLst>
                <a:ext uri="{FF2B5EF4-FFF2-40B4-BE49-F238E27FC236}">
                  <a16:creationId xmlns:a16="http://schemas.microsoft.com/office/drawing/2014/main" id="{DC419C91-91E0-4D6B-AAE5-8399F21731B1}"/>
                </a:ext>
              </a:extLst>
            </p:cNvPr>
            <p:cNvSpPr>
              <a:spLocks noChangeAspect="1"/>
            </p:cNvSpPr>
            <p:nvPr/>
          </p:nvSpPr>
          <p:spPr bwMode="gray">
            <a:xfrm>
              <a:off x="8892013" y="5073463"/>
              <a:ext cx="576000" cy="576000"/>
            </a:xfrm>
            <a:prstGeom prst="ellipse">
              <a:avLst/>
            </a:prstGeom>
            <a:solidFill>
              <a:schemeClr val="accent1"/>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22" name="ZoneTexte 90">
              <a:extLst>
                <a:ext uri="{FF2B5EF4-FFF2-40B4-BE49-F238E27FC236}">
                  <a16:creationId xmlns:a16="http://schemas.microsoft.com/office/drawing/2014/main" id="{8ABB37F3-D157-4678-BFE0-B9F9D537A83E}"/>
                </a:ext>
              </a:extLst>
            </p:cNvPr>
            <p:cNvSpPr txBox="1"/>
            <p:nvPr/>
          </p:nvSpPr>
          <p:spPr>
            <a:xfrm>
              <a:off x="9517409" y="5066187"/>
              <a:ext cx="162637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a:ea typeface="+mn-ea"/>
                  <a:cs typeface="+mn-cs"/>
                </a:rPr>
                <a:t>Circular economy is a must </a:t>
              </a:r>
              <a:endParaRPr kumimoji="0" lang="fr-FR" sz="1400" b="0" i="0" u="none" strike="noStrike" kern="1200" cap="none" spc="0" normalizeH="0" baseline="0" noProof="0">
                <a:ln>
                  <a:noFill/>
                </a:ln>
                <a:solidFill>
                  <a:prstClr val="black"/>
                </a:solidFill>
                <a:effectLst/>
                <a:uLnTx/>
                <a:uFillTx/>
                <a:latin typeface="Ubuntu"/>
                <a:ea typeface="+mn-ea"/>
                <a:cs typeface="+mn-cs"/>
              </a:endParaRPr>
            </a:p>
          </p:txBody>
        </p:sp>
        <p:grpSp>
          <p:nvGrpSpPr>
            <p:cNvPr id="339" name="Groupe 1024">
              <a:extLst>
                <a:ext uri="{FF2B5EF4-FFF2-40B4-BE49-F238E27FC236}">
                  <a16:creationId xmlns:a16="http://schemas.microsoft.com/office/drawing/2014/main" id="{40762BE2-280D-4187-B3A7-B81F74A2893F}"/>
                </a:ext>
              </a:extLst>
            </p:cNvPr>
            <p:cNvGrpSpPr/>
            <p:nvPr/>
          </p:nvGrpSpPr>
          <p:grpSpPr>
            <a:xfrm>
              <a:off x="8994069" y="5187791"/>
              <a:ext cx="371887" cy="363947"/>
              <a:chOff x="4192589" y="3787775"/>
              <a:chExt cx="446087" cy="436563"/>
            </a:xfrm>
          </p:grpSpPr>
          <p:sp>
            <p:nvSpPr>
              <p:cNvPr id="340" name="Freeform 240">
                <a:extLst>
                  <a:ext uri="{FF2B5EF4-FFF2-40B4-BE49-F238E27FC236}">
                    <a16:creationId xmlns:a16="http://schemas.microsoft.com/office/drawing/2014/main" id="{0225F22C-084D-4F16-AE3E-563E85890869}"/>
                  </a:ext>
                </a:extLst>
              </p:cNvPr>
              <p:cNvSpPr>
                <a:spLocks/>
              </p:cNvSpPr>
              <p:nvPr/>
            </p:nvSpPr>
            <p:spPr bwMode="auto">
              <a:xfrm>
                <a:off x="4286251" y="3795712"/>
                <a:ext cx="138113" cy="142875"/>
              </a:xfrm>
              <a:custGeom>
                <a:avLst/>
                <a:gdLst>
                  <a:gd name="T0" fmla="*/ 22 w 37"/>
                  <a:gd name="T1" fmla="*/ 38 h 38"/>
                  <a:gd name="T2" fmla="*/ 0 w 37"/>
                  <a:gd name="T3" fmla="*/ 25 h 38"/>
                  <a:gd name="T4" fmla="*/ 17 w 37"/>
                  <a:gd name="T5" fmla="*/ 2 h 38"/>
                  <a:gd name="T6" fmla="*/ 20 w 37"/>
                  <a:gd name="T7" fmla="*/ 0 h 38"/>
                  <a:gd name="T8" fmla="*/ 22 w 37"/>
                  <a:gd name="T9" fmla="*/ 0 h 38"/>
                  <a:gd name="T10" fmla="*/ 23 w 37"/>
                  <a:gd name="T11" fmla="*/ 1 h 38"/>
                  <a:gd name="T12" fmla="*/ 33 w 37"/>
                  <a:gd name="T13" fmla="*/ 9 h 38"/>
                  <a:gd name="T14" fmla="*/ 37 w 37"/>
                  <a:gd name="T15" fmla="*/ 17 h 38"/>
                  <a:gd name="T16" fmla="*/ 22 w 37"/>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22" y="38"/>
                    </a:moveTo>
                    <a:cubicBezTo>
                      <a:pt x="15" y="34"/>
                      <a:pt x="7" y="30"/>
                      <a:pt x="0" y="25"/>
                    </a:cubicBezTo>
                    <a:cubicBezTo>
                      <a:pt x="4" y="18"/>
                      <a:pt x="9" y="10"/>
                      <a:pt x="17" y="2"/>
                    </a:cubicBezTo>
                    <a:cubicBezTo>
                      <a:pt x="18" y="1"/>
                      <a:pt x="19" y="1"/>
                      <a:pt x="20" y="0"/>
                    </a:cubicBezTo>
                    <a:cubicBezTo>
                      <a:pt x="22" y="0"/>
                      <a:pt x="22" y="0"/>
                      <a:pt x="22" y="0"/>
                    </a:cubicBezTo>
                    <a:cubicBezTo>
                      <a:pt x="23" y="1"/>
                      <a:pt x="23" y="1"/>
                      <a:pt x="23" y="1"/>
                    </a:cubicBezTo>
                    <a:cubicBezTo>
                      <a:pt x="27" y="1"/>
                      <a:pt x="31" y="6"/>
                      <a:pt x="33" y="9"/>
                    </a:cubicBezTo>
                    <a:cubicBezTo>
                      <a:pt x="34" y="12"/>
                      <a:pt x="36" y="14"/>
                      <a:pt x="37" y="17"/>
                    </a:cubicBezTo>
                    <a:lnTo>
                      <a:pt x="22" y="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1" name="Freeform 241">
                <a:extLst>
                  <a:ext uri="{FF2B5EF4-FFF2-40B4-BE49-F238E27FC236}">
                    <a16:creationId xmlns:a16="http://schemas.microsoft.com/office/drawing/2014/main" id="{563CC352-6FB7-49E5-BFC9-F6046A8048EF}"/>
                  </a:ext>
                </a:extLst>
              </p:cNvPr>
              <p:cNvSpPr>
                <a:spLocks/>
              </p:cNvSpPr>
              <p:nvPr/>
            </p:nvSpPr>
            <p:spPr bwMode="auto">
              <a:xfrm>
                <a:off x="4368801" y="3787775"/>
                <a:ext cx="217488" cy="146050"/>
              </a:xfrm>
              <a:custGeom>
                <a:avLst/>
                <a:gdLst>
                  <a:gd name="T0" fmla="*/ 12 w 58"/>
                  <a:gd name="T1" fmla="*/ 10 h 39"/>
                  <a:gd name="T2" fmla="*/ 22 w 58"/>
                  <a:gd name="T3" fmla="*/ 29 h 39"/>
                  <a:gd name="T4" fmla="*/ 11 w 58"/>
                  <a:gd name="T5" fmla="*/ 36 h 39"/>
                  <a:gd name="T6" fmla="*/ 44 w 58"/>
                  <a:gd name="T7" fmla="*/ 39 h 39"/>
                  <a:gd name="T8" fmla="*/ 58 w 58"/>
                  <a:gd name="T9" fmla="*/ 8 h 39"/>
                  <a:gd name="T10" fmla="*/ 47 w 58"/>
                  <a:gd name="T11" fmla="*/ 15 h 39"/>
                  <a:gd name="T12" fmla="*/ 33 w 58"/>
                  <a:gd name="T13" fmla="*/ 0 h 39"/>
                  <a:gd name="T14" fmla="*/ 0 w 58"/>
                  <a:gd name="T15" fmla="*/ 0 h 39"/>
                  <a:gd name="T16" fmla="*/ 12 w 58"/>
                  <a:gd name="T17"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39">
                    <a:moveTo>
                      <a:pt x="12" y="10"/>
                    </a:moveTo>
                    <a:cubicBezTo>
                      <a:pt x="16" y="16"/>
                      <a:pt x="19" y="22"/>
                      <a:pt x="22" y="29"/>
                    </a:cubicBezTo>
                    <a:cubicBezTo>
                      <a:pt x="11" y="36"/>
                      <a:pt x="11" y="36"/>
                      <a:pt x="11" y="36"/>
                    </a:cubicBezTo>
                    <a:cubicBezTo>
                      <a:pt x="44" y="39"/>
                      <a:pt x="44" y="39"/>
                      <a:pt x="44" y="39"/>
                    </a:cubicBezTo>
                    <a:cubicBezTo>
                      <a:pt x="58" y="8"/>
                      <a:pt x="58" y="8"/>
                      <a:pt x="58" y="8"/>
                    </a:cubicBezTo>
                    <a:cubicBezTo>
                      <a:pt x="47" y="15"/>
                      <a:pt x="47" y="15"/>
                      <a:pt x="47" y="15"/>
                    </a:cubicBezTo>
                    <a:cubicBezTo>
                      <a:pt x="43" y="8"/>
                      <a:pt x="39" y="3"/>
                      <a:pt x="33" y="0"/>
                    </a:cubicBezTo>
                    <a:cubicBezTo>
                      <a:pt x="22" y="0"/>
                      <a:pt x="11" y="0"/>
                      <a:pt x="0" y="0"/>
                    </a:cubicBezTo>
                    <a:cubicBezTo>
                      <a:pt x="4" y="0"/>
                      <a:pt x="9" y="4"/>
                      <a:pt x="12" y="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2" name="Freeform 242">
                <a:extLst>
                  <a:ext uri="{FF2B5EF4-FFF2-40B4-BE49-F238E27FC236}">
                    <a16:creationId xmlns:a16="http://schemas.microsoft.com/office/drawing/2014/main" id="{BFD12443-9651-4E2C-A286-56890E4DA5BD}"/>
                  </a:ext>
                </a:extLst>
              </p:cNvPr>
              <p:cNvSpPr>
                <a:spLocks/>
              </p:cNvSpPr>
              <p:nvPr/>
            </p:nvSpPr>
            <p:spPr bwMode="auto">
              <a:xfrm>
                <a:off x="4506914" y="3933825"/>
                <a:ext cx="128588" cy="128588"/>
              </a:xfrm>
              <a:custGeom>
                <a:avLst/>
                <a:gdLst>
                  <a:gd name="T0" fmla="*/ 1 w 34"/>
                  <a:gd name="T1" fmla="*/ 15 h 34"/>
                  <a:gd name="T2" fmla="*/ 1 w 34"/>
                  <a:gd name="T3" fmla="*/ 15 h 34"/>
                  <a:gd name="T4" fmla="*/ 1 w 34"/>
                  <a:gd name="T5" fmla="*/ 15 h 34"/>
                  <a:gd name="T6" fmla="*/ 10 w 34"/>
                  <a:gd name="T7" fmla="*/ 33 h 34"/>
                  <a:gd name="T8" fmla="*/ 20 w 34"/>
                  <a:gd name="T9" fmla="*/ 34 h 34"/>
                  <a:gd name="T10" fmla="*/ 33 w 34"/>
                  <a:gd name="T11" fmla="*/ 29 h 34"/>
                  <a:gd name="T12" fmla="*/ 33 w 34"/>
                  <a:gd name="T13" fmla="*/ 29 h 34"/>
                  <a:gd name="T14" fmla="*/ 34 w 34"/>
                  <a:gd name="T15" fmla="*/ 27 h 34"/>
                  <a:gd name="T16" fmla="*/ 34 w 34"/>
                  <a:gd name="T17" fmla="*/ 25 h 34"/>
                  <a:gd name="T18" fmla="*/ 22 w 34"/>
                  <a:gd name="T19" fmla="*/ 0 h 34"/>
                  <a:gd name="T20" fmla="*/ 0 w 34"/>
                  <a:gd name="T21" fmla="*/ 12 h 34"/>
                  <a:gd name="T22" fmla="*/ 1 w 34"/>
                  <a:gd name="T23"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 y="15"/>
                    </a:moveTo>
                    <a:cubicBezTo>
                      <a:pt x="1" y="15"/>
                      <a:pt x="1" y="15"/>
                      <a:pt x="1" y="15"/>
                    </a:cubicBezTo>
                    <a:cubicBezTo>
                      <a:pt x="1" y="15"/>
                      <a:pt x="1" y="15"/>
                      <a:pt x="1" y="15"/>
                    </a:cubicBezTo>
                    <a:cubicBezTo>
                      <a:pt x="10" y="33"/>
                      <a:pt x="10" y="33"/>
                      <a:pt x="10" y="33"/>
                    </a:cubicBezTo>
                    <a:cubicBezTo>
                      <a:pt x="13" y="34"/>
                      <a:pt x="17" y="34"/>
                      <a:pt x="20" y="34"/>
                    </a:cubicBezTo>
                    <a:cubicBezTo>
                      <a:pt x="24" y="33"/>
                      <a:pt x="31" y="32"/>
                      <a:pt x="33" y="29"/>
                    </a:cubicBezTo>
                    <a:cubicBezTo>
                      <a:pt x="33" y="29"/>
                      <a:pt x="33" y="29"/>
                      <a:pt x="33" y="29"/>
                    </a:cubicBezTo>
                    <a:cubicBezTo>
                      <a:pt x="34" y="27"/>
                      <a:pt x="34" y="27"/>
                      <a:pt x="34" y="27"/>
                    </a:cubicBezTo>
                    <a:cubicBezTo>
                      <a:pt x="34" y="26"/>
                      <a:pt x="34" y="26"/>
                      <a:pt x="34" y="25"/>
                    </a:cubicBezTo>
                    <a:cubicBezTo>
                      <a:pt x="31" y="15"/>
                      <a:pt x="27" y="7"/>
                      <a:pt x="22" y="0"/>
                    </a:cubicBezTo>
                    <a:cubicBezTo>
                      <a:pt x="15" y="4"/>
                      <a:pt x="7" y="8"/>
                      <a:pt x="0" y="12"/>
                    </a:cubicBezTo>
                    <a:lnTo>
                      <a:pt x="1" y="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3" name="Freeform 243">
                <a:extLst>
                  <a:ext uri="{FF2B5EF4-FFF2-40B4-BE49-F238E27FC236}">
                    <a16:creationId xmlns:a16="http://schemas.microsoft.com/office/drawing/2014/main" id="{73EA6107-DF16-4C94-9FCF-CFBBD4D3D287}"/>
                  </a:ext>
                </a:extLst>
              </p:cNvPr>
              <p:cNvSpPr>
                <a:spLocks/>
              </p:cNvSpPr>
              <p:nvPr/>
            </p:nvSpPr>
            <p:spPr bwMode="auto">
              <a:xfrm>
                <a:off x="4432301" y="4016375"/>
                <a:ext cx="206375" cy="207963"/>
              </a:xfrm>
              <a:custGeom>
                <a:avLst/>
                <a:gdLst>
                  <a:gd name="T0" fmla="*/ 41 w 55"/>
                  <a:gd name="T1" fmla="*/ 14 h 55"/>
                  <a:gd name="T2" fmla="*/ 19 w 55"/>
                  <a:gd name="T3" fmla="*/ 13 h 55"/>
                  <a:gd name="T4" fmla="*/ 19 w 55"/>
                  <a:gd name="T5" fmla="*/ 0 h 55"/>
                  <a:gd name="T6" fmla="*/ 0 w 55"/>
                  <a:gd name="T7" fmla="*/ 27 h 55"/>
                  <a:gd name="T8" fmla="*/ 20 w 55"/>
                  <a:gd name="T9" fmla="*/ 55 h 55"/>
                  <a:gd name="T10" fmla="*/ 20 w 55"/>
                  <a:gd name="T11" fmla="*/ 41 h 55"/>
                  <a:gd name="T12" fmla="*/ 39 w 55"/>
                  <a:gd name="T13" fmla="*/ 37 h 55"/>
                  <a:gd name="T14" fmla="*/ 55 w 55"/>
                  <a:gd name="T15" fmla="*/ 8 h 55"/>
                  <a:gd name="T16" fmla="*/ 41 w 55"/>
                  <a:gd name="T17" fmla="*/ 14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41" y="14"/>
                    </a:moveTo>
                    <a:cubicBezTo>
                      <a:pt x="34" y="14"/>
                      <a:pt x="27" y="14"/>
                      <a:pt x="19" y="13"/>
                    </a:cubicBezTo>
                    <a:cubicBezTo>
                      <a:pt x="19" y="0"/>
                      <a:pt x="19" y="0"/>
                      <a:pt x="19" y="0"/>
                    </a:cubicBezTo>
                    <a:cubicBezTo>
                      <a:pt x="0" y="27"/>
                      <a:pt x="0" y="27"/>
                      <a:pt x="0" y="27"/>
                    </a:cubicBezTo>
                    <a:cubicBezTo>
                      <a:pt x="20" y="55"/>
                      <a:pt x="20" y="55"/>
                      <a:pt x="20" y="55"/>
                    </a:cubicBezTo>
                    <a:cubicBezTo>
                      <a:pt x="20" y="41"/>
                      <a:pt x="20" y="41"/>
                      <a:pt x="20" y="41"/>
                    </a:cubicBezTo>
                    <a:cubicBezTo>
                      <a:pt x="27" y="42"/>
                      <a:pt x="34" y="41"/>
                      <a:pt x="39" y="37"/>
                    </a:cubicBezTo>
                    <a:cubicBezTo>
                      <a:pt x="44" y="27"/>
                      <a:pt x="50" y="17"/>
                      <a:pt x="55" y="8"/>
                    </a:cubicBezTo>
                    <a:cubicBezTo>
                      <a:pt x="53" y="12"/>
                      <a:pt x="48" y="13"/>
                      <a:pt x="41"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4" name="Freeform 244">
                <a:extLst>
                  <a:ext uri="{FF2B5EF4-FFF2-40B4-BE49-F238E27FC236}">
                    <a16:creationId xmlns:a16="http://schemas.microsoft.com/office/drawing/2014/main" id="{9B49FFCC-220C-42B8-A767-9D709F8263D8}"/>
                  </a:ext>
                </a:extLst>
              </p:cNvPr>
              <p:cNvSpPr>
                <a:spLocks/>
              </p:cNvSpPr>
              <p:nvPr/>
            </p:nvSpPr>
            <p:spPr bwMode="auto">
              <a:xfrm>
                <a:off x="4289426" y="4076700"/>
                <a:ext cx="131763" cy="101600"/>
              </a:xfrm>
              <a:custGeom>
                <a:avLst/>
                <a:gdLst>
                  <a:gd name="T0" fmla="*/ 8 w 35"/>
                  <a:gd name="T1" fmla="*/ 0 h 27"/>
                  <a:gd name="T2" fmla="*/ 4 w 35"/>
                  <a:gd name="T3" fmla="*/ 9 h 27"/>
                  <a:gd name="T4" fmla="*/ 3 w 35"/>
                  <a:gd name="T5" fmla="*/ 22 h 27"/>
                  <a:gd name="T6" fmla="*/ 3 w 35"/>
                  <a:gd name="T7" fmla="*/ 22 h 27"/>
                  <a:gd name="T8" fmla="*/ 4 w 35"/>
                  <a:gd name="T9" fmla="*/ 24 h 27"/>
                  <a:gd name="T10" fmla="*/ 7 w 35"/>
                  <a:gd name="T11" fmla="*/ 25 h 27"/>
                  <a:gd name="T12" fmla="*/ 35 w 35"/>
                  <a:gd name="T13" fmla="*/ 25 h 27"/>
                  <a:gd name="T14" fmla="*/ 33 w 35"/>
                  <a:gd name="T15" fmla="*/ 0 h 27"/>
                  <a:gd name="T16" fmla="*/ 8 w 35"/>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8" y="0"/>
                    </a:moveTo>
                    <a:cubicBezTo>
                      <a:pt x="7" y="3"/>
                      <a:pt x="5" y="6"/>
                      <a:pt x="4" y="9"/>
                    </a:cubicBezTo>
                    <a:cubicBezTo>
                      <a:pt x="3" y="12"/>
                      <a:pt x="0" y="18"/>
                      <a:pt x="3" y="22"/>
                    </a:cubicBezTo>
                    <a:cubicBezTo>
                      <a:pt x="3" y="22"/>
                      <a:pt x="3" y="22"/>
                      <a:pt x="3" y="22"/>
                    </a:cubicBezTo>
                    <a:cubicBezTo>
                      <a:pt x="4" y="24"/>
                      <a:pt x="4" y="24"/>
                      <a:pt x="4" y="24"/>
                    </a:cubicBezTo>
                    <a:cubicBezTo>
                      <a:pt x="5" y="24"/>
                      <a:pt x="6" y="25"/>
                      <a:pt x="7" y="25"/>
                    </a:cubicBezTo>
                    <a:cubicBezTo>
                      <a:pt x="17" y="27"/>
                      <a:pt x="26" y="26"/>
                      <a:pt x="35" y="25"/>
                    </a:cubicBezTo>
                    <a:cubicBezTo>
                      <a:pt x="34" y="17"/>
                      <a:pt x="33" y="8"/>
                      <a:pt x="33" y="0"/>
                    </a:cubicBezTo>
                    <a:lnTo>
                      <a:pt x="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5" name="Freeform 245">
                <a:extLst>
                  <a:ext uri="{FF2B5EF4-FFF2-40B4-BE49-F238E27FC236}">
                    <a16:creationId xmlns:a16="http://schemas.microsoft.com/office/drawing/2014/main" id="{338AB3F3-7A90-41E9-9D7A-978D86FA4284}"/>
                  </a:ext>
                </a:extLst>
              </p:cNvPr>
              <p:cNvSpPr>
                <a:spLocks/>
              </p:cNvSpPr>
              <p:nvPr/>
            </p:nvSpPr>
            <p:spPr bwMode="auto">
              <a:xfrm>
                <a:off x="4192589" y="3944937"/>
                <a:ext cx="187325" cy="219075"/>
              </a:xfrm>
              <a:custGeom>
                <a:avLst/>
                <a:gdLst>
                  <a:gd name="T0" fmla="*/ 28 w 50"/>
                  <a:gd name="T1" fmla="*/ 43 h 58"/>
                  <a:gd name="T2" fmla="*/ 38 w 50"/>
                  <a:gd name="T3" fmla="*/ 24 h 58"/>
                  <a:gd name="T4" fmla="*/ 50 w 50"/>
                  <a:gd name="T5" fmla="*/ 30 h 58"/>
                  <a:gd name="T6" fmla="*/ 33 w 50"/>
                  <a:gd name="T7" fmla="*/ 0 h 58"/>
                  <a:gd name="T8" fmla="*/ 0 w 50"/>
                  <a:gd name="T9" fmla="*/ 6 h 58"/>
                  <a:gd name="T10" fmla="*/ 12 w 50"/>
                  <a:gd name="T11" fmla="*/ 12 h 58"/>
                  <a:gd name="T12" fmla="*/ 8 w 50"/>
                  <a:gd name="T13" fmla="*/ 31 h 58"/>
                  <a:gd name="T14" fmla="*/ 27 w 50"/>
                  <a:gd name="T15" fmla="*/ 58 h 58"/>
                  <a:gd name="T16" fmla="*/ 28 w 50"/>
                  <a:gd name="T17" fmla="*/ 4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28" y="43"/>
                    </a:moveTo>
                    <a:cubicBezTo>
                      <a:pt x="31" y="36"/>
                      <a:pt x="34" y="30"/>
                      <a:pt x="38" y="24"/>
                    </a:cubicBezTo>
                    <a:cubicBezTo>
                      <a:pt x="50" y="30"/>
                      <a:pt x="50" y="30"/>
                      <a:pt x="50" y="30"/>
                    </a:cubicBezTo>
                    <a:cubicBezTo>
                      <a:pt x="33" y="0"/>
                      <a:pt x="33" y="0"/>
                      <a:pt x="33" y="0"/>
                    </a:cubicBezTo>
                    <a:cubicBezTo>
                      <a:pt x="0" y="6"/>
                      <a:pt x="0" y="6"/>
                      <a:pt x="0" y="6"/>
                    </a:cubicBezTo>
                    <a:cubicBezTo>
                      <a:pt x="12" y="12"/>
                      <a:pt x="12" y="12"/>
                      <a:pt x="12" y="12"/>
                    </a:cubicBezTo>
                    <a:cubicBezTo>
                      <a:pt x="9" y="18"/>
                      <a:pt x="7" y="25"/>
                      <a:pt x="8" y="31"/>
                    </a:cubicBezTo>
                    <a:cubicBezTo>
                      <a:pt x="14" y="40"/>
                      <a:pt x="21" y="49"/>
                      <a:pt x="27" y="58"/>
                    </a:cubicBezTo>
                    <a:cubicBezTo>
                      <a:pt x="24" y="55"/>
                      <a:pt x="25" y="49"/>
                      <a:pt x="28" y="4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6" name="Line 246">
                <a:extLst>
                  <a:ext uri="{FF2B5EF4-FFF2-40B4-BE49-F238E27FC236}">
                    <a16:creationId xmlns:a16="http://schemas.microsoft.com/office/drawing/2014/main" id="{5EB4E956-337C-4321-A30B-81520CDC33CF}"/>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47" name="Line 247">
                <a:extLst>
                  <a:ext uri="{FF2B5EF4-FFF2-40B4-BE49-F238E27FC236}">
                    <a16:creationId xmlns:a16="http://schemas.microsoft.com/office/drawing/2014/main" id="{ECD13433-2324-4C21-BF2D-4D91DA2F512B}"/>
                  </a:ext>
                </a:extLst>
              </p:cNvPr>
              <p:cNvSpPr>
                <a:spLocks noChangeShapeType="1"/>
              </p:cNvSpPr>
              <p:nvPr/>
            </p:nvSpPr>
            <p:spPr bwMode="auto">
              <a:xfrm>
                <a:off x="4297364" y="4106862"/>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8" name="Groupe 17">
            <a:extLst>
              <a:ext uri="{FF2B5EF4-FFF2-40B4-BE49-F238E27FC236}">
                <a16:creationId xmlns:a16="http://schemas.microsoft.com/office/drawing/2014/main" id="{9F1F1E3D-48E4-4916-836E-79207DD1D92F}"/>
              </a:ext>
            </a:extLst>
          </p:cNvPr>
          <p:cNvGrpSpPr/>
          <p:nvPr/>
        </p:nvGrpSpPr>
        <p:grpSpPr>
          <a:xfrm>
            <a:off x="8691297" y="3789390"/>
            <a:ext cx="3092716" cy="738664"/>
            <a:chOff x="8691297" y="3789390"/>
            <a:chExt cx="3092716" cy="738664"/>
          </a:xfrm>
        </p:grpSpPr>
        <p:sp>
          <p:nvSpPr>
            <p:cNvPr id="323" name="ZoneTexte 158">
              <a:extLst>
                <a:ext uri="{FF2B5EF4-FFF2-40B4-BE49-F238E27FC236}">
                  <a16:creationId xmlns:a16="http://schemas.microsoft.com/office/drawing/2014/main" id="{F2C348D6-37B9-408A-B492-B5D41951CED7}"/>
                </a:ext>
              </a:extLst>
            </p:cNvPr>
            <p:cNvSpPr txBox="1"/>
            <p:nvPr/>
          </p:nvSpPr>
          <p:spPr>
            <a:xfrm>
              <a:off x="9292250" y="3789390"/>
              <a:ext cx="2491763"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1200" cap="none" spc="0" normalizeH="0" baseline="0" noProof="0">
                  <a:ln>
                    <a:noFill/>
                  </a:ln>
                  <a:solidFill>
                    <a:prstClr val="black"/>
                  </a:solidFill>
                  <a:effectLst/>
                  <a:uLnTx/>
                  <a:uFillTx/>
                  <a:latin typeface="Ubuntu"/>
                  <a:ea typeface="+mn-ea"/>
                  <a:cs typeface="+mn-cs"/>
                </a:rPr>
                <a:t>Wind, solar and batteries are requiring massive critical resources</a:t>
              </a:r>
            </a:p>
          </p:txBody>
        </p:sp>
        <p:grpSp>
          <p:nvGrpSpPr>
            <p:cNvPr id="17" name="Groupe 16">
              <a:extLst>
                <a:ext uri="{FF2B5EF4-FFF2-40B4-BE49-F238E27FC236}">
                  <a16:creationId xmlns:a16="http://schemas.microsoft.com/office/drawing/2014/main" id="{15EC77F8-0ABA-4ECC-852D-E7A462542044}"/>
                </a:ext>
              </a:extLst>
            </p:cNvPr>
            <p:cNvGrpSpPr/>
            <p:nvPr/>
          </p:nvGrpSpPr>
          <p:grpSpPr>
            <a:xfrm>
              <a:off x="8691297" y="3887854"/>
              <a:ext cx="576000" cy="576000"/>
              <a:chOff x="8691297" y="3887854"/>
              <a:chExt cx="576000" cy="576000"/>
            </a:xfrm>
          </p:grpSpPr>
          <p:sp>
            <p:nvSpPr>
              <p:cNvPr id="313" name="Ellipse 27">
                <a:extLst>
                  <a:ext uri="{FF2B5EF4-FFF2-40B4-BE49-F238E27FC236}">
                    <a16:creationId xmlns:a16="http://schemas.microsoft.com/office/drawing/2014/main" id="{8F953FC4-141C-4F34-8569-6E4CEF64AEC0}"/>
                  </a:ext>
                </a:extLst>
              </p:cNvPr>
              <p:cNvSpPr>
                <a:spLocks noChangeAspect="1"/>
              </p:cNvSpPr>
              <p:nvPr/>
            </p:nvSpPr>
            <p:spPr bwMode="gray">
              <a:xfrm>
                <a:off x="8691297" y="3887854"/>
                <a:ext cx="576000" cy="576000"/>
              </a:xfrm>
              <a:prstGeom prst="ellipse">
                <a:avLst/>
              </a:prstGeom>
              <a:solidFill>
                <a:schemeClr val="accent1"/>
              </a:solidFill>
              <a:ln w="19050">
                <a:noFill/>
                <a:headEnd/>
                <a:tailEnd/>
              </a:ln>
            </p:spPr>
            <p:style>
              <a:lnRef idx="1">
                <a:schemeClr val="accent3"/>
              </a:lnRef>
              <a:fillRef idx="3">
                <a:schemeClr val="accent3"/>
              </a:fillRef>
              <a:effectRef idx="2">
                <a:schemeClr val="accent3"/>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4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Ubuntu"/>
                  <a:ea typeface="+mn-ea"/>
                  <a:cs typeface="+mn-cs"/>
                </a:endParaRPr>
              </a:p>
            </p:txBody>
          </p:sp>
          <p:sp>
            <p:nvSpPr>
              <p:cNvPr id="348" name="Renewable_energy" descr="{&quot;Key&quot;:&quot;POWER_USER_SHAPE_ICON&quot;,&quot;Value&quot;:&quot;POWER_USER_SHAPE_ICON_STYLE_1&quot;}">
                <a:extLst>
                  <a:ext uri="{FF2B5EF4-FFF2-40B4-BE49-F238E27FC236}">
                    <a16:creationId xmlns:a16="http://schemas.microsoft.com/office/drawing/2014/main" id="{54D4B988-D9FA-43D9-9BEC-CDAFAE77170B}"/>
                  </a:ext>
                </a:extLst>
              </p:cNvPr>
              <p:cNvSpPr>
                <a:spLocks noChangeAspect="1" noEditPoints="1"/>
              </p:cNvSpPr>
              <p:nvPr>
                <p:custDataLst>
                  <p:tags r:id="rId1"/>
                </p:custDataLst>
              </p:nvPr>
            </p:nvSpPr>
            <p:spPr bwMode="auto">
              <a:xfrm>
                <a:off x="8777795" y="4001198"/>
                <a:ext cx="403004" cy="323964"/>
              </a:xfrm>
              <a:custGeom>
                <a:avLst/>
                <a:gdLst>
                  <a:gd name="T0" fmla="*/ 711 w 861"/>
                  <a:gd name="T1" fmla="*/ 643 h 691"/>
                  <a:gd name="T2" fmla="*/ 606 w 861"/>
                  <a:gd name="T3" fmla="*/ 643 h 691"/>
                  <a:gd name="T4" fmla="*/ 551 w 861"/>
                  <a:gd name="T5" fmla="*/ 643 h 691"/>
                  <a:gd name="T6" fmla="*/ 310 w 861"/>
                  <a:gd name="T7" fmla="*/ 437 h 691"/>
                  <a:gd name="T8" fmla="*/ 262 w 861"/>
                  <a:gd name="T9" fmla="*/ 606 h 691"/>
                  <a:gd name="T10" fmla="*/ 350 w 861"/>
                  <a:gd name="T11" fmla="*/ 558 h 691"/>
                  <a:gd name="T12" fmla="*/ 262 w 861"/>
                  <a:gd name="T13" fmla="*/ 606 h 691"/>
                  <a:gd name="T14" fmla="*/ 398 w 861"/>
                  <a:gd name="T15" fmla="*/ 474 h 691"/>
                  <a:gd name="T16" fmla="*/ 311 w 861"/>
                  <a:gd name="T17" fmla="*/ 522 h 691"/>
                  <a:gd name="T18" fmla="*/ 391 w 861"/>
                  <a:gd name="T19" fmla="*/ 558 h 691"/>
                  <a:gd name="T20" fmla="*/ 422 w 861"/>
                  <a:gd name="T21" fmla="*/ 606 h 691"/>
                  <a:gd name="T22" fmla="*/ 391 w 861"/>
                  <a:gd name="T23" fmla="*/ 558 h 691"/>
                  <a:gd name="T24" fmla="*/ 411 w 861"/>
                  <a:gd name="T25" fmla="*/ 523 h 691"/>
                  <a:gd name="T26" fmla="*/ 499 w 861"/>
                  <a:gd name="T27" fmla="*/ 474 h 691"/>
                  <a:gd name="T28" fmla="*/ 571 w 861"/>
                  <a:gd name="T29" fmla="*/ 523 h 691"/>
                  <a:gd name="T30" fmla="*/ 539 w 861"/>
                  <a:gd name="T31" fmla="*/ 474 h 691"/>
                  <a:gd name="T32" fmla="*/ 571 w 861"/>
                  <a:gd name="T33" fmla="*/ 523 h 691"/>
                  <a:gd name="T34" fmla="*/ 523 w 861"/>
                  <a:gd name="T35" fmla="*/ 606 h 691"/>
                  <a:gd name="T36" fmla="*/ 491 w 861"/>
                  <a:gd name="T37" fmla="*/ 558 h 691"/>
                  <a:gd name="T38" fmla="*/ 103 w 861"/>
                  <a:gd name="T39" fmla="*/ 125 h 691"/>
                  <a:gd name="T40" fmla="*/ 150 w 861"/>
                  <a:gd name="T41" fmla="*/ 125 h 691"/>
                  <a:gd name="T42" fmla="*/ 237 w 861"/>
                  <a:gd name="T43" fmla="*/ 276 h 691"/>
                  <a:gd name="T44" fmla="*/ 213 w 861"/>
                  <a:gd name="T45" fmla="*/ 317 h 691"/>
                  <a:gd name="T46" fmla="*/ 150 w 861"/>
                  <a:gd name="T47" fmla="*/ 620 h 691"/>
                  <a:gd name="T48" fmla="*/ 273 w 861"/>
                  <a:gd name="T49" fmla="*/ 98 h 691"/>
                  <a:gd name="T50" fmla="*/ 177 w 861"/>
                  <a:gd name="T51" fmla="*/ 15 h 691"/>
                  <a:gd name="T52" fmla="*/ 296 w 861"/>
                  <a:gd name="T53" fmla="*/ 57 h 691"/>
                  <a:gd name="T54" fmla="*/ 416 w 861"/>
                  <a:gd name="T55" fmla="*/ 15 h 691"/>
                  <a:gd name="T56" fmla="*/ 320 w 861"/>
                  <a:gd name="T57" fmla="*/ 98 h 691"/>
                  <a:gd name="T58" fmla="*/ 480 w 861"/>
                  <a:gd name="T59" fmla="*/ 390 h 691"/>
                  <a:gd name="T60" fmla="*/ 416 w 861"/>
                  <a:gd name="T61" fmla="*/ 317 h 691"/>
                  <a:gd name="T62" fmla="*/ 393 w 861"/>
                  <a:gd name="T63" fmla="*/ 276 h 691"/>
                  <a:gd name="T64" fmla="*/ 480 w 861"/>
                  <a:gd name="T65" fmla="*/ 125 h 691"/>
                  <a:gd name="T66" fmla="*/ 527 w 861"/>
                  <a:gd name="T67" fmla="*/ 125 h 691"/>
                  <a:gd name="T68" fmla="*/ 614 w 861"/>
                  <a:gd name="T69" fmla="*/ 276 h 691"/>
                  <a:gd name="T70" fmla="*/ 591 w 861"/>
                  <a:gd name="T71" fmla="*/ 317 h 691"/>
                  <a:gd name="T72" fmla="*/ 527 w 861"/>
                  <a:gd name="T73" fmla="*/ 390 h 691"/>
                  <a:gd name="T74" fmla="*/ 711 w 861"/>
                  <a:gd name="T75" fmla="*/ 182 h 691"/>
                  <a:gd name="T76" fmla="*/ 615 w 861"/>
                  <a:gd name="T77" fmla="*/ 210 h 691"/>
                  <a:gd name="T78" fmla="*/ 711 w 861"/>
                  <a:gd name="T79" fmla="*/ 128 h 691"/>
                  <a:gd name="T80" fmla="*/ 735 w 861"/>
                  <a:gd name="T81" fmla="*/ 3 h 691"/>
                  <a:gd name="T82" fmla="*/ 758 w 861"/>
                  <a:gd name="T83" fmla="*/ 128 h 691"/>
                  <a:gd name="T84" fmla="*/ 854 w 861"/>
                  <a:gd name="T85" fmla="*/ 210 h 691"/>
                  <a:gd name="T86" fmla="*/ 758 w 861"/>
                  <a:gd name="T87" fmla="*/ 182 h 691"/>
                  <a:gd name="T88" fmla="*/ 103 w 861"/>
                  <a:gd name="T89" fmla="*/ 691 h 691"/>
                  <a:gd name="T90" fmla="*/ 39 w 861"/>
                  <a:gd name="T91" fmla="*/ 317 h 691"/>
                  <a:gd name="T92" fmla="*/ 15 w 861"/>
                  <a:gd name="T93" fmla="*/ 276 h 691"/>
                  <a:gd name="T94" fmla="*/ 103 w 861"/>
                  <a:gd name="T95" fmla="*/ 125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1" h="691">
                    <a:moveTo>
                      <a:pt x="606" y="643"/>
                    </a:moveTo>
                    <a:lnTo>
                      <a:pt x="711" y="643"/>
                    </a:lnTo>
                    <a:lnTo>
                      <a:pt x="711" y="461"/>
                    </a:lnTo>
                    <a:lnTo>
                      <a:pt x="606" y="643"/>
                    </a:lnTo>
                    <a:close/>
                    <a:moveTo>
                      <a:pt x="191" y="643"/>
                    </a:moveTo>
                    <a:lnTo>
                      <a:pt x="551" y="643"/>
                    </a:lnTo>
                    <a:lnTo>
                      <a:pt x="670" y="437"/>
                    </a:lnTo>
                    <a:lnTo>
                      <a:pt x="310" y="437"/>
                    </a:lnTo>
                    <a:lnTo>
                      <a:pt x="191" y="643"/>
                    </a:lnTo>
                    <a:close/>
                    <a:moveTo>
                      <a:pt x="262" y="606"/>
                    </a:moveTo>
                    <a:lnTo>
                      <a:pt x="322" y="606"/>
                    </a:lnTo>
                    <a:lnTo>
                      <a:pt x="350" y="558"/>
                    </a:lnTo>
                    <a:lnTo>
                      <a:pt x="290" y="558"/>
                    </a:lnTo>
                    <a:lnTo>
                      <a:pt x="262" y="606"/>
                    </a:lnTo>
                    <a:close/>
                    <a:moveTo>
                      <a:pt x="370" y="523"/>
                    </a:moveTo>
                    <a:lnTo>
                      <a:pt x="398" y="474"/>
                    </a:lnTo>
                    <a:lnTo>
                      <a:pt x="339" y="474"/>
                    </a:lnTo>
                    <a:lnTo>
                      <a:pt x="311" y="522"/>
                    </a:lnTo>
                    <a:lnTo>
                      <a:pt x="370" y="523"/>
                    </a:lnTo>
                    <a:close/>
                    <a:moveTo>
                      <a:pt x="391" y="558"/>
                    </a:moveTo>
                    <a:lnTo>
                      <a:pt x="363" y="606"/>
                    </a:lnTo>
                    <a:lnTo>
                      <a:pt x="422" y="606"/>
                    </a:lnTo>
                    <a:lnTo>
                      <a:pt x="450" y="558"/>
                    </a:lnTo>
                    <a:lnTo>
                      <a:pt x="391" y="558"/>
                    </a:lnTo>
                    <a:close/>
                    <a:moveTo>
                      <a:pt x="439" y="474"/>
                    </a:moveTo>
                    <a:lnTo>
                      <a:pt x="411" y="523"/>
                    </a:lnTo>
                    <a:lnTo>
                      <a:pt x="471" y="523"/>
                    </a:lnTo>
                    <a:lnTo>
                      <a:pt x="499" y="474"/>
                    </a:lnTo>
                    <a:lnTo>
                      <a:pt x="439" y="474"/>
                    </a:lnTo>
                    <a:close/>
                    <a:moveTo>
                      <a:pt x="571" y="523"/>
                    </a:moveTo>
                    <a:lnTo>
                      <a:pt x="599" y="474"/>
                    </a:lnTo>
                    <a:lnTo>
                      <a:pt x="539" y="474"/>
                    </a:lnTo>
                    <a:lnTo>
                      <a:pt x="511" y="523"/>
                    </a:lnTo>
                    <a:lnTo>
                      <a:pt x="571" y="523"/>
                    </a:lnTo>
                    <a:close/>
                    <a:moveTo>
                      <a:pt x="463" y="606"/>
                    </a:moveTo>
                    <a:lnTo>
                      <a:pt x="523" y="606"/>
                    </a:lnTo>
                    <a:lnTo>
                      <a:pt x="550" y="558"/>
                    </a:lnTo>
                    <a:lnTo>
                      <a:pt x="491" y="558"/>
                    </a:lnTo>
                    <a:lnTo>
                      <a:pt x="463" y="606"/>
                    </a:lnTo>
                    <a:close/>
                    <a:moveTo>
                      <a:pt x="103" y="125"/>
                    </a:moveTo>
                    <a:cubicBezTo>
                      <a:pt x="103" y="112"/>
                      <a:pt x="113" y="101"/>
                      <a:pt x="126" y="101"/>
                    </a:cubicBezTo>
                    <a:cubicBezTo>
                      <a:pt x="139" y="101"/>
                      <a:pt x="150" y="112"/>
                      <a:pt x="150" y="125"/>
                    </a:cubicBezTo>
                    <a:lnTo>
                      <a:pt x="150" y="226"/>
                    </a:lnTo>
                    <a:lnTo>
                      <a:pt x="237" y="276"/>
                    </a:lnTo>
                    <a:cubicBezTo>
                      <a:pt x="248" y="283"/>
                      <a:pt x="252" y="297"/>
                      <a:pt x="246" y="308"/>
                    </a:cubicBezTo>
                    <a:cubicBezTo>
                      <a:pt x="239" y="319"/>
                      <a:pt x="225" y="323"/>
                      <a:pt x="213" y="317"/>
                    </a:cubicBezTo>
                    <a:lnTo>
                      <a:pt x="150" y="280"/>
                    </a:lnTo>
                    <a:lnTo>
                      <a:pt x="150" y="620"/>
                    </a:lnTo>
                    <a:lnTo>
                      <a:pt x="273" y="407"/>
                    </a:lnTo>
                    <a:lnTo>
                      <a:pt x="273" y="98"/>
                    </a:lnTo>
                    <a:lnTo>
                      <a:pt x="185" y="47"/>
                    </a:lnTo>
                    <a:cubicBezTo>
                      <a:pt x="174" y="41"/>
                      <a:pt x="170" y="26"/>
                      <a:pt x="177" y="15"/>
                    </a:cubicBezTo>
                    <a:cubicBezTo>
                      <a:pt x="183" y="4"/>
                      <a:pt x="198" y="0"/>
                      <a:pt x="209" y="7"/>
                    </a:cubicBezTo>
                    <a:lnTo>
                      <a:pt x="296" y="57"/>
                    </a:lnTo>
                    <a:lnTo>
                      <a:pt x="383" y="7"/>
                    </a:lnTo>
                    <a:cubicBezTo>
                      <a:pt x="395" y="0"/>
                      <a:pt x="409" y="4"/>
                      <a:pt x="416" y="15"/>
                    </a:cubicBezTo>
                    <a:cubicBezTo>
                      <a:pt x="422" y="27"/>
                      <a:pt x="418" y="41"/>
                      <a:pt x="407" y="47"/>
                    </a:cubicBezTo>
                    <a:lnTo>
                      <a:pt x="320" y="98"/>
                    </a:lnTo>
                    <a:lnTo>
                      <a:pt x="320" y="390"/>
                    </a:lnTo>
                    <a:lnTo>
                      <a:pt x="480" y="390"/>
                    </a:lnTo>
                    <a:lnTo>
                      <a:pt x="480" y="280"/>
                    </a:lnTo>
                    <a:lnTo>
                      <a:pt x="416" y="317"/>
                    </a:lnTo>
                    <a:cubicBezTo>
                      <a:pt x="405" y="323"/>
                      <a:pt x="391" y="319"/>
                      <a:pt x="384" y="308"/>
                    </a:cubicBezTo>
                    <a:cubicBezTo>
                      <a:pt x="378" y="297"/>
                      <a:pt x="382" y="283"/>
                      <a:pt x="393" y="276"/>
                    </a:cubicBezTo>
                    <a:lnTo>
                      <a:pt x="480" y="226"/>
                    </a:lnTo>
                    <a:lnTo>
                      <a:pt x="480" y="125"/>
                    </a:lnTo>
                    <a:cubicBezTo>
                      <a:pt x="480" y="112"/>
                      <a:pt x="491" y="101"/>
                      <a:pt x="504" y="101"/>
                    </a:cubicBezTo>
                    <a:cubicBezTo>
                      <a:pt x="517" y="101"/>
                      <a:pt x="527" y="112"/>
                      <a:pt x="527" y="125"/>
                    </a:cubicBezTo>
                    <a:lnTo>
                      <a:pt x="527" y="226"/>
                    </a:lnTo>
                    <a:lnTo>
                      <a:pt x="614" y="276"/>
                    </a:lnTo>
                    <a:cubicBezTo>
                      <a:pt x="626" y="283"/>
                      <a:pt x="630" y="297"/>
                      <a:pt x="623" y="308"/>
                    </a:cubicBezTo>
                    <a:cubicBezTo>
                      <a:pt x="616" y="319"/>
                      <a:pt x="602" y="323"/>
                      <a:pt x="591" y="317"/>
                    </a:cubicBezTo>
                    <a:lnTo>
                      <a:pt x="527" y="280"/>
                    </a:lnTo>
                    <a:lnTo>
                      <a:pt x="527" y="390"/>
                    </a:lnTo>
                    <a:lnTo>
                      <a:pt x="711" y="390"/>
                    </a:lnTo>
                    <a:lnTo>
                      <a:pt x="711" y="182"/>
                    </a:lnTo>
                    <a:lnTo>
                      <a:pt x="648" y="219"/>
                    </a:lnTo>
                    <a:cubicBezTo>
                      <a:pt x="636" y="225"/>
                      <a:pt x="622" y="221"/>
                      <a:pt x="615" y="210"/>
                    </a:cubicBezTo>
                    <a:cubicBezTo>
                      <a:pt x="609" y="199"/>
                      <a:pt x="613" y="185"/>
                      <a:pt x="624" y="178"/>
                    </a:cubicBezTo>
                    <a:lnTo>
                      <a:pt x="711" y="128"/>
                    </a:lnTo>
                    <a:lnTo>
                      <a:pt x="711" y="27"/>
                    </a:lnTo>
                    <a:cubicBezTo>
                      <a:pt x="711" y="14"/>
                      <a:pt x="722" y="3"/>
                      <a:pt x="735" y="3"/>
                    </a:cubicBezTo>
                    <a:cubicBezTo>
                      <a:pt x="748" y="3"/>
                      <a:pt x="758" y="14"/>
                      <a:pt x="758" y="27"/>
                    </a:cubicBezTo>
                    <a:lnTo>
                      <a:pt x="758" y="128"/>
                    </a:lnTo>
                    <a:lnTo>
                      <a:pt x="846" y="178"/>
                    </a:lnTo>
                    <a:cubicBezTo>
                      <a:pt x="857" y="185"/>
                      <a:pt x="861" y="199"/>
                      <a:pt x="854" y="210"/>
                    </a:cubicBezTo>
                    <a:cubicBezTo>
                      <a:pt x="848" y="221"/>
                      <a:pt x="833" y="225"/>
                      <a:pt x="822" y="219"/>
                    </a:cubicBezTo>
                    <a:lnTo>
                      <a:pt x="758" y="182"/>
                    </a:lnTo>
                    <a:lnTo>
                      <a:pt x="758" y="691"/>
                    </a:lnTo>
                    <a:lnTo>
                      <a:pt x="103" y="691"/>
                    </a:lnTo>
                    <a:lnTo>
                      <a:pt x="103" y="280"/>
                    </a:lnTo>
                    <a:lnTo>
                      <a:pt x="39" y="317"/>
                    </a:lnTo>
                    <a:cubicBezTo>
                      <a:pt x="28" y="323"/>
                      <a:pt x="13" y="319"/>
                      <a:pt x="7" y="308"/>
                    </a:cubicBezTo>
                    <a:cubicBezTo>
                      <a:pt x="0" y="297"/>
                      <a:pt x="4" y="283"/>
                      <a:pt x="15" y="276"/>
                    </a:cubicBezTo>
                    <a:lnTo>
                      <a:pt x="103" y="226"/>
                    </a:lnTo>
                    <a:lnTo>
                      <a:pt x="103" y="125"/>
                    </a:lnTo>
                    <a:lnTo>
                      <a:pt x="103" y="125"/>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349" name="TextBox 348">
            <a:extLst>
              <a:ext uri="{FF2B5EF4-FFF2-40B4-BE49-F238E27FC236}">
                <a16:creationId xmlns:a16="http://schemas.microsoft.com/office/drawing/2014/main" id="{0F18CF7A-0B1A-4D41-865B-B6C1AB09C790}"/>
              </a:ext>
            </a:extLst>
          </p:cNvPr>
          <p:cNvSpPr txBox="1"/>
          <p:nvPr/>
        </p:nvSpPr>
        <p:spPr>
          <a:xfrm>
            <a:off x="6365221" y="1377236"/>
            <a:ext cx="1358047" cy="1323439"/>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70AD"/>
                </a:solidFill>
                <a:effectLst/>
                <a:uLnTx/>
                <a:uFillTx/>
                <a:latin typeface="Ubuntu"/>
                <a:ea typeface="+mn-ea"/>
                <a:cs typeface="+mn-cs"/>
              </a:rPr>
              <a:t>FIGHT AGAINST CLIMATE CHANGE</a:t>
            </a:r>
          </a:p>
        </p:txBody>
      </p:sp>
      <p:sp>
        <p:nvSpPr>
          <p:cNvPr id="350" name="TextBox 349">
            <a:extLst>
              <a:ext uri="{FF2B5EF4-FFF2-40B4-BE49-F238E27FC236}">
                <a16:creationId xmlns:a16="http://schemas.microsoft.com/office/drawing/2014/main" id="{ED098532-855E-45ED-A479-A1E71F80EE0E}"/>
              </a:ext>
            </a:extLst>
          </p:cNvPr>
          <p:cNvSpPr txBox="1"/>
          <p:nvPr/>
        </p:nvSpPr>
        <p:spPr>
          <a:xfrm>
            <a:off x="10400841" y="1377236"/>
            <a:ext cx="1678569" cy="1015663"/>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a:noFill/>
                </a:ln>
                <a:solidFill>
                  <a:srgbClr val="0070AD"/>
                </a:solidFill>
                <a:effectLst/>
                <a:uLnTx/>
                <a:uFillTx/>
                <a:latin typeface="Ubuntu"/>
                <a:ea typeface="+mn-ea"/>
                <a:cs typeface="+mn-cs"/>
              </a:rPr>
              <a:t>SUPPLY</a:t>
            </a:r>
            <a:br>
              <a:rPr kumimoji="0" lang="en-US" sz="2000" b="1" i="0" u="none" strike="noStrike" kern="1200" cap="none" spc="0" normalizeH="0" baseline="0" noProof="0">
                <a:ln>
                  <a:noFill/>
                </a:ln>
                <a:solidFill>
                  <a:srgbClr val="0070AD"/>
                </a:solidFill>
                <a:effectLst/>
                <a:uLnTx/>
                <a:uFillTx/>
                <a:latin typeface="Ubuntu"/>
                <a:ea typeface="+mn-ea"/>
                <a:cs typeface="+mn-cs"/>
              </a:rPr>
            </a:br>
            <a:r>
              <a:rPr kumimoji="0" lang="en-US" sz="2000" b="1" i="0" u="none" strike="noStrike" kern="1200" cap="none" spc="0" normalizeH="0" baseline="0" noProof="0">
                <a:ln>
                  <a:noFill/>
                </a:ln>
                <a:solidFill>
                  <a:srgbClr val="0070AD"/>
                </a:solidFill>
                <a:effectLst/>
                <a:uLnTx/>
                <a:uFillTx/>
                <a:latin typeface="Ubuntu"/>
                <a:ea typeface="+mn-ea"/>
                <a:cs typeface="+mn-cs"/>
              </a:rPr>
              <a:t>OF RAW MATERIALS</a:t>
            </a:r>
          </a:p>
        </p:txBody>
      </p:sp>
      <p:grpSp>
        <p:nvGrpSpPr>
          <p:cNvPr id="5" name="Group 4">
            <a:extLst>
              <a:ext uri="{FF2B5EF4-FFF2-40B4-BE49-F238E27FC236}">
                <a16:creationId xmlns:a16="http://schemas.microsoft.com/office/drawing/2014/main" id="{DBAFE9E3-E006-40BC-A317-0D98564A058F}"/>
              </a:ext>
            </a:extLst>
          </p:cNvPr>
          <p:cNvGrpSpPr/>
          <p:nvPr/>
        </p:nvGrpSpPr>
        <p:grpSpPr>
          <a:xfrm>
            <a:off x="3962400" y="3789390"/>
            <a:ext cx="4240901" cy="2373357"/>
            <a:chOff x="3962400" y="3929472"/>
            <a:chExt cx="4240901" cy="2373357"/>
          </a:xfrm>
        </p:grpSpPr>
        <p:cxnSp>
          <p:nvCxnSpPr>
            <p:cNvPr id="4" name="Straight Connector 3">
              <a:extLst>
                <a:ext uri="{FF2B5EF4-FFF2-40B4-BE49-F238E27FC236}">
                  <a16:creationId xmlns:a16="http://schemas.microsoft.com/office/drawing/2014/main" id="{C0B524BC-369D-4FCB-9CA0-C9850137A924}"/>
                </a:ext>
              </a:extLst>
            </p:cNvPr>
            <p:cNvCxnSpPr/>
            <p:nvPr/>
          </p:nvCxnSpPr>
          <p:spPr>
            <a:xfrm>
              <a:off x="3962400" y="3929472"/>
              <a:ext cx="0" cy="237335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CCFB27BB-6A64-44F0-AFAB-90896A6DD68E}"/>
                </a:ext>
              </a:extLst>
            </p:cNvPr>
            <p:cNvCxnSpPr/>
            <p:nvPr/>
          </p:nvCxnSpPr>
          <p:spPr>
            <a:xfrm>
              <a:off x="8203301" y="3929472"/>
              <a:ext cx="0" cy="2373357"/>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913739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26F4BB80-49FF-4E98-AF23-CC0F414AA6AA}"/>
              </a:ext>
            </a:extLst>
          </p:cNvPr>
          <p:cNvSpPr>
            <a:spLocks noGrp="1"/>
          </p:cNvSpPr>
          <p:nvPr>
            <p:ph type="title"/>
          </p:nvPr>
        </p:nvSpPr>
        <p:spPr/>
        <p:txBody>
          <a:bodyPr/>
          <a:lstStyle/>
          <a:p>
            <a:r>
              <a:rPr lang="en-US" dirty="0"/>
              <a:t>Europe </a:t>
            </a:r>
            <a:r>
              <a:rPr lang="en-US" dirty="0" err="1"/>
              <a:t>action’S</a:t>
            </a:r>
            <a:r>
              <a:rPr lang="en-US" dirty="0"/>
              <a:t> against climate change ARE accelerated by the Russian invasion of Ukraine</a:t>
            </a:r>
            <a:endParaRPr lang="fr-FR" dirty="0"/>
          </a:p>
        </p:txBody>
      </p:sp>
      <p:sp>
        <p:nvSpPr>
          <p:cNvPr id="6" name="ZoneTexte 5">
            <a:extLst>
              <a:ext uri="{FF2B5EF4-FFF2-40B4-BE49-F238E27FC236}">
                <a16:creationId xmlns:a16="http://schemas.microsoft.com/office/drawing/2014/main" id="{D51D72A5-E9BD-45AA-AAEB-75796756E761}"/>
              </a:ext>
            </a:extLst>
          </p:cNvPr>
          <p:cNvSpPr txBox="1"/>
          <p:nvPr/>
        </p:nvSpPr>
        <p:spPr>
          <a:xfrm>
            <a:off x="1332956" y="1414276"/>
            <a:ext cx="1835759" cy="369332"/>
          </a:xfrm>
          <a:prstGeom prst="rect">
            <a:avLst/>
          </a:prstGeom>
          <a:noFill/>
          <a:ln>
            <a:solidFill>
              <a:schemeClr val="tx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b="1">
                <a:solidFill>
                  <a:prstClr val="black"/>
                </a:solidFill>
                <a:latin typeface="Ubuntu"/>
              </a:rPr>
              <a:t>2021: Fit for 55</a:t>
            </a:r>
            <a:endParaRPr kumimoji="0" lang="fr-FR" sz="1800" b="1" i="0" u="none" strike="noStrike" kern="1200" cap="none" spc="0" normalizeH="0" baseline="0" noProof="0">
              <a:ln>
                <a:noFill/>
              </a:ln>
              <a:solidFill>
                <a:prstClr val="black"/>
              </a:solidFill>
              <a:effectLst/>
              <a:uLnTx/>
              <a:uFillTx/>
              <a:latin typeface="Ubuntu"/>
              <a:ea typeface="+mn-ea"/>
              <a:cs typeface="+mn-cs"/>
            </a:endParaRPr>
          </a:p>
        </p:txBody>
      </p:sp>
      <p:sp>
        <p:nvSpPr>
          <p:cNvPr id="7" name="ZoneTexte 6">
            <a:extLst>
              <a:ext uri="{FF2B5EF4-FFF2-40B4-BE49-F238E27FC236}">
                <a16:creationId xmlns:a16="http://schemas.microsoft.com/office/drawing/2014/main" id="{08A9BA5F-F0F4-43A6-95C7-B10A53FA63F5}"/>
              </a:ext>
            </a:extLst>
          </p:cNvPr>
          <p:cNvSpPr txBox="1"/>
          <p:nvPr/>
        </p:nvSpPr>
        <p:spPr>
          <a:xfrm>
            <a:off x="9213132" y="1343595"/>
            <a:ext cx="2549096" cy="369332"/>
          </a:xfrm>
          <a:prstGeom prst="rect">
            <a:avLst/>
          </a:prstGeom>
          <a:noFill/>
          <a:ln>
            <a:solidFill>
              <a:schemeClr val="tx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prstClr val="black"/>
                </a:solidFill>
                <a:effectLst/>
                <a:uLnTx/>
                <a:uFillTx/>
                <a:latin typeface="Ubuntu"/>
                <a:ea typeface="+mn-ea"/>
                <a:cs typeface="+mn-cs"/>
              </a:rPr>
              <a:t>2023: Reaction to IRA</a:t>
            </a:r>
          </a:p>
        </p:txBody>
      </p:sp>
      <p:cxnSp>
        <p:nvCxnSpPr>
          <p:cNvPr id="8" name="Straight Connector 14">
            <a:extLst>
              <a:ext uri="{FF2B5EF4-FFF2-40B4-BE49-F238E27FC236}">
                <a16:creationId xmlns:a16="http://schemas.microsoft.com/office/drawing/2014/main" id="{DB3690D1-2EEA-4367-8D3A-54F833AED14C}"/>
              </a:ext>
            </a:extLst>
          </p:cNvPr>
          <p:cNvCxnSpPr>
            <a:cxnSpLocks/>
          </p:cNvCxnSpPr>
          <p:nvPr/>
        </p:nvCxnSpPr>
        <p:spPr>
          <a:xfrm>
            <a:off x="3685088" y="1676463"/>
            <a:ext cx="0" cy="4680520"/>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5" name="Groupe 44">
            <a:extLst>
              <a:ext uri="{FF2B5EF4-FFF2-40B4-BE49-F238E27FC236}">
                <a16:creationId xmlns:a16="http://schemas.microsoft.com/office/drawing/2014/main" id="{6E8D3653-7B64-4EFE-9CF8-0485970F554D}"/>
              </a:ext>
            </a:extLst>
          </p:cNvPr>
          <p:cNvGrpSpPr/>
          <p:nvPr/>
        </p:nvGrpSpPr>
        <p:grpSpPr>
          <a:xfrm>
            <a:off x="4128516" y="1827141"/>
            <a:ext cx="7029278" cy="4735894"/>
            <a:chOff x="2285911" y="1228311"/>
            <a:chExt cx="9730986" cy="5004708"/>
          </a:xfrm>
        </p:grpSpPr>
        <p:sp>
          <p:nvSpPr>
            <p:cNvPr id="46" name="Chevron 70">
              <a:extLst>
                <a:ext uri="{FF2B5EF4-FFF2-40B4-BE49-F238E27FC236}">
                  <a16:creationId xmlns:a16="http://schemas.microsoft.com/office/drawing/2014/main" id="{A52ADAB3-1A11-4FCB-870F-85D38B8D7C67}"/>
                </a:ext>
              </a:extLst>
            </p:cNvPr>
            <p:cNvSpPr/>
            <p:nvPr/>
          </p:nvSpPr>
          <p:spPr>
            <a:xfrm>
              <a:off x="7940434" y="3645663"/>
              <a:ext cx="1016321" cy="360050"/>
            </a:xfrm>
            <a:prstGeom prst="chevron">
              <a:avLst>
                <a:gd name="adj" fmla="val 31641"/>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714375" rtl="0" eaLnBrk="1" fontAlgn="base" latinLnBrk="0" hangingPunct="1">
                <a:lnSpc>
                  <a:spcPct val="100000"/>
                </a:lnSpc>
                <a:spcBef>
                  <a:spcPts val="600"/>
                </a:spcBef>
                <a:spcAft>
                  <a:spcPts val="0"/>
                </a:spcAft>
                <a:buClr>
                  <a:srgbClr val="000000"/>
                </a:buClr>
                <a:buSzTx/>
                <a:buFontTx/>
                <a:buNone/>
                <a:tabLst/>
                <a:defRPr/>
              </a:pPr>
              <a:r>
                <a:rPr kumimoji="0" lang="de-DE" sz="1200" b="1" i="0" u="none" strike="noStrike" kern="1200" cap="none" spc="0" normalizeH="0" noProof="0" dirty="0">
                  <a:ln>
                    <a:noFill/>
                  </a:ln>
                  <a:solidFill>
                    <a:srgbClr val="FFFFFF"/>
                  </a:solidFill>
                  <a:effectLst/>
                  <a:uLnTx/>
                  <a:uFillTx/>
                  <a:ea typeface="+mn-ea"/>
                  <a:cs typeface="+mn-cs"/>
                </a:rPr>
                <a:t>Sep</a:t>
              </a:r>
              <a:endParaRPr kumimoji="0" lang="en-US" sz="1200" b="1" i="0" u="none" strike="noStrike" kern="1200" cap="none" spc="0" normalizeH="0" noProof="0" dirty="0">
                <a:ln>
                  <a:noFill/>
                </a:ln>
                <a:solidFill>
                  <a:srgbClr val="FFFFFF"/>
                </a:solidFill>
                <a:effectLst/>
                <a:uLnTx/>
                <a:uFillTx/>
                <a:ea typeface="+mn-ea"/>
                <a:cs typeface="+mn-cs"/>
              </a:endParaRPr>
            </a:p>
          </p:txBody>
        </p:sp>
        <p:sp>
          <p:nvSpPr>
            <p:cNvPr id="47" name="Chevron 71">
              <a:extLst>
                <a:ext uri="{FF2B5EF4-FFF2-40B4-BE49-F238E27FC236}">
                  <a16:creationId xmlns:a16="http://schemas.microsoft.com/office/drawing/2014/main" id="{AE40F7C6-54FD-4668-8CAF-626C924F2E3C}"/>
                </a:ext>
              </a:extLst>
            </p:cNvPr>
            <p:cNvSpPr/>
            <p:nvPr/>
          </p:nvSpPr>
          <p:spPr>
            <a:xfrm>
              <a:off x="2285911" y="3645663"/>
              <a:ext cx="1016321" cy="360050"/>
            </a:xfrm>
            <a:prstGeom prst="chevron">
              <a:avLst>
                <a:gd name="adj" fmla="val 31641"/>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714375" rtl="0" eaLnBrk="1" fontAlgn="base" latinLnBrk="0" hangingPunct="1">
                <a:lnSpc>
                  <a:spcPct val="100000"/>
                </a:lnSpc>
                <a:spcBef>
                  <a:spcPts val="600"/>
                </a:spcBef>
                <a:spcAft>
                  <a:spcPts val="0"/>
                </a:spcAft>
                <a:buClr>
                  <a:srgbClr val="000000"/>
                </a:buClr>
                <a:buSzTx/>
                <a:buFontTx/>
                <a:buNone/>
                <a:tabLst/>
                <a:defRPr/>
              </a:pPr>
              <a:r>
                <a:rPr kumimoji="0" lang="de-DE" sz="1200" b="1" i="0" u="none" strike="noStrike" kern="1200" cap="none" spc="0" normalizeH="0" noProof="0" dirty="0">
                  <a:ln>
                    <a:noFill/>
                  </a:ln>
                  <a:solidFill>
                    <a:srgbClr val="FFFFFF"/>
                  </a:solidFill>
                  <a:effectLst/>
                  <a:uLnTx/>
                  <a:uFillTx/>
                  <a:ea typeface="+mn-ea"/>
                  <a:cs typeface="+mn-cs"/>
                </a:rPr>
                <a:t>Mar</a:t>
              </a:r>
              <a:endParaRPr kumimoji="0" lang="en-US" sz="1200" b="1" i="0" u="none" strike="noStrike" kern="1200" cap="none" spc="0" normalizeH="0" noProof="0" dirty="0">
                <a:ln>
                  <a:noFill/>
                </a:ln>
                <a:solidFill>
                  <a:srgbClr val="FFFFFF"/>
                </a:solidFill>
                <a:effectLst/>
                <a:uLnTx/>
                <a:uFillTx/>
                <a:ea typeface="+mn-ea"/>
                <a:cs typeface="+mn-cs"/>
              </a:endParaRPr>
            </a:p>
          </p:txBody>
        </p:sp>
        <p:sp>
          <p:nvSpPr>
            <p:cNvPr id="48" name="Chevron 72">
              <a:extLst>
                <a:ext uri="{FF2B5EF4-FFF2-40B4-BE49-F238E27FC236}">
                  <a16:creationId xmlns:a16="http://schemas.microsoft.com/office/drawing/2014/main" id="{C48F56F6-FABF-44E0-ADE5-28EFFE31C4AD}"/>
                </a:ext>
              </a:extLst>
            </p:cNvPr>
            <p:cNvSpPr/>
            <p:nvPr/>
          </p:nvSpPr>
          <p:spPr>
            <a:xfrm>
              <a:off x="3228332" y="3645663"/>
              <a:ext cx="1016321" cy="360050"/>
            </a:xfrm>
            <a:prstGeom prst="chevron">
              <a:avLst>
                <a:gd name="adj" fmla="val 31641"/>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714375" rtl="0" eaLnBrk="1" fontAlgn="base" latinLnBrk="0" hangingPunct="1">
                <a:lnSpc>
                  <a:spcPct val="100000"/>
                </a:lnSpc>
                <a:spcBef>
                  <a:spcPts val="600"/>
                </a:spcBef>
                <a:spcAft>
                  <a:spcPts val="0"/>
                </a:spcAft>
                <a:buClr>
                  <a:srgbClr val="000000"/>
                </a:buClr>
                <a:buSzTx/>
                <a:buFontTx/>
                <a:buNone/>
                <a:tabLst/>
                <a:defRPr/>
              </a:pPr>
              <a:r>
                <a:rPr kumimoji="0" lang="de-DE" sz="1200" b="1" i="0" u="none" strike="noStrike" kern="1200" cap="none" spc="0" normalizeH="0" noProof="0" dirty="0">
                  <a:ln>
                    <a:noFill/>
                  </a:ln>
                  <a:solidFill>
                    <a:srgbClr val="FFFFFF"/>
                  </a:solidFill>
                  <a:effectLst/>
                  <a:uLnTx/>
                  <a:uFillTx/>
                  <a:ea typeface="+mn-ea"/>
                  <a:cs typeface="+mn-cs"/>
                </a:rPr>
                <a:t>Apr</a:t>
              </a:r>
              <a:endParaRPr kumimoji="0" lang="en-US" sz="1200" b="1" i="0" u="none" strike="noStrike" kern="1200" cap="none" spc="0" normalizeH="0" noProof="0" dirty="0">
                <a:ln>
                  <a:noFill/>
                </a:ln>
                <a:solidFill>
                  <a:srgbClr val="FFFFFF"/>
                </a:solidFill>
                <a:effectLst/>
                <a:uLnTx/>
                <a:uFillTx/>
                <a:ea typeface="+mn-ea"/>
                <a:cs typeface="+mn-cs"/>
              </a:endParaRPr>
            </a:p>
          </p:txBody>
        </p:sp>
        <p:sp>
          <p:nvSpPr>
            <p:cNvPr id="49" name="Chevron 73">
              <a:extLst>
                <a:ext uri="{FF2B5EF4-FFF2-40B4-BE49-F238E27FC236}">
                  <a16:creationId xmlns:a16="http://schemas.microsoft.com/office/drawing/2014/main" id="{C22A2C18-A4FF-4E63-BD36-EAFF61CE00BB}"/>
                </a:ext>
              </a:extLst>
            </p:cNvPr>
            <p:cNvSpPr/>
            <p:nvPr/>
          </p:nvSpPr>
          <p:spPr>
            <a:xfrm>
              <a:off x="4170752" y="3645663"/>
              <a:ext cx="1016321" cy="356821"/>
            </a:xfrm>
            <a:prstGeom prst="chevron">
              <a:avLst>
                <a:gd name="adj" fmla="val 31641"/>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714375" rtl="0" eaLnBrk="1" fontAlgn="base" latinLnBrk="0" hangingPunct="1">
                <a:lnSpc>
                  <a:spcPct val="100000"/>
                </a:lnSpc>
                <a:spcBef>
                  <a:spcPts val="600"/>
                </a:spcBef>
                <a:spcAft>
                  <a:spcPts val="0"/>
                </a:spcAft>
                <a:buClr>
                  <a:srgbClr val="000000"/>
                </a:buClr>
                <a:buSzTx/>
                <a:buFontTx/>
                <a:buNone/>
                <a:tabLst/>
                <a:defRPr/>
              </a:pPr>
              <a:r>
                <a:rPr kumimoji="0" lang="de-DE" sz="1200" b="1" i="0" u="none" strike="noStrike" kern="1200" cap="none" spc="0" normalizeH="0" noProof="0" dirty="0">
                  <a:ln>
                    <a:noFill/>
                  </a:ln>
                  <a:solidFill>
                    <a:srgbClr val="FFFFFF"/>
                  </a:solidFill>
                  <a:effectLst/>
                  <a:uLnTx/>
                  <a:uFillTx/>
                  <a:ea typeface="+mn-ea"/>
                  <a:cs typeface="+mn-cs"/>
                </a:rPr>
                <a:t>May</a:t>
              </a:r>
              <a:endParaRPr kumimoji="0" lang="en-US" sz="1200" b="1" i="0" u="none" strike="noStrike" kern="1200" cap="none" spc="0" normalizeH="0" noProof="0" dirty="0">
                <a:ln>
                  <a:noFill/>
                </a:ln>
                <a:solidFill>
                  <a:srgbClr val="FFFFFF"/>
                </a:solidFill>
                <a:effectLst/>
                <a:uLnTx/>
                <a:uFillTx/>
                <a:ea typeface="+mn-ea"/>
                <a:cs typeface="+mn-cs"/>
              </a:endParaRPr>
            </a:p>
          </p:txBody>
        </p:sp>
        <p:sp>
          <p:nvSpPr>
            <p:cNvPr id="50" name="Chevron 74">
              <a:extLst>
                <a:ext uri="{FF2B5EF4-FFF2-40B4-BE49-F238E27FC236}">
                  <a16:creationId xmlns:a16="http://schemas.microsoft.com/office/drawing/2014/main" id="{ADF12853-35D5-43B6-AD66-E482479E6E14}"/>
                </a:ext>
              </a:extLst>
            </p:cNvPr>
            <p:cNvSpPr/>
            <p:nvPr/>
          </p:nvSpPr>
          <p:spPr>
            <a:xfrm>
              <a:off x="5113173" y="3645663"/>
              <a:ext cx="1016321" cy="360050"/>
            </a:xfrm>
            <a:prstGeom prst="chevron">
              <a:avLst>
                <a:gd name="adj" fmla="val 31641"/>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714375" rtl="0" eaLnBrk="1" fontAlgn="base" latinLnBrk="0" hangingPunct="1">
                <a:lnSpc>
                  <a:spcPct val="100000"/>
                </a:lnSpc>
                <a:spcBef>
                  <a:spcPts val="600"/>
                </a:spcBef>
                <a:spcAft>
                  <a:spcPts val="0"/>
                </a:spcAft>
                <a:buClr>
                  <a:srgbClr val="000000"/>
                </a:buClr>
                <a:buSzTx/>
                <a:buFontTx/>
                <a:buNone/>
                <a:tabLst/>
                <a:defRPr/>
              </a:pPr>
              <a:r>
                <a:rPr kumimoji="0" lang="en-US" sz="1200" b="1" i="0" u="none" strike="noStrike" kern="1200" cap="none" spc="0" normalizeH="0" noProof="0" dirty="0">
                  <a:ln>
                    <a:noFill/>
                  </a:ln>
                  <a:solidFill>
                    <a:srgbClr val="FFFFFF"/>
                  </a:solidFill>
                  <a:effectLst/>
                  <a:uLnTx/>
                  <a:uFillTx/>
                  <a:ea typeface="+mn-ea"/>
                  <a:cs typeface="+mn-cs"/>
                </a:rPr>
                <a:t>Jun</a:t>
              </a:r>
            </a:p>
          </p:txBody>
        </p:sp>
        <p:sp>
          <p:nvSpPr>
            <p:cNvPr id="51" name="Chevron 75">
              <a:extLst>
                <a:ext uri="{FF2B5EF4-FFF2-40B4-BE49-F238E27FC236}">
                  <a16:creationId xmlns:a16="http://schemas.microsoft.com/office/drawing/2014/main" id="{0006D58F-2792-4083-9085-84EAE3886956}"/>
                </a:ext>
              </a:extLst>
            </p:cNvPr>
            <p:cNvSpPr/>
            <p:nvPr/>
          </p:nvSpPr>
          <p:spPr>
            <a:xfrm>
              <a:off x="6055593" y="3645663"/>
              <a:ext cx="1016321" cy="360050"/>
            </a:xfrm>
            <a:prstGeom prst="chevron">
              <a:avLst>
                <a:gd name="adj" fmla="val 31641"/>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714375" rtl="0" eaLnBrk="1" fontAlgn="base" latinLnBrk="0" hangingPunct="1">
                <a:lnSpc>
                  <a:spcPct val="100000"/>
                </a:lnSpc>
                <a:spcBef>
                  <a:spcPts val="600"/>
                </a:spcBef>
                <a:spcAft>
                  <a:spcPts val="0"/>
                </a:spcAft>
                <a:buClr>
                  <a:srgbClr val="000000"/>
                </a:buClr>
                <a:buSzTx/>
                <a:buFontTx/>
                <a:buNone/>
                <a:tabLst/>
                <a:defRPr/>
              </a:pPr>
              <a:r>
                <a:rPr kumimoji="0" lang="de-DE" sz="1200" b="1" i="0" u="none" strike="noStrike" kern="1200" cap="none" spc="0" normalizeH="0" noProof="0" dirty="0">
                  <a:ln>
                    <a:noFill/>
                  </a:ln>
                  <a:solidFill>
                    <a:srgbClr val="FFFFFF"/>
                  </a:solidFill>
                  <a:effectLst/>
                  <a:uLnTx/>
                  <a:uFillTx/>
                  <a:ea typeface="+mn-ea"/>
                  <a:cs typeface="+mn-cs"/>
                </a:rPr>
                <a:t>Jul</a:t>
              </a:r>
              <a:endParaRPr kumimoji="0" lang="en-US" sz="1200" b="1" i="0" u="none" strike="noStrike" kern="1200" cap="none" spc="0" normalizeH="0" noProof="0" dirty="0">
                <a:ln>
                  <a:noFill/>
                </a:ln>
                <a:solidFill>
                  <a:srgbClr val="FFFFFF"/>
                </a:solidFill>
                <a:effectLst/>
                <a:uLnTx/>
                <a:uFillTx/>
                <a:ea typeface="+mn-ea"/>
                <a:cs typeface="+mn-cs"/>
              </a:endParaRPr>
            </a:p>
          </p:txBody>
        </p:sp>
        <p:sp>
          <p:nvSpPr>
            <p:cNvPr id="52" name="Chevron 76">
              <a:extLst>
                <a:ext uri="{FF2B5EF4-FFF2-40B4-BE49-F238E27FC236}">
                  <a16:creationId xmlns:a16="http://schemas.microsoft.com/office/drawing/2014/main" id="{A0FF7629-481F-48D7-B42C-B0ED8D6B7E12}"/>
                </a:ext>
              </a:extLst>
            </p:cNvPr>
            <p:cNvSpPr/>
            <p:nvPr/>
          </p:nvSpPr>
          <p:spPr>
            <a:xfrm>
              <a:off x="6998014" y="3645663"/>
              <a:ext cx="1016321" cy="360050"/>
            </a:xfrm>
            <a:prstGeom prst="chevron">
              <a:avLst>
                <a:gd name="adj" fmla="val 31641"/>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714375" rtl="0" eaLnBrk="1" fontAlgn="base" latinLnBrk="0" hangingPunct="1">
                <a:lnSpc>
                  <a:spcPct val="100000"/>
                </a:lnSpc>
                <a:spcBef>
                  <a:spcPts val="600"/>
                </a:spcBef>
                <a:spcAft>
                  <a:spcPts val="0"/>
                </a:spcAft>
                <a:buClr>
                  <a:srgbClr val="000000"/>
                </a:buClr>
                <a:buSzTx/>
                <a:buFontTx/>
                <a:buNone/>
                <a:tabLst/>
                <a:defRPr/>
              </a:pPr>
              <a:r>
                <a:rPr kumimoji="0" lang="de-DE" sz="1200" b="1" i="0" u="none" strike="noStrike" kern="1200" cap="none" spc="0" normalizeH="0" noProof="0" dirty="0">
                  <a:ln>
                    <a:noFill/>
                  </a:ln>
                  <a:solidFill>
                    <a:srgbClr val="FFFFFF"/>
                  </a:solidFill>
                  <a:effectLst/>
                  <a:uLnTx/>
                  <a:uFillTx/>
                  <a:ea typeface="+mn-ea"/>
                  <a:cs typeface="+mn-cs"/>
                </a:rPr>
                <a:t>Aug</a:t>
              </a:r>
              <a:endParaRPr kumimoji="0" lang="en-US" sz="1200" b="1" i="0" u="none" strike="noStrike" kern="1200" cap="none" spc="0" normalizeH="0" noProof="0" dirty="0">
                <a:ln>
                  <a:noFill/>
                </a:ln>
                <a:solidFill>
                  <a:srgbClr val="FFFFFF"/>
                </a:solidFill>
                <a:effectLst/>
                <a:uLnTx/>
                <a:uFillTx/>
                <a:ea typeface="+mn-ea"/>
                <a:cs typeface="+mn-cs"/>
              </a:endParaRPr>
            </a:p>
          </p:txBody>
        </p:sp>
        <p:grpSp>
          <p:nvGrpSpPr>
            <p:cNvPr id="53" name="Group 104">
              <a:extLst>
                <a:ext uri="{FF2B5EF4-FFF2-40B4-BE49-F238E27FC236}">
                  <a16:creationId xmlns:a16="http://schemas.microsoft.com/office/drawing/2014/main" id="{9890E5DB-1609-4EA0-A1D9-F4ACD98DE0A4}"/>
                </a:ext>
              </a:extLst>
            </p:cNvPr>
            <p:cNvGrpSpPr/>
            <p:nvPr/>
          </p:nvGrpSpPr>
          <p:grpSpPr>
            <a:xfrm>
              <a:off x="2461612" y="1228311"/>
              <a:ext cx="2348186" cy="2520089"/>
              <a:chOff x="-1027944" y="1107233"/>
              <a:chExt cx="2348186" cy="2520089"/>
            </a:xfrm>
          </p:grpSpPr>
          <p:sp>
            <p:nvSpPr>
              <p:cNvPr id="67" name="Text Placeholder 7">
                <a:extLst>
                  <a:ext uri="{FF2B5EF4-FFF2-40B4-BE49-F238E27FC236}">
                    <a16:creationId xmlns:a16="http://schemas.microsoft.com/office/drawing/2014/main" id="{84504E58-0C51-48F3-ACEC-D2229D82FE2A}"/>
                  </a:ext>
                </a:extLst>
              </p:cNvPr>
              <p:cNvSpPr txBox="1">
                <a:spLocks/>
              </p:cNvSpPr>
              <p:nvPr/>
            </p:nvSpPr>
            <p:spPr>
              <a:xfrm>
                <a:off x="-1027944" y="1107233"/>
                <a:ext cx="1869916" cy="2211203"/>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200" b="1" i="0" u="none" strike="noStrike" kern="1200" cap="none" spc="0" normalizeH="0" noProof="0" dirty="0">
                    <a:ln>
                      <a:noFill/>
                    </a:ln>
                    <a:effectLst/>
                    <a:uLnTx/>
                    <a:uFillTx/>
                    <a:ea typeface="+mn-ea"/>
                    <a:cs typeface="+mn-cs"/>
                  </a:rPr>
                  <a:t>Announcement to end the EU's dependence on Russian gas by 2027 and to accelerate the green transition</a:t>
                </a:r>
              </a:p>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lang="en-US" sz="1200" b="1" dirty="0"/>
                  <a:t>€210 bn </a:t>
                </a:r>
                <a:r>
                  <a:rPr lang="en-US" b="1" dirty="0"/>
                  <a:t>investments</a:t>
                </a:r>
                <a:endParaRPr kumimoji="0" lang="en-US" sz="1400" b="1" i="0" u="none" strike="noStrike" kern="1200" cap="none" spc="0" normalizeH="0" noProof="0" dirty="0">
                  <a:ln>
                    <a:noFill/>
                  </a:ln>
                  <a:effectLst/>
                  <a:uLnTx/>
                  <a:uFillTx/>
                  <a:ea typeface="+mn-ea"/>
                  <a:cs typeface="+mn-cs"/>
                </a:endParaRPr>
              </a:p>
            </p:txBody>
          </p:sp>
          <p:cxnSp>
            <p:nvCxnSpPr>
              <p:cNvPr id="68" name="Straight Connector 106">
                <a:extLst>
                  <a:ext uri="{FF2B5EF4-FFF2-40B4-BE49-F238E27FC236}">
                    <a16:creationId xmlns:a16="http://schemas.microsoft.com/office/drawing/2014/main" id="{25B00A46-1BD9-4187-9C8F-F389DAE2CF76}"/>
                  </a:ext>
                </a:extLst>
              </p:cNvPr>
              <p:cNvCxnSpPr>
                <a:cxnSpLocks/>
              </p:cNvCxnSpPr>
              <p:nvPr/>
            </p:nvCxnSpPr>
            <p:spPr>
              <a:xfrm>
                <a:off x="1228978" y="1332260"/>
                <a:ext cx="0" cy="2204314"/>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69" name="Rectangle 1">
                <a:extLst>
                  <a:ext uri="{FF2B5EF4-FFF2-40B4-BE49-F238E27FC236}">
                    <a16:creationId xmlns:a16="http://schemas.microsoft.com/office/drawing/2014/main" id="{86779888-381F-460B-B34A-A8161D4EBD63}"/>
                  </a:ext>
                </a:extLst>
              </p:cNvPr>
              <p:cNvSpPr/>
              <p:nvPr/>
            </p:nvSpPr>
            <p:spPr>
              <a:xfrm rot="2700000">
                <a:off x="1138230" y="3445310"/>
                <a:ext cx="181496" cy="18252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a:ln>
                    <a:noFill/>
                  </a:ln>
                  <a:solidFill>
                    <a:prstClr val="black"/>
                  </a:solidFill>
                  <a:effectLst/>
                  <a:uLnTx/>
                  <a:uFillTx/>
                  <a:ea typeface="+mn-ea"/>
                  <a:cs typeface="+mn-cs"/>
                </a:endParaRPr>
              </a:p>
            </p:txBody>
          </p:sp>
        </p:grpSp>
        <p:sp>
          <p:nvSpPr>
            <p:cNvPr id="54" name="Text Placeholder 7">
              <a:extLst>
                <a:ext uri="{FF2B5EF4-FFF2-40B4-BE49-F238E27FC236}">
                  <a16:creationId xmlns:a16="http://schemas.microsoft.com/office/drawing/2014/main" id="{02955DAA-0A6E-4148-81C6-83DE4552E3B0}"/>
                </a:ext>
              </a:extLst>
            </p:cNvPr>
            <p:cNvSpPr txBox="1">
              <a:spLocks/>
            </p:cNvSpPr>
            <p:nvPr/>
          </p:nvSpPr>
          <p:spPr>
            <a:xfrm>
              <a:off x="2710788" y="4119582"/>
              <a:ext cx="1591116" cy="1611060"/>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200" b="1" i="0" u="none" strike="noStrike" kern="1200" cap="none" spc="0" normalizeH="0" noProof="0" dirty="0">
                  <a:ln>
                    <a:noFill/>
                  </a:ln>
                  <a:effectLst/>
                  <a:uLnTx/>
                  <a:uFillTx/>
                  <a:ea typeface="+mn-ea"/>
                  <a:cs typeface="+mn-cs"/>
                </a:rPr>
                <a:t>Agreement to phase out the EU's dependence on Russian fossil fuels </a:t>
              </a:r>
            </a:p>
          </p:txBody>
        </p:sp>
        <p:cxnSp>
          <p:nvCxnSpPr>
            <p:cNvPr id="55" name="Straight Connector 118">
              <a:extLst>
                <a:ext uri="{FF2B5EF4-FFF2-40B4-BE49-F238E27FC236}">
                  <a16:creationId xmlns:a16="http://schemas.microsoft.com/office/drawing/2014/main" id="{86ADD446-5B4E-4A2E-B104-18A982945A25}"/>
                </a:ext>
              </a:extLst>
            </p:cNvPr>
            <p:cNvCxnSpPr>
              <a:cxnSpLocks/>
            </p:cNvCxnSpPr>
            <p:nvPr/>
          </p:nvCxnSpPr>
          <p:spPr>
            <a:xfrm>
              <a:off x="2710789" y="4002483"/>
              <a:ext cx="0" cy="1518207"/>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56" name="Rectangle 1">
              <a:extLst>
                <a:ext uri="{FF2B5EF4-FFF2-40B4-BE49-F238E27FC236}">
                  <a16:creationId xmlns:a16="http://schemas.microsoft.com/office/drawing/2014/main" id="{F5CFDFFF-7EF1-418E-B945-A8BA6C1FAEA6}"/>
                </a:ext>
              </a:extLst>
            </p:cNvPr>
            <p:cNvSpPr/>
            <p:nvPr/>
          </p:nvSpPr>
          <p:spPr>
            <a:xfrm rot="2700000">
              <a:off x="2620042" y="3913108"/>
              <a:ext cx="181496" cy="18252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a:ln>
                  <a:noFill/>
                </a:ln>
                <a:solidFill>
                  <a:prstClr val="black"/>
                </a:solidFill>
                <a:effectLst/>
                <a:uLnTx/>
                <a:uFillTx/>
                <a:ea typeface="+mn-ea"/>
                <a:cs typeface="+mn-cs"/>
              </a:endParaRPr>
            </a:p>
          </p:txBody>
        </p:sp>
        <p:sp>
          <p:nvSpPr>
            <p:cNvPr id="57" name="Text Placeholder 7">
              <a:extLst>
                <a:ext uri="{FF2B5EF4-FFF2-40B4-BE49-F238E27FC236}">
                  <a16:creationId xmlns:a16="http://schemas.microsoft.com/office/drawing/2014/main" id="{927ECA00-2EB9-4F70-8A90-4D5797AF1B40}"/>
                </a:ext>
              </a:extLst>
            </p:cNvPr>
            <p:cNvSpPr txBox="1">
              <a:spLocks/>
            </p:cNvSpPr>
            <p:nvPr/>
          </p:nvSpPr>
          <p:spPr>
            <a:xfrm>
              <a:off x="5617275" y="4131874"/>
              <a:ext cx="1522748" cy="1611060"/>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lang="en-US" sz="1200" b="1" dirty="0"/>
                <a:t>Gas storage regulation</a:t>
              </a:r>
              <a:endParaRPr kumimoji="0" lang="en-US" sz="1200" b="1" i="0" u="none" strike="noStrike" kern="1200" cap="none" spc="0" normalizeH="0" noProof="0" dirty="0">
                <a:ln>
                  <a:noFill/>
                </a:ln>
                <a:effectLst/>
                <a:uLnTx/>
                <a:uFillTx/>
                <a:ea typeface="+mn-ea"/>
                <a:cs typeface="+mn-cs"/>
              </a:endParaRPr>
            </a:p>
          </p:txBody>
        </p:sp>
        <p:cxnSp>
          <p:nvCxnSpPr>
            <p:cNvPr id="58" name="Straight Connector 122">
              <a:extLst>
                <a:ext uri="{FF2B5EF4-FFF2-40B4-BE49-F238E27FC236}">
                  <a16:creationId xmlns:a16="http://schemas.microsoft.com/office/drawing/2014/main" id="{C0492D4F-6B67-4D4B-9BF2-A02A991710B9}"/>
                </a:ext>
              </a:extLst>
            </p:cNvPr>
            <p:cNvCxnSpPr>
              <a:cxnSpLocks/>
            </p:cNvCxnSpPr>
            <p:nvPr/>
          </p:nvCxnSpPr>
          <p:spPr>
            <a:xfrm>
              <a:off x="5660781" y="4002483"/>
              <a:ext cx="0" cy="1518207"/>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59" name="Rectangle 1">
              <a:extLst>
                <a:ext uri="{FF2B5EF4-FFF2-40B4-BE49-F238E27FC236}">
                  <a16:creationId xmlns:a16="http://schemas.microsoft.com/office/drawing/2014/main" id="{FDAD12B9-DAA9-445F-84F7-10B52FA2647F}"/>
                </a:ext>
              </a:extLst>
            </p:cNvPr>
            <p:cNvSpPr/>
            <p:nvPr/>
          </p:nvSpPr>
          <p:spPr>
            <a:xfrm rot="2700000">
              <a:off x="5570034" y="3913107"/>
              <a:ext cx="181496" cy="18252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dirty="0">
                <a:ln>
                  <a:noFill/>
                </a:ln>
                <a:solidFill>
                  <a:prstClr val="black"/>
                </a:solidFill>
                <a:effectLst/>
                <a:uLnTx/>
                <a:uFillTx/>
                <a:ea typeface="+mn-ea"/>
                <a:cs typeface="+mn-cs"/>
              </a:endParaRPr>
            </a:p>
          </p:txBody>
        </p:sp>
        <p:sp>
          <p:nvSpPr>
            <p:cNvPr id="60" name="Text Placeholder 7">
              <a:extLst>
                <a:ext uri="{FF2B5EF4-FFF2-40B4-BE49-F238E27FC236}">
                  <a16:creationId xmlns:a16="http://schemas.microsoft.com/office/drawing/2014/main" id="{1D672FE4-BB7B-4C63-B9A3-92FD8ADCDA3C}"/>
                </a:ext>
              </a:extLst>
            </p:cNvPr>
            <p:cNvSpPr txBox="1">
              <a:spLocks/>
            </p:cNvSpPr>
            <p:nvPr/>
          </p:nvSpPr>
          <p:spPr>
            <a:xfrm>
              <a:off x="7417245" y="4117802"/>
              <a:ext cx="1439733" cy="2115217"/>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200" b="1" i="0" u="none" strike="noStrike" kern="1200" cap="none" spc="0" normalizeH="0" noProof="0" dirty="0">
                  <a:ln>
                    <a:noFill/>
                  </a:ln>
                  <a:effectLst/>
                  <a:uLnTx/>
                  <a:uFillTx/>
                  <a:ea typeface="+mn-ea"/>
                  <a:cs typeface="+mn-cs"/>
                </a:rPr>
                <a:t>Agreement to reduce natural gas demand by 15% this winter</a:t>
              </a:r>
            </a:p>
          </p:txBody>
        </p:sp>
        <p:cxnSp>
          <p:nvCxnSpPr>
            <p:cNvPr id="61" name="Straight Connector 127">
              <a:extLst>
                <a:ext uri="{FF2B5EF4-FFF2-40B4-BE49-F238E27FC236}">
                  <a16:creationId xmlns:a16="http://schemas.microsoft.com/office/drawing/2014/main" id="{973F23DF-F989-44AA-9C1C-F6ACA76A5B58}"/>
                </a:ext>
              </a:extLst>
            </p:cNvPr>
            <p:cNvCxnSpPr>
              <a:cxnSpLocks/>
            </p:cNvCxnSpPr>
            <p:nvPr/>
          </p:nvCxnSpPr>
          <p:spPr>
            <a:xfrm>
              <a:off x="7517140" y="4016758"/>
              <a:ext cx="0" cy="1518207"/>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62" name="Rectangle 1">
              <a:extLst>
                <a:ext uri="{FF2B5EF4-FFF2-40B4-BE49-F238E27FC236}">
                  <a16:creationId xmlns:a16="http://schemas.microsoft.com/office/drawing/2014/main" id="{106CD5AA-4861-4221-80E2-2BB512301504}"/>
                </a:ext>
              </a:extLst>
            </p:cNvPr>
            <p:cNvSpPr/>
            <p:nvPr/>
          </p:nvSpPr>
          <p:spPr>
            <a:xfrm rot="2700000">
              <a:off x="7403843" y="3925494"/>
              <a:ext cx="181496" cy="18252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dirty="0">
                <a:ln>
                  <a:noFill/>
                </a:ln>
                <a:solidFill>
                  <a:prstClr val="black"/>
                </a:solidFill>
                <a:effectLst/>
                <a:uLnTx/>
                <a:uFillTx/>
                <a:ea typeface="+mn-ea"/>
                <a:cs typeface="+mn-cs"/>
              </a:endParaRPr>
            </a:p>
          </p:txBody>
        </p:sp>
        <p:grpSp>
          <p:nvGrpSpPr>
            <p:cNvPr id="63" name="Group 108">
              <a:extLst>
                <a:ext uri="{FF2B5EF4-FFF2-40B4-BE49-F238E27FC236}">
                  <a16:creationId xmlns:a16="http://schemas.microsoft.com/office/drawing/2014/main" id="{5FFA3F57-1245-4E35-8C00-5205A48E5B47}"/>
                </a:ext>
              </a:extLst>
            </p:cNvPr>
            <p:cNvGrpSpPr/>
            <p:nvPr/>
          </p:nvGrpSpPr>
          <p:grpSpPr>
            <a:xfrm>
              <a:off x="8328632" y="1230483"/>
              <a:ext cx="3688265" cy="2533166"/>
              <a:chOff x="1250817" y="1109405"/>
              <a:chExt cx="3688265" cy="2533166"/>
            </a:xfrm>
          </p:grpSpPr>
          <p:sp>
            <p:nvSpPr>
              <p:cNvPr id="64" name="Text Placeholder 7">
                <a:extLst>
                  <a:ext uri="{FF2B5EF4-FFF2-40B4-BE49-F238E27FC236}">
                    <a16:creationId xmlns:a16="http://schemas.microsoft.com/office/drawing/2014/main" id="{D8EB36F9-3AE6-4939-B9B6-C88DA411298D}"/>
                  </a:ext>
                </a:extLst>
              </p:cNvPr>
              <p:cNvSpPr txBox="1">
                <a:spLocks/>
              </p:cNvSpPr>
              <p:nvPr/>
            </p:nvSpPr>
            <p:spPr>
              <a:xfrm>
                <a:off x="2615967" y="1109405"/>
                <a:ext cx="2323115" cy="2173961"/>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lang="en-US" sz="1200" b="1" dirty="0"/>
                  <a:t>Non paper on Electricity Market Reform: </a:t>
                </a:r>
              </a:p>
              <a:p>
                <a:pPr lvl="1">
                  <a:buClr>
                    <a:srgbClr val="0070AD"/>
                  </a:buClr>
                  <a:defRPr/>
                </a:pPr>
                <a:r>
                  <a:rPr kumimoji="0" lang="en-US" sz="1200" b="1" i="0" u="none" strike="noStrike" kern="1200" cap="none" spc="0" normalizeH="0" noProof="0" dirty="0" err="1">
                    <a:ln>
                      <a:noFill/>
                    </a:ln>
                    <a:effectLst/>
                    <a:uLnTx/>
                    <a:uFillTx/>
                    <a:ea typeface="+mn-ea"/>
                    <a:cs typeface="+mn-cs"/>
                  </a:rPr>
                  <a:t>CfD</a:t>
                </a:r>
                <a:r>
                  <a:rPr kumimoji="0" lang="en-US" sz="1200" b="1" i="0" u="none" strike="noStrike" kern="1200" cap="none" spc="0" normalizeH="0" noProof="0" dirty="0">
                    <a:ln>
                      <a:noFill/>
                    </a:ln>
                    <a:effectLst/>
                    <a:uLnTx/>
                    <a:uFillTx/>
                    <a:ea typeface="+mn-ea"/>
                    <a:cs typeface="+mn-cs"/>
                  </a:rPr>
                  <a:t> mechanism for</a:t>
                </a:r>
                <a:r>
                  <a:rPr lang="en-US" sz="1200" b="1" dirty="0"/>
                  <a:t> </a:t>
                </a:r>
                <a:r>
                  <a:rPr kumimoji="0" lang="en-US" sz="1200" b="1" i="0" u="none" strike="noStrike" kern="1200" cap="none" spc="0" normalizeH="0" noProof="0" dirty="0">
                    <a:ln>
                      <a:noFill/>
                    </a:ln>
                    <a:effectLst/>
                    <a:uLnTx/>
                    <a:uFillTx/>
                    <a:ea typeface="+mn-ea"/>
                    <a:cs typeface="+mn-cs"/>
                  </a:rPr>
                  <a:t>intramarginal generation</a:t>
                </a:r>
              </a:p>
              <a:p>
                <a:pPr lvl="1">
                  <a:buClr>
                    <a:srgbClr val="0070AD"/>
                  </a:buClr>
                  <a:defRPr/>
                </a:pPr>
                <a:r>
                  <a:rPr lang="en-US" sz="1200" b="1" dirty="0"/>
                  <a:t>PPA are encouraged</a:t>
                </a:r>
              </a:p>
              <a:p>
                <a:pPr lvl="1">
                  <a:buClr>
                    <a:srgbClr val="0070AD"/>
                  </a:buClr>
                  <a:defRPr/>
                </a:pPr>
                <a:r>
                  <a:rPr kumimoji="0" lang="en-US" sz="1200" b="1" i="0" u="none" strike="noStrike" kern="1200" cap="none" spc="0" normalizeH="0" noProof="0" dirty="0">
                    <a:ln>
                      <a:noFill/>
                    </a:ln>
                    <a:effectLst/>
                    <a:uLnTx/>
                    <a:uFillTx/>
                    <a:ea typeface="+mn-ea"/>
                    <a:cs typeface="+mn-cs"/>
                  </a:rPr>
                  <a:t>More Storage and Demand response</a:t>
                </a:r>
              </a:p>
            </p:txBody>
          </p:sp>
          <p:cxnSp>
            <p:nvCxnSpPr>
              <p:cNvPr id="65" name="Straight Connector 110">
                <a:extLst>
                  <a:ext uri="{FF2B5EF4-FFF2-40B4-BE49-F238E27FC236}">
                    <a16:creationId xmlns:a16="http://schemas.microsoft.com/office/drawing/2014/main" id="{26E9DB85-9A6D-4B6B-9DA4-B1E17FEA6306}"/>
                  </a:ext>
                </a:extLst>
              </p:cNvPr>
              <p:cNvCxnSpPr>
                <a:cxnSpLocks/>
              </p:cNvCxnSpPr>
              <p:nvPr/>
            </p:nvCxnSpPr>
            <p:spPr>
              <a:xfrm>
                <a:off x="1341642" y="1332260"/>
                <a:ext cx="0" cy="2204314"/>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66" name="Rectangle 1">
                <a:extLst>
                  <a:ext uri="{FF2B5EF4-FFF2-40B4-BE49-F238E27FC236}">
                    <a16:creationId xmlns:a16="http://schemas.microsoft.com/office/drawing/2014/main" id="{37EE4CD8-70F5-46F5-906B-797E6B546418}"/>
                  </a:ext>
                </a:extLst>
              </p:cNvPr>
              <p:cNvSpPr/>
              <p:nvPr/>
            </p:nvSpPr>
            <p:spPr>
              <a:xfrm rot="2700000">
                <a:off x="1251333" y="3460559"/>
                <a:ext cx="181496" cy="182528"/>
              </a:xfrm>
              <a:prstGeom prst="rect">
                <a:avLst/>
              </a:prstGeom>
              <a:solidFill>
                <a:srgbClr val="BA29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dirty="0">
                  <a:ln>
                    <a:noFill/>
                  </a:ln>
                  <a:solidFill>
                    <a:prstClr val="black"/>
                  </a:solidFill>
                  <a:effectLst/>
                  <a:uLnTx/>
                  <a:uFillTx/>
                  <a:ea typeface="+mn-ea"/>
                  <a:cs typeface="+mn-cs"/>
                </a:endParaRPr>
              </a:p>
            </p:txBody>
          </p:sp>
        </p:grpSp>
      </p:grpSp>
      <p:sp>
        <p:nvSpPr>
          <p:cNvPr id="81" name="ZoneTexte 80">
            <a:extLst>
              <a:ext uri="{FF2B5EF4-FFF2-40B4-BE49-F238E27FC236}">
                <a16:creationId xmlns:a16="http://schemas.microsoft.com/office/drawing/2014/main" id="{E82128EE-C38C-4414-A395-81BEC1F4E8AF}"/>
              </a:ext>
            </a:extLst>
          </p:cNvPr>
          <p:cNvSpPr txBox="1"/>
          <p:nvPr/>
        </p:nvSpPr>
        <p:spPr>
          <a:xfrm>
            <a:off x="731558" y="1951624"/>
            <a:ext cx="2673973" cy="1077218"/>
          </a:xfrm>
          <a:prstGeom prst="rect">
            <a:avLst/>
          </a:prstGeom>
          <a:noFill/>
        </p:spPr>
        <p:txBody>
          <a:bodyPr wrap="square">
            <a:spAutoFit/>
          </a:bodyPr>
          <a:lstStyle/>
          <a:p>
            <a:pPr algn="ctr"/>
            <a:r>
              <a:rPr lang="en-GB" sz="1600" b="1" dirty="0">
                <a:latin typeface="Calibri" panose="020F0502020204030204" pitchFamily="34" charset="0"/>
                <a:ea typeface="Calibri" panose="020F0502020204030204" pitchFamily="34" charset="0"/>
                <a:cs typeface="Times New Roman" panose="02020603050405020304" pitchFamily="18" charset="0"/>
              </a:rPr>
              <a:t>R</a:t>
            </a:r>
            <a:r>
              <a:rPr lang="en-GB" sz="1600" b="1" dirty="0">
                <a:effectLst/>
                <a:latin typeface="Calibri" panose="020F0502020204030204" pitchFamily="34" charset="0"/>
                <a:ea typeface="Calibri" panose="020F0502020204030204" pitchFamily="34" charset="0"/>
                <a:cs typeface="Times New Roman" panose="02020603050405020304" pitchFamily="18" charset="0"/>
              </a:rPr>
              <a:t>educe EU’s GHG emissions by at least 55% by 2030 to achieve climate neutrality in 2050</a:t>
            </a:r>
            <a:endParaRPr lang="fr-FR" sz="1600" b="1" dirty="0"/>
          </a:p>
        </p:txBody>
      </p:sp>
      <p:sp>
        <p:nvSpPr>
          <p:cNvPr id="82" name="Flèche : bas 81">
            <a:extLst>
              <a:ext uri="{FF2B5EF4-FFF2-40B4-BE49-F238E27FC236}">
                <a16:creationId xmlns:a16="http://schemas.microsoft.com/office/drawing/2014/main" id="{A7F11904-B270-45E3-A5A1-A55B32A58693}"/>
              </a:ext>
            </a:extLst>
          </p:cNvPr>
          <p:cNvSpPr/>
          <p:nvPr/>
        </p:nvSpPr>
        <p:spPr>
          <a:xfrm>
            <a:off x="2025969" y="2985259"/>
            <a:ext cx="483392" cy="387104"/>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84" name="ZoneTexte 83">
            <a:extLst>
              <a:ext uri="{FF2B5EF4-FFF2-40B4-BE49-F238E27FC236}">
                <a16:creationId xmlns:a16="http://schemas.microsoft.com/office/drawing/2014/main" id="{D34B3DFD-7868-4CEA-A75A-2995A317A4E3}"/>
              </a:ext>
            </a:extLst>
          </p:cNvPr>
          <p:cNvSpPr txBox="1"/>
          <p:nvPr/>
        </p:nvSpPr>
        <p:spPr>
          <a:xfrm>
            <a:off x="978344" y="3456832"/>
            <a:ext cx="2673973" cy="369332"/>
          </a:xfrm>
          <a:prstGeom prst="rect">
            <a:avLst/>
          </a:prstGeom>
          <a:noFill/>
        </p:spPr>
        <p:txBody>
          <a:bodyPr wrap="square">
            <a:spAutoFit/>
          </a:bodyPr>
          <a:lstStyle/>
          <a:p>
            <a:pPr algn="ctr"/>
            <a:r>
              <a:rPr lang="en-US" b="1" dirty="0">
                <a:solidFill>
                  <a:schemeClr val="accent6">
                    <a:lumMod val="60000"/>
                    <a:lumOff val="40000"/>
                  </a:schemeClr>
                </a:solidFill>
              </a:rPr>
              <a:t>13 measures including</a:t>
            </a:r>
          </a:p>
        </p:txBody>
      </p:sp>
      <p:sp>
        <p:nvSpPr>
          <p:cNvPr id="86" name="ZoneTexte 85">
            <a:extLst>
              <a:ext uri="{FF2B5EF4-FFF2-40B4-BE49-F238E27FC236}">
                <a16:creationId xmlns:a16="http://schemas.microsoft.com/office/drawing/2014/main" id="{4F017DA9-754F-4DFC-9127-298FBDBE977F}"/>
              </a:ext>
            </a:extLst>
          </p:cNvPr>
          <p:cNvSpPr txBox="1"/>
          <p:nvPr/>
        </p:nvSpPr>
        <p:spPr>
          <a:xfrm>
            <a:off x="885703" y="3910634"/>
            <a:ext cx="2799385" cy="830997"/>
          </a:xfrm>
          <a:prstGeom prst="rect">
            <a:avLst/>
          </a:prstGeom>
          <a:noFill/>
        </p:spPr>
        <p:txBody>
          <a:bodyPr wrap="square">
            <a:spAutoFit/>
          </a:bodyPr>
          <a:lstStyle/>
          <a:p>
            <a:pPr algn="ctr"/>
            <a:r>
              <a:rPr lang="en-GB" sz="1600" b="1" dirty="0">
                <a:latin typeface="Calibri" panose="020F0502020204030204" pitchFamily="34" charset="0"/>
                <a:ea typeface="Calibri" panose="020F0502020204030204" pitchFamily="34" charset="0"/>
                <a:cs typeface="Times New Roman" panose="02020603050405020304" pitchFamily="18" charset="0"/>
              </a:rPr>
              <a:t>E</a:t>
            </a:r>
            <a:r>
              <a:rPr lang="en-GB" sz="1600" b="1" dirty="0">
                <a:effectLst/>
                <a:latin typeface="Calibri" panose="020F0502020204030204" pitchFamily="34" charset="0"/>
                <a:ea typeface="Calibri" panose="020F0502020204030204" pitchFamily="34" charset="0"/>
                <a:cs typeface="Times New Roman" panose="02020603050405020304" pitchFamily="18" charset="0"/>
              </a:rPr>
              <a:t>stablishment of a carbon tax at the borders of the EU(adopted)</a:t>
            </a:r>
            <a:endParaRPr lang="fr-FR" sz="1600" b="1" dirty="0"/>
          </a:p>
        </p:txBody>
      </p:sp>
      <p:sp>
        <p:nvSpPr>
          <p:cNvPr id="88" name="ZoneTexte 87">
            <a:extLst>
              <a:ext uri="{FF2B5EF4-FFF2-40B4-BE49-F238E27FC236}">
                <a16:creationId xmlns:a16="http://schemas.microsoft.com/office/drawing/2014/main" id="{1558ED85-4972-4091-89AD-D486DD9A4301}"/>
              </a:ext>
            </a:extLst>
          </p:cNvPr>
          <p:cNvSpPr txBox="1"/>
          <p:nvPr/>
        </p:nvSpPr>
        <p:spPr>
          <a:xfrm>
            <a:off x="860157" y="5710488"/>
            <a:ext cx="2799385" cy="584775"/>
          </a:xfrm>
          <a:prstGeom prst="rect">
            <a:avLst/>
          </a:prstGeom>
          <a:noFill/>
        </p:spPr>
        <p:txBody>
          <a:bodyPr wrap="square">
            <a:spAutoFit/>
          </a:bodyPr>
          <a:lstStyle/>
          <a:p>
            <a:pPr algn="ctr"/>
            <a:r>
              <a:rPr lang="en-US" sz="1600" b="1" dirty="0">
                <a:latin typeface="Calibri" panose="020F0502020204030204" pitchFamily="34" charset="0"/>
                <a:ea typeface="Calibri" panose="020F0502020204030204" pitchFamily="34" charset="0"/>
                <a:cs typeface="Times New Roman" panose="02020603050405020304" pitchFamily="18" charset="0"/>
              </a:rPr>
              <a:t>The end of thermal cars sales by 2035</a:t>
            </a:r>
            <a:endParaRPr lang="fr-FR" sz="1600" b="1" dirty="0"/>
          </a:p>
        </p:txBody>
      </p:sp>
      <p:sp>
        <p:nvSpPr>
          <p:cNvPr id="87" name="ZoneTexte 86">
            <a:extLst>
              <a:ext uri="{FF2B5EF4-FFF2-40B4-BE49-F238E27FC236}">
                <a16:creationId xmlns:a16="http://schemas.microsoft.com/office/drawing/2014/main" id="{A9C8CD01-4413-4762-8629-0426227DBA3E}"/>
              </a:ext>
            </a:extLst>
          </p:cNvPr>
          <p:cNvSpPr txBox="1"/>
          <p:nvPr/>
        </p:nvSpPr>
        <p:spPr>
          <a:xfrm>
            <a:off x="706452" y="4894972"/>
            <a:ext cx="2799385" cy="584775"/>
          </a:xfrm>
          <a:prstGeom prst="rect">
            <a:avLst/>
          </a:prstGeom>
          <a:noFill/>
        </p:spPr>
        <p:txBody>
          <a:bodyPr wrap="square">
            <a:spAutoFit/>
          </a:bodyPr>
          <a:lstStyle/>
          <a:p>
            <a:pPr algn="ctr"/>
            <a:r>
              <a:rPr lang="en-GB" sz="1600" b="1" dirty="0">
                <a:effectLst/>
                <a:latin typeface="Calibri" panose="020F0502020204030204" pitchFamily="34" charset="0"/>
                <a:ea typeface="Calibri" panose="020F0502020204030204" pitchFamily="34" charset="0"/>
                <a:cs typeface="Times New Roman" panose="02020603050405020304" pitchFamily="18" charset="0"/>
              </a:rPr>
              <a:t>The strengthening of the European carbon market</a:t>
            </a:r>
            <a:endParaRPr lang="fr-FR" sz="1600" b="1" dirty="0"/>
          </a:p>
        </p:txBody>
      </p:sp>
      <p:pic>
        <p:nvPicPr>
          <p:cNvPr id="2" name="Image 1">
            <a:extLst>
              <a:ext uri="{FF2B5EF4-FFF2-40B4-BE49-F238E27FC236}">
                <a16:creationId xmlns:a16="http://schemas.microsoft.com/office/drawing/2014/main" id="{EA1E95B3-15D1-4AE8-8B48-18EBEBD3CF92}"/>
              </a:ext>
            </a:extLst>
          </p:cNvPr>
          <p:cNvPicPr>
            <a:picLocks noChangeAspect="1"/>
          </p:cNvPicPr>
          <p:nvPr/>
        </p:nvPicPr>
        <p:blipFill>
          <a:blip r:embed="rId2"/>
          <a:stretch>
            <a:fillRect/>
          </a:stretch>
        </p:blipFill>
        <p:spPr>
          <a:xfrm>
            <a:off x="9241185" y="1482049"/>
            <a:ext cx="12193" cy="4688230"/>
          </a:xfrm>
          <a:prstGeom prst="rect">
            <a:avLst/>
          </a:prstGeom>
        </p:spPr>
      </p:pic>
      <p:pic>
        <p:nvPicPr>
          <p:cNvPr id="11" name="Image 10">
            <a:extLst>
              <a:ext uri="{FF2B5EF4-FFF2-40B4-BE49-F238E27FC236}">
                <a16:creationId xmlns:a16="http://schemas.microsoft.com/office/drawing/2014/main" id="{766BE79A-E668-44A0-BDAD-D8752B1A7082}"/>
              </a:ext>
            </a:extLst>
          </p:cNvPr>
          <p:cNvPicPr>
            <a:picLocks noChangeAspect="1"/>
          </p:cNvPicPr>
          <p:nvPr/>
        </p:nvPicPr>
        <p:blipFill>
          <a:blip r:embed="rId3"/>
          <a:stretch>
            <a:fillRect/>
          </a:stretch>
        </p:blipFill>
        <p:spPr>
          <a:xfrm>
            <a:off x="7369324" y="1910887"/>
            <a:ext cx="1219306" cy="2060627"/>
          </a:xfrm>
          <a:prstGeom prst="rect">
            <a:avLst/>
          </a:prstGeom>
        </p:spPr>
      </p:pic>
      <p:pic>
        <p:nvPicPr>
          <p:cNvPr id="12" name="Image 11">
            <a:extLst>
              <a:ext uri="{FF2B5EF4-FFF2-40B4-BE49-F238E27FC236}">
                <a16:creationId xmlns:a16="http://schemas.microsoft.com/office/drawing/2014/main" id="{04BEB991-44AC-4607-B66A-8CC7E953E149}"/>
              </a:ext>
            </a:extLst>
          </p:cNvPr>
          <p:cNvPicPr>
            <a:picLocks noChangeAspect="1"/>
          </p:cNvPicPr>
          <p:nvPr/>
        </p:nvPicPr>
        <p:blipFill>
          <a:blip r:embed="rId4"/>
          <a:stretch>
            <a:fillRect/>
          </a:stretch>
        </p:blipFill>
        <p:spPr>
          <a:xfrm>
            <a:off x="10788880" y="4139852"/>
            <a:ext cx="731583" cy="353599"/>
          </a:xfrm>
          <a:prstGeom prst="rect">
            <a:avLst/>
          </a:prstGeom>
        </p:spPr>
      </p:pic>
      <p:pic>
        <p:nvPicPr>
          <p:cNvPr id="16" name="Image 15">
            <a:extLst>
              <a:ext uri="{FF2B5EF4-FFF2-40B4-BE49-F238E27FC236}">
                <a16:creationId xmlns:a16="http://schemas.microsoft.com/office/drawing/2014/main" id="{B8F1B1E5-9969-422B-B86F-0571619F8990}"/>
              </a:ext>
            </a:extLst>
          </p:cNvPr>
          <p:cNvPicPr>
            <a:picLocks noChangeAspect="1"/>
          </p:cNvPicPr>
          <p:nvPr/>
        </p:nvPicPr>
        <p:blipFill>
          <a:blip r:embed="rId5"/>
          <a:stretch>
            <a:fillRect/>
          </a:stretch>
        </p:blipFill>
        <p:spPr>
          <a:xfrm>
            <a:off x="5204550" y="1369925"/>
            <a:ext cx="2219136" cy="493819"/>
          </a:xfrm>
          <a:prstGeom prst="rect">
            <a:avLst/>
          </a:prstGeom>
        </p:spPr>
      </p:pic>
      <p:pic>
        <p:nvPicPr>
          <p:cNvPr id="17" name="Image 16">
            <a:extLst>
              <a:ext uri="{FF2B5EF4-FFF2-40B4-BE49-F238E27FC236}">
                <a16:creationId xmlns:a16="http://schemas.microsoft.com/office/drawing/2014/main" id="{19B5DCFD-4565-4EE3-B5C2-86ECD4FDC81B}"/>
              </a:ext>
            </a:extLst>
          </p:cNvPr>
          <p:cNvPicPr>
            <a:picLocks noChangeAspect="1"/>
          </p:cNvPicPr>
          <p:nvPr/>
        </p:nvPicPr>
        <p:blipFill>
          <a:blip r:embed="rId6"/>
          <a:stretch>
            <a:fillRect/>
          </a:stretch>
        </p:blipFill>
        <p:spPr>
          <a:xfrm>
            <a:off x="11044935" y="3991783"/>
            <a:ext cx="219475" cy="219475"/>
          </a:xfrm>
          <a:prstGeom prst="rect">
            <a:avLst/>
          </a:prstGeom>
        </p:spPr>
      </p:pic>
      <p:pic>
        <p:nvPicPr>
          <p:cNvPr id="19" name="Image 18">
            <a:extLst>
              <a:ext uri="{FF2B5EF4-FFF2-40B4-BE49-F238E27FC236}">
                <a16:creationId xmlns:a16="http://schemas.microsoft.com/office/drawing/2014/main" id="{CBC5626E-E177-4BEF-A460-1ADE6EE876FE}"/>
              </a:ext>
            </a:extLst>
          </p:cNvPr>
          <p:cNvPicPr>
            <a:picLocks noChangeAspect="1"/>
          </p:cNvPicPr>
          <p:nvPr/>
        </p:nvPicPr>
        <p:blipFill>
          <a:blip r:embed="rId7"/>
          <a:stretch>
            <a:fillRect/>
          </a:stretch>
        </p:blipFill>
        <p:spPr>
          <a:xfrm>
            <a:off x="11136383" y="1999315"/>
            <a:ext cx="18290" cy="2103302"/>
          </a:xfrm>
          <a:prstGeom prst="rect">
            <a:avLst/>
          </a:prstGeom>
        </p:spPr>
      </p:pic>
      <p:pic>
        <p:nvPicPr>
          <p:cNvPr id="21" name="Image 20">
            <a:extLst>
              <a:ext uri="{FF2B5EF4-FFF2-40B4-BE49-F238E27FC236}">
                <a16:creationId xmlns:a16="http://schemas.microsoft.com/office/drawing/2014/main" id="{19A76D81-04DF-4F4B-9072-DF05DFEDE4DA}"/>
              </a:ext>
            </a:extLst>
          </p:cNvPr>
          <p:cNvPicPr>
            <a:picLocks noChangeAspect="1"/>
          </p:cNvPicPr>
          <p:nvPr/>
        </p:nvPicPr>
        <p:blipFill>
          <a:blip r:embed="rId6"/>
          <a:stretch>
            <a:fillRect/>
          </a:stretch>
        </p:blipFill>
        <p:spPr>
          <a:xfrm>
            <a:off x="11282416" y="4356076"/>
            <a:ext cx="219475" cy="219475"/>
          </a:xfrm>
          <a:prstGeom prst="rect">
            <a:avLst/>
          </a:prstGeom>
        </p:spPr>
      </p:pic>
      <p:sp>
        <p:nvSpPr>
          <p:cNvPr id="70" name="Text Placeholder 7">
            <a:extLst>
              <a:ext uri="{FF2B5EF4-FFF2-40B4-BE49-F238E27FC236}">
                <a16:creationId xmlns:a16="http://schemas.microsoft.com/office/drawing/2014/main" id="{C16C1CFF-1D7A-49FE-8520-27A22EBA03FC}"/>
              </a:ext>
            </a:extLst>
          </p:cNvPr>
          <p:cNvSpPr txBox="1">
            <a:spLocks/>
          </p:cNvSpPr>
          <p:nvPr/>
        </p:nvSpPr>
        <p:spPr>
          <a:xfrm>
            <a:off x="9453681" y="4258066"/>
            <a:ext cx="1678126" cy="2057193"/>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endParaRPr kumimoji="0" lang="en-US" sz="1200" b="1" i="0" u="none" strike="noStrike" kern="1200" cap="none" spc="0" normalizeH="0" noProof="0" dirty="0">
              <a:ln>
                <a:noFill/>
              </a:ln>
              <a:effectLst/>
              <a:uLnTx/>
              <a:uFillTx/>
              <a:ea typeface="+mn-ea"/>
              <a:cs typeface="+mn-cs"/>
            </a:endParaRPr>
          </a:p>
        </p:txBody>
      </p:sp>
      <p:sp>
        <p:nvSpPr>
          <p:cNvPr id="71" name="Text Placeholder 7">
            <a:extLst>
              <a:ext uri="{FF2B5EF4-FFF2-40B4-BE49-F238E27FC236}">
                <a16:creationId xmlns:a16="http://schemas.microsoft.com/office/drawing/2014/main" id="{5595DF86-F7E0-4EC6-ACA7-81142390E3DF}"/>
              </a:ext>
            </a:extLst>
          </p:cNvPr>
          <p:cNvSpPr txBox="1">
            <a:spLocks/>
          </p:cNvSpPr>
          <p:nvPr/>
        </p:nvSpPr>
        <p:spPr>
          <a:xfrm>
            <a:off x="9693533" y="4356076"/>
            <a:ext cx="1678126" cy="2057193"/>
          </a:xfrm>
          <a:prstGeom prst="rect">
            <a:avLst/>
          </a:prstGeom>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Clr>
                <a:srgbClr val="0070AD"/>
              </a:buClr>
              <a:buNone/>
              <a:defRPr/>
            </a:pPr>
            <a:r>
              <a:rPr kumimoji="0" lang="en-US" sz="1200" b="1" i="0" u="none" strike="noStrike" kern="1200" cap="none" spc="0" normalizeH="0" noProof="0" dirty="0">
                <a:ln>
                  <a:noFill/>
                </a:ln>
                <a:effectLst/>
                <a:uLnTx/>
                <a:uFillTx/>
                <a:ea typeface="+mn-ea"/>
                <a:cs typeface="+mn-cs"/>
              </a:rPr>
              <a:t>“Green Deal Industrial </a:t>
            </a:r>
            <a:r>
              <a:rPr lang="en-US" sz="1200" b="1" dirty="0"/>
              <a:t>P</a:t>
            </a:r>
            <a:r>
              <a:rPr kumimoji="0" lang="en-US" sz="1200" b="1" i="0" u="none" strike="noStrike" kern="1200" cap="none" spc="0" normalizeH="0" noProof="0" dirty="0" err="1">
                <a:ln>
                  <a:noFill/>
                </a:ln>
                <a:effectLst/>
                <a:uLnTx/>
                <a:uFillTx/>
                <a:ea typeface="+mn-ea"/>
                <a:cs typeface="+mn-cs"/>
              </a:rPr>
              <a:t>lan</a:t>
            </a:r>
            <a:r>
              <a:rPr kumimoji="0" lang="en-US" sz="1200" b="1" i="0" u="none" strike="noStrike" kern="1200" cap="none" spc="0" normalizeH="0" noProof="0" dirty="0">
                <a:ln>
                  <a:noFill/>
                </a:ln>
                <a:effectLst/>
                <a:uLnTx/>
                <a:uFillTx/>
                <a:ea typeface="+mn-ea"/>
                <a:cs typeface="+mn-cs"/>
              </a:rPr>
              <a:t>” to boost EU clean tech, industrial  innovation &amp; sovereignty. </a:t>
            </a:r>
            <a:endParaRPr lang="en-US" sz="1200" b="1" dirty="0"/>
          </a:p>
          <a:p>
            <a:pPr marL="0" lvl="1" indent="0">
              <a:buClr>
                <a:srgbClr val="0070AD"/>
              </a:buClr>
              <a:buNone/>
              <a:defRPr/>
            </a:pPr>
            <a:r>
              <a:rPr lang="en-US" sz="1200" b="1" dirty="0"/>
              <a:t>Key pillars: </a:t>
            </a:r>
          </a:p>
          <a:p>
            <a:pPr lvl="1">
              <a:buClr>
                <a:srgbClr val="0070AD"/>
              </a:buClr>
              <a:defRPr/>
            </a:pPr>
            <a:r>
              <a:rPr lang="en-US" sz="1200" b="1" dirty="0"/>
              <a:t>Regulatory</a:t>
            </a:r>
          </a:p>
          <a:p>
            <a:pPr lvl="1">
              <a:buClr>
                <a:srgbClr val="0070AD"/>
              </a:buClr>
              <a:defRPr/>
            </a:pPr>
            <a:r>
              <a:rPr lang="en-US" sz="1200" b="1" dirty="0"/>
              <a:t>Financing, </a:t>
            </a:r>
          </a:p>
          <a:p>
            <a:pPr lvl="1">
              <a:buClr>
                <a:srgbClr val="0070AD"/>
              </a:buClr>
              <a:defRPr/>
            </a:pPr>
            <a:r>
              <a:rPr lang="en-US" sz="1200" b="1" dirty="0"/>
              <a:t>Skills and Trade</a:t>
            </a:r>
          </a:p>
          <a:p>
            <a:pPr lvl="1">
              <a:buClr>
                <a:srgbClr val="0070AD"/>
              </a:buClr>
              <a:defRPr/>
            </a:pPr>
            <a:endParaRPr kumimoji="0" lang="en-US" sz="1200" b="1" i="0" u="none" strike="noStrike" kern="1200" cap="none" spc="0" normalizeH="0" noProof="0" dirty="0">
              <a:ln>
                <a:noFill/>
              </a:ln>
              <a:effectLst/>
              <a:uLnTx/>
              <a:uFillTx/>
              <a:ea typeface="+mn-ea"/>
              <a:cs typeface="+mn-cs"/>
            </a:endParaRPr>
          </a:p>
        </p:txBody>
      </p:sp>
      <p:pic>
        <p:nvPicPr>
          <p:cNvPr id="72" name="Image 71">
            <a:extLst>
              <a:ext uri="{FF2B5EF4-FFF2-40B4-BE49-F238E27FC236}">
                <a16:creationId xmlns:a16="http://schemas.microsoft.com/office/drawing/2014/main" id="{E17A0C7A-3A20-44E7-A37E-5CC883BB63A0}"/>
              </a:ext>
            </a:extLst>
          </p:cNvPr>
          <p:cNvPicPr>
            <a:picLocks noChangeAspect="1"/>
          </p:cNvPicPr>
          <p:nvPr/>
        </p:nvPicPr>
        <p:blipFill>
          <a:blip r:embed="rId7"/>
          <a:stretch>
            <a:fillRect/>
          </a:stretch>
        </p:blipFill>
        <p:spPr>
          <a:xfrm>
            <a:off x="11378404" y="4458648"/>
            <a:ext cx="18290" cy="2103302"/>
          </a:xfrm>
          <a:prstGeom prst="rect">
            <a:avLst/>
          </a:prstGeom>
        </p:spPr>
      </p:pic>
    </p:spTree>
    <p:extLst>
      <p:ext uri="{BB962C8B-B14F-4D97-AF65-F5344CB8AC3E}">
        <p14:creationId xmlns:p14="http://schemas.microsoft.com/office/powerpoint/2010/main" val="26521830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a:xfrm>
            <a:off x="811112" y="443591"/>
            <a:ext cx="7855350" cy="882181"/>
          </a:xfrm>
        </p:spPr>
        <p:txBody>
          <a:bodyPr/>
          <a:lstStyle/>
          <a:p>
            <a:r>
              <a:rPr lang="en-US" dirty="0"/>
              <a:t>high electricity prices and net zero carbon objectives are pushing PPA demand up</a:t>
            </a:r>
            <a:endParaRPr lang="en-IN" dirty="0">
              <a:highlight>
                <a:srgbClr val="FFFF00"/>
              </a:highlight>
            </a:endParaRPr>
          </a:p>
        </p:txBody>
      </p:sp>
      <p:sp>
        <p:nvSpPr>
          <p:cNvPr id="8" name="Text Placeholder 8">
            <a:extLst>
              <a:ext uri="{FF2B5EF4-FFF2-40B4-BE49-F238E27FC236}">
                <a16:creationId xmlns:a16="http://schemas.microsoft.com/office/drawing/2014/main" id="{CCC5FC9A-E779-47F2-8328-572A1A713E8D}"/>
              </a:ext>
            </a:extLst>
          </p:cNvPr>
          <p:cNvSpPr txBox="1">
            <a:spLocks/>
          </p:cNvSpPr>
          <p:nvPr/>
        </p:nvSpPr>
        <p:spPr>
          <a:xfrm>
            <a:off x="8455554" y="1327150"/>
            <a:ext cx="3328459" cy="2562240"/>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Corporate PPA market: +24% between 2020 and 2021</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European PPA additions record: +8.7 GW in 2021</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ICTs and GAFAM continue to dominate the PPA market</a:t>
            </a:r>
          </a:p>
          <a:p>
            <a:pPr marL="274320" marR="0" lvl="0" indent="-274320" algn="l" defTabSz="914400" rtl="0" eaLnBrk="1" fontAlgn="auto" latinLnBrk="0" hangingPunct="1">
              <a:lnSpc>
                <a:spcPct val="100000"/>
              </a:lnSpc>
              <a:spcBef>
                <a:spcPts val="0"/>
              </a:spcBef>
              <a:spcAft>
                <a:spcPts val="9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With spot electricity increase, more Companies are switching to PPA to get predictable prices </a:t>
            </a:r>
          </a:p>
        </p:txBody>
      </p:sp>
      <p:pic>
        <p:nvPicPr>
          <p:cNvPr id="12" name="Image 14">
            <a:extLst>
              <a:ext uri="{FF2B5EF4-FFF2-40B4-BE49-F238E27FC236}">
                <a16:creationId xmlns:a16="http://schemas.microsoft.com/office/drawing/2014/main" id="{8DDD45E8-0D7D-4752-88E3-B0CF37C11E9E}"/>
              </a:ext>
            </a:extLst>
          </p:cNvPr>
          <p:cNvPicPr>
            <a:picLocks noChangeAspect="1"/>
          </p:cNvPicPr>
          <p:nvPr/>
        </p:nvPicPr>
        <p:blipFill rotWithShape="1">
          <a:blip r:embed="rId3"/>
          <a:srcRect t="7118"/>
          <a:stretch/>
        </p:blipFill>
        <p:spPr>
          <a:xfrm>
            <a:off x="328883" y="1463946"/>
            <a:ext cx="7855350" cy="4865940"/>
          </a:xfrm>
          <a:prstGeom prst="rect">
            <a:avLst/>
          </a:prstGeom>
        </p:spPr>
      </p:pic>
      <p:sp>
        <p:nvSpPr>
          <p:cNvPr id="13" name="Text Placeholder 5">
            <a:extLst>
              <a:ext uri="{FF2B5EF4-FFF2-40B4-BE49-F238E27FC236}">
                <a16:creationId xmlns:a16="http://schemas.microsoft.com/office/drawing/2014/main" id="{D239A7D6-595B-43EF-B63E-551F62178A60}"/>
              </a:ext>
            </a:extLst>
          </p:cNvPr>
          <p:cNvSpPr txBox="1">
            <a:spLocks/>
          </p:cNvSpPr>
          <p:nvPr/>
        </p:nvSpPr>
        <p:spPr>
          <a:xfrm>
            <a:off x="416187" y="1298476"/>
            <a:ext cx="3549048" cy="215444"/>
          </a:xfrm>
          <a:prstGeom prst="rect">
            <a:avLst/>
          </a:prstGeom>
          <a:solidFill>
            <a:schemeClr val="bg1"/>
          </a:solidFill>
        </p:spPr>
        <p:txBody>
          <a:bodyPr wrap="non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12ABDB"/>
                </a:solidFill>
                <a:effectLst/>
                <a:uLnTx/>
                <a:uFillTx/>
                <a:latin typeface="Ubuntu" panose="020B0504030602030204" pitchFamily="34" charset="0"/>
                <a:ea typeface="+mn-ea"/>
                <a:cs typeface="+mn-cs"/>
              </a:rPr>
              <a:t>Corporate PPA (in GW) from 2010 to 2021</a:t>
            </a:r>
          </a:p>
        </p:txBody>
      </p:sp>
      <p:sp>
        <p:nvSpPr>
          <p:cNvPr id="14" name="TextBox 13">
            <a:extLst>
              <a:ext uri="{FF2B5EF4-FFF2-40B4-BE49-F238E27FC236}">
                <a16:creationId xmlns:a16="http://schemas.microsoft.com/office/drawing/2014/main" id="{9C177BD6-5691-444E-BC34-2E4BB3E6F137}"/>
              </a:ext>
            </a:extLst>
          </p:cNvPr>
          <p:cNvSpPr txBox="1"/>
          <p:nvPr/>
        </p:nvSpPr>
        <p:spPr>
          <a:xfrm>
            <a:off x="411163" y="6329561"/>
            <a:ext cx="799899"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ECEC">
                    <a:lumMod val="50000"/>
                  </a:srgbClr>
                </a:solidFill>
                <a:effectLst/>
                <a:uLnTx/>
                <a:uFillTx/>
                <a:latin typeface="Verdana"/>
                <a:ea typeface="+mn-ea"/>
                <a:cs typeface="+mn-cs"/>
              </a:rPr>
              <a:t>Source: BNEF</a:t>
            </a:r>
          </a:p>
        </p:txBody>
      </p:sp>
      <p:sp>
        <p:nvSpPr>
          <p:cNvPr id="7" name="Ellipse 1">
            <a:extLst>
              <a:ext uri="{FF2B5EF4-FFF2-40B4-BE49-F238E27FC236}">
                <a16:creationId xmlns:a16="http://schemas.microsoft.com/office/drawing/2014/main" id="{1D4E9E50-DF45-4B5A-9A25-570552F76901}"/>
              </a:ext>
            </a:extLst>
          </p:cNvPr>
          <p:cNvSpPr/>
          <p:nvPr/>
        </p:nvSpPr>
        <p:spPr>
          <a:xfrm>
            <a:off x="12337143" y="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9881391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26F4BB80-49FF-4E98-AF23-CC0F414AA6AA}"/>
              </a:ext>
            </a:extLst>
          </p:cNvPr>
          <p:cNvSpPr>
            <a:spLocks noGrp="1"/>
          </p:cNvSpPr>
          <p:nvPr>
            <p:ph type="title"/>
          </p:nvPr>
        </p:nvSpPr>
        <p:spPr/>
        <p:txBody>
          <a:bodyPr/>
          <a:lstStyle/>
          <a:p>
            <a:r>
              <a:rPr lang="en-US"/>
              <a:t>Bold us decisions to accelerate its energy transition and reduce  its </a:t>
            </a:r>
            <a:r>
              <a:rPr lang="en-US" err="1"/>
              <a:t>ghg</a:t>
            </a:r>
            <a:r>
              <a:rPr lang="en-US" cap="none" err="1"/>
              <a:t>s</a:t>
            </a:r>
            <a:r>
              <a:rPr lang="en-US"/>
              <a:t> emissions</a:t>
            </a:r>
            <a:endParaRPr lang="fr-FR"/>
          </a:p>
        </p:txBody>
      </p:sp>
      <p:cxnSp>
        <p:nvCxnSpPr>
          <p:cNvPr id="4" name="Straight Connector 52">
            <a:extLst>
              <a:ext uri="{FF2B5EF4-FFF2-40B4-BE49-F238E27FC236}">
                <a16:creationId xmlns:a16="http://schemas.microsoft.com/office/drawing/2014/main" id="{40C0567B-CB37-4B37-934C-A9B6B248F6A3}"/>
              </a:ext>
            </a:extLst>
          </p:cNvPr>
          <p:cNvCxnSpPr>
            <a:cxnSpLocks/>
          </p:cNvCxnSpPr>
          <p:nvPr/>
        </p:nvCxnSpPr>
        <p:spPr>
          <a:xfrm flipH="1">
            <a:off x="550863" y="3016831"/>
            <a:ext cx="11090275" cy="0"/>
          </a:xfrm>
          <a:prstGeom prst="line">
            <a:avLst/>
          </a:prstGeom>
          <a:ln w="381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15" name="Groupe 14">
            <a:extLst>
              <a:ext uri="{FF2B5EF4-FFF2-40B4-BE49-F238E27FC236}">
                <a16:creationId xmlns:a16="http://schemas.microsoft.com/office/drawing/2014/main" id="{276E505E-4A6C-41B0-B2C3-957FC75DC4A2}"/>
              </a:ext>
            </a:extLst>
          </p:cNvPr>
          <p:cNvGrpSpPr/>
          <p:nvPr/>
        </p:nvGrpSpPr>
        <p:grpSpPr>
          <a:xfrm>
            <a:off x="2325406" y="1780451"/>
            <a:ext cx="2320790" cy="3351374"/>
            <a:chOff x="2744506" y="2466251"/>
            <a:chExt cx="2320790" cy="3351374"/>
          </a:xfrm>
        </p:grpSpPr>
        <p:sp>
          <p:nvSpPr>
            <p:cNvPr id="6" name="Oval 55">
              <a:extLst>
                <a:ext uri="{FF2B5EF4-FFF2-40B4-BE49-F238E27FC236}">
                  <a16:creationId xmlns:a16="http://schemas.microsoft.com/office/drawing/2014/main" id="{8A6712A3-775D-45D9-B381-B85621DA8426}"/>
                </a:ext>
              </a:extLst>
            </p:cNvPr>
            <p:cNvSpPr/>
            <p:nvPr/>
          </p:nvSpPr>
          <p:spPr>
            <a:xfrm>
              <a:off x="3853151" y="3637192"/>
              <a:ext cx="113030" cy="113030"/>
            </a:xfrm>
            <a:prstGeom prst="ellipse">
              <a:avLst/>
            </a:prstGeom>
            <a:solidFill>
              <a:srgbClr val="0F6A7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srgbClr val="FFFFFF"/>
                </a:solidFill>
                <a:effectLst/>
                <a:uLnTx/>
                <a:uFillTx/>
                <a:ea typeface="+mn-ea"/>
                <a:cs typeface="+mn-cs"/>
              </a:endParaRPr>
            </a:p>
          </p:txBody>
        </p:sp>
        <p:sp>
          <p:nvSpPr>
            <p:cNvPr id="7" name="Teardrop 56">
              <a:extLst>
                <a:ext uri="{FF2B5EF4-FFF2-40B4-BE49-F238E27FC236}">
                  <a16:creationId xmlns:a16="http://schemas.microsoft.com/office/drawing/2014/main" id="{F2C12B44-9D02-4209-A3F7-38144A1AEA43}"/>
                </a:ext>
              </a:extLst>
            </p:cNvPr>
            <p:cNvSpPr/>
            <p:nvPr/>
          </p:nvSpPr>
          <p:spPr>
            <a:xfrm rot="8100000">
              <a:off x="3452466" y="2466251"/>
              <a:ext cx="914400" cy="914400"/>
            </a:xfrm>
            <a:prstGeom prst="teardrop">
              <a:avLst/>
            </a:prstGeom>
            <a:solidFill>
              <a:srgbClr val="0F6A7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square"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a:ln>
                  <a:noFill/>
                </a:ln>
                <a:solidFill>
                  <a:prstClr val="black"/>
                </a:solidFill>
                <a:effectLst/>
                <a:uLnTx/>
                <a:uFillTx/>
                <a:ea typeface="+mn-ea"/>
                <a:cs typeface="+mn-cs"/>
              </a:endParaRPr>
            </a:p>
          </p:txBody>
        </p:sp>
        <p:sp>
          <p:nvSpPr>
            <p:cNvPr id="8" name="Rectangle 7">
              <a:extLst>
                <a:ext uri="{FF2B5EF4-FFF2-40B4-BE49-F238E27FC236}">
                  <a16:creationId xmlns:a16="http://schemas.microsoft.com/office/drawing/2014/main" id="{8A16EA42-173D-4E5E-ADF0-391CC026B2F2}"/>
                </a:ext>
              </a:extLst>
            </p:cNvPr>
            <p:cNvSpPr/>
            <p:nvPr/>
          </p:nvSpPr>
          <p:spPr>
            <a:xfrm>
              <a:off x="3555961" y="2738785"/>
              <a:ext cx="72008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noProof="0">
                  <a:ln>
                    <a:noFill/>
                  </a:ln>
                  <a:solidFill>
                    <a:schemeClr val="bg1"/>
                  </a:solidFill>
                  <a:effectLst/>
                  <a:uLnTx/>
                  <a:uFillTx/>
                </a:rPr>
                <a:t>2021</a:t>
              </a:r>
              <a:endParaRPr kumimoji="0" lang="en-US" b="0" i="0" u="none" strike="noStrike" kern="1200" cap="none" spc="0" normalizeH="0" noProof="0">
                <a:ln>
                  <a:noFill/>
                </a:ln>
                <a:solidFill>
                  <a:schemeClr val="bg1"/>
                </a:solidFill>
                <a:effectLst/>
                <a:uLnTx/>
                <a:uFillTx/>
              </a:endParaRPr>
            </a:p>
          </p:txBody>
        </p:sp>
        <p:sp>
          <p:nvSpPr>
            <p:cNvPr id="9" name="TextBox 81">
              <a:extLst>
                <a:ext uri="{FF2B5EF4-FFF2-40B4-BE49-F238E27FC236}">
                  <a16:creationId xmlns:a16="http://schemas.microsoft.com/office/drawing/2014/main" id="{7BF8323B-BE97-43D6-A27E-904F6AEB9663}"/>
                </a:ext>
              </a:extLst>
            </p:cNvPr>
            <p:cNvSpPr txBox="1"/>
            <p:nvPr/>
          </p:nvSpPr>
          <p:spPr>
            <a:xfrm>
              <a:off x="2744506" y="3702631"/>
              <a:ext cx="2320790" cy="2114994"/>
            </a:xfrm>
            <a:prstGeom prst="rect">
              <a:avLst/>
            </a:prstGeom>
            <a:noFill/>
            <a:extLst>
              <a:ext uri="{909E8E84-426E-40DD-AFC4-6F175D3DCCD1}">
                <a14:hiddenFill xmlns:a14="http://schemas.microsoft.com/office/drawing/2010/main">
                  <a:solidFill>
                    <a:srgbClr val="01D1D0"/>
                  </a:solidFill>
                </a14:hiddenFill>
              </a:ext>
            </a:extLst>
          </p:spPr>
          <p:txBody>
            <a:bodyPr wrap="square" lIns="144000" tIns="288000" rIns="144000" bIns="14400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b="1">
                  <a:ea typeface="Verdana" panose="020B0604030504040204" pitchFamily="34" charset="0"/>
                  <a:cs typeface="Verdana" panose="020B0604030504040204" pitchFamily="34" charset="0"/>
                </a:rPr>
                <a:t>Bipartisan Infrastructure Bill</a:t>
              </a:r>
              <a:endParaRPr kumimoji="0" lang="en-US" b="1" i="0" u="none" strike="noStrike" kern="1200" cap="none" spc="0" normalizeH="0" noProof="0">
                <a:ln>
                  <a:noFill/>
                </a:ln>
                <a:effectLst/>
                <a:uLnTx/>
                <a:uFillTx/>
                <a:ea typeface="+mn-ea"/>
                <a:cs typeface="Calibri" pitchFamily="34" charset="0"/>
              </a:endParaRPr>
            </a:p>
          </p:txBody>
        </p:sp>
      </p:grpSp>
      <p:grpSp>
        <p:nvGrpSpPr>
          <p:cNvPr id="33" name="Groupe 32">
            <a:extLst>
              <a:ext uri="{FF2B5EF4-FFF2-40B4-BE49-F238E27FC236}">
                <a16:creationId xmlns:a16="http://schemas.microsoft.com/office/drawing/2014/main" id="{1BCAEC7C-8DBA-4392-8772-BDB06C04AC16}"/>
              </a:ext>
            </a:extLst>
          </p:cNvPr>
          <p:cNvGrpSpPr/>
          <p:nvPr/>
        </p:nvGrpSpPr>
        <p:grpSpPr>
          <a:xfrm>
            <a:off x="668574" y="4023826"/>
            <a:ext cx="2756044" cy="1384995"/>
            <a:chOff x="1087674" y="4709626"/>
            <a:chExt cx="2756044" cy="1384995"/>
          </a:xfrm>
        </p:grpSpPr>
        <p:sp>
          <p:nvSpPr>
            <p:cNvPr id="24" name="ZoneTexte 23">
              <a:extLst>
                <a:ext uri="{FF2B5EF4-FFF2-40B4-BE49-F238E27FC236}">
                  <a16:creationId xmlns:a16="http://schemas.microsoft.com/office/drawing/2014/main" id="{72645CF3-4ACF-4FD9-A3B4-51B7768CE6A9}"/>
                </a:ext>
              </a:extLst>
            </p:cNvPr>
            <p:cNvSpPr txBox="1"/>
            <p:nvPr/>
          </p:nvSpPr>
          <p:spPr>
            <a:xfrm>
              <a:off x="1087674" y="5171291"/>
              <a:ext cx="2756044" cy="923330"/>
            </a:xfrm>
            <a:prstGeom prst="rect">
              <a:avLst/>
            </a:prstGeom>
            <a:noFill/>
          </p:spPr>
          <p:txBody>
            <a:bodyPr wrap="square">
              <a:spAutoFit/>
            </a:bodyPr>
            <a:lstStyle/>
            <a:p>
              <a:pPr algn="ctr"/>
              <a:r>
                <a:rPr lang="en-US" sz="1800">
                  <a:ea typeface="Verdana" panose="020B0604030504040204" pitchFamily="34" charset="0"/>
                </a:rPr>
                <a:t>infrastructure bill for grid projects and climate resilience </a:t>
              </a:r>
              <a:endParaRPr lang="en-US">
                <a:solidFill>
                  <a:srgbClr val="000000"/>
                </a:solidFill>
                <a:effectLst/>
                <a:ea typeface="Calibri" panose="020F0502020204030204" pitchFamily="34" charset="0"/>
              </a:endParaRPr>
            </a:p>
          </p:txBody>
        </p:sp>
        <p:sp>
          <p:nvSpPr>
            <p:cNvPr id="25" name="ZoneTexte 24">
              <a:extLst>
                <a:ext uri="{FF2B5EF4-FFF2-40B4-BE49-F238E27FC236}">
                  <a16:creationId xmlns:a16="http://schemas.microsoft.com/office/drawing/2014/main" id="{15FB3B42-0250-4C55-8874-451DB14BDD33}"/>
                </a:ext>
              </a:extLst>
            </p:cNvPr>
            <p:cNvSpPr txBox="1"/>
            <p:nvPr/>
          </p:nvSpPr>
          <p:spPr>
            <a:xfrm>
              <a:off x="1505947" y="4709626"/>
              <a:ext cx="1919499" cy="461665"/>
            </a:xfrm>
            <a:prstGeom prst="rect">
              <a:avLst/>
            </a:prstGeom>
            <a:noFill/>
          </p:spPr>
          <p:txBody>
            <a:bodyPr wrap="square">
              <a:spAutoFit/>
            </a:bodyPr>
            <a:lstStyle/>
            <a:p>
              <a:r>
                <a:rPr lang="fr-FR" sz="2400" b="1">
                  <a:solidFill>
                    <a:srgbClr val="0F6A71"/>
                  </a:solidFill>
                  <a:latin typeface="Ubuntu"/>
                </a:rPr>
                <a:t>$1.2 trillion</a:t>
              </a:r>
            </a:p>
          </p:txBody>
        </p:sp>
        <p:cxnSp>
          <p:nvCxnSpPr>
            <p:cNvPr id="26" name="Connecteur droit 25">
              <a:extLst>
                <a:ext uri="{FF2B5EF4-FFF2-40B4-BE49-F238E27FC236}">
                  <a16:creationId xmlns:a16="http://schemas.microsoft.com/office/drawing/2014/main" id="{DD18FD8F-8223-4868-9711-65825D9163B3}"/>
                </a:ext>
              </a:extLst>
            </p:cNvPr>
            <p:cNvCxnSpPr>
              <a:cxnSpLocks/>
            </p:cNvCxnSpPr>
            <p:nvPr/>
          </p:nvCxnSpPr>
          <p:spPr>
            <a:xfrm>
              <a:off x="2183779" y="5171291"/>
              <a:ext cx="563835" cy="0"/>
            </a:xfrm>
            <a:prstGeom prst="line">
              <a:avLst/>
            </a:prstGeom>
            <a:ln w="38100">
              <a:solidFill>
                <a:srgbClr val="0F6A71"/>
              </a:solidFill>
            </a:ln>
          </p:spPr>
          <p:style>
            <a:lnRef idx="1">
              <a:schemeClr val="accent1"/>
            </a:lnRef>
            <a:fillRef idx="0">
              <a:schemeClr val="accent1"/>
            </a:fillRef>
            <a:effectRef idx="0">
              <a:schemeClr val="accent1"/>
            </a:effectRef>
            <a:fontRef idx="minor">
              <a:schemeClr val="tx1"/>
            </a:fontRef>
          </p:style>
        </p:cxnSp>
      </p:grpSp>
      <p:grpSp>
        <p:nvGrpSpPr>
          <p:cNvPr id="2" name="Groupe 1">
            <a:extLst>
              <a:ext uri="{FF2B5EF4-FFF2-40B4-BE49-F238E27FC236}">
                <a16:creationId xmlns:a16="http://schemas.microsoft.com/office/drawing/2014/main" id="{B91EA966-34AD-4813-8849-AAFBFFB49693}"/>
              </a:ext>
            </a:extLst>
          </p:cNvPr>
          <p:cNvGrpSpPr/>
          <p:nvPr/>
        </p:nvGrpSpPr>
        <p:grpSpPr>
          <a:xfrm>
            <a:off x="3427782" y="4023826"/>
            <a:ext cx="2756044" cy="1384995"/>
            <a:chOff x="3427782" y="4023826"/>
            <a:chExt cx="2756044" cy="1384995"/>
          </a:xfrm>
        </p:grpSpPr>
        <p:sp>
          <p:nvSpPr>
            <p:cNvPr id="29" name="ZoneTexte 28">
              <a:extLst>
                <a:ext uri="{FF2B5EF4-FFF2-40B4-BE49-F238E27FC236}">
                  <a16:creationId xmlns:a16="http://schemas.microsoft.com/office/drawing/2014/main" id="{E71AD444-2019-4AFB-BCAE-FAD350141C42}"/>
                </a:ext>
              </a:extLst>
            </p:cNvPr>
            <p:cNvSpPr txBox="1"/>
            <p:nvPr/>
          </p:nvSpPr>
          <p:spPr>
            <a:xfrm>
              <a:off x="3427782" y="4485491"/>
              <a:ext cx="2756044" cy="923330"/>
            </a:xfrm>
            <a:prstGeom prst="rect">
              <a:avLst/>
            </a:prstGeom>
            <a:noFill/>
          </p:spPr>
          <p:txBody>
            <a:bodyPr wrap="square">
              <a:spAutoFit/>
            </a:bodyPr>
            <a:lstStyle/>
            <a:p>
              <a:pPr algn="ctr"/>
              <a:r>
                <a:rPr lang="en-US" sz="1800">
                  <a:ea typeface="Verdana" panose="020B0604030504040204" pitchFamily="34" charset="0"/>
                </a:rPr>
                <a:t>for upgrading the national power infrastructure</a:t>
              </a:r>
              <a:endParaRPr lang="en-US">
                <a:solidFill>
                  <a:srgbClr val="000000"/>
                </a:solidFill>
                <a:effectLst/>
                <a:ea typeface="Calibri" panose="020F0502020204030204" pitchFamily="34" charset="0"/>
              </a:endParaRPr>
            </a:p>
          </p:txBody>
        </p:sp>
        <p:sp>
          <p:nvSpPr>
            <p:cNvPr id="30" name="ZoneTexte 29">
              <a:extLst>
                <a:ext uri="{FF2B5EF4-FFF2-40B4-BE49-F238E27FC236}">
                  <a16:creationId xmlns:a16="http://schemas.microsoft.com/office/drawing/2014/main" id="{838C7DC7-85C6-4265-9A80-8264602CBF4E}"/>
                </a:ext>
              </a:extLst>
            </p:cNvPr>
            <p:cNvSpPr txBox="1"/>
            <p:nvPr/>
          </p:nvSpPr>
          <p:spPr>
            <a:xfrm>
              <a:off x="3846055" y="4023826"/>
              <a:ext cx="1919499" cy="461665"/>
            </a:xfrm>
            <a:prstGeom prst="rect">
              <a:avLst/>
            </a:prstGeom>
            <a:noFill/>
          </p:spPr>
          <p:txBody>
            <a:bodyPr wrap="square">
              <a:spAutoFit/>
            </a:bodyPr>
            <a:lstStyle/>
            <a:p>
              <a:r>
                <a:rPr lang="fr-FR" sz="2400" b="1">
                  <a:solidFill>
                    <a:srgbClr val="0F6A71"/>
                  </a:solidFill>
                  <a:latin typeface="Ubuntu"/>
                </a:rPr>
                <a:t>$65 billion</a:t>
              </a:r>
            </a:p>
          </p:txBody>
        </p:sp>
        <p:cxnSp>
          <p:nvCxnSpPr>
            <p:cNvPr id="31" name="Connecteur droit 30">
              <a:extLst>
                <a:ext uri="{FF2B5EF4-FFF2-40B4-BE49-F238E27FC236}">
                  <a16:creationId xmlns:a16="http://schemas.microsoft.com/office/drawing/2014/main" id="{5B5DB9D0-6354-43CE-8BD9-0A5B7154A0E4}"/>
                </a:ext>
              </a:extLst>
            </p:cNvPr>
            <p:cNvCxnSpPr>
              <a:cxnSpLocks/>
            </p:cNvCxnSpPr>
            <p:nvPr/>
          </p:nvCxnSpPr>
          <p:spPr>
            <a:xfrm>
              <a:off x="4523887" y="4485491"/>
              <a:ext cx="563835" cy="0"/>
            </a:xfrm>
            <a:prstGeom prst="line">
              <a:avLst/>
            </a:prstGeom>
            <a:ln w="38100">
              <a:solidFill>
                <a:srgbClr val="0F6A71"/>
              </a:solidFill>
            </a:ln>
          </p:spPr>
          <p:style>
            <a:lnRef idx="1">
              <a:schemeClr val="accent1"/>
            </a:lnRef>
            <a:fillRef idx="0">
              <a:schemeClr val="accent1"/>
            </a:fillRef>
            <a:effectRef idx="0">
              <a:schemeClr val="accent1"/>
            </a:effectRef>
            <a:fontRef idx="minor">
              <a:schemeClr val="tx1"/>
            </a:fontRef>
          </p:style>
        </p:cxnSp>
      </p:grpSp>
      <p:grpSp>
        <p:nvGrpSpPr>
          <p:cNvPr id="54" name="Groupe 53">
            <a:extLst>
              <a:ext uri="{FF2B5EF4-FFF2-40B4-BE49-F238E27FC236}">
                <a16:creationId xmlns:a16="http://schemas.microsoft.com/office/drawing/2014/main" id="{DD4FF71C-AE9B-4341-B67C-4954C791DF04}"/>
              </a:ext>
            </a:extLst>
          </p:cNvPr>
          <p:cNvGrpSpPr/>
          <p:nvPr/>
        </p:nvGrpSpPr>
        <p:grpSpPr>
          <a:xfrm>
            <a:off x="6376092" y="1780451"/>
            <a:ext cx="5147334" cy="3905369"/>
            <a:chOff x="6376092" y="2466251"/>
            <a:chExt cx="5147334" cy="3905369"/>
          </a:xfrm>
        </p:grpSpPr>
        <p:grpSp>
          <p:nvGrpSpPr>
            <p:cNvPr id="18" name="Groupe 17">
              <a:extLst>
                <a:ext uri="{FF2B5EF4-FFF2-40B4-BE49-F238E27FC236}">
                  <a16:creationId xmlns:a16="http://schemas.microsoft.com/office/drawing/2014/main" id="{5DDA506D-86ED-4783-9D2C-C2C2E82F2965}"/>
                </a:ext>
              </a:extLst>
            </p:cNvPr>
            <p:cNvGrpSpPr/>
            <p:nvPr/>
          </p:nvGrpSpPr>
          <p:grpSpPr>
            <a:xfrm>
              <a:off x="7614209" y="2466251"/>
              <a:ext cx="2199312" cy="3351374"/>
              <a:chOff x="7220209" y="2466251"/>
              <a:chExt cx="2199312" cy="3351374"/>
            </a:xfrm>
          </p:grpSpPr>
          <p:sp>
            <p:nvSpPr>
              <p:cNvPr id="11" name="Teardrop 59">
                <a:extLst>
                  <a:ext uri="{FF2B5EF4-FFF2-40B4-BE49-F238E27FC236}">
                    <a16:creationId xmlns:a16="http://schemas.microsoft.com/office/drawing/2014/main" id="{2CEBC3A0-75ED-4351-98D6-68748AB925CC}"/>
                  </a:ext>
                </a:extLst>
              </p:cNvPr>
              <p:cNvSpPr/>
              <p:nvPr/>
            </p:nvSpPr>
            <p:spPr>
              <a:xfrm rot="8100000">
                <a:off x="7862665" y="2466251"/>
                <a:ext cx="914400" cy="914400"/>
              </a:xfrm>
              <a:prstGeom prst="teardrop">
                <a:avLst/>
              </a:prstGeom>
              <a:solidFill>
                <a:srgbClr val="0F6A7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noProof="0">
                  <a:ln>
                    <a:noFill/>
                  </a:ln>
                  <a:solidFill>
                    <a:prstClr val="black"/>
                  </a:solidFill>
                  <a:effectLst/>
                  <a:uLnTx/>
                  <a:uFillTx/>
                  <a:ea typeface="+mn-ea"/>
                  <a:cs typeface="+mn-cs"/>
                </a:endParaRPr>
              </a:p>
            </p:txBody>
          </p:sp>
          <p:sp>
            <p:nvSpPr>
              <p:cNvPr id="12" name="Oval 60">
                <a:extLst>
                  <a:ext uri="{FF2B5EF4-FFF2-40B4-BE49-F238E27FC236}">
                    <a16:creationId xmlns:a16="http://schemas.microsoft.com/office/drawing/2014/main" id="{0B4F85D7-A0E0-4114-9852-FC3FF0E19F78}"/>
                  </a:ext>
                </a:extLst>
              </p:cNvPr>
              <p:cNvSpPr/>
              <p:nvPr/>
            </p:nvSpPr>
            <p:spPr>
              <a:xfrm>
                <a:off x="8263349" y="3637192"/>
                <a:ext cx="113030" cy="113030"/>
              </a:xfrm>
              <a:prstGeom prst="ellipse">
                <a:avLst/>
              </a:prstGeom>
              <a:solidFill>
                <a:srgbClr val="0F6A7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noProof="0">
                  <a:ln>
                    <a:noFill/>
                  </a:ln>
                  <a:solidFill>
                    <a:srgbClr val="FFFFFF"/>
                  </a:solidFill>
                  <a:effectLst/>
                  <a:uLnTx/>
                  <a:uFillTx/>
                  <a:ea typeface="+mn-ea"/>
                  <a:cs typeface="+mn-cs"/>
                </a:endParaRPr>
              </a:p>
            </p:txBody>
          </p:sp>
          <p:sp>
            <p:nvSpPr>
              <p:cNvPr id="13" name="Rectangle 12">
                <a:extLst>
                  <a:ext uri="{FF2B5EF4-FFF2-40B4-BE49-F238E27FC236}">
                    <a16:creationId xmlns:a16="http://schemas.microsoft.com/office/drawing/2014/main" id="{52C9DEC1-A88E-45DE-9BAC-51CD89D9A737}"/>
                  </a:ext>
                </a:extLst>
              </p:cNvPr>
              <p:cNvSpPr/>
              <p:nvPr/>
            </p:nvSpPr>
            <p:spPr>
              <a:xfrm>
                <a:off x="7959824" y="2622510"/>
                <a:ext cx="720080"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noProof="0">
                  <a:ln>
                    <a:noFill/>
                  </a:ln>
                  <a:solidFill>
                    <a:prstClr val="black"/>
                  </a:solidFill>
                  <a:effectLst/>
                  <a:uLnTx/>
                  <a:uFillTx/>
                </a:endParaRPr>
              </a:p>
            </p:txBody>
          </p:sp>
          <p:sp>
            <p:nvSpPr>
              <p:cNvPr id="14" name="TextBox 82">
                <a:extLst>
                  <a:ext uri="{FF2B5EF4-FFF2-40B4-BE49-F238E27FC236}">
                    <a16:creationId xmlns:a16="http://schemas.microsoft.com/office/drawing/2014/main" id="{09F96D53-3018-4A83-B2B7-12239C54343B}"/>
                  </a:ext>
                </a:extLst>
              </p:cNvPr>
              <p:cNvSpPr txBox="1"/>
              <p:nvPr/>
            </p:nvSpPr>
            <p:spPr>
              <a:xfrm>
                <a:off x="7220209" y="3702631"/>
                <a:ext cx="2199312" cy="2114994"/>
              </a:xfrm>
              <a:prstGeom prst="rect">
                <a:avLst/>
              </a:prstGeom>
              <a:noFill/>
              <a:extLst>
                <a:ext uri="{909E8E84-426E-40DD-AFC4-6F175D3DCCD1}">
                  <a14:hiddenFill xmlns:a14="http://schemas.microsoft.com/office/drawing/2010/main">
                    <a:solidFill>
                      <a:srgbClr val="01D1D0"/>
                    </a:solidFill>
                  </a14:hiddenFill>
                </a:ext>
              </a:extLst>
            </p:spPr>
            <p:txBody>
              <a:bodyPr wrap="square" lIns="144000" tIns="288000" rIns="144000" bIns="144000" rtlCol="0" anchor="t" anchorCtr="0">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b="1">
                    <a:ea typeface="Verdana" panose="020B0604030504040204" pitchFamily="34" charset="0"/>
                  </a:rPr>
                  <a:t>Inflation Reduction Act </a:t>
                </a:r>
              </a:p>
            </p:txBody>
          </p:sp>
        </p:grpSp>
        <p:grpSp>
          <p:nvGrpSpPr>
            <p:cNvPr id="51" name="Groupe 50">
              <a:extLst>
                <a:ext uri="{FF2B5EF4-FFF2-40B4-BE49-F238E27FC236}">
                  <a16:creationId xmlns:a16="http://schemas.microsoft.com/office/drawing/2014/main" id="{95287B4D-C1CA-4239-85BA-55AD2986B4E3}"/>
                </a:ext>
              </a:extLst>
            </p:cNvPr>
            <p:cNvGrpSpPr/>
            <p:nvPr/>
          </p:nvGrpSpPr>
          <p:grpSpPr>
            <a:xfrm>
              <a:off x="6376092" y="4709626"/>
              <a:ext cx="2337772" cy="1661994"/>
              <a:chOff x="6941842" y="4709626"/>
              <a:chExt cx="2337772" cy="1661994"/>
            </a:xfrm>
          </p:grpSpPr>
          <p:sp>
            <p:nvSpPr>
              <p:cNvPr id="41" name="ZoneTexte 40">
                <a:extLst>
                  <a:ext uri="{FF2B5EF4-FFF2-40B4-BE49-F238E27FC236}">
                    <a16:creationId xmlns:a16="http://schemas.microsoft.com/office/drawing/2014/main" id="{D16D4954-0118-4544-BE13-59F0D6E4C76E}"/>
                  </a:ext>
                </a:extLst>
              </p:cNvPr>
              <p:cNvSpPr txBox="1"/>
              <p:nvPr/>
            </p:nvSpPr>
            <p:spPr>
              <a:xfrm>
                <a:off x="6941842" y="5171291"/>
                <a:ext cx="2337772" cy="1200329"/>
              </a:xfrm>
              <a:prstGeom prst="rect">
                <a:avLst/>
              </a:prstGeom>
              <a:noFill/>
            </p:spPr>
            <p:txBody>
              <a:bodyPr wrap="square">
                <a:spAutoFit/>
              </a:bodyPr>
              <a:lstStyle/>
              <a:p>
                <a:pPr algn="ctr"/>
                <a:r>
                  <a:rPr lang="en-US" sz="1800" dirty="0">
                    <a:ea typeface="Verdana" panose="020B0604030504040204" pitchFamily="34" charset="0"/>
                  </a:rPr>
                  <a:t>in energy and climate change programs </a:t>
                </a:r>
                <a:r>
                  <a:rPr lang="en-US" dirty="0">
                    <a:ea typeface="Verdana" panose="020B0604030504040204" pitchFamily="34" charset="0"/>
                  </a:rPr>
                  <a:t>.</a:t>
                </a:r>
              </a:p>
              <a:p>
                <a:pPr algn="ctr"/>
                <a:endParaRPr lang="en-US" dirty="0">
                  <a:solidFill>
                    <a:srgbClr val="000000"/>
                  </a:solidFill>
                  <a:effectLst/>
                  <a:ea typeface="Calibri" panose="020F0502020204030204" pitchFamily="34" charset="0"/>
                </a:endParaRPr>
              </a:p>
            </p:txBody>
          </p:sp>
          <p:sp>
            <p:nvSpPr>
              <p:cNvPr id="42" name="ZoneTexte 41">
                <a:extLst>
                  <a:ext uri="{FF2B5EF4-FFF2-40B4-BE49-F238E27FC236}">
                    <a16:creationId xmlns:a16="http://schemas.microsoft.com/office/drawing/2014/main" id="{DD4B8B29-0E97-4BC3-B4E3-73B1AD24A117}"/>
                  </a:ext>
                </a:extLst>
              </p:cNvPr>
              <p:cNvSpPr txBox="1"/>
              <p:nvPr/>
            </p:nvSpPr>
            <p:spPr>
              <a:xfrm>
                <a:off x="7150979" y="4709626"/>
                <a:ext cx="1919499" cy="461665"/>
              </a:xfrm>
              <a:prstGeom prst="rect">
                <a:avLst/>
              </a:prstGeom>
              <a:noFill/>
            </p:spPr>
            <p:txBody>
              <a:bodyPr wrap="square">
                <a:spAutoFit/>
              </a:bodyPr>
              <a:lstStyle/>
              <a:p>
                <a:r>
                  <a:rPr lang="fr-FR" sz="2400" b="1">
                    <a:solidFill>
                      <a:srgbClr val="0F6A71"/>
                    </a:solidFill>
                    <a:latin typeface="Ubuntu"/>
                  </a:rPr>
                  <a:t>&gt;360 billion</a:t>
                </a:r>
              </a:p>
            </p:txBody>
          </p:sp>
          <p:cxnSp>
            <p:nvCxnSpPr>
              <p:cNvPr id="43" name="Connecteur droit 42">
                <a:extLst>
                  <a:ext uri="{FF2B5EF4-FFF2-40B4-BE49-F238E27FC236}">
                    <a16:creationId xmlns:a16="http://schemas.microsoft.com/office/drawing/2014/main" id="{346C8EC0-6260-4B62-9D41-682CC8391BF4}"/>
                  </a:ext>
                </a:extLst>
              </p:cNvPr>
              <p:cNvCxnSpPr>
                <a:cxnSpLocks/>
              </p:cNvCxnSpPr>
              <p:nvPr/>
            </p:nvCxnSpPr>
            <p:spPr>
              <a:xfrm>
                <a:off x="7828811" y="5171291"/>
                <a:ext cx="563835" cy="0"/>
              </a:xfrm>
              <a:prstGeom prst="line">
                <a:avLst/>
              </a:prstGeom>
              <a:ln w="38100">
                <a:solidFill>
                  <a:srgbClr val="0F6A71"/>
                </a:solidFill>
              </a:ln>
            </p:spPr>
            <p:style>
              <a:lnRef idx="1">
                <a:schemeClr val="accent1"/>
              </a:lnRef>
              <a:fillRef idx="0">
                <a:schemeClr val="accent1"/>
              </a:fillRef>
              <a:effectRef idx="0">
                <a:schemeClr val="accent1"/>
              </a:effectRef>
              <a:fontRef idx="minor">
                <a:schemeClr val="tx1"/>
              </a:fontRef>
            </p:style>
          </p:cxnSp>
        </p:grpSp>
        <p:grpSp>
          <p:nvGrpSpPr>
            <p:cNvPr id="46" name="Groupe 45">
              <a:extLst>
                <a:ext uri="{FF2B5EF4-FFF2-40B4-BE49-F238E27FC236}">
                  <a16:creationId xmlns:a16="http://schemas.microsoft.com/office/drawing/2014/main" id="{C9A73B4C-5236-483B-A67C-D2224A33B6D4}"/>
                </a:ext>
              </a:extLst>
            </p:cNvPr>
            <p:cNvGrpSpPr/>
            <p:nvPr/>
          </p:nvGrpSpPr>
          <p:grpSpPr>
            <a:xfrm>
              <a:off x="8767382" y="4709626"/>
              <a:ext cx="2756044" cy="1661994"/>
              <a:chOff x="3823184" y="4709626"/>
              <a:chExt cx="2756044" cy="1661994"/>
            </a:xfrm>
          </p:grpSpPr>
          <p:sp>
            <p:nvSpPr>
              <p:cNvPr id="47" name="ZoneTexte 46">
                <a:extLst>
                  <a:ext uri="{FF2B5EF4-FFF2-40B4-BE49-F238E27FC236}">
                    <a16:creationId xmlns:a16="http://schemas.microsoft.com/office/drawing/2014/main" id="{6A29D5E7-2B4C-433D-B5B7-DCDEAAB68F13}"/>
                  </a:ext>
                </a:extLst>
              </p:cNvPr>
              <p:cNvSpPr txBox="1"/>
              <p:nvPr/>
            </p:nvSpPr>
            <p:spPr>
              <a:xfrm>
                <a:off x="3823184" y="5171291"/>
                <a:ext cx="2756044" cy="1200329"/>
              </a:xfrm>
              <a:prstGeom prst="rect">
                <a:avLst/>
              </a:prstGeom>
              <a:noFill/>
            </p:spPr>
            <p:txBody>
              <a:bodyPr wrap="square">
                <a:spAutoFit/>
              </a:bodyPr>
              <a:lstStyle/>
              <a:p>
                <a:pPr algn="ctr"/>
                <a:r>
                  <a:rPr lang="en-US" sz="1800">
                    <a:ea typeface="Verdana" panose="020B0604030504040204" pitchFamily="34" charset="0"/>
                  </a:rPr>
                  <a:t> reduction in carbon emissions by 2030 according to Senate Democrats</a:t>
                </a:r>
                <a:endParaRPr lang="en-US">
                  <a:solidFill>
                    <a:srgbClr val="000000"/>
                  </a:solidFill>
                  <a:effectLst/>
                  <a:ea typeface="Calibri" panose="020F0502020204030204" pitchFamily="34" charset="0"/>
                </a:endParaRPr>
              </a:p>
            </p:txBody>
          </p:sp>
          <p:sp>
            <p:nvSpPr>
              <p:cNvPr id="48" name="ZoneTexte 47">
                <a:extLst>
                  <a:ext uri="{FF2B5EF4-FFF2-40B4-BE49-F238E27FC236}">
                    <a16:creationId xmlns:a16="http://schemas.microsoft.com/office/drawing/2014/main" id="{E044DDE9-3AF7-4E1B-A9F0-4CBB38A6FFE5}"/>
                  </a:ext>
                </a:extLst>
              </p:cNvPr>
              <p:cNvSpPr txBox="1"/>
              <p:nvPr/>
            </p:nvSpPr>
            <p:spPr>
              <a:xfrm>
                <a:off x="4241457" y="4709626"/>
                <a:ext cx="1919499" cy="461665"/>
              </a:xfrm>
              <a:prstGeom prst="rect">
                <a:avLst/>
              </a:prstGeom>
              <a:noFill/>
            </p:spPr>
            <p:txBody>
              <a:bodyPr wrap="square">
                <a:spAutoFit/>
              </a:bodyPr>
              <a:lstStyle/>
              <a:p>
                <a:pPr algn="ctr"/>
                <a:r>
                  <a:rPr lang="fr-FR" sz="2400" b="1">
                    <a:solidFill>
                      <a:srgbClr val="0F6A71"/>
                    </a:solidFill>
                    <a:latin typeface="Ubuntu"/>
                  </a:rPr>
                  <a:t>40%</a:t>
                </a:r>
              </a:p>
            </p:txBody>
          </p:sp>
          <p:cxnSp>
            <p:nvCxnSpPr>
              <p:cNvPr id="49" name="Connecteur droit 48">
                <a:extLst>
                  <a:ext uri="{FF2B5EF4-FFF2-40B4-BE49-F238E27FC236}">
                    <a16:creationId xmlns:a16="http://schemas.microsoft.com/office/drawing/2014/main" id="{E07A014A-82CA-4D0E-BB2F-AEB1CE8B6357}"/>
                  </a:ext>
                </a:extLst>
              </p:cNvPr>
              <p:cNvCxnSpPr>
                <a:cxnSpLocks/>
              </p:cNvCxnSpPr>
              <p:nvPr/>
            </p:nvCxnSpPr>
            <p:spPr>
              <a:xfrm>
                <a:off x="4919289" y="5171291"/>
                <a:ext cx="563835" cy="0"/>
              </a:xfrm>
              <a:prstGeom prst="line">
                <a:avLst/>
              </a:prstGeom>
              <a:ln w="38100">
                <a:solidFill>
                  <a:srgbClr val="0F6A71"/>
                </a:solidFill>
              </a:ln>
            </p:spPr>
            <p:style>
              <a:lnRef idx="1">
                <a:schemeClr val="accent1"/>
              </a:lnRef>
              <a:fillRef idx="0">
                <a:schemeClr val="accent1"/>
              </a:fillRef>
              <a:effectRef idx="0">
                <a:schemeClr val="accent1"/>
              </a:effectRef>
              <a:fontRef idx="minor">
                <a:schemeClr val="tx1"/>
              </a:fontRef>
            </p:style>
          </p:cxnSp>
        </p:grpSp>
      </p:grpSp>
      <p:sp>
        <p:nvSpPr>
          <p:cNvPr id="34" name="Rectangle 33">
            <a:extLst>
              <a:ext uri="{FF2B5EF4-FFF2-40B4-BE49-F238E27FC236}">
                <a16:creationId xmlns:a16="http://schemas.microsoft.com/office/drawing/2014/main" id="{9F129B37-3946-40BE-AD07-60201846D409}"/>
              </a:ext>
            </a:extLst>
          </p:cNvPr>
          <p:cNvSpPr/>
          <p:nvPr/>
        </p:nvSpPr>
        <p:spPr>
          <a:xfrm>
            <a:off x="8362625" y="2060723"/>
            <a:ext cx="72008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noProof="0">
                <a:ln>
                  <a:noFill/>
                </a:ln>
                <a:solidFill>
                  <a:schemeClr val="bg1"/>
                </a:solidFill>
                <a:effectLst/>
                <a:uLnTx/>
                <a:uFillTx/>
              </a:rPr>
              <a:t>2022</a:t>
            </a:r>
            <a:endParaRPr kumimoji="0" lang="en-US" b="0" i="0" u="none" strike="noStrike" kern="1200" cap="none" spc="0" normalizeH="0" noProof="0">
              <a:ln>
                <a:noFill/>
              </a:ln>
              <a:solidFill>
                <a:schemeClr val="bg1"/>
              </a:solidFill>
              <a:effectLst/>
              <a:uLnTx/>
              <a:uFillTx/>
            </a:endParaRPr>
          </a:p>
        </p:txBody>
      </p:sp>
      <p:sp>
        <p:nvSpPr>
          <p:cNvPr id="10" name="ZoneTexte 9">
            <a:extLst>
              <a:ext uri="{FF2B5EF4-FFF2-40B4-BE49-F238E27FC236}">
                <a16:creationId xmlns:a16="http://schemas.microsoft.com/office/drawing/2014/main" id="{E305A314-FDF8-4EE1-8D13-8787835D86F7}"/>
              </a:ext>
            </a:extLst>
          </p:cNvPr>
          <p:cNvSpPr txBox="1"/>
          <p:nvPr/>
        </p:nvSpPr>
        <p:spPr>
          <a:xfrm>
            <a:off x="5331759" y="5824319"/>
            <a:ext cx="6651180" cy="646331"/>
          </a:xfrm>
          <a:prstGeom prst="rect">
            <a:avLst/>
          </a:prstGeom>
          <a:solidFill>
            <a:srgbClr val="00929B"/>
          </a:solidFill>
        </p:spPr>
        <p:txBody>
          <a:bodyPr wrap="none" rtlCol="0">
            <a:spAutoFit/>
          </a:bodyPr>
          <a:lstStyle/>
          <a:p>
            <a:r>
              <a:rPr lang="en-US" dirty="0">
                <a:solidFill>
                  <a:schemeClr val="bg1"/>
                </a:solidFill>
              </a:rPr>
              <a:t>The IRA provides significant tax breaks to encourage </a:t>
            </a:r>
          </a:p>
          <a:p>
            <a:r>
              <a:rPr lang="en-US" dirty="0">
                <a:solidFill>
                  <a:schemeClr val="bg1"/>
                </a:solidFill>
              </a:rPr>
              <a:t>the localization of  equipment manufacturing plants in the US.</a:t>
            </a:r>
          </a:p>
        </p:txBody>
      </p:sp>
    </p:spTree>
    <p:extLst>
      <p:ext uri="{BB962C8B-B14F-4D97-AF65-F5344CB8AC3E}">
        <p14:creationId xmlns:p14="http://schemas.microsoft.com/office/powerpoint/2010/main" val="38058786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5E659B3-EA4B-405E-9FAE-00661F32418F}"/>
              </a:ext>
            </a:extLst>
          </p:cNvPr>
          <p:cNvSpPr>
            <a:spLocks noGrp="1"/>
          </p:cNvSpPr>
          <p:nvPr>
            <p:ph type="ctrTitle"/>
          </p:nvPr>
        </p:nvSpPr>
        <p:spPr>
          <a:xfrm>
            <a:off x="404813" y="2708920"/>
            <a:ext cx="6109146" cy="1176135"/>
          </a:xfrm>
          <a:prstGeom prst="rect">
            <a:avLst/>
          </a:prstGeom>
        </p:spPr>
        <p:txBody>
          <a:bodyPr/>
          <a:lstStyle/>
          <a:p>
            <a:r>
              <a:rPr lang="en-GB" sz="3600">
                <a:latin typeface="Ubuntu"/>
              </a:rPr>
              <a:t>Conclusions and Recommendations</a:t>
            </a:r>
          </a:p>
        </p:txBody>
      </p:sp>
      <p:sp>
        <p:nvSpPr>
          <p:cNvPr id="3" name="Ellipse 110">
            <a:extLst>
              <a:ext uri="{FF2B5EF4-FFF2-40B4-BE49-F238E27FC236}">
                <a16:creationId xmlns:a16="http://schemas.microsoft.com/office/drawing/2014/main" id="{32468C73-149A-4427-AEAB-FFCE16951F7E}"/>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1040856017"/>
      </p:ext>
    </p:ext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53727F6D-FF00-4686-9CB5-2BFC40A7193A}"/>
              </a:ext>
            </a:extLst>
          </p:cNvPr>
          <p:cNvSpPr>
            <a:spLocks noGrp="1"/>
          </p:cNvSpPr>
          <p:nvPr>
            <p:ph type="title"/>
          </p:nvPr>
        </p:nvSpPr>
        <p:spPr>
          <a:xfrm>
            <a:off x="4186328" y="388188"/>
            <a:ext cx="6943044" cy="716711"/>
          </a:xfrm>
        </p:spPr>
        <p:txBody>
          <a:bodyPr/>
          <a:lstStyle/>
          <a:p>
            <a:r>
              <a:rPr lang="en-US">
                <a:solidFill>
                  <a:schemeClr val="bg1"/>
                </a:solidFill>
              </a:rPr>
              <a:t>Conclusions &amp; recommendations</a:t>
            </a:r>
          </a:p>
        </p:txBody>
      </p:sp>
      <p:cxnSp>
        <p:nvCxnSpPr>
          <p:cNvPr id="94" name="Straight Connector 93">
            <a:extLst>
              <a:ext uri="{FF2B5EF4-FFF2-40B4-BE49-F238E27FC236}">
                <a16:creationId xmlns:a16="http://schemas.microsoft.com/office/drawing/2014/main" id="{7FA147CA-F53D-488E-AC30-0DA471739F98}"/>
              </a:ext>
            </a:extLst>
          </p:cNvPr>
          <p:cNvCxnSpPr>
            <a:cxnSpLocks/>
          </p:cNvCxnSpPr>
          <p:nvPr/>
        </p:nvCxnSpPr>
        <p:spPr>
          <a:xfrm>
            <a:off x="4071257" y="1977421"/>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DAFA805-EB32-ABAF-82D4-C6F92B755AAF}"/>
              </a:ext>
            </a:extLst>
          </p:cNvPr>
          <p:cNvCxnSpPr>
            <a:cxnSpLocks/>
          </p:cNvCxnSpPr>
          <p:nvPr/>
        </p:nvCxnSpPr>
        <p:spPr>
          <a:xfrm>
            <a:off x="4071257" y="3732533"/>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3CFD5A2-EB94-2465-EAAF-ED921EDF0671}"/>
              </a:ext>
            </a:extLst>
          </p:cNvPr>
          <p:cNvCxnSpPr>
            <a:cxnSpLocks/>
          </p:cNvCxnSpPr>
          <p:nvPr/>
        </p:nvCxnSpPr>
        <p:spPr>
          <a:xfrm>
            <a:off x="4071257" y="4610089"/>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3CEA670-0130-3A95-3BE9-848162E89E10}"/>
              </a:ext>
            </a:extLst>
          </p:cNvPr>
          <p:cNvCxnSpPr>
            <a:cxnSpLocks/>
          </p:cNvCxnSpPr>
          <p:nvPr/>
        </p:nvCxnSpPr>
        <p:spPr>
          <a:xfrm>
            <a:off x="4071257" y="5487645"/>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22D85945-9116-4567-813E-9E7F754D716E}"/>
              </a:ext>
            </a:extLst>
          </p:cNvPr>
          <p:cNvSpPr txBox="1"/>
          <p:nvPr/>
        </p:nvSpPr>
        <p:spPr>
          <a:xfrm>
            <a:off x="4186328" y="1212510"/>
            <a:ext cx="7572599" cy="461665"/>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In recent years, </a:t>
            </a:r>
            <a:r>
              <a:rPr kumimoji="0" lang="en-GB" sz="15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ensuring energy supplies has been neglected</a:t>
            </a:r>
            <a:r>
              <a:rPr kumimoji="0" lang="en-GB"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a:t>
            </a:r>
            <a:r>
              <a:rPr kumimoji="0" lang="en-US"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This could result in gas &amp; electricity shortages next winters, notably in Europe.</a:t>
            </a:r>
          </a:p>
        </p:txBody>
      </p:sp>
      <p:grpSp>
        <p:nvGrpSpPr>
          <p:cNvPr id="6" name="Groupe 5">
            <a:extLst>
              <a:ext uri="{FF2B5EF4-FFF2-40B4-BE49-F238E27FC236}">
                <a16:creationId xmlns:a16="http://schemas.microsoft.com/office/drawing/2014/main" id="{C89808F7-FF6B-4C53-868A-2319A992D48E}"/>
              </a:ext>
            </a:extLst>
          </p:cNvPr>
          <p:cNvGrpSpPr/>
          <p:nvPr/>
        </p:nvGrpSpPr>
        <p:grpSpPr>
          <a:xfrm>
            <a:off x="3312471" y="1162852"/>
            <a:ext cx="785778" cy="751582"/>
            <a:chOff x="3255255" y="1405544"/>
            <a:chExt cx="785778" cy="751582"/>
          </a:xfrm>
        </p:grpSpPr>
        <p:sp>
          <p:nvSpPr>
            <p:cNvPr id="37" name="Freeform 215">
              <a:extLst>
                <a:ext uri="{FF2B5EF4-FFF2-40B4-BE49-F238E27FC236}">
                  <a16:creationId xmlns:a16="http://schemas.microsoft.com/office/drawing/2014/main" id="{8E1CF308-E118-4B0A-9EEE-9B1A4C3EA58F}"/>
                </a:ext>
              </a:extLst>
            </p:cNvPr>
            <p:cNvSpPr/>
            <p:nvPr/>
          </p:nvSpPr>
          <p:spPr>
            <a:xfrm>
              <a:off x="3255255" y="1405544"/>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48" name="Group 47">
              <a:extLst>
                <a:ext uri="{FF2B5EF4-FFF2-40B4-BE49-F238E27FC236}">
                  <a16:creationId xmlns:a16="http://schemas.microsoft.com/office/drawing/2014/main" id="{63DC17E4-2D89-6734-5649-8B7D2E4C4BC3}"/>
                </a:ext>
              </a:extLst>
            </p:cNvPr>
            <p:cNvGrpSpPr/>
            <p:nvPr/>
          </p:nvGrpSpPr>
          <p:grpSpPr>
            <a:xfrm>
              <a:off x="3400449" y="1520506"/>
              <a:ext cx="467038" cy="557202"/>
              <a:chOff x="3401722" y="1532232"/>
              <a:chExt cx="351939" cy="419883"/>
            </a:xfrm>
            <a:solidFill>
              <a:schemeClr val="accent4"/>
            </a:solidFill>
          </p:grpSpPr>
          <p:grpSp>
            <p:nvGrpSpPr>
              <p:cNvPr id="16" name="Groupe 686">
                <a:extLst>
                  <a:ext uri="{FF2B5EF4-FFF2-40B4-BE49-F238E27FC236}">
                    <a16:creationId xmlns:a16="http://schemas.microsoft.com/office/drawing/2014/main" id="{F2E9062D-43C4-C393-AD3E-57468FD86CF2}"/>
                  </a:ext>
                </a:extLst>
              </p:cNvPr>
              <p:cNvGrpSpPr/>
              <p:nvPr/>
            </p:nvGrpSpPr>
            <p:grpSpPr>
              <a:xfrm>
                <a:off x="3401722" y="1532232"/>
                <a:ext cx="299499" cy="328135"/>
                <a:chOff x="7121525" y="2576513"/>
                <a:chExt cx="398463" cy="436562"/>
              </a:xfrm>
              <a:grpFill/>
            </p:grpSpPr>
            <p:sp>
              <p:nvSpPr>
                <p:cNvPr id="18" name="Freeform 178">
                  <a:extLst>
                    <a:ext uri="{FF2B5EF4-FFF2-40B4-BE49-F238E27FC236}">
                      <a16:creationId xmlns:a16="http://schemas.microsoft.com/office/drawing/2014/main" id="{9643A433-853D-2122-6D63-4BF769C52FB5}"/>
                    </a:ext>
                  </a:extLst>
                </p:cNvPr>
                <p:cNvSpPr>
                  <a:spLocks/>
                </p:cNvSpPr>
                <p:nvPr/>
              </p:nvSpPr>
              <p:spPr bwMode="auto">
                <a:xfrm>
                  <a:off x="7159625" y="2576513"/>
                  <a:ext cx="319088" cy="436562"/>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 name="Freeform 179">
                  <a:extLst>
                    <a:ext uri="{FF2B5EF4-FFF2-40B4-BE49-F238E27FC236}">
                      <a16:creationId xmlns:a16="http://schemas.microsoft.com/office/drawing/2014/main" id="{44C6E550-3343-2359-A946-69AA037356E1}"/>
                    </a:ext>
                  </a:extLst>
                </p:cNvPr>
                <p:cNvSpPr>
                  <a:spLocks/>
                </p:cNvSpPr>
                <p:nvPr/>
              </p:nvSpPr>
              <p:spPr bwMode="auto">
                <a:xfrm>
                  <a:off x="7121525" y="2595563"/>
                  <a:ext cx="169863" cy="376237"/>
                </a:xfrm>
                <a:custGeom>
                  <a:avLst/>
                  <a:gdLst>
                    <a:gd name="T0" fmla="*/ 31 w 45"/>
                    <a:gd name="T1" fmla="*/ 93 h 100"/>
                    <a:gd name="T2" fmla="*/ 32 w 45"/>
                    <a:gd name="T3" fmla="*/ 97 h 100"/>
                    <a:gd name="T4" fmla="*/ 28 w 45"/>
                    <a:gd name="T5" fmla="*/ 99 h 100"/>
                    <a:gd name="T6" fmla="*/ 7 w 45"/>
                    <a:gd name="T7" fmla="*/ 79 h 100"/>
                    <a:gd name="T8" fmla="*/ 0 w 45"/>
                    <a:gd name="T9" fmla="*/ 52 h 100"/>
                    <a:gd name="T10" fmla="*/ 11 w 45"/>
                    <a:gd name="T11" fmla="*/ 19 h 100"/>
                    <a:gd name="T12" fmla="*/ 41 w 45"/>
                    <a:gd name="T13" fmla="*/ 1 h 100"/>
                    <a:gd name="T14" fmla="*/ 44 w 45"/>
                    <a:gd name="T15" fmla="*/ 3 h 100"/>
                    <a:gd name="T16" fmla="*/ 42 w 45"/>
                    <a:gd name="T17" fmla="*/ 6 h 100"/>
                    <a:gd name="T18" fmla="*/ 16 w 45"/>
                    <a:gd name="T19" fmla="*/ 23 h 100"/>
                    <a:gd name="T20" fmla="*/ 6 w 45"/>
                    <a:gd name="T21" fmla="*/ 52 h 100"/>
                    <a:gd name="T22" fmla="*/ 12 w 45"/>
                    <a:gd name="T23" fmla="*/ 76 h 100"/>
                    <a:gd name="T24" fmla="*/ 31 w 45"/>
                    <a:gd name="T25" fmla="*/ 9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100">
                      <a:moveTo>
                        <a:pt x="31" y="93"/>
                      </a:moveTo>
                      <a:cubicBezTo>
                        <a:pt x="32" y="94"/>
                        <a:pt x="33" y="96"/>
                        <a:pt x="32" y="97"/>
                      </a:cubicBezTo>
                      <a:cubicBezTo>
                        <a:pt x="31" y="99"/>
                        <a:pt x="29" y="100"/>
                        <a:pt x="28" y="99"/>
                      </a:cubicBezTo>
                      <a:cubicBezTo>
                        <a:pt x="19" y="94"/>
                        <a:pt x="12" y="87"/>
                        <a:pt x="7" y="79"/>
                      </a:cubicBezTo>
                      <a:cubicBezTo>
                        <a:pt x="3" y="71"/>
                        <a:pt x="0" y="62"/>
                        <a:pt x="0" y="52"/>
                      </a:cubicBezTo>
                      <a:cubicBezTo>
                        <a:pt x="0" y="40"/>
                        <a:pt x="4" y="28"/>
                        <a:pt x="11" y="19"/>
                      </a:cubicBezTo>
                      <a:cubicBezTo>
                        <a:pt x="19" y="10"/>
                        <a:pt x="29" y="3"/>
                        <a:pt x="41" y="1"/>
                      </a:cubicBezTo>
                      <a:cubicBezTo>
                        <a:pt x="42" y="0"/>
                        <a:pt x="44" y="1"/>
                        <a:pt x="44" y="3"/>
                      </a:cubicBezTo>
                      <a:cubicBezTo>
                        <a:pt x="45" y="4"/>
                        <a:pt x="44" y="6"/>
                        <a:pt x="42" y="6"/>
                      </a:cubicBezTo>
                      <a:cubicBezTo>
                        <a:pt x="31" y="9"/>
                        <a:pt x="22" y="15"/>
                        <a:pt x="16" y="23"/>
                      </a:cubicBezTo>
                      <a:cubicBezTo>
                        <a:pt x="10" y="31"/>
                        <a:pt x="6" y="41"/>
                        <a:pt x="6" y="52"/>
                      </a:cubicBezTo>
                      <a:cubicBezTo>
                        <a:pt x="6" y="61"/>
                        <a:pt x="8" y="69"/>
                        <a:pt x="12" y="76"/>
                      </a:cubicBezTo>
                      <a:cubicBezTo>
                        <a:pt x="17" y="83"/>
                        <a:pt x="23" y="89"/>
                        <a:pt x="31" y="9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 name="Freeform 180">
                  <a:extLst>
                    <a:ext uri="{FF2B5EF4-FFF2-40B4-BE49-F238E27FC236}">
                      <a16:creationId xmlns:a16="http://schemas.microsoft.com/office/drawing/2014/main" id="{00887657-39C7-A0C3-6EEA-CEB27D0D226B}"/>
                    </a:ext>
                  </a:extLst>
                </p:cNvPr>
                <p:cNvSpPr>
                  <a:spLocks/>
                </p:cNvSpPr>
                <p:nvPr/>
              </p:nvSpPr>
              <p:spPr bwMode="auto">
                <a:xfrm>
                  <a:off x="7351713" y="2614613"/>
                  <a:ext cx="168275" cy="373062"/>
                </a:xfrm>
                <a:custGeom>
                  <a:avLst/>
                  <a:gdLst>
                    <a:gd name="T0" fmla="*/ 15 w 45"/>
                    <a:gd name="T1" fmla="*/ 6 h 99"/>
                    <a:gd name="T2" fmla="*/ 14 w 45"/>
                    <a:gd name="T3" fmla="*/ 2 h 99"/>
                    <a:gd name="T4" fmla="*/ 18 w 45"/>
                    <a:gd name="T5" fmla="*/ 1 h 99"/>
                    <a:gd name="T6" fmla="*/ 38 w 45"/>
                    <a:gd name="T7" fmla="*/ 20 h 99"/>
                    <a:gd name="T8" fmla="*/ 45 w 45"/>
                    <a:gd name="T9" fmla="*/ 47 h 99"/>
                    <a:gd name="T10" fmla="*/ 33 w 45"/>
                    <a:gd name="T11" fmla="*/ 80 h 99"/>
                    <a:gd name="T12" fmla="*/ 4 w 45"/>
                    <a:gd name="T13" fmla="*/ 99 h 99"/>
                    <a:gd name="T14" fmla="*/ 0 w 45"/>
                    <a:gd name="T15" fmla="*/ 97 h 99"/>
                    <a:gd name="T16" fmla="*/ 2 w 45"/>
                    <a:gd name="T17" fmla="*/ 93 h 99"/>
                    <a:gd name="T18" fmla="*/ 29 w 45"/>
                    <a:gd name="T19" fmla="*/ 77 h 99"/>
                    <a:gd name="T20" fmla="*/ 39 w 45"/>
                    <a:gd name="T21" fmla="*/ 47 h 99"/>
                    <a:gd name="T22" fmla="*/ 33 w 45"/>
                    <a:gd name="T23" fmla="*/ 23 h 99"/>
                    <a:gd name="T24" fmla="*/ 15 w 45"/>
                    <a:gd name="T25" fmla="*/ 6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99">
                      <a:moveTo>
                        <a:pt x="15" y="6"/>
                      </a:moveTo>
                      <a:cubicBezTo>
                        <a:pt x="13" y="5"/>
                        <a:pt x="13" y="4"/>
                        <a:pt x="14" y="2"/>
                      </a:cubicBezTo>
                      <a:cubicBezTo>
                        <a:pt x="14" y="1"/>
                        <a:pt x="16" y="0"/>
                        <a:pt x="18" y="1"/>
                      </a:cubicBezTo>
                      <a:cubicBezTo>
                        <a:pt x="26" y="6"/>
                        <a:pt x="33" y="12"/>
                        <a:pt x="38" y="20"/>
                      </a:cubicBezTo>
                      <a:cubicBezTo>
                        <a:pt x="42" y="28"/>
                        <a:pt x="45" y="38"/>
                        <a:pt x="45" y="47"/>
                      </a:cubicBezTo>
                      <a:cubicBezTo>
                        <a:pt x="45" y="60"/>
                        <a:pt x="41" y="71"/>
                        <a:pt x="33" y="80"/>
                      </a:cubicBezTo>
                      <a:cubicBezTo>
                        <a:pt x="26" y="89"/>
                        <a:pt x="16" y="96"/>
                        <a:pt x="4" y="99"/>
                      </a:cubicBezTo>
                      <a:cubicBezTo>
                        <a:pt x="2" y="99"/>
                        <a:pt x="0" y="98"/>
                        <a:pt x="0" y="97"/>
                      </a:cubicBezTo>
                      <a:cubicBezTo>
                        <a:pt x="0" y="95"/>
                        <a:pt x="1" y="93"/>
                        <a:pt x="2" y="93"/>
                      </a:cubicBezTo>
                      <a:cubicBezTo>
                        <a:pt x="13" y="91"/>
                        <a:pt x="22" y="85"/>
                        <a:pt x="29" y="77"/>
                      </a:cubicBezTo>
                      <a:cubicBezTo>
                        <a:pt x="35" y="68"/>
                        <a:pt x="39" y="58"/>
                        <a:pt x="39" y="47"/>
                      </a:cubicBezTo>
                      <a:cubicBezTo>
                        <a:pt x="39" y="39"/>
                        <a:pt x="37" y="30"/>
                        <a:pt x="33" y="23"/>
                      </a:cubicBezTo>
                      <a:cubicBezTo>
                        <a:pt x="28" y="16"/>
                        <a:pt x="22" y="10"/>
                        <a:pt x="15" y="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47" name="Freeform 46">
                <a:extLst>
                  <a:ext uri="{FF2B5EF4-FFF2-40B4-BE49-F238E27FC236}">
                    <a16:creationId xmlns:a16="http://schemas.microsoft.com/office/drawing/2014/main" id="{54266EC4-037A-EEC2-84D9-06F780250FA4}"/>
                  </a:ext>
                </a:extLst>
              </p:cNvPr>
              <p:cNvSpPr/>
              <p:nvPr/>
            </p:nvSpPr>
            <p:spPr>
              <a:xfrm>
                <a:off x="3624831" y="1774873"/>
                <a:ext cx="128830" cy="177242"/>
              </a:xfrm>
              <a:custGeom>
                <a:avLst/>
                <a:gdLst>
                  <a:gd name="connsiteX0" fmla="*/ 44715 w 90709"/>
                  <a:gd name="connsiteY0" fmla="*/ 124796 h 124796"/>
                  <a:gd name="connsiteX1" fmla="*/ 90709 w 90709"/>
                  <a:gd name="connsiteY1" fmla="*/ 71382 h 124796"/>
                  <a:gd name="connsiteX2" fmla="*/ 63113 w 90709"/>
                  <a:gd name="connsiteY2" fmla="*/ 71382 h 124796"/>
                  <a:gd name="connsiteX3" fmla="*/ 73652 w 90709"/>
                  <a:gd name="connsiteY3" fmla="*/ 0 h 124796"/>
                  <a:gd name="connsiteX4" fmla="*/ 10539 w 90709"/>
                  <a:gd name="connsiteY4" fmla="*/ 0 h 124796"/>
                  <a:gd name="connsiteX5" fmla="*/ 28937 w 90709"/>
                  <a:gd name="connsiteY5" fmla="*/ 70103 h 124796"/>
                  <a:gd name="connsiteX6" fmla="*/ 0 w 90709"/>
                  <a:gd name="connsiteY6" fmla="*/ 70103 h 124796"/>
                  <a:gd name="connsiteX7" fmla="*/ 44715 w 90709"/>
                  <a:gd name="connsiteY7" fmla="*/ 124796 h 12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709" h="124796">
                    <a:moveTo>
                      <a:pt x="44715" y="124796"/>
                    </a:moveTo>
                    <a:cubicBezTo>
                      <a:pt x="84313" y="78995"/>
                      <a:pt x="90709" y="71382"/>
                      <a:pt x="90709" y="71382"/>
                    </a:cubicBezTo>
                    <a:lnTo>
                      <a:pt x="63113" y="71382"/>
                    </a:lnTo>
                    <a:cubicBezTo>
                      <a:pt x="69205" y="16444"/>
                      <a:pt x="73652" y="0"/>
                      <a:pt x="73652" y="0"/>
                    </a:cubicBezTo>
                    <a:cubicBezTo>
                      <a:pt x="34237" y="19490"/>
                      <a:pt x="10539" y="0"/>
                      <a:pt x="10539" y="0"/>
                    </a:cubicBezTo>
                    <a:cubicBezTo>
                      <a:pt x="23576" y="45070"/>
                      <a:pt x="28937" y="70103"/>
                      <a:pt x="28937" y="70103"/>
                    </a:cubicBezTo>
                    <a:lnTo>
                      <a:pt x="0" y="70103"/>
                    </a:lnTo>
                    <a:lnTo>
                      <a:pt x="44715" y="124796"/>
                    </a:lnTo>
                    <a:close/>
                  </a:path>
                </a:pathLst>
              </a:custGeom>
              <a:grp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84" name="TextBox 83">
            <a:extLst>
              <a:ext uri="{FF2B5EF4-FFF2-40B4-BE49-F238E27FC236}">
                <a16:creationId xmlns:a16="http://schemas.microsoft.com/office/drawing/2014/main" id="{73F5D999-4F8F-46E1-BE30-F7E6BC32209D}"/>
              </a:ext>
            </a:extLst>
          </p:cNvPr>
          <p:cNvSpPr txBox="1"/>
          <p:nvPr/>
        </p:nvSpPr>
        <p:spPr>
          <a:xfrm>
            <a:off x="4192403" y="4055895"/>
            <a:ext cx="7543974" cy="230832"/>
          </a:xfrm>
          <a:prstGeom prst="rect">
            <a:avLst/>
          </a:prstGeom>
          <a:noFill/>
        </p:spPr>
        <p:txBody>
          <a:bodyPr wrap="square" lIns="0" tIns="0" rIns="0" bIns="0" rtlCol="0" anchor="ctr"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In the short term, </a:t>
            </a:r>
            <a:r>
              <a:rPr kumimoji="0" lang="en-GB" sz="15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the energy crisis could delay GHG emissions reduction</a:t>
            </a:r>
            <a:r>
              <a:rPr kumimoji="0" lang="en-GB"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a:t>
            </a:r>
            <a:endParaRPr kumimoji="0" lang="en-US"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nvGrpSpPr>
          <p:cNvPr id="7" name="Groupe 6">
            <a:extLst>
              <a:ext uri="{FF2B5EF4-FFF2-40B4-BE49-F238E27FC236}">
                <a16:creationId xmlns:a16="http://schemas.microsoft.com/office/drawing/2014/main" id="{9CAFABB0-E4C5-48B9-8307-DC40A617048E}"/>
              </a:ext>
            </a:extLst>
          </p:cNvPr>
          <p:cNvGrpSpPr/>
          <p:nvPr/>
        </p:nvGrpSpPr>
        <p:grpSpPr>
          <a:xfrm>
            <a:off x="3312471" y="3795520"/>
            <a:ext cx="785778" cy="751582"/>
            <a:chOff x="3292392" y="3926340"/>
            <a:chExt cx="785778" cy="751582"/>
          </a:xfrm>
        </p:grpSpPr>
        <p:sp>
          <p:nvSpPr>
            <p:cNvPr id="29" name="Freeform 215">
              <a:extLst>
                <a:ext uri="{FF2B5EF4-FFF2-40B4-BE49-F238E27FC236}">
                  <a16:creationId xmlns:a16="http://schemas.microsoft.com/office/drawing/2014/main" id="{12CE5685-07AA-4ACD-AE6B-AD37535FBE78}"/>
                </a:ext>
              </a:extLst>
            </p:cNvPr>
            <p:cNvSpPr/>
            <p:nvPr/>
          </p:nvSpPr>
          <p:spPr>
            <a:xfrm>
              <a:off x="3292392" y="3926340"/>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pic>
          <p:nvPicPr>
            <p:cNvPr id="52" name="Graphic 51">
              <a:extLst>
                <a:ext uri="{FF2B5EF4-FFF2-40B4-BE49-F238E27FC236}">
                  <a16:creationId xmlns:a16="http://schemas.microsoft.com/office/drawing/2014/main" id="{BEB1032E-9C77-3639-44D0-4C8F334FC3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7644" y="4129169"/>
              <a:ext cx="575433" cy="383622"/>
            </a:xfrm>
            <a:prstGeom prst="rect">
              <a:avLst/>
            </a:prstGeom>
          </p:spPr>
        </p:pic>
      </p:grpSp>
      <p:sp>
        <p:nvSpPr>
          <p:cNvPr id="87" name="TextBox 86">
            <a:extLst>
              <a:ext uri="{FF2B5EF4-FFF2-40B4-BE49-F238E27FC236}">
                <a16:creationId xmlns:a16="http://schemas.microsoft.com/office/drawing/2014/main" id="{A656FB5E-822A-4BAA-A325-1B63BB00347F}"/>
              </a:ext>
            </a:extLst>
          </p:cNvPr>
          <p:cNvSpPr txBox="1"/>
          <p:nvPr/>
        </p:nvSpPr>
        <p:spPr>
          <a:xfrm>
            <a:off x="4191000" y="4813290"/>
            <a:ext cx="7567927" cy="471155"/>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7000"/>
              </a:lnSpc>
              <a:spcBef>
                <a:spcPts val="0"/>
              </a:spcBef>
              <a:spcAft>
                <a:spcPts val="800"/>
              </a:spcAft>
              <a:buClr>
                <a:srgbClr val="000000"/>
              </a:buClr>
              <a:buSzTx/>
              <a:buFontTx/>
              <a:buNone/>
              <a:tabLst/>
              <a:defRPr/>
            </a:pPr>
            <a:r>
              <a:rPr kumimoji="0" lang="en-GB"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In the medium term, the </a:t>
            </a:r>
            <a:r>
              <a:rPr kumimoji="0" lang="en-GB"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carbon free energies development (renewables and nuclear) will benefit from the current energy crisis</a:t>
            </a:r>
            <a:r>
              <a:rPr kumimoji="0" lang="en-GB"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a:t>
            </a:r>
            <a:endParaRPr kumimoji="0" lang="en-US"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p:txBody>
      </p:sp>
      <p:grpSp>
        <p:nvGrpSpPr>
          <p:cNvPr id="8" name="Groupe 7">
            <a:extLst>
              <a:ext uri="{FF2B5EF4-FFF2-40B4-BE49-F238E27FC236}">
                <a16:creationId xmlns:a16="http://schemas.microsoft.com/office/drawing/2014/main" id="{7A07C9D3-C2BF-4379-B720-C41C387F4544}"/>
              </a:ext>
            </a:extLst>
          </p:cNvPr>
          <p:cNvGrpSpPr/>
          <p:nvPr/>
        </p:nvGrpSpPr>
        <p:grpSpPr>
          <a:xfrm>
            <a:off x="3312471" y="4673076"/>
            <a:ext cx="785778" cy="751582"/>
            <a:chOff x="3292392" y="4761038"/>
            <a:chExt cx="785778" cy="751582"/>
          </a:xfrm>
        </p:grpSpPr>
        <p:sp>
          <p:nvSpPr>
            <p:cNvPr id="30" name="Freeform 215">
              <a:extLst>
                <a:ext uri="{FF2B5EF4-FFF2-40B4-BE49-F238E27FC236}">
                  <a16:creationId xmlns:a16="http://schemas.microsoft.com/office/drawing/2014/main" id="{7D530F1E-01D1-43CA-A511-AA2BEE95D0C2}"/>
                </a:ext>
              </a:extLst>
            </p:cNvPr>
            <p:cNvSpPr/>
            <p:nvPr/>
          </p:nvSpPr>
          <p:spPr>
            <a:xfrm>
              <a:off x="3292392" y="4761038"/>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53" name="Groupe 361">
              <a:extLst>
                <a:ext uri="{FF2B5EF4-FFF2-40B4-BE49-F238E27FC236}">
                  <a16:creationId xmlns:a16="http://schemas.microsoft.com/office/drawing/2014/main" id="{9F4C47C0-76F3-3296-E63C-7CE3C950B393}"/>
                </a:ext>
              </a:extLst>
            </p:cNvPr>
            <p:cNvGrpSpPr/>
            <p:nvPr/>
          </p:nvGrpSpPr>
          <p:grpSpPr>
            <a:xfrm>
              <a:off x="3436058" y="4897374"/>
              <a:ext cx="480467" cy="477453"/>
              <a:chOff x="1493838" y="4171950"/>
              <a:chExt cx="504825" cy="501651"/>
            </a:xfrm>
            <a:solidFill>
              <a:schemeClr val="accent4"/>
            </a:solidFill>
          </p:grpSpPr>
          <p:sp>
            <p:nvSpPr>
              <p:cNvPr id="54" name="Freeform 149">
                <a:extLst>
                  <a:ext uri="{FF2B5EF4-FFF2-40B4-BE49-F238E27FC236}">
                    <a16:creationId xmlns:a16="http://schemas.microsoft.com/office/drawing/2014/main" id="{4C5FEED0-BE99-3B96-F78D-4F5673547F3C}"/>
                  </a:ext>
                </a:extLst>
              </p:cNvPr>
              <p:cNvSpPr>
                <a:spLocks/>
              </p:cNvSpPr>
              <p:nvPr/>
            </p:nvSpPr>
            <p:spPr bwMode="auto">
              <a:xfrm>
                <a:off x="1625600" y="4171950"/>
                <a:ext cx="34925" cy="115888"/>
              </a:xfrm>
              <a:custGeom>
                <a:avLst/>
                <a:gdLst>
                  <a:gd name="T0" fmla="*/ 5 w 10"/>
                  <a:gd name="T1" fmla="*/ 34 h 34"/>
                  <a:gd name="T2" fmla="*/ 5 w 10"/>
                  <a:gd name="T3" fmla="*/ 34 h 34"/>
                  <a:gd name="T4" fmla="*/ 0 w 10"/>
                  <a:gd name="T5" fmla="*/ 29 h 34"/>
                  <a:gd name="T6" fmla="*/ 0 w 10"/>
                  <a:gd name="T7" fmla="*/ 5 h 34"/>
                  <a:gd name="T8" fmla="*/ 5 w 10"/>
                  <a:gd name="T9" fmla="*/ 0 h 34"/>
                  <a:gd name="T10" fmla="*/ 5 w 10"/>
                  <a:gd name="T11" fmla="*/ 0 h 34"/>
                  <a:gd name="T12" fmla="*/ 10 w 10"/>
                  <a:gd name="T13" fmla="*/ 5 h 34"/>
                  <a:gd name="T14" fmla="*/ 10 w 10"/>
                  <a:gd name="T15" fmla="*/ 29 h 34"/>
                  <a:gd name="T16" fmla="*/ 5 w 1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5" y="34"/>
                    </a:moveTo>
                    <a:cubicBezTo>
                      <a:pt x="5" y="34"/>
                      <a:pt x="5" y="34"/>
                      <a:pt x="5" y="34"/>
                    </a:cubicBezTo>
                    <a:cubicBezTo>
                      <a:pt x="2" y="34"/>
                      <a:pt x="0" y="31"/>
                      <a:pt x="0" y="29"/>
                    </a:cubicBezTo>
                    <a:cubicBezTo>
                      <a:pt x="0" y="5"/>
                      <a:pt x="0" y="5"/>
                      <a:pt x="0" y="5"/>
                    </a:cubicBezTo>
                    <a:cubicBezTo>
                      <a:pt x="0" y="2"/>
                      <a:pt x="2" y="0"/>
                      <a:pt x="5" y="0"/>
                    </a:cubicBezTo>
                    <a:cubicBezTo>
                      <a:pt x="5" y="0"/>
                      <a:pt x="5" y="0"/>
                      <a:pt x="5" y="0"/>
                    </a:cubicBezTo>
                    <a:cubicBezTo>
                      <a:pt x="8" y="0"/>
                      <a:pt x="10" y="2"/>
                      <a:pt x="10" y="5"/>
                    </a:cubicBezTo>
                    <a:cubicBezTo>
                      <a:pt x="10" y="29"/>
                      <a:pt x="10" y="29"/>
                      <a:pt x="10" y="29"/>
                    </a:cubicBezTo>
                    <a:cubicBezTo>
                      <a:pt x="10" y="31"/>
                      <a:pt x="8" y="34"/>
                      <a:pt x="5"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5" name="Freeform 150">
                <a:extLst>
                  <a:ext uri="{FF2B5EF4-FFF2-40B4-BE49-F238E27FC236}">
                    <a16:creationId xmlns:a16="http://schemas.microsoft.com/office/drawing/2014/main" id="{B1BBEF18-911A-6C25-895B-C9AF1038A0B3}"/>
                  </a:ext>
                </a:extLst>
              </p:cNvPr>
              <p:cNvSpPr>
                <a:spLocks/>
              </p:cNvSpPr>
              <p:nvPr/>
            </p:nvSpPr>
            <p:spPr bwMode="auto">
              <a:xfrm>
                <a:off x="1751013" y="4171950"/>
                <a:ext cx="34925" cy="115888"/>
              </a:xfrm>
              <a:custGeom>
                <a:avLst/>
                <a:gdLst>
                  <a:gd name="T0" fmla="*/ 6 w 10"/>
                  <a:gd name="T1" fmla="*/ 34 h 34"/>
                  <a:gd name="T2" fmla="*/ 5 w 10"/>
                  <a:gd name="T3" fmla="*/ 34 h 34"/>
                  <a:gd name="T4" fmla="*/ 0 w 10"/>
                  <a:gd name="T5" fmla="*/ 29 h 34"/>
                  <a:gd name="T6" fmla="*/ 0 w 10"/>
                  <a:gd name="T7" fmla="*/ 5 h 34"/>
                  <a:gd name="T8" fmla="*/ 5 w 10"/>
                  <a:gd name="T9" fmla="*/ 0 h 34"/>
                  <a:gd name="T10" fmla="*/ 6 w 10"/>
                  <a:gd name="T11" fmla="*/ 0 h 34"/>
                  <a:gd name="T12" fmla="*/ 10 w 10"/>
                  <a:gd name="T13" fmla="*/ 5 h 34"/>
                  <a:gd name="T14" fmla="*/ 10 w 10"/>
                  <a:gd name="T15" fmla="*/ 29 h 34"/>
                  <a:gd name="T16" fmla="*/ 6 w 1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4">
                    <a:moveTo>
                      <a:pt x="6" y="34"/>
                    </a:moveTo>
                    <a:cubicBezTo>
                      <a:pt x="5" y="34"/>
                      <a:pt x="5" y="34"/>
                      <a:pt x="5" y="34"/>
                    </a:cubicBezTo>
                    <a:cubicBezTo>
                      <a:pt x="3" y="34"/>
                      <a:pt x="0" y="31"/>
                      <a:pt x="0" y="29"/>
                    </a:cubicBezTo>
                    <a:cubicBezTo>
                      <a:pt x="0" y="5"/>
                      <a:pt x="0" y="5"/>
                      <a:pt x="0" y="5"/>
                    </a:cubicBezTo>
                    <a:cubicBezTo>
                      <a:pt x="0" y="2"/>
                      <a:pt x="3" y="0"/>
                      <a:pt x="5" y="0"/>
                    </a:cubicBezTo>
                    <a:cubicBezTo>
                      <a:pt x="6" y="0"/>
                      <a:pt x="6" y="0"/>
                      <a:pt x="6" y="0"/>
                    </a:cubicBezTo>
                    <a:cubicBezTo>
                      <a:pt x="8" y="0"/>
                      <a:pt x="10" y="2"/>
                      <a:pt x="10" y="5"/>
                    </a:cubicBezTo>
                    <a:cubicBezTo>
                      <a:pt x="10" y="29"/>
                      <a:pt x="10" y="29"/>
                      <a:pt x="10" y="29"/>
                    </a:cubicBezTo>
                    <a:cubicBezTo>
                      <a:pt x="10" y="31"/>
                      <a:pt x="8" y="34"/>
                      <a:pt x="6"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6" name="Freeform 151">
                <a:extLst>
                  <a:ext uri="{FF2B5EF4-FFF2-40B4-BE49-F238E27FC236}">
                    <a16:creationId xmlns:a16="http://schemas.microsoft.com/office/drawing/2014/main" id="{980F03B8-2B98-8A5A-E4FF-89A2BE1C1604}"/>
                  </a:ext>
                </a:extLst>
              </p:cNvPr>
              <p:cNvSpPr>
                <a:spLocks/>
              </p:cNvSpPr>
              <p:nvPr/>
            </p:nvSpPr>
            <p:spPr bwMode="auto">
              <a:xfrm>
                <a:off x="1589088" y="4264025"/>
                <a:ext cx="236538" cy="26988"/>
              </a:xfrm>
              <a:custGeom>
                <a:avLst/>
                <a:gdLst>
                  <a:gd name="T0" fmla="*/ 66 w 70"/>
                  <a:gd name="T1" fmla="*/ 8 h 8"/>
                  <a:gd name="T2" fmla="*/ 4 w 70"/>
                  <a:gd name="T3" fmla="*/ 8 h 8"/>
                  <a:gd name="T4" fmla="*/ 0 w 70"/>
                  <a:gd name="T5" fmla="*/ 4 h 8"/>
                  <a:gd name="T6" fmla="*/ 0 w 70"/>
                  <a:gd name="T7" fmla="*/ 4 h 8"/>
                  <a:gd name="T8" fmla="*/ 4 w 70"/>
                  <a:gd name="T9" fmla="*/ 0 h 8"/>
                  <a:gd name="T10" fmla="*/ 66 w 70"/>
                  <a:gd name="T11" fmla="*/ 0 h 8"/>
                  <a:gd name="T12" fmla="*/ 70 w 70"/>
                  <a:gd name="T13" fmla="*/ 4 h 8"/>
                  <a:gd name="T14" fmla="*/ 70 w 70"/>
                  <a:gd name="T15" fmla="*/ 4 h 8"/>
                  <a:gd name="T16" fmla="*/ 66 w 70"/>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8">
                    <a:moveTo>
                      <a:pt x="66" y="8"/>
                    </a:moveTo>
                    <a:cubicBezTo>
                      <a:pt x="4" y="8"/>
                      <a:pt x="4" y="8"/>
                      <a:pt x="4" y="8"/>
                    </a:cubicBezTo>
                    <a:cubicBezTo>
                      <a:pt x="2" y="8"/>
                      <a:pt x="0" y="6"/>
                      <a:pt x="0" y="4"/>
                    </a:cubicBezTo>
                    <a:cubicBezTo>
                      <a:pt x="0" y="4"/>
                      <a:pt x="0" y="4"/>
                      <a:pt x="0" y="4"/>
                    </a:cubicBezTo>
                    <a:cubicBezTo>
                      <a:pt x="0" y="1"/>
                      <a:pt x="2" y="0"/>
                      <a:pt x="4" y="0"/>
                    </a:cubicBezTo>
                    <a:cubicBezTo>
                      <a:pt x="66" y="0"/>
                      <a:pt x="66" y="0"/>
                      <a:pt x="66" y="0"/>
                    </a:cubicBezTo>
                    <a:cubicBezTo>
                      <a:pt x="68" y="0"/>
                      <a:pt x="70" y="1"/>
                      <a:pt x="70" y="4"/>
                    </a:cubicBezTo>
                    <a:cubicBezTo>
                      <a:pt x="70" y="4"/>
                      <a:pt x="70" y="4"/>
                      <a:pt x="70" y="4"/>
                    </a:cubicBezTo>
                    <a:cubicBezTo>
                      <a:pt x="70" y="6"/>
                      <a:pt x="68" y="8"/>
                      <a:pt x="66" y="8"/>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7" name="Freeform 152">
                <a:extLst>
                  <a:ext uri="{FF2B5EF4-FFF2-40B4-BE49-F238E27FC236}">
                    <a16:creationId xmlns:a16="http://schemas.microsoft.com/office/drawing/2014/main" id="{AEFA9A1B-5B1F-2213-A395-AAC2547BDC75}"/>
                  </a:ext>
                </a:extLst>
              </p:cNvPr>
              <p:cNvSpPr>
                <a:spLocks/>
              </p:cNvSpPr>
              <p:nvPr/>
            </p:nvSpPr>
            <p:spPr bwMode="auto">
              <a:xfrm>
                <a:off x="1606550" y="4279900"/>
                <a:ext cx="209550" cy="112713"/>
              </a:xfrm>
              <a:custGeom>
                <a:avLst/>
                <a:gdLst>
                  <a:gd name="T0" fmla="*/ 132 w 132"/>
                  <a:gd name="T1" fmla="*/ 41 h 71"/>
                  <a:gd name="T2" fmla="*/ 96 w 132"/>
                  <a:gd name="T3" fmla="*/ 71 h 71"/>
                  <a:gd name="T4" fmla="*/ 32 w 132"/>
                  <a:gd name="T5" fmla="*/ 71 h 71"/>
                  <a:gd name="T6" fmla="*/ 0 w 132"/>
                  <a:gd name="T7" fmla="*/ 41 h 71"/>
                  <a:gd name="T8" fmla="*/ 0 w 132"/>
                  <a:gd name="T9" fmla="*/ 0 h 71"/>
                  <a:gd name="T10" fmla="*/ 132 w 132"/>
                  <a:gd name="T11" fmla="*/ 0 h 71"/>
                  <a:gd name="T12" fmla="*/ 132 w 132"/>
                  <a:gd name="T13" fmla="*/ 41 h 71"/>
                </a:gdLst>
                <a:ahLst/>
                <a:cxnLst>
                  <a:cxn ang="0">
                    <a:pos x="T0" y="T1"/>
                  </a:cxn>
                  <a:cxn ang="0">
                    <a:pos x="T2" y="T3"/>
                  </a:cxn>
                  <a:cxn ang="0">
                    <a:pos x="T4" y="T5"/>
                  </a:cxn>
                  <a:cxn ang="0">
                    <a:pos x="T6" y="T7"/>
                  </a:cxn>
                  <a:cxn ang="0">
                    <a:pos x="T8" y="T9"/>
                  </a:cxn>
                  <a:cxn ang="0">
                    <a:pos x="T10" y="T11"/>
                  </a:cxn>
                  <a:cxn ang="0">
                    <a:pos x="T12" y="T13"/>
                  </a:cxn>
                </a:cxnLst>
                <a:rect l="0" t="0" r="r" b="b"/>
                <a:pathLst>
                  <a:path w="132" h="71">
                    <a:moveTo>
                      <a:pt x="132" y="41"/>
                    </a:moveTo>
                    <a:lnTo>
                      <a:pt x="96" y="71"/>
                    </a:lnTo>
                    <a:lnTo>
                      <a:pt x="32" y="71"/>
                    </a:lnTo>
                    <a:lnTo>
                      <a:pt x="0" y="41"/>
                    </a:lnTo>
                    <a:lnTo>
                      <a:pt x="0" y="0"/>
                    </a:lnTo>
                    <a:lnTo>
                      <a:pt x="132" y="0"/>
                    </a:lnTo>
                    <a:lnTo>
                      <a:pt x="132"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8" name="Rectangle 153">
                <a:extLst>
                  <a:ext uri="{FF2B5EF4-FFF2-40B4-BE49-F238E27FC236}">
                    <a16:creationId xmlns:a16="http://schemas.microsoft.com/office/drawing/2014/main" id="{33F8DF66-295A-D30B-D501-5AC9D1677207}"/>
                  </a:ext>
                </a:extLst>
              </p:cNvPr>
              <p:cNvSpPr>
                <a:spLocks noChangeArrowheads="1"/>
              </p:cNvSpPr>
              <p:nvPr/>
            </p:nvSpPr>
            <p:spPr bwMode="auto">
              <a:xfrm>
                <a:off x="1654175" y="4392613"/>
                <a:ext cx="107950" cy="269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9" name="Freeform 154">
                <a:extLst>
                  <a:ext uri="{FF2B5EF4-FFF2-40B4-BE49-F238E27FC236}">
                    <a16:creationId xmlns:a16="http://schemas.microsoft.com/office/drawing/2014/main" id="{D237659D-CEEC-9047-E635-73498352A03B}"/>
                  </a:ext>
                </a:extLst>
              </p:cNvPr>
              <p:cNvSpPr>
                <a:spLocks/>
              </p:cNvSpPr>
              <p:nvPr/>
            </p:nvSpPr>
            <p:spPr bwMode="auto">
              <a:xfrm>
                <a:off x="1670050" y="4357688"/>
                <a:ext cx="88900" cy="315913"/>
              </a:xfrm>
              <a:custGeom>
                <a:avLst/>
                <a:gdLst>
                  <a:gd name="T0" fmla="*/ 23 w 26"/>
                  <a:gd name="T1" fmla="*/ 93 h 93"/>
                  <a:gd name="T2" fmla="*/ 13 w 26"/>
                  <a:gd name="T3" fmla="*/ 92 h 93"/>
                  <a:gd name="T4" fmla="*/ 10 w 26"/>
                  <a:gd name="T5" fmla="*/ 62 h 93"/>
                  <a:gd name="T6" fmla="*/ 5 w 26"/>
                  <a:gd name="T7" fmla="*/ 40 h 93"/>
                  <a:gd name="T8" fmla="*/ 12 w 26"/>
                  <a:gd name="T9" fmla="*/ 0 h 93"/>
                  <a:gd name="T10" fmla="*/ 19 w 26"/>
                  <a:gd name="T11" fmla="*/ 8 h 93"/>
                  <a:gd name="T12" fmla="*/ 19 w 26"/>
                  <a:gd name="T13" fmla="*/ 8 h 93"/>
                  <a:gd name="T14" fmla="*/ 15 w 26"/>
                  <a:gd name="T15" fmla="*/ 38 h 93"/>
                  <a:gd name="T16" fmla="*/ 20 w 26"/>
                  <a:gd name="T17" fmla="*/ 59 h 93"/>
                  <a:gd name="T18" fmla="*/ 23 w 26"/>
                  <a:gd name="T1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3">
                    <a:moveTo>
                      <a:pt x="23" y="93"/>
                    </a:moveTo>
                    <a:cubicBezTo>
                      <a:pt x="13" y="92"/>
                      <a:pt x="13" y="92"/>
                      <a:pt x="13" y="92"/>
                    </a:cubicBezTo>
                    <a:cubicBezTo>
                      <a:pt x="15" y="76"/>
                      <a:pt x="13" y="71"/>
                      <a:pt x="10" y="62"/>
                    </a:cubicBezTo>
                    <a:cubicBezTo>
                      <a:pt x="9" y="57"/>
                      <a:pt x="6" y="50"/>
                      <a:pt x="5" y="40"/>
                    </a:cubicBezTo>
                    <a:cubicBezTo>
                      <a:pt x="0" y="11"/>
                      <a:pt x="11" y="1"/>
                      <a:pt x="12" y="0"/>
                    </a:cubicBezTo>
                    <a:cubicBezTo>
                      <a:pt x="19" y="8"/>
                      <a:pt x="19" y="8"/>
                      <a:pt x="19" y="8"/>
                    </a:cubicBezTo>
                    <a:cubicBezTo>
                      <a:pt x="19" y="8"/>
                      <a:pt x="19" y="8"/>
                      <a:pt x="19" y="8"/>
                    </a:cubicBezTo>
                    <a:cubicBezTo>
                      <a:pt x="19" y="8"/>
                      <a:pt x="11" y="15"/>
                      <a:pt x="15" y="38"/>
                    </a:cubicBezTo>
                    <a:cubicBezTo>
                      <a:pt x="16" y="48"/>
                      <a:pt x="18" y="54"/>
                      <a:pt x="20" y="59"/>
                    </a:cubicBezTo>
                    <a:cubicBezTo>
                      <a:pt x="23" y="68"/>
                      <a:pt x="26" y="75"/>
                      <a:pt x="23" y="9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0" name="Freeform 155">
                <a:extLst>
                  <a:ext uri="{FF2B5EF4-FFF2-40B4-BE49-F238E27FC236}">
                    <a16:creationId xmlns:a16="http://schemas.microsoft.com/office/drawing/2014/main" id="{61957EDF-24AD-ABB7-9E36-57AD10795EFF}"/>
                  </a:ext>
                </a:extLst>
              </p:cNvPr>
              <p:cNvSpPr>
                <a:spLocks/>
              </p:cNvSpPr>
              <p:nvPr/>
            </p:nvSpPr>
            <p:spPr bwMode="auto">
              <a:xfrm>
                <a:off x="1738313" y="4338638"/>
                <a:ext cx="260350" cy="307975"/>
              </a:xfrm>
              <a:custGeom>
                <a:avLst/>
                <a:gdLst>
                  <a:gd name="T0" fmla="*/ 3 w 77"/>
                  <a:gd name="T1" fmla="*/ 83 h 91"/>
                  <a:gd name="T2" fmla="*/ 4 w 77"/>
                  <a:gd name="T3" fmla="*/ 51 h 91"/>
                  <a:gd name="T4" fmla="*/ 34 w 77"/>
                  <a:gd name="T5" fmla="*/ 23 h 91"/>
                  <a:gd name="T6" fmla="*/ 61 w 77"/>
                  <a:gd name="T7" fmla="*/ 0 h 91"/>
                  <a:gd name="T8" fmla="*/ 76 w 77"/>
                  <a:gd name="T9" fmla="*/ 25 h 91"/>
                  <a:gd name="T10" fmla="*/ 42 w 77"/>
                  <a:gd name="T11" fmla="*/ 80 h 91"/>
                  <a:gd name="T12" fmla="*/ 11 w 77"/>
                  <a:gd name="T13" fmla="*/ 87 h 91"/>
                  <a:gd name="T14" fmla="*/ 51 w 77"/>
                  <a:gd name="T15" fmla="*/ 30 h 91"/>
                  <a:gd name="T16" fmla="*/ 3 w 77"/>
                  <a:gd name="T17" fmla="*/ 8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91">
                    <a:moveTo>
                      <a:pt x="3" y="83"/>
                    </a:moveTo>
                    <a:cubicBezTo>
                      <a:pt x="3" y="83"/>
                      <a:pt x="0" y="63"/>
                      <a:pt x="4" y="51"/>
                    </a:cubicBezTo>
                    <a:cubicBezTo>
                      <a:pt x="8" y="40"/>
                      <a:pt x="20" y="29"/>
                      <a:pt x="34" y="23"/>
                    </a:cubicBezTo>
                    <a:cubicBezTo>
                      <a:pt x="49" y="16"/>
                      <a:pt x="60" y="8"/>
                      <a:pt x="61" y="0"/>
                    </a:cubicBezTo>
                    <a:cubicBezTo>
                      <a:pt x="61" y="0"/>
                      <a:pt x="77" y="7"/>
                      <a:pt x="76" y="25"/>
                    </a:cubicBezTo>
                    <a:cubicBezTo>
                      <a:pt x="75" y="47"/>
                      <a:pt x="59" y="69"/>
                      <a:pt x="42" y="80"/>
                    </a:cubicBezTo>
                    <a:cubicBezTo>
                      <a:pt x="25" y="91"/>
                      <a:pt x="11" y="87"/>
                      <a:pt x="11" y="87"/>
                    </a:cubicBezTo>
                    <a:cubicBezTo>
                      <a:pt x="11" y="87"/>
                      <a:pt x="30" y="47"/>
                      <a:pt x="51" y="30"/>
                    </a:cubicBezTo>
                    <a:cubicBezTo>
                      <a:pt x="51" y="30"/>
                      <a:pt x="14" y="47"/>
                      <a:pt x="3" y="8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1" name="Freeform 156">
                <a:extLst>
                  <a:ext uri="{FF2B5EF4-FFF2-40B4-BE49-F238E27FC236}">
                    <a16:creationId xmlns:a16="http://schemas.microsoft.com/office/drawing/2014/main" id="{122DCEB7-D1D7-29E1-C90B-CBD4F20B0A98}"/>
                  </a:ext>
                </a:extLst>
              </p:cNvPr>
              <p:cNvSpPr>
                <a:spLocks/>
              </p:cNvSpPr>
              <p:nvPr/>
            </p:nvSpPr>
            <p:spPr bwMode="auto">
              <a:xfrm>
                <a:off x="1493838" y="4443413"/>
                <a:ext cx="227013" cy="190500"/>
              </a:xfrm>
              <a:custGeom>
                <a:avLst/>
                <a:gdLst>
                  <a:gd name="T0" fmla="*/ 67 w 67"/>
                  <a:gd name="T1" fmla="*/ 46 h 56"/>
                  <a:gd name="T2" fmla="*/ 60 w 67"/>
                  <a:gd name="T3" fmla="*/ 24 h 56"/>
                  <a:gd name="T4" fmla="*/ 33 w 67"/>
                  <a:gd name="T5" fmla="*/ 10 h 56"/>
                  <a:gd name="T6" fmla="*/ 10 w 67"/>
                  <a:gd name="T7" fmla="*/ 0 h 56"/>
                  <a:gd name="T8" fmla="*/ 4 w 67"/>
                  <a:gd name="T9" fmla="*/ 21 h 56"/>
                  <a:gd name="T10" fmla="*/ 39 w 67"/>
                  <a:gd name="T11" fmla="*/ 52 h 56"/>
                  <a:gd name="T12" fmla="*/ 63 w 67"/>
                  <a:gd name="T13" fmla="*/ 50 h 56"/>
                  <a:gd name="T14" fmla="*/ 23 w 67"/>
                  <a:gd name="T15" fmla="*/ 19 h 56"/>
                  <a:gd name="T16" fmla="*/ 67 w 67"/>
                  <a:gd name="T17"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6">
                    <a:moveTo>
                      <a:pt x="67" y="46"/>
                    </a:moveTo>
                    <a:cubicBezTo>
                      <a:pt x="67" y="46"/>
                      <a:pt x="65" y="31"/>
                      <a:pt x="60" y="24"/>
                    </a:cubicBezTo>
                    <a:cubicBezTo>
                      <a:pt x="55" y="17"/>
                      <a:pt x="44" y="12"/>
                      <a:pt x="33" y="10"/>
                    </a:cubicBezTo>
                    <a:cubicBezTo>
                      <a:pt x="22" y="9"/>
                      <a:pt x="12" y="5"/>
                      <a:pt x="10" y="0"/>
                    </a:cubicBezTo>
                    <a:cubicBezTo>
                      <a:pt x="10" y="0"/>
                      <a:pt x="0" y="8"/>
                      <a:pt x="4" y="21"/>
                    </a:cubicBezTo>
                    <a:cubicBezTo>
                      <a:pt x="9" y="36"/>
                      <a:pt x="25" y="48"/>
                      <a:pt x="39" y="52"/>
                    </a:cubicBezTo>
                    <a:cubicBezTo>
                      <a:pt x="53" y="56"/>
                      <a:pt x="63" y="50"/>
                      <a:pt x="63" y="50"/>
                    </a:cubicBezTo>
                    <a:cubicBezTo>
                      <a:pt x="63" y="50"/>
                      <a:pt x="41" y="26"/>
                      <a:pt x="23" y="19"/>
                    </a:cubicBezTo>
                    <a:cubicBezTo>
                      <a:pt x="23" y="19"/>
                      <a:pt x="53" y="24"/>
                      <a:pt x="67" y="46"/>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sp>
        <p:nvSpPr>
          <p:cNvPr id="35" name="TextBox 34">
            <a:extLst>
              <a:ext uri="{FF2B5EF4-FFF2-40B4-BE49-F238E27FC236}">
                <a16:creationId xmlns:a16="http://schemas.microsoft.com/office/drawing/2014/main" id="{0C70B752-B07A-4E71-8C8C-AEF1808618C4}"/>
              </a:ext>
            </a:extLst>
          </p:cNvPr>
          <p:cNvSpPr txBox="1"/>
          <p:nvPr/>
        </p:nvSpPr>
        <p:spPr>
          <a:xfrm>
            <a:off x="4192403" y="3181673"/>
            <a:ext cx="7543974" cy="471155"/>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7000"/>
              </a:lnSpc>
              <a:spcBef>
                <a:spcPts val="0"/>
              </a:spcBef>
              <a:spcAft>
                <a:spcPts val="800"/>
              </a:spcAft>
              <a:buClr>
                <a:srgbClr val="000000"/>
              </a:buClr>
              <a:buSzTx/>
              <a:buFontTx/>
              <a:buNone/>
              <a:tabLst/>
              <a:defRPr/>
            </a:pPr>
            <a:r>
              <a:rPr kumimoji="0" lang="en-GB"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The </a:t>
            </a:r>
            <a:r>
              <a:rPr kumimoji="0" lang="en-GB"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use of coal is more sustained than what is desired </a:t>
            </a:r>
            <a:r>
              <a:rPr lang="en-GB" sz="1500" dirty="0">
                <a:solidFill>
                  <a:srgbClr val="FFFFFF"/>
                </a:solidFill>
                <a:latin typeface="Ubuntu Light" panose="020B0304030602030204" pitchFamily="34" charset="0"/>
              </a:rPr>
              <a:t>. </a:t>
            </a:r>
            <a:r>
              <a:rPr kumimoji="0" lang="en-GB"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Developing competitive CCUS is key </a:t>
            </a:r>
            <a:r>
              <a:rPr kumimoji="0" lang="en-GB"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to eliminate CO</a:t>
            </a:r>
            <a:r>
              <a:rPr kumimoji="0" lang="en-GB" sz="1500" b="0" i="0" u="none" strike="noStrike" kern="1200" cap="none" spc="0" normalizeH="0" baseline="-25000" noProof="0" dirty="0">
                <a:ln>
                  <a:noFill/>
                </a:ln>
                <a:solidFill>
                  <a:srgbClr val="FFFFFF"/>
                </a:solidFill>
                <a:effectLst/>
                <a:uLnTx/>
                <a:uFillTx/>
                <a:latin typeface="Ubuntu Light" panose="020B0304030602030204" pitchFamily="34" charset="0"/>
                <a:ea typeface="+mn-ea"/>
                <a:cs typeface="+mn-cs"/>
              </a:rPr>
              <a:t>2</a:t>
            </a:r>
            <a:r>
              <a:rPr kumimoji="0" lang="en-GB"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emissions from coal and gas fired power plants. </a:t>
            </a:r>
            <a:endParaRPr kumimoji="0" lang="en-US"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p:txBody>
      </p:sp>
      <p:grpSp>
        <p:nvGrpSpPr>
          <p:cNvPr id="5" name="Groupe 4">
            <a:extLst>
              <a:ext uri="{FF2B5EF4-FFF2-40B4-BE49-F238E27FC236}">
                <a16:creationId xmlns:a16="http://schemas.microsoft.com/office/drawing/2014/main" id="{3D3DAA78-7FBB-4E53-BE66-206439A8E3FC}"/>
              </a:ext>
            </a:extLst>
          </p:cNvPr>
          <p:cNvGrpSpPr/>
          <p:nvPr/>
        </p:nvGrpSpPr>
        <p:grpSpPr>
          <a:xfrm>
            <a:off x="3312471" y="2917964"/>
            <a:ext cx="785778" cy="751582"/>
            <a:chOff x="3292392" y="2894545"/>
            <a:chExt cx="785778" cy="751582"/>
          </a:xfrm>
        </p:grpSpPr>
        <p:sp>
          <p:nvSpPr>
            <p:cNvPr id="28" name="Freeform 215">
              <a:extLst>
                <a:ext uri="{FF2B5EF4-FFF2-40B4-BE49-F238E27FC236}">
                  <a16:creationId xmlns:a16="http://schemas.microsoft.com/office/drawing/2014/main" id="{63ADD38A-59DE-4F1E-B7A4-7F2D166E17A7}"/>
                </a:ext>
              </a:extLst>
            </p:cNvPr>
            <p:cNvSpPr/>
            <p:nvPr/>
          </p:nvSpPr>
          <p:spPr>
            <a:xfrm>
              <a:off x="3292392" y="2894545"/>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11" name="Group 110">
              <a:extLst>
                <a:ext uri="{FF2B5EF4-FFF2-40B4-BE49-F238E27FC236}">
                  <a16:creationId xmlns:a16="http://schemas.microsoft.com/office/drawing/2014/main" id="{51A6D74B-6AE0-9B69-6B3A-EE1ECADD5585}"/>
                </a:ext>
              </a:extLst>
            </p:cNvPr>
            <p:cNvGrpSpPr/>
            <p:nvPr/>
          </p:nvGrpSpPr>
          <p:grpSpPr>
            <a:xfrm>
              <a:off x="3415082" y="3008897"/>
              <a:ext cx="530353" cy="551548"/>
              <a:chOff x="3060273" y="2397389"/>
              <a:chExt cx="595927" cy="619743"/>
            </a:xfrm>
            <a:solidFill>
              <a:schemeClr val="accent3"/>
            </a:solidFill>
          </p:grpSpPr>
          <p:grpSp>
            <p:nvGrpSpPr>
              <p:cNvPr id="99" name="Graphic 1293">
                <a:extLst>
                  <a:ext uri="{FF2B5EF4-FFF2-40B4-BE49-F238E27FC236}">
                    <a16:creationId xmlns:a16="http://schemas.microsoft.com/office/drawing/2014/main" id="{A1E21A8C-130C-9E32-8F81-3B1C46258391}"/>
                  </a:ext>
                </a:extLst>
              </p:cNvPr>
              <p:cNvGrpSpPr/>
              <p:nvPr/>
            </p:nvGrpSpPr>
            <p:grpSpPr>
              <a:xfrm>
                <a:off x="3060273" y="2397389"/>
                <a:ext cx="595927" cy="619743"/>
                <a:chOff x="8098364" y="2210607"/>
                <a:chExt cx="885642" cy="921037"/>
              </a:xfrm>
              <a:grpFill/>
            </p:grpSpPr>
            <p:sp>
              <p:nvSpPr>
                <p:cNvPr id="100" name="Freeform 99">
                  <a:extLst>
                    <a:ext uri="{FF2B5EF4-FFF2-40B4-BE49-F238E27FC236}">
                      <a16:creationId xmlns:a16="http://schemas.microsoft.com/office/drawing/2014/main" id="{45F4081A-65D6-1D5F-DE2D-262D0969B7D1}"/>
                    </a:ext>
                  </a:extLst>
                </p:cNvPr>
                <p:cNvSpPr/>
                <p:nvPr/>
              </p:nvSpPr>
              <p:spPr>
                <a:xfrm>
                  <a:off x="8188238" y="2443711"/>
                  <a:ext cx="176079" cy="96629"/>
                </a:xfrm>
                <a:custGeom>
                  <a:avLst/>
                  <a:gdLst>
                    <a:gd name="connsiteX0" fmla="*/ 135171 w 176079"/>
                    <a:gd name="connsiteY0" fmla="*/ 49961 h 96629"/>
                    <a:gd name="connsiteX1" fmla="*/ 80924 w 176079"/>
                    <a:gd name="connsiteY1" fmla="*/ 0 h 96629"/>
                    <a:gd name="connsiteX2" fmla="*/ 50475 w 176079"/>
                    <a:gd name="connsiteY2" fmla="*/ 0 h 96629"/>
                    <a:gd name="connsiteX3" fmla="*/ 0 w 176079"/>
                    <a:gd name="connsiteY3" fmla="*/ 28838 h 96629"/>
                    <a:gd name="connsiteX4" fmla="*/ 0 w 176079"/>
                    <a:gd name="connsiteY4" fmla="*/ 96629 h 96629"/>
                    <a:gd name="connsiteX5" fmla="*/ 0 w 176079"/>
                    <a:gd name="connsiteY5" fmla="*/ 96629 h 96629"/>
                    <a:gd name="connsiteX6" fmla="*/ 176079 w 176079"/>
                    <a:gd name="connsiteY6" fmla="*/ 96629 h 96629"/>
                    <a:gd name="connsiteX7" fmla="*/ 135171 w 176079"/>
                    <a:gd name="connsiteY7" fmla="*/ 49892 h 96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079" h="96629">
                      <a:moveTo>
                        <a:pt x="135171" y="49961"/>
                      </a:moveTo>
                      <a:lnTo>
                        <a:pt x="80924" y="0"/>
                      </a:lnTo>
                      <a:lnTo>
                        <a:pt x="50475" y="0"/>
                      </a:lnTo>
                      <a:lnTo>
                        <a:pt x="0" y="28838"/>
                      </a:lnTo>
                      <a:lnTo>
                        <a:pt x="0" y="96629"/>
                      </a:lnTo>
                      <a:lnTo>
                        <a:pt x="0" y="96629"/>
                      </a:lnTo>
                      <a:cubicBezTo>
                        <a:pt x="0" y="96629"/>
                        <a:pt x="176079" y="96629"/>
                        <a:pt x="176079" y="96629"/>
                      </a:cubicBezTo>
                      <a:lnTo>
                        <a:pt x="135171" y="49892"/>
                      </a:ln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1" name="Freeform 100">
                  <a:extLst>
                    <a:ext uri="{FF2B5EF4-FFF2-40B4-BE49-F238E27FC236}">
                      <a16:creationId xmlns:a16="http://schemas.microsoft.com/office/drawing/2014/main" id="{ED722B2B-7D8A-A177-B430-8B22D2FA5FE9}"/>
                    </a:ext>
                  </a:extLst>
                </p:cNvPr>
                <p:cNvSpPr/>
                <p:nvPr/>
              </p:nvSpPr>
              <p:spPr>
                <a:xfrm>
                  <a:off x="8238541" y="2287108"/>
                  <a:ext cx="167129" cy="140554"/>
                </a:xfrm>
                <a:custGeom>
                  <a:avLst/>
                  <a:gdLst>
                    <a:gd name="connsiteX0" fmla="*/ 108528 w 167129"/>
                    <a:gd name="connsiteY0" fmla="*/ 140555 h 140554"/>
                    <a:gd name="connsiteX1" fmla="*/ 127113 w 167129"/>
                    <a:gd name="connsiteY1" fmla="*/ 66146 h 140554"/>
                    <a:gd name="connsiteX2" fmla="*/ 129410 w 167129"/>
                    <a:gd name="connsiteY2" fmla="*/ 62236 h 140554"/>
                    <a:gd name="connsiteX3" fmla="*/ 167129 w 167129"/>
                    <a:gd name="connsiteY3" fmla="*/ 27021 h 140554"/>
                    <a:gd name="connsiteX4" fmla="*/ 132634 w 167129"/>
                    <a:gd name="connsiteY4" fmla="*/ 0 h 140554"/>
                    <a:gd name="connsiteX5" fmla="*/ 51469 w 167129"/>
                    <a:gd name="connsiteY5" fmla="*/ 11076 h 140554"/>
                    <a:gd name="connsiteX6" fmla="*/ 0 w 167129"/>
                    <a:gd name="connsiteY6" fmla="*/ 106676 h 140554"/>
                    <a:gd name="connsiteX7" fmla="*/ 36862 w 167129"/>
                    <a:gd name="connsiteY7" fmla="*/ 140555 h 140554"/>
                    <a:gd name="connsiteX8" fmla="*/ 108494 w 167129"/>
                    <a:gd name="connsiteY8" fmla="*/ 140555 h 14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129" h="140554">
                      <a:moveTo>
                        <a:pt x="108528" y="140555"/>
                      </a:moveTo>
                      <a:lnTo>
                        <a:pt x="127113" y="66146"/>
                      </a:lnTo>
                      <a:cubicBezTo>
                        <a:pt x="127490" y="64637"/>
                        <a:pt x="128313" y="63299"/>
                        <a:pt x="129410" y="62236"/>
                      </a:cubicBezTo>
                      <a:lnTo>
                        <a:pt x="167129" y="27021"/>
                      </a:lnTo>
                      <a:lnTo>
                        <a:pt x="132634" y="0"/>
                      </a:lnTo>
                      <a:lnTo>
                        <a:pt x="51469" y="11076"/>
                      </a:lnTo>
                      <a:lnTo>
                        <a:pt x="0" y="106676"/>
                      </a:lnTo>
                      <a:lnTo>
                        <a:pt x="36862" y="140555"/>
                      </a:lnTo>
                      <a:lnTo>
                        <a:pt x="108494" y="140555"/>
                      </a:ln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3" name="Freeform 102">
                  <a:extLst>
                    <a:ext uri="{FF2B5EF4-FFF2-40B4-BE49-F238E27FC236}">
                      <a16:creationId xmlns:a16="http://schemas.microsoft.com/office/drawing/2014/main" id="{24A4EC60-B683-28FE-AE0D-98309686138C}"/>
                    </a:ext>
                  </a:extLst>
                </p:cNvPr>
                <p:cNvSpPr/>
                <p:nvPr/>
              </p:nvSpPr>
              <p:spPr>
                <a:xfrm>
                  <a:off x="8394698" y="2387475"/>
                  <a:ext cx="306484" cy="152967"/>
                </a:xfrm>
                <a:custGeom>
                  <a:avLst/>
                  <a:gdLst>
                    <a:gd name="connsiteX0" fmla="*/ 306484 w 306484"/>
                    <a:gd name="connsiteY0" fmla="*/ 29387 h 152967"/>
                    <a:gd name="connsiteX1" fmla="*/ 274834 w 306484"/>
                    <a:gd name="connsiteY1" fmla="*/ 0 h 152967"/>
                    <a:gd name="connsiteX2" fmla="*/ 196448 w 306484"/>
                    <a:gd name="connsiteY2" fmla="*/ 7578 h 152967"/>
                    <a:gd name="connsiteX3" fmla="*/ 134177 w 306484"/>
                    <a:gd name="connsiteY3" fmla="*/ 93235 h 152967"/>
                    <a:gd name="connsiteX4" fmla="*/ 125330 w 306484"/>
                    <a:gd name="connsiteY4" fmla="*/ 96183 h 152967"/>
                    <a:gd name="connsiteX5" fmla="*/ 39365 w 306484"/>
                    <a:gd name="connsiteY5" fmla="*/ 70020 h 152967"/>
                    <a:gd name="connsiteX6" fmla="*/ 0 w 306484"/>
                    <a:gd name="connsiteY6" fmla="*/ 152968 h 152967"/>
                    <a:gd name="connsiteX7" fmla="*/ 253677 w 306484"/>
                    <a:gd name="connsiteY7" fmla="*/ 152968 h 152967"/>
                    <a:gd name="connsiteX8" fmla="*/ 242053 w 306484"/>
                    <a:gd name="connsiteY8" fmla="*/ 137674 h 152967"/>
                    <a:gd name="connsiteX9" fmla="*/ 241745 w 306484"/>
                    <a:gd name="connsiteY9" fmla="*/ 128416 h 152967"/>
                    <a:gd name="connsiteX10" fmla="*/ 306450 w 306484"/>
                    <a:gd name="connsiteY10" fmla="*/ 29387 h 15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6484" h="152967">
                      <a:moveTo>
                        <a:pt x="306484" y="29387"/>
                      </a:moveTo>
                      <a:lnTo>
                        <a:pt x="274834" y="0"/>
                      </a:lnTo>
                      <a:lnTo>
                        <a:pt x="196448" y="7578"/>
                      </a:lnTo>
                      <a:lnTo>
                        <a:pt x="134177" y="93235"/>
                      </a:lnTo>
                      <a:cubicBezTo>
                        <a:pt x="132188" y="96012"/>
                        <a:pt x="128622" y="97178"/>
                        <a:pt x="125330" y="96183"/>
                      </a:cubicBezTo>
                      <a:lnTo>
                        <a:pt x="39365" y="70020"/>
                      </a:lnTo>
                      <a:lnTo>
                        <a:pt x="0" y="152968"/>
                      </a:lnTo>
                      <a:lnTo>
                        <a:pt x="253677" y="152968"/>
                      </a:lnTo>
                      <a:lnTo>
                        <a:pt x="242053" y="137674"/>
                      </a:lnTo>
                      <a:cubicBezTo>
                        <a:pt x="239996" y="134931"/>
                        <a:pt x="239858" y="131262"/>
                        <a:pt x="241745" y="128416"/>
                      </a:cubicBezTo>
                      <a:lnTo>
                        <a:pt x="306450" y="29387"/>
                      </a:ln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4" name="Freeform 103">
                  <a:extLst>
                    <a:ext uri="{FF2B5EF4-FFF2-40B4-BE49-F238E27FC236}">
                      <a16:creationId xmlns:a16="http://schemas.microsoft.com/office/drawing/2014/main" id="{4A821CC3-F5BB-A3E7-3E60-B6EF6BADFEA1}"/>
                    </a:ext>
                  </a:extLst>
                </p:cNvPr>
                <p:cNvSpPr/>
                <p:nvPr/>
              </p:nvSpPr>
              <p:spPr>
                <a:xfrm>
                  <a:off x="8292857" y="2319924"/>
                  <a:ext cx="360936" cy="214038"/>
                </a:xfrm>
                <a:custGeom>
                  <a:avLst/>
                  <a:gdLst>
                    <a:gd name="connsiteX0" fmla="*/ 68271 w 360936"/>
                    <a:gd name="connsiteY0" fmla="*/ 117752 h 214038"/>
                    <a:gd name="connsiteX1" fmla="*/ 60453 w 360936"/>
                    <a:gd name="connsiteY1" fmla="*/ 123821 h 214038"/>
                    <a:gd name="connsiteX2" fmla="*/ 0 w 360936"/>
                    <a:gd name="connsiteY2" fmla="*/ 123821 h 214038"/>
                    <a:gd name="connsiteX3" fmla="*/ 41731 w 360936"/>
                    <a:gd name="connsiteY3" fmla="*/ 162226 h 214038"/>
                    <a:gd name="connsiteX4" fmla="*/ 42348 w 360936"/>
                    <a:gd name="connsiteY4" fmla="*/ 162843 h 214038"/>
                    <a:gd name="connsiteX5" fmla="*/ 87165 w 360936"/>
                    <a:gd name="connsiteY5" fmla="*/ 214038 h 214038"/>
                    <a:gd name="connsiteX6" fmla="*/ 129719 w 360936"/>
                    <a:gd name="connsiteY6" fmla="*/ 124438 h 214038"/>
                    <a:gd name="connsiteX7" fmla="*/ 139286 w 360936"/>
                    <a:gd name="connsiteY7" fmla="*/ 120186 h 214038"/>
                    <a:gd name="connsiteX8" fmla="*/ 226417 w 360936"/>
                    <a:gd name="connsiteY8" fmla="*/ 146727 h 214038"/>
                    <a:gd name="connsiteX9" fmla="*/ 287453 w 360936"/>
                    <a:gd name="connsiteY9" fmla="*/ 62751 h 214038"/>
                    <a:gd name="connsiteX10" fmla="*/ 293180 w 360936"/>
                    <a:gd name="connsiteY10" fmla="*/ 59493 h 214038"/>
                    <a:gd name="connsiteX11" fmla="*/ 360937 w 360936"/>
                    <a:gd name="connsiteY11" fmla="*/ 52909 h 214038"/>
                    <a:gd name="connsiteX12" fmla="*/ 303947 w 360936"/>
                    <a:gd name="connsiteY12" fmla="*/ 0 h 214038"/>
                    <a:gd name="connsiteX13" fmla="*/ 175496 w 360936"/>
                    <a:gd name="connsiteY13" fmla="*/ 38919 h 214038"/>
                    <a:gd name="connsiteX14" fmla="*/ 168192 w 360936"/>
                    <a:gd name="connsiteY14" fmla="*/ 37548 h 214038"/>
                    <a:gd name="connsiteX15" fmla="*/ 125604 w 360936"/>
                    <a:gd name="connsiteY15" fmla="*/ 4218 h 214038"/>
                    <a:gd name="connsiteX16" fmla="*/ 87782 w 360936"/>
                    <a:gd name="connsiteY16" fmla="*/ 39502 h 214038"/>
                    <a:gd name="connsiteX17" fmla="*/ 68237 w 360936"/>
                    <a:gd name="connsiteY17" fmla="*/ 117718 h 21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936" h="214038">
                      <a:moveTo>
                        <a:pt x="68271" y="117752"/>
                      </a:moveTo>
                      <a:cubicBezTo>
                        <a:pt x="67380" y="121318"/>
                        <a:pt x="64156" y="123821"/>
                        <a:pt x="60453" y="123821"/>
                      </a:cubicBezTo>
                      <a:lnTo>
                        <a:pt x="0" y="123821"/>
                      </a:lnTo>
                      <a:lnTo>
                        <a:pt x="41731" y="162226"/>
                      </a:lnTo>
                      <a:cubicBezTo>
                        <a:pt x="41971" y="162432"/>
                        <a:pt x="42142" y="162603"/>
                        <a:pt x="42348" y="162843"/>
                      </a:cubicBezTo>
                      <a:lnTo>
                        <a:pt x="87165" y="214038"/>
                      </a:lnTo>
                      <a:lnTo>
                        <a:pt x="129719" y="124438"/>
                      </a:lnTo>
                      <a:cubicBezTo>
                        <a:pt x="131433" y="120838"/>
                        <a:pt x="135514" y="119055"/>
                        <a:pt x="139286" y="120186"/>
                      </a:cubicBezTo>
                      <a:lnTo>
                        <a:pt x="226417" y="146727"/>
                      </a:lnTo>
                      <a:lnTo>
                        <a:pt x="287453" y="62751"/>
                      </a:lnTo>
                      <a:cubicBezTo>
                        <a:pt x="288790" y="60899"/>
                        <a:pt x="290882" y="59699"/>
                        <a:pt x="293180" y="59493"/>
                      </a:cubicBezTo>
                      <a:lnTo>
                        <a:pt x="360937" y="52909"/>
                      </a:lnTo>
                      <a:lnTo>
                        <a:pt x="303947" y="0"/>
                      </a:lnTo>
                      <a:lnTo>
                        <a:pt x="175496" y="38919"/>
                      </a:lnTo>
                      <a:cubicBezTo>
                        <a:pt x="172993" y="39674"/>
                        <a:pt x="170284" y="39159"/>
                        <a:pt x="168192" y="37548"/>
                      </a:cubicBezTo>
                      <a:lnTo>
                        <a:pt x="125604" y="4218"/>
                      </a:lnTo>
                      <a:lnTo>
                        <a:pt x="87782" y="39502"/>
                      </a:lnTo>
                      <a:lnTo>
                        <a:pt x="68237" y="117718"/>
                      </a:ln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5" name="Freeform 104">
                  <a:extLst>
                    <a:ext uri="{FF2B5EF4-FFF2-40B4-BE49-F238E27FC236}">
                      <a16:creationId xmlns:a16="http://schemas.microsoft.com/office/drawing/2014/main" id="{93BA9DA3-15A5-1218-FA8B-485A825C5518}"/>
                    </a:ext>
                  </a:extLst>
                </p:cNvPr>
                <p:cNvSpPr/>
                <p:nvPr/>
              </p:nvSpPr>
              <p:spPr>
                <a:xfrm>
                  <a:off x="8430463" y="2210607"/>
                  <a:ext cx="485134" cy="329766"/>
                </a:xfrm>
                <a:custGeom>
                  <a:avLst/>
                  <a:gdLst>
                    <a:gd name="connsiteX0" fmla="*/ 166101 w 485134"/>
                    <a:gd name="connsiteY0" fmla="*/ 92652 h 329766"/>
                    <a:gd name="connsiteX1" fmla="*/ 173919 w 485134"/>
                    <a:gd name="connsiteY1" fmla="*/ 94435 h 329766"/>
                    <a:gd name="connsiteX2" fmla="*/ 244693 w 485134"/>
                    <a:gd name="connsiteY2" fmla="*/ 160169 h 329766"/>
                    <a:gd name="connsiteX3" fmla="*/ 280389 w 485134"/>
                    <a:gd name="connsiteY3" fmla="*/ 156740 h 329766"/>
                    <a:gd name="connsiteX4" fmla="*/ 286836 w 485134"/>
                    <a:gd name="connsiteY4" fmla="*/ 159037 h 329766"/>
                    <a:gd name="connsiteX5" fmla="*/ 391489 w 485134"/>
                    <a:gd name="connsiteY5" fmla="*/ 263690 h 329766"/>
                    <a:gd name="connsiteX6" fmla="*/ 393752 w 485134"/>
                    <a:gd name="connsiteY6" fmla="*/ 268045 h 329766"/>
                    <a:gd name="connsiteX7" fmla="*/ 404073 w 485134"/>
                    <a:gd name="connsiteY7" fmla="*/ 329767 h 329766"/>
                    <a:gd name="connsiteX8" fmla="*/ 485135 w 485134"/>
                    <a:gd name="connsiteY8" fmla="*/ 329767 h 329766"/>
                    <a:gd name="connsiteX9" fmla="*/ 482769 w 485134"/>
                    <a:gd name="connsiteY9" fmla="*/ 301100 h 329766"/>
                    <a:gd name="connsiteX10" fmla="*/ 412372 w 485134"/>
                    <a:gd name="connsiteY10" fmla="*/ 230737 h 329766"/>
                    <a:gd name="connsiteX11" fmla="*/ 410451 w 485134"/>
                    <a:gd name="connsiteY11" fmla="*/ 227583 h 329766"/>
                    <a:gd name="connsiteX12" fmla="*/ 383911 w 485134"/>
                    <a:gd name="connsiteY12" fmla="*/ 148064 h 329766"/>
                    <a:gd name="connsiteX13" fmla="*/ 252271 w 485134"/>
                    <a:gd name="connsiteY13" fmla="*/ 136440 h 329766"/>
                    <a:gd name="connsiteX14" fmla="*/ 245139 w 485134"/>
                    <a:gd name="connsiteY14" fmla="*/ 130199 h 329766"/>
                    <a:gd name="connsiteX15" fmla="*/ 221959 w 485134"/>
                    <a:gd name="connsiteY15" fmla="*/ 25786 h 329766"/>
                    <a:gd name="connsiteX16" fmla="*/ 151973 w 485134"/>
                    <a:gd name="connsiteY16" fmla="*/ 0 h 329766"/>
                    <a:gd name="connsiteX17" fmla="*/ 80136 w 485134"/>
                    <a:gd name="connsiteY17" fmla="*/ 18894 h 329766"/>
                    <a:gd name="connsiteX18" fmla="*/ 9258 w 485134"/>
                    <a:gd name="connsiteY18" fmla="*/ 93749 h 329766"/>
                    <a:gd name="connsiteX19" fmla="*/ 8915 w 485134"/>
                    <a:gd name="connsiteY19" fmla="*/ 94092 h 329766"/>
                    <a:gd name="connsiteX20" fmla="*/ 0 w 485134"/>
                    <a:gd name="connsiteY20" fmla="*/ 102459 h 329766"/>
                    <a:gd name="connsiteX21" fmla="*/ 37308 w 485134"/>
                    <a:gd name="connsiteY21" fmla="*/ 131639 h 329766"/>
                    <a:gd name="connsiteX22" fmla="*/ 166169 w 485134"/>
                    <a:gd name="connsiteY22" fmla="*/ 92617 h 329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5134" h="329766">
                      <a:moveTo>
                        <a:pt x="166101" y="92652"/>
                      </a:moveTo>
                      <a:cubicBezTo>
                        <a:pt x="168844" y="91829"/>
                        <a:pt x="171793" y="92480"/>
                        <a:pt x="173919" y="94435"/>
                      </a:cubicBezTo>
                      <a:lnTo>
                        <a:pt x="244693" y="160169"/>
                      </a:lnTo>
                      <a:lnTo>
                        <a:pt x="280389" y="156740"/>
                      </a:lnTo>
                      <a:cubicBezTo>
                        <a:pt x="282755" y="156500"/>
                        <a:pt x="285155" y="157357"/>
                        <a:pt x="286836" y="159037"/>
                      </a:cubicBezTo>
                      <a:lnTo>
                        <a:pt x="391489" y="263690"/>
                      </a:lnTo>
                      <a:cubicBezTo>
                        <a:pt x="392689" y="264890"/>
                        <a:pt x="393443" y="266399"/>
                        <a:pt x="393752" y="268045"/>
                      </a:cubicBezTo>
                      <a:lnTo>
                        <a:pt x="404073" y="329767"/>
                      </a:lnTo>
                      <a:lnTo>
                        <a:pt x="485135" y="329767"/>
                      </a:lnTo>
                      <a:lnTo>
                        <a:pt x="482769" y="301100"/>
                      </a:lnTo>
                      <a:lnTo>
                        <a:pt x="412372" y="230737"/>
                      </a:lnTo>
                      <a:cubicBezTo>
                        <a:pt x="411514" y="229880"/>
                        <a:pt x="410828" y="228783"/>
                        <a:pt x="410451" y="227583"/>
                      </a:cubicBezTo>
                      <a:lnTo>
                        <a:pt x="383911" y="148064"/>
                      </a:lnTo>
                      <a:lnTo>
                        <a:pt x="252271" y="136440"/>
                      </a:lnTo>
                      <a:cubicBezTo>
                        <a:pt x="248808" y="136166"/>
                        <a:pt x="245928" y="133628"/>
                        <a:pt x="245139" y="130199"/>
                      </a:cubicBezTo>
                      <a:lnTo>
                        <a:pt x="221959" y="25786"/>
                      </a:lnTo>
                      <a:lnTo>
                        <a:pt x="151973" y="0"/>
                      </a:lnTo>
                      <a:lnTo>
                        <a:pt x="80136" y="18894"/>
                      </a:lnTo>
                      <a:lnTo>
                        <a:pt x="9258" y="93749"/>
                      </a:lnTo>
                      <a:cubicBezTo>
                        <a:pt x="9258" y="93749"/>
                        <a:pt x="9018" y="93989"/>
                        <a:pt x="8915" y="94092"/>
                      </a:cubicBezTo>
                      <a:lnTo>
                        <a:pt x="0" y="102459"/>
                      </a:lnTo>
                      <a:lnTo>
                        <a:pt x="37308" y="131639"/>
                      </a:lnTo>
                      <a:lnTo>
                        <a:pt x="166169" y="92617"/>
                      </a:ln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6" name="Freeform 105">
                  <a:extLst>
                    <a:ext uri="{FF2B5EF4-FFF2-40B4-BE49-F238E27FC236}">
                      <a16:creationId xmlns:a16="http://schemas.microsoft.com/office/drawing/2014/main" id="{0BB6484A-E5C3-6E9E-FC7C-A805DB57FE30}"/>
                    </a:ext>
                  </a:extLst>
                </p:cNvPr>
                <p:cNvSpPr/>
                <p:nvPr/>
              </p:nvSpPr>
              <p:spPr>
                <a:xfrm>
                  <a:off x="8653005" y="2383669"/>
                  <a:ext cx="165209" cy="156739"/>
                </a:xfrm>
                <a:custGeom>
                  <a:avLst/>
                  <a:gdLst>
                    <a:gd name="connsiteX0" fmla="*/ 165209 w 165209"/>
                    <a:gd name="connsiteY0" fmla="*/ 156739 h 156739"/>
                    <a:gd name="connsiteX1" fmla="*/ 155780 w 165209"/>
                    <a:gd name="connsiteY1" fmla="*/ 100161 h 156739"/>
                    <a:gd name="connsiteX2" fmla="*/ 55584 w 165209"/>
                    <a:gd name="connsiteY2" fmla="*/ 0 h 156739"/>
                    <a:gd name="connsiteX3" fmla="*/ 37891 w 165209"/>
                    <a:gd name="connsiteY3" fmla="*/ 1715 h 156739"/>
                    <a:gd name="connsiteX4" fmla="*/ 64054 w 165209"/>
                    <a:gd name="connsiteY4" fmla="*/ 25992 h 156739"/>
                    <a:gd name="connsiteX5" fmla="*/ 65323 w 165209"/>
                    <a:gd name="connsiteY5" fmla="*/ 36279 h 156739"/>
                    <a:gd name="connsiteX6" fmla="*/ 0 w 165209"/>
                    <a:gd name="connsiteY6" fmla="*/ 136200 h 156739"/>
                    <a:gd name="connsiteX7" fmla="*/ 15568 w 165209"/>
                    <a:gd name="connsiteY7" fmla="*/ 156739 h 156739"/>
                    <a:gd name="connsiteX8" fmla="*/ 165209 w 165209"/>
                    <a:gd name="connsiteY8" fmla="*/ 156739 h 15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209" h="156739">
                      <a:moveTo>
                        <a:pt x="165209" y="156739"/>
                      </a:moveTo>
                      <a:lnTo>
                        <a:pt x="155780" y="100161"/>
                      </a:lnTo>
                      <a:lnTo>
                        <a:pt x="55584" y="0"/>
                      </a:lnTo>
                      <a:lnTo>
                        <a:pt x="37891" y="1715"/>
                      </a:lnTo>
                      <a:lnTo>
                        <a:pt x="64054" y="25992"/>
                      </a:lnTo>
                      <a:cubicBezTo>
                        <a:pt x="66900" y="28666"/>
                        <a:pt x="67449" y="33021"/>
                        <a:pt x="65323" y="36279"/>
                      </a:cubicBezTo>
                      <a:lnTo>
                        <a:pt x="0" y="136200"/>
                      </a:lnTo>
                      <a:lnTo>
                        <a:pt x="15568" y="156739"/>
                      </a:lnTo>
                      <a:lnTo>
                        <a:pt x="165209" y="156739"/>
                      </a:ln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7" name="Freeform 106">
                  <a:extLst>
                    <a:ext uri="{FF2B5EF4-FFF2-40B4-BE49-F238E27FC236}">
                      <a16:creationId xmlns:a16="http://schemas.microsoft.com/office/drawing/2014/main" id="{3CEB7E61-26E4-8BB7-AC57-61F5F1D0FE0D}"/>
                    </a:ext>
                  </a:extLst>
                </p:cNvPr>
                <p:cNvSpPr/>
                <p:nvPr/>
              </p:nvSpPr>
              <p:spPr>
                <a:xfrm rot="-2700000">
                  <a:off x="8621711" y="2946954"/>
                  <a:ext cx="153002" cy="153002"/>
                </a:xfrm>
                <a:custGeom>
                  <a:avLst/>
                  <a:gdLst>
                    <a:gd name="connsiteX0" fmla="*/ 153002 w 153002"/>
                    <a:gd name="connsiteY0" fmla="*/ 76501 h 153002"/>
                    <a:gd name="connsiteX1" fmla="*/ 76501 w 153002"/>
                    <a:gd name="connsiteY1" fmla="*/ 153002 h 153002"/>
                    <a:gd name="connsiteX2" fmla="*/ -1 w 153002"/>
                    <a:gd name="connsiteY2" fmla="*/ 76501 h 153002"/>
                    <a:gd name="connsiteX3" fmla="*/ 76501 w 153002"/>
                    <a:gd name="connsiteY3" fmla="*/ 0 h 153002"/>
                    <a:gd name="connsiteX4" fmla="*/ 153002 w 153002"/>
                    <a:gd name="connsiteY4" fmla="*/ 76501 h 153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002" h="153002">
                      <a:moveTo>
                        <a:pt x="153002" y="76501"/>
                      </a:moveTo>
                      <a:cubicBezTo>
                        <a:pt x="153002" y="118751"/>
                        <a:pt x="118751" y="153002"/>
                        <a:pt x="76501" y="153002"/>
                      </a:cubicBezTo>
                      <a:cubicBezTo>
                        <a:pt x="34250" y="153002"/>
                        <a:pt x="-1" y="118751"/>
                        <a:pt x="-1" y="76501"/>
                      </a:cubicBezTo>
                      <a:cubicBezTo>
                        <a:pt x="-1" y="34251"/>
                        <a:pt x="34250" y="0"/>
                        <a:pt x="76501" y="0"/>
                      </a:cubicBezTo>
                      <a:cubicBezTo>
                        <a:pt x="118751" y="0"/>
                        <a:pt x="153002" y="34251"/>
                        <a:pt x="153002" y="76501"/>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8" name="Freeform 107">
                  <a:extLst>
                    <a:ext uri="{FF2B5EF4-FFF2-40B4-BE49-F238E27FC236}">
                      <a16:creationId xmlns:a16="http://schemas.microsoft.com/office/drawing/2014/main" id="{1FDC8D6E-4356-A35A-137B-31A8CC170666}"/>
                    </a:ext>
                  </a:extLst>
                </p:cNvPr>
                <p:cNvSpPr/>
                <p:nvPr/>
              </p:nvSpPr>
              <p:spPr>
                <a:xfrm rot="-796800">
                  <a:off x="8307624" y="2947238"/>
                  <a:ext cx="153001" cy="153001"/>
                </a:xfrm>
                <a:custGeom>
                  <a:avLst/>
                  <a:gdLst>
                    <a:gd name="connsiteX0" fmla="*/ 153002 w 153001"/>
                    <a:gd name="connsiteY0" fmla="*/ 76501 h 153001"/>
                    <a:gd name="connsiteX1" fmla="*/ 76501 w 153001"/>
                    <a:gd name="connsiteY1" fmla="*/ 153002 h 153001"/>
                    <a:gd name="connsiteX2" fmla="*/ 0 w 153001"/>
                    <a:gd name="connsiteY2" fmla="*/ 76501 h 153001"/>
                    <a:gd name="connsiteX3" fmla="*/ 76501 w 153001"/>
                    <a:gd name="connsiteY3" fmla="*/ 0 h 153001"/>
                    <a:gd name="connsiteX4" fmla="*/ 153002 w 153001"/>
                    <a:gd name="connsiteY4" fmla="*/ 76501 h 153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001" h="153001">
                      <a:moveTo>
                        <a:pt x="153002" y="76501"/>
                      </a:moveTo>
                      <a:cubicBezTo>
                        <a:pt x="153002" y="118751"/>
                        <a:pt x="118751" y="153002"/>
                        <a:pt x="76501" y="153002"/>
                      </a:cubicBezTo>
                      <a:cubicBezTo>
                        <a:pt x="34250" y="153002"/>
                        <a:pt x="0" y="118751"/>
                        <a:pt x="0" y="76501"/>
                      </a:cubicBezTo>
                      <a:cubicBezTo>
                        <a:pt x="0" y="34251"/>
                        <a:pt x="34250" y="0"/>
                        <a:pt x="76501" y="0"/>
                      </a:cubicBezTo>
                      <a:cubicBezTo>
                        <a:pt x="118751" y="0"/>
                        <a:pt x="153002" y="34251"/>
                        <a:pt x="153002" y="76501"/>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9" name="Freeform 108">
                  <a:extLst>
                    <a:ext uri="{FF2B5EF4-FFF2-40B4-BE49-F238E27FC236}">
                      <a16:creationId xmlns:a16="http://schemas.microsoft.com/office/drawing/2014/main" id="{E52997BA-AB11-C575-9F30-1415BEC2C1F3}"/>
                    </a:ext>
                  </a:extLst>
                </p:cNvPr>
                <p:cNvSpPr/>
                <p:nvPr/>
              </p:nvSpPr>
              <p:spPr>
                <a:xfrm>
                  <a:off x="8098364" y="2556456"/>
                  <a:ext cx="885642" cy="96629"/>
                </a:xfrm>
                <a:custGeom>
                  <a:avLst/>
                  <a:gdLst>
                    <a:gd name="connsiteX0" fmla="*/ 872201 w 885642"/>
                    <a:gd name="connsiteY0" fmla="*/ 0 h 96629"/>
                    <a:gd name="connsiteX1" fmla="*/ 13442 w 885642"/>
                    <a:gd name="connsiteY1" fmla="*/ 0 h 96629"/>
                    <a:gd name="connsiteX2" fmla="*/ 0 w 885642"/>
                    <a:gd name="connsiteY2" fmla="*/ 13442 h 96629"/>
                    <a:gd name="connsiteX3" fmla="*/ 0 w 885642"/>
                    <a:gd name="connsiteY3" fmla="*/ 83153 h 96629"/>
                    <a:gd name="connsiteX4" fmla="*/ 13442 w 885642"/>
                    <a:gd name="connsiteY4" fmla="*/ 96629 h 96629"/>
                    <a:gd name="connsiteX5" fmla="*/ 872201 w 885642"/>
                    <a:gd name="connsiteY5" fmla="*/ 96629 h 96629"/>
                    <a:gd name="connsiteX6" fmla="*/ 885642 w 885642"/>
                    <a:gd name="connsiteY6" fmla="*/ 83153 h 96629"/>
                    <a:gd name="connsiteX7" fmla="*/ 885642 w 885642"/>
                    <a:gd name="connsiteY7" fmla="*/ 13442 h 96629"/>
                    <a:gd name="connsiteX8" fmla="*/ 872201 w 885642"/>
                    <a:gd name="connsiteY8" fmla="*/ 0 h 96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5642" h="96629">
                      <a:moveTo>
                        <a:pt x="872201" y="0"/>
                      </a:moveTo>
                      <a:lnTo>
                        <a:pt x="13442" y="0"/>
                      </a:lnTo>
                      <a:cubicBezTo>
                        <a:pt x="6035" y="0"/>
                        <a:pt x="0" y="6035"/>
                        <a:pt x="0" y="13442"/>
                      </a:cubicBezTo>
                      <a:lnTo>
                        <a:pt x="0" y="83153"/>
                      </a:lnTo>
                      <a:cubicBezTo>
                        <a:pt x="0" y="90594"/>
                        <a:pt x="6035" y="96629"/>
                        <a:pt x="13442" y="96629"/>
                      </a:cubicBezTo>
                      <a:lnTo>
                        <a:pt x="872201" y="96629"/>
                      </a:lnTo>
                      <a:cubicBezTo>
                        <a:pt x="879607" y="96629"/>
                        <a:pt x="885642" y="90594"/>
                        <a:pt x="885642" y="83153"/>
                      </a:cubicBezTo>
                      <a:lnTo>
                        <a:pt x="885642" y="13442"/>
                      </a:lnTo>
                      <a:cubicBezTo>
                        <a:pt x="885642" y="6035"/>
                        <a:pt x="879607" y="0"/>
                        <a:pt x="872201" y="0"/>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0" name="Freeform 109">
                  <a:extLst>
                    <a:ext uri="{FF2B5EF4-FFF2-40B4-BE49-F238E27FC236}">
                      <a16:creationId xmlns:a16="http://schemas.microsoft.com/office/drawing/2014/main" id="{6D6001E9-E3AE-961A-CFE3-FB7D27278681}"/>
                    </a:ext>
                  </a:extLst>
                </p:cNvPr>
                <p:cNvSpPr/>
                <p:nvPr/>
              </p:nvSpPr>
              <p:spPr>
                <a:xfrm>
                  <a:off x="8173356" y="2669167"/>
                  <a:ext cx="735931" cy="346260"/>
                </a:xfrm>
                <a:custGeom>
                  <a:avLst/>
                  <a:gdLst>
                    <a:gd name="connsiteX0" fmla="*/ 98172 w 735931"/>
                    <a:gd name="connsiteY0" fmla="*/ 346261 h 346260"/>
                    <a:gd name="connsiteX1" fmla="*/ 118678 w 735931"/>
                    <a:gd name="connsiteY1" fmla="*/ 346261 h 346260"/>
                    <a:gd name="connsiteX2" fmla="*/ 210850 w 735931"/>
                    <a:gd name="connsiteY2" fmla="*/ 261736 h 346260"/>
                    <a:gd name="connsiteX3" fmla="*/ 303021 w 735931"/>
                    <a:gd name="connsiteY3" fmla="*/ 346261 h 346260"/>
                    <a:gd name="connsiteX4" fmla="*/ 432671 w 735931"/>
                    <a:gd name="connsiteY4" fmla="*/ 346261 h 346260"/>
                    <a:gd name="connsiteX5" fmla="*/ 524843 w 735931"/>
                    <a:gd name="connsiteY5" fmla="*/ 261736 h 346260"/>
                    <a:gd name="connsiteX6" fmla="*/ 617015 w 735931"/>
                    <a:gd name="connsiteY6" fmla="*/ 346261 h 346260"/>
                    <a:gd name="connsiteX7" fmla="*/ 649384 w 735931"/>
                    <a:gd name="connsiteY7" fmla="*/ 346261 h 346260"/>
                    <a:gd name="connsiteX8" fmla="*/ 735932 w 735931"/>
                    <a:gd name="connsiteY8" fmla="*/ 0 h 346260"/>
                    <a:gd name="connsiteX9" fmla="*/ 0 w 735931"/>
                    <a:gd name="connsiteY9" fmla="*/ 0 h 346260"/>
                    <a:gd name="connsiteX10" fmla="*/ 98138 w 735931"/>
                    <a:gd name="connsiteY10" fmla="*/ 346261 h 34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5931" h="346260">
                      <a:moveTo>
                        <a:pt x="98172" y="346261"/>
                      </a:moveTo>
                      <a:lnTo>
                        <a:pt x="118678" y="346261"/>
                      </a:lnTo>
                      <a:cubicBezTo>
                        <a:pt x="122758" y="298975"/>
                        <a:pt x="162535" y="261736"/>
                        <a:pt x="210850" y="261736"/>
                      </a:cubicBezTo>
                      <a:cubicBezTo>
                        <a:pt x="259164" y="261736"/>
                        <a:pt x="298940" y="299009"/>
                        <a:pt x="303021" y="346261"/>
                      </a:cubicBezTo>
                      <a:lnTo>
                        <a:pt x="432671" y="346261"/>
                      </a:lnTo>
                      <a:cubicBezTo>
                        <a:pt x="436752" y="298975"/>
                        <a:pt x="476528" y="261736"/>
                        <a:pt x="524843" y="261736"/>
                      </a:cubicBezTo>
                      <a:cubicBezTo>
                        <a:pt x="573157" y="261736"/>
                        <a:pt x="612934" y="299009"/>
                        <a:pt x="617015" y="346261"/>
                      </a:cubicBezTo>
                      <a:lnTo>
                        <a:pt x="649384" y="346261"/>
                      </a:lnTo>
                      <a:lnTo>
                        <a:pt x="735932" y="0"/>
                      </a:lnTo>
                      <a:lnTo>
                        <a:pt x="0" y="0"/>
                      </a:lnTo>
                      <a:lnTo>
                        <a:pt x="98138" y="346261"/>
                      </a:ln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49" name="Groupe 1001">
                <a:extLst>
                  <a:ext uri="{FF2B5EF4-FFF2-40B4-BE49-F238E27FC236}">
                    <a16:creationId xmlns:a16="http://schemas.microsoft.com/office/drawing/2014/main" id="{D154958E-FB98-B171-268C-D5A55A712D0F}"/>
                  </a:ext>
                </a:extLst>
              </p:cNvPr>
              <p:cNvGrpSpPr/>
              <p:nvPr/>
            </p:nvGrpSpPr>
            <p:grpSpPr>
              <a:xfrm>
                <a:off x="3283734" y="2733205"/>
                <a:ext cx="192183" cy="153746"/>
                <a:chOff x="9121776" y="3781425"/>
                <a:chExt cx="412750" cy="330200"/>
              </a:xfrm>
              <a:grpFill/>
            </p:grpSpPr>
            <p:sp>
              <p:nvSpPr>
                <p:cNvPr id="50" name="Freeform 169">
                  <a:extLst>
                    <a:ext uri="{FF2B5EF4-FFF2-40B4-BE49-F238E27FC236}">
                      <a16:creationId xmlns:a16="http://schemas.microsoft.com/office/drawing/2014/main" id="{C92B50CE-ABE3-BF28-E151-64E79AC9437E}"/>
                    </a:ext>
                  </a:extLst>
                </p:cNvPr>
                <p:cNvSpPr>
                  <a:spLocks/>
                </p:cNvSpPr>
                <p:nvPr/>
              </p:nvSpPr>
              <p:spPr bwMode="auto">
                <a:xfrm>
                  <a:off x="9221788" y="3781425"/>
                  <a:ext cx="312738" cy="327025"/>
                </a:xfrm>
                <a:custGeom>
                  <a:avLst/>
                  <a:gdLst>
                    <a:gd name="T0" fmla="*/ 66 w 83"/>
                    <a:gd name="T1" fmla="*/ 16 h 87"/>
                    <a:gd name="T2" fmla="*/ 34 w 83"/>
                    <a:gd name="T3" fmla="*/ 42 h 87"/>
                    <a:gd name="T4" fmla="*/ 19 w 83"/>
                    <a:gd name="T5" fmla="*/ 87 h 87"/>
                    <a:gd name="T6" fmla="*/ 64 w 83"/>
                    <a:gd name="T7" fmla="*/ 54 h 87"/>
                    <a:gd name="T8" fmla="*/ 83 w 83"/>
                    <a:gd name="T9" fmla="*/ 1 h 87"/>
                    <a:gd name="T10" fmla="*/ 22 w 83"/>
                    <a:gd name="T11" fmla="*/ 25 h 87"/>
                    <a:gd name="T12" fmla="*/ 13 w 83"/>
                    <a:gd name="T13" fmla="*/ 87 h 87"/>
                    <a:gd name="T14" fmla="*/ 66 w 83"/>
                    <a:gd name="T15" fmla="*/ 1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87">
                      <a:moveTo>
                        <a:pt x="66" y="16"/>
                      </a:moveTo>
                      <a:cubicBezTo>
                        <a:pt x="66" y="16"/>
                        <a:pt x="50" y="21"/>
                        <a:pt x="34" y="42"/>
                      </a:cubicBezTo>
                      <a:cubicBezTo>
                        <a:pt x="19" y="63"/>
                        <a:pt x="19" y="87"/>
                        <a:pt x="19" y="87"/>
                      </a:cubicBezTo>
                      <a:cubicBezTo>
                        <a:pt x="19" y="87"/>
                        <a:pt x="43" y="81"/>
                        <a:pt x="64" y="54"/>
                      </a:cubicBezTo>
                      <a:cubicBezTo>
                        <a:pt x="80" y="36"/>
                        <a:pt x="83" y="6"/>
                        <a:pt x="83" y="1"/>
                      </a:cubicBezTo>
                      <a:cubicBezTo>
                        <a:pt x="82" y="4"/>
                        <a:pt x="43" y="0"/>
                        <a:pt x="22" y="25"/>
                      </a:cubicBezTo>
                      <a:cubicBezTo>
                        <a:pt x="0" y="52"/>
                        <a:pt x="13" y="87"/>
                        <a:pt x="13" y="87"/>
                      </a:cubicBezTo>
                      <a:cubicBezTo>
                        <a:pt x="13" y="87"/>
                        <a:pt x="18" y="34"/>
                        <a:pt x="66"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1" name="Freeform 170">
                  <a:extLst>
                    <a:ext uri="{FF2B5EF4-FFF2-40B4-BE49-F238E27FC236}">
                      <a16:creationId xmlns:a16="http://schemas.microsoft.com/office/drawing/2014/main" id="{6291B6F3-712E-86FC-4FEA-4CDDDF3CD08B}"/>
                    </a:ext>
                  </a:extLst>
                </p:cNvPr>
                <p:cNvSpPr>
                  <a:spLocks/>
                </p:cNvSpPr>
                <p:nvPr/>
              </p:nvSpPr>
              <p:spPr bwMode="auto">
                <a:xfrm>
                  <a:off x="9121776" y="3930650"/>
                  <a:ext cx="171450" cy="180975"/>
                </a:xfrm>
                <a:custGeom>
                  <a:avLst/>
                  <a:gdLst>
                    <a:gd name="T0" fmla="*/ 9 w 46"/>
                    <a:gd name="T1" fmla="*/ 9 h 48"/>
                    <a:gd name="T2" fmla="*/ 27 w 46"/>
                    <a:gd name="T3" fmla="*/ 24 h 48"/>
                    <a:gd name="T4" fmla="*/ 36 w 46"/>
                    <a:gd name="T5" fmla="*/ 48 h 48"/>
                    <a:gd name="T6" fmla="*/ 11 w 46"/>
                    <a:gd name="T7" fmla="*/ 30 h 48"/>
                    <a:gd name="T8" fmla="*/ 0 w 46"/>
                    <a:gd name="T9" fmla="*/ 1 h 48"/>
                    <a:gd name="T10" fmla="*/ 34 w 46"/>
                    <a:gd name="T11" fmla="*/ 14 h 48"/>
                    <a:gd name="T12" fmla="*/ 39 w 46"/>
                    <a:gd name="T13" fmla="*/ 48 h 48"/>
                    <a:gd name="T14" fmla="*/ 9 w 46"/>
                    <a:gd name="T15" fmla="*/ 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48">
                      <a:moveTo>
                        <a:pt x="9" y="9"/>
                      </a:moveTo>
                      <a:cubicBezTo>
                        <a:pt x="9" y="9"/>
                        <a:pt x="18" y="12"/>
                        <a:pt x="27" y="24"/>
                      </a:cubicBezTo>
                      <a:cubicBezTo>
                        <a:pt x="36" y="35"/>
                        <a:pt x="36" y="48"/>
                        <a:pt x="36" y="48"/>
                      </a:cubicBezTo>
                      <a:cubicBezTo>
                        <a:pt x="36" y="48"/>
                        <a:pt x="23" y="45"/>
                        <a:pt x="11" y="30"/>
                      </a:cubicBezTo>
                      <a:cubicBezTo>
                        <a:pt x="2" y="20"/>
                        <a:pt x="0" y="4"/>
                        <a:pt x="0" y="1"/>
                      </a:cubicBezTo>
                      <a:cubicBezTo>
                        <a:pt x="1" y="2"/>
                        <a:pt x="22" y="0"/>
                        <a:pt x="34" y="14"/>
                      </a:cubicBezTo>
                      <a:cubicBezTo>
                        <a:pt x="46" y="29"/>
                        <a:pt x="39" y="48"/>
                        <a:pt x="39" y="48"/>
                      </a:cubicBezTo>
                      <a:cubicBezTo>
                        <a:pt x="39" y="48"/>
                        <a:pt x="36" y="19"/>
                        <a:pt x="9" y="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sp>
        <p:nvSpPr>
          <p:cNvPr id="81" name="TextBox 80">
            <a:extLst>
              <a:ext uri="{FF2B5EF4-FFF2-40B4-BE49-F238E27FC236}">
                <a16:creationId xmlns:a16="http://schemas.microsoft.com/office/drawing/2014/main" id="{E24AA191-CDDA-4AD9-8CDE-3AEEFBAC351C}"/>
              </a:ext>
            </a:extLst>
          </p:cNvPr>
          <p:cNvSpPr txBox="1"/>
          <p:nvPr/>
        </p:nvSpPr>
        <p:spPr>
          <a:xfrm>
            <a:off x="4192403" y="5781469"/>
            <a:ext cx="7543974" cy="692497"/>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As renewable energies development is late compared to its targets, </a:t>
            </a:r>
            <a:r>
              <a:rPr lang="en-GB" sz="1500" b="1" dirty="0">
                <a:solidFill>
                  <a:srgbClr val="FFFFFF"/>
                </a:solidFill>
                <a:latin typeface="Ubuntu Light" panose="020B0304030602030204" pitchFamily="34" charset="0"/>
              </a:rPr>
              <a:t>it will be difficult to reach green hydrogen objectives. </a:t>
            </a:r>
            <a:r>
              <a:rPr kumimoji="0" lang="en-GB"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Green hydrogen </a:t>
            </a:r>
            <a:r>
              <a:rPr kumimoji="0" lang="en-GB"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should be reserved for industrial processes</a:t>
            </a:r>
            <a:r>
              <a:rPr kumimoji="0" lang="en-GB"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that cannot be abated with electricity.</a:t>
            </a:r>
          </a:p>
        </p:txBody>
      </p:sp>
      <p:grpSp>
        <p:nvGrpSpPr>
          <p:cNvPr id="4" name="Groupe 3">
            <a:extLst>
              <a:ext uri="{FF2B5EF4-FFF2-40B4-BE49-F238E27FC236}">
                <a16:creationId xmlns:a16="http://schemas.microsoft.com/office/drawing/2014/main" id="{10BCDD8C-9363-44D8-BE7E-2C5AED23DDD4}"/>
              </a:ext>
            </a:extLst>
          </p:cNvPr>
          <p:cNvGrpSpPr/>
          <p:nvPr/>
        </p:nvGrpSpPr>
        <p:grpSpPr>
          <a:xfrm>
            <a:off x="3312471" y="5636510"/>
            <a:ext cx="785778" cy="751582"/>
            <a:chOff x="3292392" y="5238924"/>
            <a:chExt cx="785778" cy="751582"/>
          </a:xfrm>
        </p:grpSpPr>
        <p:sp>
          <p:nvSpPr>
            <p:cNvPr id="15" name="Freeform 215">
              <a:extLst>
                <a:ext uri="{FF2B5EF4-FFF2-40B4-BE49-F238E27FC236}">
                  <a16:creationId xmlns:a16="http://schemas.microsoft.com/office/drawing/2014/main" id="{C66E23C1-3030-E8E2-9545-FFECA2B736E4}"/>
                </a:ext>
              </a:extLst>
            </p:cNvPr>
            <p:cNvSpPr/>
            <p:nvPr/>
          </p:nvSpPr>
          <p:spPr>
            <a:xfrm>
              <a:off x="3292392" y="5238924"/>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3" name="Group 2">
              <a:extLst>
                <a:ext uri="{FF2B5EF4-FFF2-40B4-BE49-F238E27FC236}">
                  <a16:creationId xmlns:a16="http://schemas.microsoft.com/office/drawing/2014/main" id="{3CA105F0-2970-4060-97B5-45508BD44570}"/>
                </a:ext>
              </a:extLst>
            </p:cNvPr>
            <p:cNvGrpSpPr/>
            <p:nvPr/>
          </p:nvGrpSpPr>
          <p:grpSpPr>
            <a:xfrm>
              <a:off x="3450161" y="5358401"/>
              <a:ext cx="470241" cy="512629"/>
              <a:chOff x="3450161" y="5358401"/>
              <a:chExt cx="470241" cy="512629"/>
            </a:xfrm>
          </p:grpSpPr>
          <p:grpSp>
            <p:nvGrpSpPr>
              <p:cNvPr id="102" name="Graphic 173">
                <a:extLst>
                  <a:ext uri="{FF2B5EF4-FFF2-40B4-BE49-F238E27FC236}">
                    <a16:creationId xmlns:a16="http://schemas.microsoft.com/office/drawing/2014/main" id="{74E6A0BC-834A-49D2-B86A-589CAFF8F0C2}"/>
                  </a:ext>
                </a:extLst>
              </p:cNvPr>
              <p:cNvGrpSpPr>
                <a:grpSpLocks noChangeAspect="1"/>
              </p:cNvGrpSpPr>
              <p:nvPr/>
            </p:nvGrpSpPr>
            <p:grpSpPr>
              <a:xfrm>
                <a:off x="3450161" y="5358401"/>
                <a:ext cx="470241" cy="512629"/>
                <a:chOff x="5943367" y="3244186"/>
                <a:chExt cx="342238" cy="371522"/>
              </a:xfrm>
              <a:solidFill>
                <a:schemeClr val="accent4"/>
              </a:solidFill>
            </p:grpSpPr>
            <p:sp>
              <p:nvSpPr>
                <p:cNvPr id="112" name="Freeform 102">
                  <a:extLst>
                    <a:ext uri="{FF2B5EF4-FFF2-40B4-BE49-F238E27FC236}">
                      <a16:creationId xmlns:a16="http://schemas.microsoft.com/office/drawing/2014/main" id="{284B09DB-A2D1-476D-9EA2-B9F491C29A2F}"/>
                    </a:ext>
                  </a:extLst>
                </p:cNvPr>
                <p:cNvSpPr/>
                <p:nvPr/>
              </p:nvSpPr>
              <p:spPr>
                <a:xfrm>
                  <a:off x="5943367" y="3244186"/>
                  <a:ext cx="309815" cy="371522"/>
                </a:xfrm>
                <a:custGeom>
                  <a:avLst/>
                  <a:gdLst>
                    <a:gd name="connsiteX0" fmla="*/ 294268 w 309815"/>
                    <a:gd name="connsiteY0" fmla="*/ 139131 h 371522"/>
                    <a:gd name="connsiteX1" fmla="*/ 294268 w 309815"/>
                    <a:gd name="connsiteY1" fmla="*/ 270775 h 371522"/>
                    <a:gd name="connsiteX2" fmla="*/ 286494 w 309815"/>
                    <a:gd name="connsiteY2" fmla="*/ 278547 h 371522"/>
                    <a:gd name="connsiteX3" fmla="*/ 278720 w 309815"/>
                    <a:gd name="connsiteY3" fmla="*/ 270775 h 371522"/>
                    <a:gd name="connsiteX4" fmla="*/ 278720 w 309815"/>
                    <a:gd name="connsiteY4" fmla="*/ 255232 h 371522"/>
                    <a:gd name="connsiteX5" fmla="*/ 255494 w 309815"/>
                    <a:gd name="connsiteY5" fmla="*/ 232012 h 371522"/>
                    <a:gd name="connsiteX6" fmla="*/ 247815 w 309815"/>
                    <a:gd name="connsiteY6" fmla="*/ 232012 h 371522"/>
                    <a:gd name="connsiteX7" fmla="*/ 247815 w 309815"/>
                    <a:gd name="connsiteY7" fmla="*/ 30802 h 371522"/>
                    <a:gd name="connsiteX8" fmla="*/ 216814 w 309815"/>
                    <a:gd name="connsiteY8" fmla="*/ 0 h 371522"/>
                    <a:gd name="connsiteX9" fmla="*/ 62001 w 309815"/>
                    <a:gd name="connsiteY9" fmla="*/ 0 h 371522"/>
                    <a:gd name="connsiteX10" fmla="*/ 31001 w 309815"/>
                    <a:gd name="connsiteY10" fmla="*/ 30992 h 371522"/>
                    <a:gd name="connsiteX11" fmla="*/ 31001 w 309815"/>
                    <a:gd name="connsiteY11" fmla="*/ 309634 h 371522"/>
                    <a:gd name="connsiteX12" fmla="*/ 0 w 309815"/>
                    <a:gd name="connsiteY12" fmla="*/ 340625 h 371522"/>
                    <a:gd name="connsiteX13" fmla="*/ 0 w 309815"/>
                    <a:gd name="connsiteY13" fmla="*/ 363846 h 371522"/>
                    <a:gd name="connsiteX14" fmla="*/ 7774 w 309815"/>
                    <a:gd name="connsiteY14" fmla="*/ 371522 h 371522"/>
                    <a:gd name="connsiteX15" fmla="*/ 271136 w 309815"/>
                    <a:gd name="connsiteY15" fmla="*/ 371522 h 371522"/>
                    <a:gd name="connsiteX16" fmla="*/ 278815 w 309815"/>
                    <a:gd name="connsiteY16" fmla="*/ 363846 h 371522"/>
                    <a:gd name="connsiteX17" fmla="*/ 278815 w 309815"/>
                    <a:gd name="connsiteY17" fmla="*/ 340436 h 371522"/>
                    <a:gd name="connsiteX18" fmla="*/ 248004 w 309815"/>
                    <a:gd name="connsiteY18" fmla="*/ 309444 h 371522"/>
                    <a:gd name="connsiteX19" fmla="*/ 247909 w 309815"/>
                    <a:gd name="connsiteY19" fmla="*/ 309444 h 371522"/>
                    <a:gd name="connsiteX20" fmla="*/ 247909 w 309815"/>
                    <a:gd name="connsiteY20" fmla="*/ 247555 h 371522"/>
                    <a:gd name="connsiteX21" fmla="*/ 255588 w 309815"/>
                    <a:gd name="connsiteY21" fmla="*/ 247555 h 371522"/>
                    <a:gd name="connsiteX22" fmla="*/ 263362 w 309815"/>
                    <a:gd name="connsiteY22" fmla="*/ 255232 h 371522"/>
                    <a:gd name="connsiteX23" fmla="*/ 263362 w 309815"/>
                    <a:gd name="connsiteY23" fmla="*/ 270775 h 371522"/>
                    <a:gd name="connsiteX24" fmla="*/ 286589 w 309815"/>
                    <a:gd name="connsiteY24" fmla="*/ 293996 h 371522"/>
                    <a:gd name="connsiteX25" fmla="*/ 309816 w 309815"/>
                    <a:gd name="connsiteY25" fmla="*/ 270775 h 371522"/>
                    <a:gd name="connsiteX26" fmla="*/ 309816 w 309815"/>
                    <a:gd name="connsiteY26" fmla="*/ 139321 h 371522"/>
                    <a:gd name="connsiteX27" fmla="*/ 216814 w 309815"/>
                    <a:gd name="connsiteY27" fmla="*/ 131549 h 371522"/>
                    <a:gd name="connsiteX28" fmla="*/ 209040 w 309815"/>
                    <a:gd name="connsiteY28" fmla="*/ 139321 h 371522"/>
                    <a:gd name="connsiteX29" fmla="*/ 69680 w 309815"/>
                    <a:gd name="connsiteY29" fmla="*/ 139321 h 371522"/>
                    <a:gd name="connsiteX30" fmla="*/ 62001 w 309815"/>
                    <a:gd name="connsiteY30" fmla="*/ 131549 h 371522"/>
                    <a:gd name="connsiteX31" fmla="*/ 62001 w 309815"/>
                    <a:gd name="connsiteY31" fmla="*/ 38574 h 371522"/>
                    <a:gd name="connsiteX32" fmla="*/ 69585 w 309815"/>
                    <a:gd name="connsiteY32" fmla="*/ 30803 h 371522"/>
                    <a:gd name="connsiteX33" fmla="*/ 69680 w 309815"/>
                    <a:gd name="connsiteY33" fmla="*/ 30802 h 371522"/>
                    <a:gd name="connsiteX34" fmla="*/ 209040 w 309815"/>
                    <a:gd name="connsiteY34" fmla="*/ 30802 h 371522"/>
                    <a:gd name="connsiteX35" fmla="*/ 216814 w 309815"/>
                    <a:gd name="connsiteY35" fmla="*/ 38574 h 37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09815" h="371522">
                      <a:moveTo>
                        <a:pt x="294268" y="139131"/>
                      </a:moveTo>
                      <a:lnTo>
                        <a:pt x="294268" y="270775"/>
                      </a:lnTo>
                      <a:cubicBezTo>
                        <a:pt x="294268" y="275068"/>
                        <a:pt x="290787" y="278547"/>
                        <a:pt x="286494" y="278547"/>
                      </a:cubicBezTo>
                      <a:cubicBezTo>
                        <a:pt x="282201" y="278547"/>
                        <a:pt x="278720" y="275068"/>
                        <a:pt x="278720" y="270775"/>
                      </a:cubicBezTo>
                      <a:lnTo>
                        <a:pt x="278720" y="255232"/>
                      </a:lnTo>
                      <a:cubicBezTo>
                        <a:pt x="278720" y="242408"/>
                        <a:pt x="268321" y="232012"/>
                        <a:pt x="255494" y="232012"/>
                      </a:cubicBezTo>
                      <a:lnTo>
                        <a:pt x="247815" y="232012"/>
                      </a:lnTo>
                      <a:lnTo>
                        <a:pt x="247815" y="30802"/>
                      </a:lnTo>
                      <a:cubicBezTo>
                        <a:pt x="247659" y="13782"/>
                        <a:pt x="233840" y="51"/>
                        <a:pt x="216814" y="0"/>
                      </a:cubicBezTo>
                      <a:lnTo>
                        <a:pt x="62001" y="0"/>
                      </a:lnTo>
                      <a:cubicBezTo>
                        <a:pt x="44880" y="0"/>
                        <a:pt x="31001" y="13876"/>
                        <a:pt x="31001" y="30992"/>
                      </a:cubicBezTo>
                      <a:lnTo>
                        <a:pt x="31001" y="309634"/>
                      </a:lnTo>
                      <a:cubicBezTo>
                        <a:pt x="13879" y="309634"/>
                        <a:pt x="0" y="323509"/>
                        <a:pt x="0" y="340625"/>
                      </a:cubicBezTo>
                      <a:lnTo>
                        <a:pt x="0" y="363846"/>
                      </a:lnTo>
                      <a:cubicBezTo>
                        <a:pt x="52" y="368101"/>
                        <a:pt x="3517" y="371523"/>
                        <a:pt x="7774" y="371522"/>
                      </a:cubicBezTo>
                      <a:lnTo>
                        <a:pt x="271136" y="371522"/>
                      </a:lnTo>
                      <a:cubicBezTo>
                        <a:pt x="275377" y="371522"/>
                        <a:pt x="278815" y="368085"/>
                        <a:pt x="278815" y="363846"/>
                      </a:cubicBezTo>
                      <a:lnTo>
                        <a:pt x="278815" y="340436"/>
                      </a:lnTo>
                      <a:cubicBezTo>
                        <a:pt x="278867" y="323372"/>
                        <a:pt x="265073" y="309497"/>
                        <a:pt x="248004" y="309444"/>
                      </a:cubicBezTo>
                      <a:cubicBezTo>
                        <a:pt x="247973" y="309444"/>
                        <a:pt x="247941" y="309444"/>
                        <a:pt x="247909" y="309444"/>
                      </a:cubicBezTo>
                      <a:lnTo>
                        <a:pt x="247909" y="247555"/>
                      </a:lnTo>
                      <a:lnTo>
                        <a:pt x="255588" y="247555"/>
                      </a:lnTo>
                      <a:cubicBezTo>
                        <a:pt x="259845" y="247555"/>
                        <a:pt x="263310" y="250977"/>
                        <a:pt x="263362" y="255232"/>
                      </a:cubicBezTo>
                      <a:lnTo>
                        <a:pt x="263362" y="270775"/>
                      </a:lnTo>
                      <a:cubicBezTo>
                        <a:pt x="263362" y="283600"/>
                        <a:pt x="273761" y="293996"/>
                        <a:pt x="286589" y="293996"/>
                      </a:cubicBezTo>
                      <a:cubicBezTo>
                        <a:pt x="299417" y="293996"/>
                        <a:pt x="309816" y="283600"/>
                        <a:pt x="309816" y="270775"/>
                      </a:cubicBezTo>
                      <a:lnTo>
                        <a:pt x="309816" y="139321"/>
                      </a:lnTo>
                      <a:close/>
                      <a:moveTo>
                        <a:pt x="216814" y="131549"/>
                      </a:moveTo>
                      <a:cubicBezTo>
                        <a:pt x="216814" y="135841"/>
                        <a:pt x="213334" y="139321"/>
                        <a:pt x="209040" y="139321"/>
                      </a:cubicBezTo>
                      <a:lnTo>
                        <a:pt x="69680" y="139321"/>
                      </a:lnTo>
                      <a:cubicBezTo>
                        <a:pt x="65424" y="139269"/>
                        <a:pt x="62001" y="135805"/>
                        <a:pt x="62001" y="131549"/>
                      </a:cubicBezTo>
                      <a:lnTo>
                        <a:pt x="62001" y="38574"/>
                      </a:lnTo>
                      <a:cubicBezTo>
                        <a:pt x="61949" y="34334"/>
                        <a:pt x="65344" y="30855"/>
                        <a:pt x="69585" y="30803"/>
                      </a:cubicBezTo>
                      <a:cubicBezTo>
                        <a:pt x="69616" y="30802"/>
                        <a:pt x="69648" y="30802"/>
                        <a:pt x="69680" y="30802"/>
                      </a:cubicBezTo>
                      <a:lnTo>
                        <a:pt x="209040" y="30802"/>
                      </a:lnTo>
                      <a:cubicBezTo>
                        <a:pt x="213334" y="30802"/>
                        <a:pt x="216814" y="34282"/>
                        <a:pt x="216814" y="38574"/>
                      </a:cubicBezTo>
                      <a:close/>
                    </a:path>
                  </a:pathLst>
                </a:custGeom>
                <a:grpFill/>
                <a:ln w="93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15" name="Freeform 105">
                  <a:extLst>
                    <a:ext uri="{FF2B5EF4-FFF2-40B4-BE49-F238E27FC236}">
                      <a16:creationId xmlns:a16="http://schemas.microsoft.com/office/drawing/2014/main" id="{A1EF0EF2-89CB-48D7-86DD-679BA668AF25}"/>
                    </a:ext>
                  </a:extLst>
                </p:cNvPr>
                <p:cNvSpPr/>
                <p:nvPr/>
              </p:nvSpPr>
              <p:spPr>
                <a:xfrm>
                  <a:off x="6217252" y="3279253"/>
                  <a:ext cx="13461" cy="66438"/>
                </a:xfrm>
                <a:custGeom>
                  <a:avLst/>
                  <a:gdLst>
                    <a:gd name="connsiteX0" fmla="*/ 6731 w 13461"/>
                    <a:gd name="connsiteY0" fmla="*/ 66154 h 66438"/>
                    <a:gd name="connsiteX1" fmla="*/ 0 w 13461"/>
                    <a:gd name="connsiteY1" fmla="*/ 59425 h 66438"/>
                    <a:gd name="connsiteX2" fmla="*/ 0 w 13461"/>
                    <a:gd name="connsiteY2" fmla="*/ 6729 h 66438"/>
                    <a:gd name="connsiteX3" fmla="*/ 6731 w 13461"/>
                    <a:gd name="connsiteY3" fmla="*/ 0 h 66438"/>
                    <a:gd name="connsiteX4" fmla="*/ 13462 w 13461"/>
                    <a:gd name="connsiteY4" fmla="*/ 6729 h 66438"/>
                    <a:gd name="connsiteX5" fmla="*/ 13462 w 13461"/>
                    <a:gd name="connsiteY5" fmla="*/ 59709 h 66438"/>
                    <a:gd name="connsiteX6" fmla="*/ 6731 w 13461"/>
                    <a:gd name="connsiteY6" fmla="*/ 66438 h 6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61" h="66438">
                      <a:moveTo>
                        <a:pt x="6731" y="66154"/>
                      </a:moveTo>
                      <a:cubicBezTo>
                        <a:pt x="3014" y="66154"/>
                        <a:pt x="0" y="63141"/>
                        <a:pt x="0" y="59425"/>
                      </a:cubicBezTo>
                      <a:lnTo>
                        <a:pt x="0" y="6729"/>
                      </a:lnTo>
                      <a:cubicBezTo>
                        <a:pt x="0" y="3013"/>
                        <a:pt x="3014" y="0"/>
                        <a:pt x="6731" y="0"/>
                      </a:cubicBezTo>
                      <a:cubicBezTo>
                        <a:pt x="10448" y="0"/>
                        <a:pt x="13462" y="3013"/>
                        <a:pt x="13462" y="6729"/>
                      </a:cubicBezTo>
                      <a:lnTo>
                        <a:pt x="13462" y="59709"/>
                      </a:lnTo>
                      <a:cubicBezTo>
                        <a:pt x="13462" y="63425"/>
                        <a:pt x="10448" y="66438"/>
                        <a:pt x="6731" y="66438"/>
                      </a:cubicBezTo>
                    </a:path>
                  </a:pathLst>
                </a:custGeom>
                <a:grpFill/>
                <a:ln w="93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16" name="Freeform 106">
                  <a:extLst>
                    <a:ext uri="{FF2B5EF4-FFF2-40B4-BE49-F238E27FC236}">
                      <a16:creationId xmlns:a16="http://schemas.microsoft.com/office/drawing/2014/main" id="{6AD1A3BA-EDDF-4A88-8834-08E28CF38D3F}"/>
                    </a:ext>
                  </a:extLst>
                </p:cNvPr>
                <p:cNvSpPr/>
                <p:nvPr/>
              </p:nvSpPr>
              <p:spPr>
                <a:xfrm>
                  <a:off x="6260245" y="3278355"/>
                  <a:ext cx="13652" cy="67336"/>
                </a:xfrm>
                <a:custGeom>
                  <a:avLst/>
                  <a:gdLst>
                    <a:gd name="connsiteX0" fmla="*/ 6874 w 13652"/>
                    <a:gd name="connsiteY0" fmla="*/ 67052 h 67336"/>
                    <a:gd name="connsiteX1" fmla="*/ 49 w 13652"/>
                    <a:gd name="connsiteY1" fmla="*/ 60418 h 67336"/>
                    <a:gd name="connsiteX2" fmla="*/ 48 w 13652"/>
                    <a:gd name="connsiteY2" fmla="*/ 60323 h 67336"/>
                    <a:gd name="connsiteX3" fmla="*/ 48 w 13652"/>
                    <a:gd name="connsiteY3" fmla="*/ 7627 h 67336"/>
                    <a:gd name="connsiteX4" fmla="*/ 6023 w 13652"/>
                    <a:gd name="connsiteY4" fmla="*/ 48 h 67336"/>
                    <a:gd name="connsiteX5" fmla="*/ 13605 w 13652"/>
                    <a:gd name="connsiteY5" fmla="*/ 6022 h 67336"/>
                    <a:gd name="connsiteX6" fmla="*/ 13605 w 13652"/>
                    <a:gd name="connsiteY6" fmla="*/ 7627 h 67336"/>
                    <a:gd name="connsiteX7" fmla="*/ 13605 w 13652"/>
                    <a:gd name="connsiteY7" fmla="*/ 60607 h 67336"/>
                    <a:gd name="connsiteX8" fmla="*/ 6874 w 13652"/>
                    <a:gd name="connsiteY8" fmla="*/ 67336 h 6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 h="67336">
                      <a:moveTo>
                        <a:pt x="6874" y="67052"/>
                      </a:moveTo>
                      <a:cubicBezTo>
                        <a:pt x="3157" y="67104"/>
                        <a:pt x="101" y="64134"/>
                        <a:pt x="49" y="60418"/>
                      </a:cubicBezTo>
                      <a:cubicBezTo>
                        <a:pt x="48" y="60387"/>
                        <a:pt x="48" y="60355"/>
                        <a:pt x="48" y="60323"/>
                      </a:cubicBezTo>
                      <a:lnTo>
                        <a:pt x="48" y="7627"/>
                      </a:lnTo>
                      <a:cubicBezTo>
                        <a:pt x="-395" y="3885"/>
                        <a:pt x="2280" y="491"/>
                        <a:pt x="6023" y="48"/>
                      </a:cubicBezTo>
                      <a:cubicBezTo>
                        <a:pt x="9767" y="-395"/>
                        <a:pt x="13161" y="2279"/>
                        <a:pt x="13605" y="6022"/>
                      </a:cubicBezTo>
                      <a:cubicBezTo>
                        <a:pt x="13668" y="6555"/>
                        <a:pt x="13668" y="7094"/>
                        <a:pt x="13605" y="7627"/>
                      </a:cubicBezTo>
                      <a:lnTo>
                        <a:pt x="13605" y="60607"/>
                      </a:lnTo>
                      <a:cubicBezTo>
                        <a:pt x="13605" y="64324"/>
                        <a:pt x="10591" y="67336"/>
                        <a:pt x="6874" y="67336"/>
                      </a:cubicBezTo>
                    </a:path>
                  </a:pathLst>
                </a:custGeom>
                <a:grpFill/>
                <a:ln w="93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17" name="Freeform 107">
                  <a:extLst>
                    <a:ext uri="{FF2B5EF4-FFF2-40B4-BE49-F238E27FC236}">
                      <a16:creationId xmlns:a16="http://schemas.microsoft.com/office/drawing/2014/main" id="{420FE214-5B6A-4B4C-A209-F39FE24B0ACC}"/>
                    </a:ext>
                  </a:extLst>
                </p:cNvPr>
                <p:cNvSpPr/>
                <p:nvPr/>
              </p:nvSpPr>
              <p:spPr>
                <a:xfrm>
                  <a:off x="6205118" y="3324841"/>
                  <a:ext cx="80487" cy="37341"/>
                </a:xfrm>
                <a:custGeom>
                  <a:avLst/>
                  <a:gdLst>
                    <a:gd name="connsiteX0" fmla="*/ 0 w 80487"/>
                    <a:gd name="connsiteY0" fmla="*/ 0 h 37341"/>
                    <a:gd name="connsiteX1" fmla="*/ 80488 w 80487"/>
                    <a:gd name="connsiteY1" fmla="*/ 0 h 37341"/>
                    <a:gd name="connsiteX2" fmla="*/ 80488 w 80487"/>
                    <a:gd name="connsiteY2" fmla="*/ 37342 h 37341"/>
                    <a:gd name="connsiteX3" fmla="*/ 0 w 80487"/>
                    <a:gd name="connsiteY3" fmla="*/ 37342 h 37341"/>
                  </a:gdLst>
                  <a:ahLst/>
                  <a:cxnLst>
                    <a:cxn ang="0">
                      <a:pos x="connsiteX0" y="connsiteY0"/>
                    </a:cxn>
                    <a:cxn ang="0">
                      <a:pos x="connsiteX1" y="connsiteY1"/>
                    </a:cxn>
                    <a:cxn ang="0">
                      <a:pos x="connsiteX2" y="connsiteY2"/>
                    </a:cxn>
                    <a:cxn ang="0">
                      <a:pos x="connsiteX3" y="connsiteY3"/>
                    </a:cxn>
                  </a:cxnLst>
                  <a:rect l="l" t="t" r="r" b="b"/>
                  <a:pathLst>
                    <a:path w="80487" h="37341">
                      <a:moveTo>
                        <a:pt x="0" y="0"/>
                      </a:moveTo>
                      <a:lnTo>
                        <a:pt x="80488" y="0"/>
                      </a:lnTo>
                      <a:lnTo>
                        <a:pt x="80488" y="37342"/>
                      </a:lnTo>
                      <a:lnTo>
                        <a:pt x="0" y="37342"/>
                      </a:lnTo>
                      <a:close/>
                    </a:path>
                  </a:pathLst>
                </a:custGeom>
                <a:grpFill/>
                <a:ln w="93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sp>
              <p:nvSpPr>
                <p:cNvPr id="118" name="Freeform 108">
                  <a:extLst>
                    <a:ext uri="{FF2B5EF4-FFF2-40B4-BE49-F238E27FC236}">
                      <a16:creationId xmlns:a16="http://schemas.microsoft.com/office/drawing/2014/main" id="{F90BDC62-36E1-466A-B857-9E9E26401935}"/>
                    </a:ext>
                  </a:extLst>
                </p:cNvPr>
                <p:cNvSpPr/>
                <p:nvPr/>
              </p:nvSpPr>
              <p:spPr>
                <a:xfrm>
                  <a:off x="6225216" y="3356211"/>
                  <a:ext cx="40291" cy="27295"/>
                </a:xfrm>
                <a:custGeom>
                  <a:avLst/>
                  <a:gdLst>
                    <a:gd name="connsiteX0" fmla="*/ 0 w 40291"/>
                    <a:gd name="connsiteY0" fmla="*/ 0 h 27295"/>
                    <a:gd name="connsiteX1" fmla="*/ 40291 w 40291"/>
                    <a:gd name="connsiteY1" fmla="*/ 0 h 27295"/>
                    <a:gd name="connsiteX2" fmla="*/ 40291 w 40291"/>
                    <a:gd name="connsiteY2" fmla="*/ 27296 h 27295"/>
                    <a:gd name="connsiteX3" fmla="*/ 0 w 40291"/>
                    <a:gd name="connsiteY3" fmla="*/ 27296 h 27295"/>
                  </a:gdLst>
                  <a:ahLst/>
                  <a:cxnLst>
                    <a:cxn ang="0">
                      <a:pos x="connsiteX0" y="connsiteY0"/>
                    </a:cxn>
                    <a:cxn ang="0">
                      <a:pos x="connsiteX1" y="connsiteY1"/>
                    </a:cxn>
                    <a:cxn ang="0">
                      <a:pos x="connsiteX2" y="connsiteY2"/>
                    </a:cxn>
                    <a:cxn ang="0">
                      <a:pos x="connsiteX3" y="connsiteY3"/>
                    </a:cxn>
                  </a:cxnLst>
                  <a:rect l="l" t="t" r="r" b="b"/>
                  <a:pathLst>
                    <a:path w="40291" h="27295">
                      <a:moveTo>
                        <a:pt x="0" y="0"/>
                      </a:moveTo>
                      <a:lnTo>
                        <a:pt x="40291" y="0"/>
                      </a:lnTo>
                      <a:lnTo>
                        <a:pt x="40291" y="27296"/>
                      </a:lnTo>
                      <a:lnTo>
                        <a:pt x="0" y="27296"/>
                      </a:lnTo>
                      <a:close/>
                    </a:path>
                  </a:pathLst>
                </a:custGeom>
                <a:grpFill/>
                <a:ln w="93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 name="TextBox 1">
                <a:extLst>
                  <a:ext uri="{FF2B5EF4-FFF2-40B4-BE49-F238E27FC236}">
                    <a16:creationId xmlns:a16="http://schemas.microsoft.com/office/drawing/2014/main" id="{9AD5B40A-4664-4EA3-9FC3-479E377120B5}"/>
                  </a:ext>
                </a:extLst>
              </p:cNvPr>
              <p:cNvSpPr txBox="1"/>
              <p:nvPr/>
            </p:nvSpPr>
            <p:spPr>
              <a:xfrm>
                <a:off x="3549713" y="5572259"/>
                <a:ext cx="198772" cy="215444"/>
              </a:xfrm>
              <a:prstGeom prst="rect">
                <a:avLst/>
              </a:prstGeom>
              <a:noFill/>
            </p:spPr>
            <p:txBody>
              <a:bodyPr wrap="none" lIns="0" tIns="0" rIns="0" bIns="0" rtlCol="0" anchor="ctr" anchorCtr="1">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Ubuntu"/>
                    <a:ea typeface="+mn-ea"/>
                    <a:cs typeface="+mn-cs"/>
                  </a:rPr>
                  <a:t>H</a:t>
                </a:r>
                <a:r>
                  <a:rPr kumimoji="0" lang="en-US" sz="1400" b="1" i="0" u="none" strike="noStrike" kern="1200" cap="none" spc="0" normalizeH="0" baseline="-25000" noProof="0">
                    <a:ln>
                      <a:noFill/>
                    </a:ln>
                    <a:solidFill>
                      <a:srgbClr val="FFFFFF"/>
                    </a:solidFill>
                    <a:effectLst/>
                    <a:uLnTx/>
                    <a:uFillTx/>
                    <a:latin typeface="Ubuntu"/>
                    <a:ea typeface="+mn-ea"/>
                    <a:cs typeface="+mn-cs"/>
                  </a:rPr>
                  <a:t>2</a:t>
                </a:r>
              </a:p>
            </p:txBody>
          </p:sp>
        </p:grpSp>
      </p:grpSp>
      <p:sp>
        <p:nvSpPr>
          <p:cNvPr id="62" name="Ellipse 110">
            <a:extLst>
              <a:ext uri="{FF2B5EF4-FFF2-40B4-BE49-F238E27FC236}">
                <a16:creationId xmlns:a16="http://schemas.microsoft.com/office/drawing/2014/main" id="{0A056F65-E6D5-4B90-ADD3-DB10A2D43A23}"/>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63" name="TextBox 34">
            <a:extLst>
              <a:ext uri="{FF2B5EF4-FFF2-40B4-BE49-F238E27FC236}">
                <a16:creationId xmlns:a16="http://schemas.microsoft.com/office/drawing/2014/main" id="{70C8CE37-89E1-4921-8881-AEDA35BA7675}"/>
              </a:ext>
            </a:extLst>
          </p:cNvPr>
          <p:cNvSpPr txBox="1"/>
          <p:nvPr/>
        </p:nvSpPr>
        <p:spPr>
          <a:xfrm>
            <a:off x="4186327" y="2158698"/>
            <a:ext cx="7572599" cy="461665"/>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Energy sobriety is a critical immediate measure for Europe to avoid disruptions in supply</a:t>
            </a:r>
            <a:r>
              <a:rPr kumimoji="0" lang="en-US"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a:t>
            </a:r>
          </a:p>
        </p:txBody>
      </p:sp>
      <p:grpSp>
        <p:nvGrpSpPr>
          <p:cNvPr id="64" name="Group 1">
            <a:extLst>
              <a:ext uri="{FF2B5EF4-FFF2-40B4-BE49-F238E27FC236}">
                <a16:creationId xmlns:a16="http://schemas.microsoft.com/office/drawing/2014/main" id="{9E332E03-9F18-4066-9096-59E0CB01D0AE}"/>
              </a:ext>
            </a:extLst>
          </p:cNvPr>
          <p:cNvGrpSpPr/>
          <p:nvPr/>
        </p:nvGrpSpPr>
        <p:grpSpPr>
          <a:xfrm>
            <a:off x="3312471" y="2040408"/>
            <a:ext cx="785778" cy="751582"/>
            <a:chOff x="3292392" y="2234965"/>
            <a:chExt cx="785778" cy="751582"/>
          </a:xfrm>
        </p:grpSpPr>
        <p:sp>
          <p:nvSpPr>
            <p:cNvPr id="65" name="Freeform 215">
              <a:extLst>
                <a:ext uri="{FF2B5EF4-FFF2-40B4-BE49-F238E27FC236}">
                  <a16:creationId xmlns:a16="http://schemas.microsoft.com/office/drawing/2014/main" id="{69F52E29-E2A8-4B45-B76A-F55B97506AD8}"/>
                </a:ext>
              </a:extLst>
            </p:cNvPr>
            <p:cNvSpPr/>
            <p:nvPr/>
          </p:nvSpPr>
          <p:spPr>
            <a:xfrm>
              <a:off x="3292392" y="2234965"/>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66" name="Groupe 523">
              <a:extLst>
                <a:ext uri="{FF2B5EF4-FFF2-40B4-BE49-F238E27FC236}">
                  <a16:creationId xmlns:a16="http://schemas.microsoft.com/office/drawing/2014/main" id="{E8065ADF-9701-4557-9CC2-03CC996385DA}"/>
                </a:ext>
              </a:extLst>
            </p:cNvPr>
            <p:cNvGrpSpPr/>
            <p:nvPr/>
          </p:nvGrpSpPr>
          <p:grpSpPr>
            <a:xfrm>
              <a:off x="3444026" y="2390052"/>
              <a:ext cx="475055" cy="388073"/>
              <a:chOff x="2849563" y="5511801"/>
              <a:chExt cx="450850" cy="368300"/>
            </a:xfrm>
            <a:solidFill>
              <a:schemeClr val="accent4"/>
            </a:solidFill>
          </p:grpSpPr>
          <p:sp>
            <p:nvSpPr>
              <p:cNvPr id="67" name="Freeform 139">
                <a:extLst>
                  <a:ext uri="{FF2B5EF4-FFF2-40B4-BE49-F238E27FC236}">
                    <a16:creationId xmlns:a16="http://schemas.microsoft.com/office/drawing/2014/main" id="{0FBACA49-F681-4AA1-B48C-92B02E917957}"/>
                  </a:ext>
                </a:extLst>
              </p:cNvPr>
              <p:cNvSpPr>
                <a:spLocks noEditPoints="1"/>
              </p:cNvSpPr>
              <p:nvPr/>
            </p:nvSpPr>
            <p:spPr bwMode="auto">
              <a:xfrm>
                <a:off x="2984501" y="5665788"/>
                <a:ext cx="120650" cy="112713"/>
              </a:xfrm>
              <a:custGeom>
                <a:avLst/>
                <a:gdLst>
                  <a:gd name="T0" fmla="*/ 26 w 32"/>
                  <a:gd name="T1" fmla="*/ 30 h 30"/>
                  <a:gd name="T2" fmla="*/ 32 w 32"/>
                  <a:gd name="T3" fmla="*/ 25 h 30"/>
                  <a:gd name="T4" fmla="*/ 26 w 32"/>
                  <a:gd name="T5" fmla="*/ 19 h 30"/>
                  <a:gd name="T6" fmla="*/ 0 w 32"/>
                  <a:gd name="T7" fmla="*/ 0 h 30"/>
                  <a:gd name="T8" fmla="*/ 20 w 32"/>
                  <a:gd name="T9" fmla="*/ 25 h 30"/>
                  <a:gd name="T10" fmla="*/ 26 w 32"/>
                  <a:gd name="T11" fmla="*/ 30 h 30"/>
                  <a:gd name="T12" fmla="*/ 26 w 32"/>
                  <a:gd name="T13" fmla="*/ 30 h 30"/>
                  <a:gd name="T14" fmla="*/ 26 w 32"/>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0">
                    <a:moveTo>
                      <a:pt x="26" y="30"/>
                    </a:moveTo>
                    <a:cubicBezTo>
                      <a:pt x="29" y="30"/>
                      <a:pt x="32" y="28"/>
                      <a:pt x="32" y="25"/>
                    </a:cubicBezTo>
                    <a:cubicBezTo>
                      <a:pt x="32" y="21"/>
                      <a:pt x="29" y="19"/>
                      <a:pt x="26" y="19"/>
                    </a:cubicBezTo>
                    <a:cubicBezTo>
                      <a:pt x="0" y="0"/>
                      <a:pt x="0" y="0"/>
                      <a:pt x="0" y="0"/>
                    </a:cubicBezTo>
                    <a:cubicBezTo>
                      <a:pt x="20" y="25"/>
                      <a:pt x="20" y="25"/>
                      <a:pt x="20" y="25"/>
                    </a:cubicBezTo>
                    <a:cubicBezTo>
                      <a:pt x="21" y="28"/>
                      <a:pt x="23" y="30"/>
                      <a:pt x="26" y="30"/>
                    </a:cubicBezTo>
                    <a:close/>
                    <a:moveTo>
                      <a:pt x="26" y="30"/>
                    </a:moveTo>
                    <a:cubicBezTo>
                      <a:pt x="26" y="30"/>
                      <a:pt x="26" y="30"/>
                      <a:pt x="26"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8" name="Freeform 140">
                <a:extLst>
                  <a:ext uri="{FF2B5EF4-FFF2-40B4-BE49-F238E27FC236}">
                    <a16:creationId xmlns:a16="http://schemas.microsoft.com/office/drawing/2014/main" id="{70D0C73C-DCD0-4827-955A-447682E332F6}"/>
                  </a:ext>
                </a:extLst>
              </p:cNvPr>
              <p:cNvSpPr>
                <a:spLocks/>
              </p:cNvSpPr>
              <p:nvPr/>
            </p:nvSpPr>
            <p:spPr bwMode="auto">
              <a:xfrm>
                <a:off x="2849563" y="5511801"/>
                <a:ext cx="450850" cy="368300"/>
              </a:xfrm>
              <a:custGeom>
                <a:avLst/>
                <a:gdLst>
                  <a:gd name="T0" fmla="*/ 108 w 120"/>
                  <a:gd name="T1" fmla="*/ 96 h 98"/>
                  <a:gd name="T2" fmla="*/ 120 w 120"/>
                  <a:gd name="T3" fmla="*/ 60 h 98"/>
                  <a:gd name="T4" fmla="*/ 60 w 120"/>
                  <a:gd name="T5" fmla="*/ 0 h 98"/>
                  <a:gd name="T6" fmla="*/ 0 w 120"/>
                  <a:gd name="T7" fmla="*/ 60 h 98"/>
                  <a:gd name="T8" fmla="*/ 12 w 120"/>
                  <a:gd name="T9" fmla="*/ 96 h 98"/>
                  <a:gd name="T10" fmla="*/ 13 w 120"/>
                  <a:gd name="T11" fmla="*/ 98 h 98"/>
                  <a:gd name="T12" fmla="*/ 27 w 120"/>
                  <a:gd name="T13" fmla="*/ 86 h 98"/>
                  <a:gd name="T14" fmla="*/ 21 w 120"/>
                  <a:gd name="T15" fmla="*/ 80 h 98"/>
                  <a:gd name="T16" fmla="*/ 11 w 120"/>
                  <a:gd name="T17" fmla="*/ 89 h 98"/>
                  <a:gd name="T18" fmla="*/ 3 w 120"/>
                  <a:gd name="T19" fmla="*/ 61 h 98"/>
                  <a:gd name="T20" fmla="*/ 3 w 120"/>
                  <a:gd name="T21" fmla="*/ 59 h 98"/>
                  <a:gd name="T22" fmla="*/ 16 w 120"/>
                  <a:gd name="T23" fmla="*/ 59 h 98"/>
                  <a:gd name="T24" fmla="*/ 16 w 120"/>
                  <a:gd name="T25" fmla="*/ 51 h 98"/>
                  <a:gd name="T26" fmla="*/ 4 w 120"/>
                  <a:gd name="T27" fmla="*/ 51 h 98"/>
                  <a:gd name="T28" fmla="*/ 16 w 120"/>
                  <a:gd name="T29" fmla="*/ 25 h 98"/>
                  <a:gd name="T30" fmla="*/ 25 w 120"/>
                  <a:gd name="T31" fmla="*/ 34 h 98"/>
                  <a:gd name="T32" fmla="*/ 31 w 120"/>
                  <a:gd name="T33" fmla="*/ 28 h 98"/>
                  <a:gd name="T34" fmla="*/ 22 w 120"/>
                  <a:gd name="T35" fmla="*/ 19 h 98"/>
                  <a:gd name="T36" fmla="*/ 55 w 120"/>
                  <a:gd name="T37" fmla="*/ 4 h 98"/>
                  <a:gd name="T38" fmla="*/ 55 w 120"/>
                  <a:gd name="T39" fmla="*/ 19 h 98"/>
                  <a:gd name="T40" fmla="*/ 63 w 120"/>
                  <a:gd name="T41" fmla="*/ 19 h 98"/>
                  <a:gd name="T42" fmla="*/ 63 w 120"/>
                  <a:gd name="T43" fmla="*/ 4 h 98"/>
                  <a:gd name="T44" fmla="*/ 99 w 120"/>
                  <a:gd name="T45" fmla="*/ 20 h 98"/>
                  <a:gd name="T46" fmla="*/ 90 w 120"/>
                  <a:gd name="T47" fmla="*/ 29 h 98"/>
                  <a:gd name="T48" fmla="*/ 96 w 120"/>
                  <a:gd name="T49" fmla="*/ 35 h 98"/>
                  <a:gd name="T50" fmla="*/ 105 w 120"/>
                  <a:gd name="T51" fmla="*/ 26 h 98"/>
                  <a:gd name="T52" fmla="*/ 116 w 120"/>
                  <a:gd name="T53" fmla="*/ 51 h 98"/>
                  <a:gd name="T54" fmla="*/ 104 w 120"/>
                  <a:gd name="T55" fmla="*/ 51 h 98"/>
                  <a:gd name="T56" fmla="*/ 104 w 120"/>
                  <a:gd name="T57" fmla="*/ 59 h 98"/>
                  <a:gd name="T58" fmla="*/ 117 w 120"/>
                  <a:gd name="T59" fmla="*/ 59 h 98"/>
                  <a:gd name="T60" fmla="*/ 117 w 120"/>
                  <a:gd name="T61" fmla="*/ 61 h 98"/>
                  <a:gd name="T62" fmla="*/ 109 w 120"/>
                  <a:gd name="T63" fmla="*/ 89 h 98"/>
                  <a:gd name="T64" fmla="*/ 99 w 120"/>
                  <a:gd name="T65" fmla="*/ 80 h 98"/>
                  <a:gd name="T66" fmla="*/ 94 w 120"/>
                  <a:gd name="T67" fmla="*/ 85 h 98"/>
                  <a:gd name="T68" fmla="*/ 107 w 120"/>
                  <a:gd name="T69" fmla="*/ 98 h 98"/>
                  <a:gd name="T70" fmla="*/ 108 w 120"/>
                  <a:gd name="T71"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98">
                    <a:moveTo>
                      <a:pt x="108" y="96"/>
                    </a:moveTo>
                    <a:cubicBezTo>
                      <a:pt x="116" y="86"/>
                      <a:pt x="120" y="74"/>
                      <a:pt x="120" y="60"/>
                    </a:cubicBezTo>
                    <a:cubicBezTo>
                      <a:pt x="120" y="27"/>
                      <a:pt x="93" y="0"/>
                      <a:pt x="60" y="0"/>
                    </a:cubicBezTo>
                    <a:cubicBezTo>
                      <a:pt x="27" y="0"/>
                      <a:pt x="0" y="27"/>
                      <a:pt x="0" y="60"/>
                    </a:cubicBezTo>
                    <a:cubicBezTo>
                      <a:pt x="0" y="74"/>
                      <a:pt x="4" y="86"/>
                      <a:pt x="12" y="96"/>
                    </a:cubicBezTo>
                    <a:cubicBezTo>
                      <a:pt x="13" y="98"/>
                      <a:pt x="13" y="98"/>
                      <a:pt x="13" y="98"/>
                    </a:cubicBezTo>
                    <a:cubicBezTo>
                      <a:pt x="27" y="86"/>
                      <a:pt x="27" y="86"/>
                      <a:pt x="27" y="86"/>
                    </a:cubicBezTo>
                    <a:cubicBezTo>
                      <a:pt x="21" y="80"/>
                      <a:pt x="21" y="80"/>
                      <a:pt x="21" y="80"/>
                    </a:cubicBezTo>
                    <a:cubicBezTo>
                      <a:pt x="11" y="89"/>
                      <a:pt x="11" y="89"/>
                      <a:pt x="11" y="89"/>
                    </a:cubicBezTo>
                    <a:cubicBezTo>
                      <a:pt x="6" y="81"/>
                      <a:pt x="3" y="71"/>
                      <a:pt x="3" y="61"/>
                    </a:cubicBezTo>
                    <a:cubicBezTo>
                      <a:pt x="3" y="60"/>
                      <a:pt x="3" y="60"/>
                      <a:pt x="3" y="59"/>
                    </a:cubicBezTo>
                    <a:cubicBezTo>
                      <a:pt x="16" y="59"/>
                      <a:pt x="16" y="59"/>
                      <a:pt x="16" y="59"/>
                    </a:cubicBezTo>
                    <a:cubicBezTo>
                      <a:pt x="16" y="51"/>
                      <a:pt x="16" y="51"/>
                      <a:pt x="16" y="51"/>
                    </a:cubicBezTo>
                    <a:cubicBezTo>
                      <a:pt x="4" y="51"/>
                      <a:pt x="4" y="51"/>
                      <a:pt x="4" y="51"/>
                    </a:cubicBezTo>
                    <a:cubicBezTo>
                      <a:pt x="6" y="41"/>
                      <a:pt x="10" y="32"/>
                      <a:pt x="16" y="25"/>
                    </a:cubicBezTo>
                    <a:cubicBezTo>
                      <a:pt x="25" y="34"/>
                      <a:pt x="25" y="34"/>
                      <a:pt x="25" y="34"/>
                    </a:cubicBezTo>
                    <a:cubicBezTo>
                      <a:pt x="31" y="28"/>
                      <a:pt x="31" y="28"/>
                      <a:pt x="31" y="28"/>
                    </a:cubicBezTo>
                    <a:cubicBezTo>
                      <a:pt x="22" y="19"/>
                      <a:pt x="22" y="19"/>
                      <a:pt x="22" y="19"/>
                    </a:cubicBezTo>
                    <a:cubicBezTo>
                      <a:pt x="30" y="11"/>
                      <a:pt x="42" y="5"/>
                      <a:pt x="55" y="4"/>
                    </a:cubicBezTo>
                    <a:cubicBezTo>
                      <a:pt x="55" y="19"/>
                      <a:pt x="55" y="19"/>
                      <a:pt x="55" y="19"/>
                    </a:cubicBezTo>
                    <a:cubicBezTo>
                      <a:pt x="63" y="19"/>
                      <a:pt x="63" y="19"/>
                      <a:pt x="63" y="19"/>
                    </a:cubicBezTo>
                    <a:cubicBezTo>
                      <a:pt x="63" y="4"/>
                      <a:pt x="63" y="4"/>
                      <a:pt x="63" y="4"/>
                    </a:cubicBezTo>
                    <a:cubicBezTo>
                      <a:pt x="77" y="5"/>
                      <a:pt x="90" y="10"/>
                      <a:pt x="99" y="20"/>
                    </a:cubicBezTo>
                    <a:cubicBezTo>
                      <a:pt x="90" y="29"/>
                      <a:pt x="90" y="29"/>
                      <a:pt x="90" y="29"/>
                    </a:cubicBezTo>
                    <a:cubicBezTo>
                      <a:pt x="96" y="35"/>
                      <a:pt x="96" y="35"/>
                      <a:pt x="96" y="35"/>
                    </a:cubicBezTo>
                    <a:cubicBezTo>
                      <a:pt x="105" y="26"/>
                      <a:pt x="105" y="26"/>
                      <a:pt x="105" y="26"/>
                    </a:cubicBezTo>
                    <a:cubicBezTo>
                      <a:pt x="110" y="33"/>
                      <a:pt x="114" y="42"/>
                      <a:pt x="116" y="51"/>
                    </a:cubicBezTo>
                    <a:cubicBezTo>
                      <a:pt x="104" y="51"/>
                      <a:pt x="104" y="51"/>
                      <a:pt x="104" y="51"/>
                    </a:cubicBezTo>
                    <a:cubicBezTo>
                      <a:pt x="104" y="59"/>
                      <a:pt x="104" y="59"/>
                      <a:pt x="104" y="59"/>
                    </a:cubicBezTo>
                    <a:cubicBezTo>
                      <a:pt x="117" y="59"/>
                      <a:pt x="117" y="59"/>
                      <a:pt x="117" y="59"/>
                    </a:cubicBezTo>
                    <a:cubicBezTo>
                      <a:pt x="117" y="60"/>
                      <a:pt x="117" y="60"/>
                      <a:pt x="117" y="61"/>
                    </a:cubicBezTo>
                    <a:cubicBezTo>
                      <a:pt x="117" y="71"/>
                      <a:pt x="114" y="81"/>
                      <a:pt x="109" y="89"/>
                    </a:cubicBezTo>
                    <a:cubicBezTo>
                      <a:pt x="99" y="80"/>
                      <a:pt x="99" y="80"/>
                      <a:pt x="99" y="80"/>
                    </a:cubicBezTo>
                    <a:cubicBezTo>
                      <a:pt x="94" y="85"/>
                      <a:pt x="94" y="85"/>
                      <a:pt x="94" y="85"/>
                    </a:cubicBezTo>
                    <a:cubicBezTo>
                      <a:pt x="107" y="98"/>
                      <a:pt x="107" y="98"/>
                      <a:pt x="107" y="98"/>
                    </a:cubicBezTo>
                    <a:cubicBezTo>
                      <a:pt x="107" y="98"/>
                      <a:pt x="108" y="96"/>
                      <a:pt x="10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69" name="Straight Connector 93">
            <a:extLst>
              <a:ext uri="{FF2B5EF4-FFF2-40B4-BE49-F238E27FC236}">
                <a16:creationId xmlns:a16="http://schemas.microsoft.com/office/drawing/2014/main" id="{46CA9774-9D11-465F-9C30-2726EE347AF9}"/>
              </a:ext>
            </a:extLst>
          </p:cNvPr>
          <p:cNvCxnSpPr>
            <a:cxnSpLocks/>
          </p:cNvCxnSpPr>
          <p:nvPr/>
        </p:nvCxnSpPr>
        <p:spPr>
          <a:xfrm>
            <a:off x="4071257" y="2854977"/>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77145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CDAFA805-EB32-ABAF-82D4-C6F92B755AAF}"/>
              </a:ext>
            </a:extLst>
          </p:cNvPr>
          <p:cNvCxnSpPr>
            <a:cxnSpLocks/>
          </p:cNvCxnSpPr>
          <p:nvPr/>
        </p:nvCxnSpPr>
        <p:spPr>
          <a:xfrm>
            <a:off x="4071257" y="3172282"/>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3CFD5A2-EB94-2465-EAAF-ED921EDF0671}"/>
              </a:ext>
            </a:extLst>
          </p:cNvPr>
          <p:cNvCxnSpPr>
            <a:cxnSpLocks/>
          </p:cNvCxnSpPr>
          <p:nvPr/>
        </p:nvCxnSpPr>
        <p:spPr>
          <a:xfrm>
            <a:off x="4071257" y="4291036"/>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Title 16">
            <a:extLst>
              <a:ext uri="{FF2B5EF4-FFF2-40B4-BE49-F238E27FC236}">
                <a16:creationId xmlns:a16="http://schemas.microsoft.com/office/drawing/2014/main" id="{4F6C9B7D-1270-03FB-DC28-1B73A090A23D}"/>
              </a:ext>
            </a:extLst>
          </p:cNvPr>
          <p:cNvSpPr txBox="1">
            <a:spLocks/>
          </p:cNvSpPr>
          <p:nvPr/>
        </p:nvSpPr>
        <p:spPr>
          <a:xfrm>
            <a:off x="4186328" y="388188"/>
            <a:ext cx="6943044" cy="716711"/>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IN" sz="2400" b="0" i="0" u="none" strike="noStrike" kern="1200" cap="all" spc="0" normalizeH="0" baseline="0" noProof="0">
                <a:ln>
                  <a:noFill/>
                </a:ln>
                <a:solidFill>
                  <a:srgbClr val="FFFFFF"/>
                </a:solidFill>
                <a:effectLst/>
                <a:uLnTx/>
                <a:uFillTx/>
                <a:latin typeface="Ubuntu Medium"/>
                <a:ea typeface="+mj-ea"/>
                <a:cs typeface="+mj-cs"/>
              </a:rPr>
              <a:t>Conclusions &amp; recommendations</a:t>
            </a:r>
          </a:p>
        </p:txBody>
      </p:sp>
      <p:cxnSp>
        <p:nvCxnSpPr>
          <p:cNvPr id="6" name="Straight Connector 5">
            <a:extLst>
              <a:ext uri="{FF2B5EF4-FFF2-40B4-BE49-F238E27FC236}">
                <a16:creationId xmlns:a16="http://schemas.microsoft.com/office/drawing/2014/main" id="{D0331011-41F9-B643-8DA8-EDFA3EDC4850}"/>
              </a:ext>
            </a:extLst>
          </p:cNvPr>
          <p:cNvCxnSpPr>
            <a:cxnSpLocks/>
          </p:cNvCxnSpPr>
          <p:nvPr/>
        </p:nvCxnSpPr>
        <p:spPr>
          <a:xfrm>
            <a:off x="4071257" y="5409790"/>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6" name="Groupe 15">
            <a:extLst>
              <a:ext uri="{FF2B5EF4-FFF2-40B4-BE49-F238E27FC236}">
                <a16:creationId xmlns:a16="http://schemas.microsoft.com/office/drawing/2014/main" id="{08665D3E-9922-4039-B91B-CD0492004B9A}"/>
              </a:ext>
            </a:extLst>
          </p:cNvPr>
          <p:cNvGrpSpPr/>
          <p:nvPr/>
        </p:nvGrpSpPr>
        <p:grpSpPr>
          <a:xfrm>
            <a:off x="3255255" y="2237114"/>
            <a:ext cx="8503672" cy="751582"/>
            <a:chOff x="3255255" y="1405544"/>
            <a:chExt cx="8503672" cy="751582"/>
          </a:xfrm>
        </p:grpSpPr>
        <p:sp>
          <p:nvSpPr>
            <p:cNvPr id="77" name="TextBox 76">
              <a:extLst>
                <a:ext uri="{FF2B5EF4-FFF2-40B4-BE49-F238E27FC236}">
                  <a16:creationId xmlns:a16="http://schemas.microsoft.com/office/drawing/2014/main" id="{22D85945-9116-4567-813E-9E7F754D716E}"/>
                </a:ext>
              </a:extLst>
            </p:cNvPr>
            <p:cNvSpPr txBox="1"/>
            <p:nvPr/>
          </p:nvSpPr>
          <p:spPr>
            <a:xfrm>
              <a:off x="4186329" y="1550503"/>
              <a:ext cx="7572598" cy="461665"/>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Long-term remuneration systems for nuclear electricity should be implemented to encourage investments  </a:t>
              </a:r>
              <a:r>
                <a:rPr kumimoji="0" lang="en-GB"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in this industry.</a:t>
              </a:r>
              <a:endParaRPr kumimoji="0" lang="en-US" sz="15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grpSp>
          <p:nvGrpSpPr>
            <p:cNvPr id="3" name="Groupe 2">
              <a:extLst>
                <a:ext uri="{FF2B5EF4-FFF2-40B4-BE49-F238E27FC236}">
                  <a16:creationId xmlns:a16="http://schemas.microsoft.com/office/drawing/2014/main" id="{6BA6E3F0-5708-4B63-AF43-2D33CCCE7A47}"/>
                </a:ext>
              </a:extLst>
            </p:cNvPr>
            <p:cNvGrpSpPr/>
            <p:nvPr/>
          </p:nvGrpSpPr>
          <p:grpSpPr>
            <a:xfrm>
              <a:off x="3255255" y="1405544"/>
              <a:ext cx="785778" cy="751582"/>
              <a:chOff x="3255255" y="1405544"/>
              <a:chExt cx="785778" cy="751582"/>
            </a:xfrm>
          </p:grpSpPr>
          <p:sp>
            <p:nvSpPr>
              <p:cNvPr id="15" name="Freeform 215">
                <a:extLst>
                  <a:ext uri="{FF2B5EF4-FFF2-40B4-BE49-F238E27FC236}">
                    <a16:creationId xmlns:a16="http://schemas.microsoft.com/office/drawing/2014/main" id="{26231F62-2E68-80D4-F795-D5C8756A6243}"/>
                  </a:ext>
                </a:extLst>
              </p:cNvPr>
              <p:cNvSpPr/>
              <p:nvPr/>
            </p:nvSpPr>
            <p:spPr>
              <a:xfrm>
                <a:off x="3255255" y="1405544"/>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3" name="Graphic 1293">
                <a:extLst>
                  <a:ext uri="{FF2B5EF4-FFF2-40B4-BE49-F238E27FC236}">
                    <a16:creationId xmlns:a16="http://schemas.microsoft.com/office/drawing/2014/main" id="{E47BD743-34D0-15C3-A94B-0EF972F2EB9F}"/>
                  </a:ext>
                </a:extLst>
              </p:cNvPr>
              <p:cNvGrpSpPr/>
              <p:nvPr/>
            </p:nvGrpSpPr>
            <p:grpSpPr>
              <a:xfrm>
                <a:off x="3435625" y="1526678"/>
                <a:ext cx="430067" cy="509314"/>
                <a:chOff x="4878362" y="5360947"/>
                <a:chExt cx="882178" cy="1044733"/>
              </a:xfrm>
              <a:solidFill>
                <a:schemeClr val="accent4"/>
              </a:solidFill>
            </p:grpSpPr>
            <p:sp>
              <p:nvSpPr>
                <p:cNvPr id="24" name="Freeform 23">
                  <a:extLst>
                    <a:ext uri="{FF2B5EF4-FFF2-40B4-BE49-F238E27FC236}">
                      <a16:creationId xmlns:a16="http://schemas.microsoft.com/office/drawing/2014/main" id="{EA4FD971-AB2C-D46A-5423-C801B61EEC51}"/>
                    </a:ext>
                  </a:extLst>
                </p:cNvPr>
                <p:cNvSpPr/>
                <p:nvPr/>
              </p:nvSpPr>
              <p:spPr>
                <a:xfrm>
                  <a:off x="5298923" y="5427352"/>
                  <a:ext cx="461617" cy="978327"/>
                </a:xfrm>
                <a:custGeom>
                  <a:avLst/>
                  <a:gdLst>
                    <a:gd name="connsiteX0" fmla="*/ 366395 w 461617"/>
                    <a:gd name="connsiteY0" fmla="*/ 0 h 978327"/>
                    <a:gd name="connsiteX1" fmla="*/ 241613 w 461617"/>
                    <a:gd name="connsiteY1" fmla="*/ 0 h 978327"/>
                    <a:gd name="connsiteX2" fmla="*/ 228754 w 461617"/>
                    <a:gd name="connsiteY2" fmla="*/ 12859 h 978327"/>
                    <a:gd name="connsiteX3" fmla="*/ 241613 w 461617"/>
                    <a:gd name="connsiteY3" fmla="*/ 25718 h 978327"/>
                    <a:gd name="connsiteX4" fmla="*/ 366395 w 461617"/>
                    <a:gd name="connsiteY4" fmla="*/ 25718 h 978327"/>
                    <a:gd name="connsiteX5" fmla="*/ 435935 w 461617"/>
                    <a:gd name="connsiteY5" fmla="*/ 95258 h 978327"/>
                    <a:gd name="connsiteX6" fmla="*/ 435935 w 461617"/>
                    <a:gd name="connsiteY6" fmla="*/ 814696 h 978327"/>
                    <a:gd name="connsiteX7" fmla="*/ 366395 w 461617"/>
                    <a:gd name="connsiteY7" fmla="*/ 884236 h 978327"/>
                    <a:gd name="connsiteX8" fmla="*/ 43417 w 461617"/>
                    <a:gd name="connsiteY8" fmla="*/ 884236 h 978327"/>
                    <a:gd name="connsiteX9" fmla="*/ 81685 w 461617"/>
                    <a:gd name="connsiteY9" fmla="*/ 843431 h 978327"/>
                    <a:gd name="connsiteX10" fmla="*/ 81102 w 461617"/>
                    <a:gd name="connsiteY10" fmla="*/ 825257 h 978327"/>
                    <a:gd name="connsiteX11" fmla="*/ 62928 w 461617"/>
                    <a:gd name="connsiteY11" fmla="*/ 825840 h 978327"/>
                    <a:gd name="connsiteX12" fmla="*/ 3469 w 461617"/>
                    <a:gd name="connsiteY12" fmla="*/ 889277 h 978327"/>
                    <a:gd name="connsiteX13" fmla="*/ 3195 w 461617"/>
                    <a:gd name="connsiteY13" fmla="*/ 906559 h 978327"/>
                    <a:gd name="connsiteX14" fmla="*/ 62654 w 461617"/>
                    <a:gd name="connsiteY14" fmla="*/ 973973 h 978327"/>
                    <a:gd name="connsiteX15" fmla="*/ 72289 w 461617"/>
                    <a:gd name="connsiteY15" fmla="*/ 978328 h 978327"/>
                    <a:gd name="connsiteX16" fmla="*/ 80793 w 461617"/>
                    <a:gd name="connsiteY16" fmla="*/ 975105 h 978327"/>
                    <a:gd name="connsiteX17" fmla="*/ 81925 w 461617"/>
                    <a:gd name="connsiteY17" fmla="*/ 956965 h 978327"/>
                    <a:gd name="connsiteX18" fmla="*/ 40399 w 461617"/>
                    <a:gd name="connsiteY18" fmla="*/ 909919 h 978327"/>
                    <a:gd name="connsiteX19" fmla="*/ 366395 w 461617"/>
                    <a:gd name="connsiteY19" fmla="*/ 909919 h 978327"/>
                    <a:gd name="connsiteX20" fmla="*/ 461618 w 461617"/>
                    <a:gd name="connsiteY20" fmla="*/ 814696 h 978327"/>
                    <a:gd name="connsiteX21" fmla="*/ 461618 w 461617"/>
                    <a:gd name="connsiteY21" fmla="*/ 95258 h 978327"/>
                    <a:gd name="connsiteX22" fmla="*/ 366395 w 461617"/>
                    <a:gd name="connsiteY22" fmla="*/ 34 h 97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1617" h="978327">
                      <a:moveTo>
                        <a:pt x="366395" y="0"/>
                      </a:moveTo>
                      <a:lnTo>
                        <a:pt x="241613" y="0"/>
                      </a:lnTo>
                      <a:cubicBezTo>
                        <a:pt x="234515" y="0"/>
                        <a:pt x="228754" y="5760"/>
                        <a:pt x="228754" y="12859"/>
                      </a:cubicBezTo>
                      <a:cubicBezTo>
                        <a:pt x="228754" y="19957"/>
                        <a:pt x="234515" y="25718"/>
                        <a:pt x="241613" y="25718"/>
                      </a:cubicBezTo>
                      <a:lnTo>
                        <a:pt x="366395" y="25718"/>
                      </a:lnTo>
                      <a:cubicBezTo>
                        <a:pt x="404731" y="25718"/>
                        <a:pt x="435935" y="56921"/>
                        <a:pt x="435935" y="95258"/>
                      </a:cubicBezTo>
                      <a:lnTo>
                        <a:pt x="435935" y="814696"/>
                      </a:lnTo>
                      <a:cubicBezTo>
                        <a:pt x="435935" y="853032"/>
                        <a:pt x="404731" y="884236"/>
                        <a:pt x="366395" y="884236"/>
                      </a:cubicBezTo>
                      <a:lnTo>
                        <a:pt x="43417" y="884236"/>
                      </a:lnTo>
                      <a:lnTo>
                        <a:pt x="81685" y="843431"/>
                      </a:lnTo>
                      <a:cubicBezTo>
                        <a:pt x="86554" y="838253"/>
                        <a:pt x="86280" y="830127"/>
                        <a:pt x="81102" y="825257"/>
                      </a:cubicBezTo>
                      <a:cubicBezTo>
                        <a:pt x="75924" y="820388"/>
                        <a:pt x="67797" y="820662"/>
                        <a:pt x="62928" y="825840"/>
                      </a:cubicBezTo>
                      <a:lnTo>
                        <a:pt x="3469" y="889277"/>
                      </a:lnTo>
                      <a:cubicBezTo>
                        <a:pt x="-1057" y="894112"/>
                        <a:pt x="-1160" y="901587"/>
                        <a:pt x="3195" y="906559"/>
                      </a:cubicBezTo>
                      <a:lnTo>
                        <a:pt x="62654" y="973973"/>
                      </a:lnTo>
                      <a:cubicBezTo>
                        <a:pt x="65191" y="976854"/>
                        <a:pt x="68723" y="978328"/>
                        <a:pt x="72289" y="978328"/>
                      </a:cubicBezTo>
                      <a:cubicBezTo>
                        <a:pt x="75307" y="978328"/>
                        <a:pt x="78359" y="977265"/>
                        <a:pt x="80793" y="975105"/>
                      </a:cubicBezTo>
                      <a:cubicBezTo>
                        <a:pt x="86108" y="970407"/>
                        <a:pt x="86622" y="962280"/>
                        <a:pt x="81925" y="956965"/>
                      </a:cubicBezTo>
                      <a:lnTo>
                        <a:pt x="40399" y="909919"/>
                      </a:lnTo>
                      <a:lnTo>
                        <a:pt x="366395" y="909919"/>
                      </a:lnTo>
                      <a:cubicBezTo>
                        <a:pt x="418893" y="909919"/>
                        <a:pt x="461618" y="867194"/>
                        <a:pt x="461618" y="814696"/>
                      </a:cubicBezTo>
                      <a:lnTo>
                        <a:pt x="461618" y="95258"/>
                      </a:lnTo>
                      <a:cubicBezTo>
                        <a:pt x="461618" y="42760"/>
                        <a:pt x="418893" y="34"/>
                        <a:pt x="366395" y="34"/>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39" name="Freeform 38">
                  <a:extLst>
                    <a:ext uri="{FF2B5EF4-FFF2-40B4-BE49-F238E27FC236}">
                      <a16:creationId xmlns:a16="http://schemas.microsoft.com/office/drawing/2014/main" id="{676774F6-0F15-2AD8-2878-C0544781AA03}"/>
                    </a:ext>
                  </a:extLst>
                </p:cNvPr>
                <p:cNvSpPr/>
                <p:nvPr/>
              </p:nvSpPr>
              <p:spPr>
                <a:xfrm>
                  <a:off x="4878362" y="5360947"/>
                  <a:ext cx="497579" cy="976324"/>
                </a:xfrm>
                <a:custGeom>
                  <a:avLst/>
                  <a:gdLst>
                    <a:gd name="connsiteX0" fmla="*/ 209478 w 497579"/>
                    <a:gd name="connsiteY0" fmla="*/ 950642 h 976324"/>
                    <a:gd name="connsiteX1" fmla="*/ 95258 w 497579"/>
                    <a:gd name="connsiteY1" fmla="*/ 950642 h 976324"/>
                    <a:gd name="connsiteX2" fmla="*/ 25718 w 497579"/>
                    <a:gd name="connsiteY2" fmla="*/ 881101 h 976324"/>
                    <a:gd name="connsiteX3" fmla="*/ 25718 w 497579"/>
                    <a:gd name="connsiteY3" fmla="*/ 161663 h 976324"/>
                    <a:gd name="connsiteX4" fmla="*/ 95258 w 497579"/>
                    <a:gd name="connsiteY4" fmla="*/ 92123 h 976324"/>
                    <a:gd name="connsiteX5" fmla="*/ 453622 w 497579"/>
                    <a:gd name="connsiteY5" fmla="*/ 92123 h 976324"/>
                    <a:gd name="connsiteX6" fmla="*/ 415595 w 497579"/>
                    <a:gd name="connsiteY6" fmla="*/ 135191 h 976324"/>
                    <a:gd name="connsiteX7" fmla="*/ 416726 w 497579"/>
                    <a:gd name="connsiteY7" fmla="*/ 153330 h 976324"/>
                    <a:gd name="connsiteX8" fmla="*/ 425230 w 497579"/>
                    <a:gd name="connsiteY8" fmla="*/ 156553 h 976324"/>
                    <a:gd name="connsiteX9" fmla="*/ 434866 w 497579"/>
                    <a:gd name="connsiteY9" fmla="*/ 152199 h 976324"/>
                    <a:gd name="connsiteX10" fmla="*/ 494359 w 497579"/>
                    <a:gd name="connsiteY10" fmla="*/ 84785 h 976324"/>
                    <a:gd name="connsiteX11" fmla="*/ 494085 w 497579"/>
                    <a:gd name="connsiteY11" fmla="*/ 67502 h 976324"/>
                    <a:gd name="connsiteX12" fmla="*/ 434591 w 497579"/>
                    <a:gd name="connsiteY12" fmla="*/ 4066 h 976324"/>
                    <a:gd name="connsiteX13" fmla="*/ 416418 w 497579"/>
                    <a:gd name="connsiteY13" fmla="*/ 3483 h 976324"/>
                    <a:gd name="connsiteX14" fmla="*/ 415835 w 497579"/>
                    <a:gd name="connsiteY14" fmla="*/ 21657 h 976324"/>
                    <a:gd name="connsiteX15" fmla="*/ 458286 w 497579"/>
                    <a:gd name="connsiteY15" fmla="*/ 66920 h 976324"/>
                    <a:gd name="connsiteX16" fmla="*/ 454960 w 497579"/>
                    <a:gd name="connsiteY16" fmla="*/ 66440 h 976324"/>
                    <a:gd name="connsiteX17" fmla="*/ 95223 w 497579"/>
                    <a:gd name="connsiteY17" fmla="*/ 66440 h 976324"/>
                    <a:gd name="connsiteX18" fmla="*/ 0 w 497579"/>
                    <a:gd name="connsiteY18" fmla="*/ 161663 h 976324"/>
                    <a:gd name="connsiteX19" fmla="*/ 0 w 497579"/>
                    <a:gd name="connsiteY19" fmla="*/ 881101 h 976324"/>
                    <a:gd name="connsiteX20" fmla="*/ 95223 w 497579"/>
                    <a:gd name="connsiteY20" fmla="*/ 976325 h 976324"/>
                    <a:gd name="connsiteX21" fmla="*/ 209443 w 497579"/>
                    <a:gd name="connsiteY21" fmla="*/ 976325 h 976324"/>
                    <a:gd name="connsiteX22" fmla="*/ 222302 w 497579"/>
                    <a:gd name="connsiteY22" fmla="*/ 963466 h 976324"/>
                    <a:gd name="connsiteX23" fmla="*/ 209443 w 497579"/>
                    <a:gd name="connsiteY23" fmla="*/ 950607 h 97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7579" h="976324">
                      <a:moveTo>
                        <a:pt x="209478" y="950642"/>
                      </a:moveTo>
                      <a:lnTo>
                        <a:pt x="95258" y="950642"/>
                      </a:lnTo>
                      <a:cubicBezTo>
                        <a:pt x="56921" y="950642"/>
                        <a:pt x="25718" y="919438"/>
                        <a:pt x="25718" y="881101"/>
                      </a:cubicBezTo>
                      <a:lnTo>
                        <a:pt x="25718" y="161663"/>
                      </a:lnTo>
                      <a:cubicBezTo>
                        <a:pt x="25718" y="123327"/>
                        <a:pt x="56921" y="92123"/>
                        <a:pt x="95258" y="92123"/>
                      </a:cubicBezTo>
                      <a:lnTo>
                        <a:pt x="453622" y="92123"/>
                      </a:lnTo>
                      <a:lnTo>
                        <a:pt x="415595" y="135191"/>
                      </a:lnTo>
                      <a:cubicBezTo>
                        <a:pt x="410897" y="140506"/>
                        <a:pt x="411411" y="148633"/>
                        <a:pt x="416726" y="153330"/>
                      </a:cubicBezTo>
                      <a:cubicBezTo>
                        <a:pt x="419161" y="155491"/>
                        <a:pt x="422213" y="156553"/>
                        <a:pt x="425230" y="156553"/>
                      </a:cubicBezTo>
                      <a:cubicBezTo>
                        <a:pt x="428796" y="156553"/>
                        <a:pt x="432328" y="155079"/>
                        <a:pt x="434866" y="152199"/>
                      </a:cubicBezTo>
                      <a:lnTo>
                        <a:pt x="494359" y="84785"/>
                      </a:lnTo>
                      <a:cubicBezTo>
                        <a:pt x="498748" y="79812"/>
                        <a:pt x="498645" y="72337"/>
                        <a:pt x="494085" y="67502"/>
                      </a:cubicBezTo>
                      <a:lnTo>
                        <a:pt x="434591" y="4066"/>
                      </a:lnTo>
                      <a:cubicBezTo>
                        <a:pt x="429756" y="-1112"/>
                        <a:pt x="421595" y="-1386"/>
                        <a:pt x="416418" y="3483"/>
                      </a:cubicBezTo>
                      <a:cubicBezTo>
                        <a:pt x="411240" y="8352"/>
                        <a:pt x="410966" y="16479"/>
                        <a:pt x="415835" y="21657"/>
                      </a:cubicBezTo>
                      <a:lnTo>
                        <a:pt x="458286" y="66920"/>
                      </a:lnTo>
                      <a:cubicBezTo>
                        <a:pt x="457223" y="66645"/>
                        <a:pt x="456125" y="66440"/>
                        <a:pt x="454960" y="66440"/>
                      </a:cubicBezTo>
                      <a:lnTo>
                        <a:pt x="95223" y="66440"/>
                      </a:lnTo>
                      <a:cubicBezTo>
                        <a:pt x="42725" y="66440"/>
                        <a:pt x="0" y="109165"/>
                        <a:pt x="0" y="161663"/>
                      </a:cubicBezTo>
                      <a:lnTo>
                        <a:pt x="0" y="881101"/>
                      </a:lnTo>
                      <a:cubicBezTo>
                        <a:pt x="0" y="933599"/>
                        <a:pt x="42725" y="976325"/>
                        <a:pt x="95223" y="976325"/>
                      </a:cubicBezTo>
                      <a:lnTo>
                        <a:pt x="209443" y="976325"/>
                      </a:lnTo>
                      <a:cubicBezTo>
                        <a:pt x="216541" y="976325"/>
                        <a:pt x="222302" y="970564"/>
                        <a:pt x="222302" y="963466"/>
                      </a:cubicBezTo>
                      <a:cubicBezTo>
                        <a:pt x="222302" y="956368"/>
                        <a:pt x="216541" y="950607"/>
                        <a:pt x="209443" y="950607"/>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43" name="Freeform 42">
                  <a:extLst>
                    <a:ext uri="{FF2B5EF4-FFF2-40B4-BE49-F238E27FC236}">
                      <a16:creationId xmlns:a16="http://schemas.microsoft.com/office/drawing/2014/main" id="{D47649EC-51B8-FE03-A198-B74B1362BDAD}"/>
                    </a:ext>
                  </a:extLst>
                </p:cNvPr>
                <p:cNvSpPr/>
                <p:nvPr/>
              </p:nvSpPr>
              <p:spPr>
                <a:xfrm>
                  <a:off x="5015764" y="5579668"/>
                  <a:ext cx="607374" cy="607342"/>
                </a:xfrm>
                <a:custGeom>
                  <a:avLst/>
                  <a:gdLst>
                    <a:gd name="connsiteX0" fmla="*/ 390012 w 607374"/>
                    <a:gd name="connsiteY0" fmla="*/ 594657 h 607342"/>
                    <a:gd name="connsiteX1" fmla="*/ 570481 w 607374"/>
                    <a:gd name="connsiteY1" fmla="*/ 448410 h 607342"/>
                    <a:gd name="connsiteX2" fmla="*/ 594690 w 607374"/>
                    <a:gd name="connsiteY2" fmla="*/ 217364 h 607342"/>
                    <a:gd name="connsiteX3" fmla="*/ 448443 w 607374"/>
                    <a:gd name="connsiteY3" fmla="*/ 36862 h 607342"/>
                    <a:gd name="connsiteX4" fmla="*/ 304082 w 607374"/>
                    <a:gd name="connsiteY4" fmla="*/ 0 h 607342"/>
                    <a:gd name="connsiteX5" fmla="*/ 217362 w 607374"/>
                    <a:gd name="connsiteY5" fmla="*/ 12653 h 607342"/>
                    <a:gd name="connsiteX6" fmla="*/ 36894 w 607374"/>
                    <a:gd name="connsiteY6" fmla="*/ 158934 h 607342"/>
                    <a:gd name="connsiteX7" fmla="*/ 12685 w 607374"/>
                    <a:gd name="connsiteY7" fmla="*/ 389981 h 607342"/>
                    <a:gd name="connsiteX8" fmla="*/ 158932 w 607374"/>
                    <a:gd name="connsiteY8" fmla="*/ 570449 h 607342"/>
                    <a:gd name="connsiteX9" fmla="*/ 390012 w 607374"/>
                    <a:gd name="connsiteY9" fmla="*/ 594657 h 607342"/>
                    <a:gd name="connsiteX10" fmla="*/ 535573 w 607374"/>
                    <a:gd name="connsiteY10" fmla="*/ 301992 h 607342"/>
                    <a:gd name="connsiteX11" fmla="*/ 507456 w 607374"/>
                    <a:gd name="connsiteY11" fmla="*/ 414258 h 607342"/>
                    <a:gd name="connsiteX12" fmla="*/ 434658 w 607374"/>
                    <a:gd name="connsiteY12" fmla="*/ 495045 h 607342"/>
                    <a:gd name="connsiteX13" fmla="*/ 350442 w 607374"/>
                    <a:gd name="connsiteY13" fmla="*/ 357748 h 607342"/>
                    <a:gd name="connsiteX14" fmla="*/ 350682 w 607374"/>
                    <a:gd name="connsiteY14" fmla="*/ 357542 h 607342"/>
                    <a:gd name="connsiteX15" fmla="*/ 354728 w 607374"/>
                    <a:gd name="connsiteY15" fmla="*/ 353701 h 607342"/>
                    <a:gd name="connsiteX16" fmla="*/ 355620 w 607374"/>
                    <a:gd name="connsiteY16" fmla="*/ 352776 h 607342"/>
                    <a:gd name="connsiteX17" fmla="*/ 359049 w 607374"/>
                    <a:gd name="connsiteY17" fmla="*/ 348901 h 607342"/>
                    <a:gd name="connsiteX18" fmla="*/ 359426 w 607374"/>
                    <a:gd name="connsiteY18" fmla="*/ 348455 h 607342"/>
                    <a:gd name="connsiteX19" fmla="*/ 362752 w 607374"/>
                    <a:gd name="connsiteY19" fmla="*/ 343895 h 607342"/>
                    <a:gd name="connsiteX20" fmla="*/ 363506 w 607374"/>
                    <a:gd name="connsiteY20" fmla="*/ 342763 h 607342"/>
                    <a:gd name="connsiteX21" fmla="*/ 366489 w 607374"/>
                    <a:gd name="connsiteY21" fmla="*/ 337791 h 607342"/>
                    <a:gd name="connsiteX22" fmla="*/ 368615 w 607374"/>
                    <a:gd name="connsiteY22" fmla="*/ 333505 h 607342"/>
                    <a:gd name="connsiteX23" fmla="*/ 369198 w 607374"/>
                    <a:gd name="connsiteY23" fmla="*/ 332167 h 607342"/>
                    <a:gd name="connsiteX24" fmla="*/ 370467 w 607374"/>
                    <a:gd name="connsiteY24" fmla="*/ 329081 h 607342"/>
                    <a:gd name="connsiteX25" fmla="*/ 371016 w 607374"/>
                    <a:gd name="connsiteY25" fmla="*/ 327538 h 607342"/>
                    <a:gd name="connsiteX26" fmla="*/ 372044 w 607374"/>
                    <a:gd name="connsiteY26" fmla="*/ 324384 h 607342"/>
                    <a:gd name="connsiteX27" fmla="*/ 372456 w 607374"/>
                    <a:gd name="connsiteY27" fmla="*/ 323012 h 607342"/>
                    <a:gd name="connsiteX28" fmla="*/ 373622 w 607374"/>
                    <a:gd name="connsiteY28" fmla="*/ 318451 h 607342"/>
                    <a:gd name="connsiteX29" fmla="*/ 373690 w 607374"/>
                    <a:gd name="connsiteY29" fmla="*/ 318040 h 607342"/>
                    <a:gd name="connsiteX30" fmla="*/ 374410 w 607374"/>
                    <a:gd name="connsiteY30" fmla="*/ 313822 h 607342"/>
                    <a:gd name="connsiteX31" fmla="*/ 374616 w 607374"/>
                    <a:gd name="connsiteY31" fmla="*/ 312279 h 607342"/>
                    <a:gd name="connsiteX32" fmla="*/ 374925 w 607374"/>
                    <a:gd name="connsiteY32" fmla="*/ 309056 h 607342"/>
                    <a:gd name="connsiteX33" fmla="*/ 375028 w 607374"/>
                    <a:gd name="connsiteY33" fmla="*/ 307376 h 607342"/>
                    <a:gd name="connsiteX34" fmla="*/ 375131 w 607374"/>
                    <a:gd name="connsiteY34" fmla="*/ 306244 h 607342"/>
                    <a:gd name="connsiteX35" fmla="*/ 535608 w 607374"/>
                    <a:gd name="connsiteY35" fmla="*/ 301992 h 607342"/>
                    <a:gd name="connsiteX36" fmla="*/ 407157 w 607374"/>
                    <a:gd name="connsiteY36" fmla="*/ 96184 h 607342"/>
                    <a:gd name="connsiteX37" fmla="*/ 330485 w 607374"/>
                    <a:gd name="connsiteY37" fmla="*/ 237458 h 607342"/>
                    <a:gd name="connsiteX38" fmla="*/ 330176 w 607374"/>
                    <a:gd name="connsiteY38" fmla="*/ 237356 h 607342"/>
                    <a:gd name="connsiteX39" fmla="*/ 324484 w 607374"/>
                    <a:gd name="connsiteY39" fmla="*/ 235332 h 607342"/>
                    <a:gd name="connsiteX40" fmla="*/ 323181 w 607374"/>
                    <a:gd name="connsiteY40" fmla="*/ 234989 h 607342"/>
                    <a:gd name="connsiteX41" fmla="*/ 317729 w 607374"/>
                    <a:gd name="connsiteY41" fmla="*/ 233652 h 607342"/>
                    <a:gd name="connsiteX42" fmla="*/ 317112 w 607374"/>
                    <a:gd name="connsiteY42" fmla="*/ 233515 h 607342"/>
                    <a:gd name="connsiteX43" fmla="*/ 311180 w 607374"/>
                    <a:gd name="connsiteY43" fmla="*/ 232658 h 607342"/>
                    <a:gd name="connsiteX44" fmla="*/ 309774 w 607374"/>
                    <a:gd name="connsiteY44" fmla="*/ 232521 h 607342"/>
                    <a:gd name="connsiteX45" fmla="*/ 303739 w 607374"/>
                    <a:gd name="connsiteY45" fmla="*/ 232247 h 607342"/>
                    <a:gd name="connsiteX46" fmla="*/ 303362 w 607374"/>
                    <a:gd name="connsiteY46" fmla="*/ 232247 h 607342"/>
                    <a:gd name="connsiteX47" fmla="*/ 297601 w 607374"/>
                    <a:gd name="connsiteY47" fmla="*/ 232521 h 607342"/>
                    <a:gd name="connsiteX48" fmla="*/ 296264 w 607374"/>
                    <a:gd name="connsiteY48" fmla="*/ 232658 h 607342"/>
                    <a:gd name="connsiteX49" fmla="*/ 290331 w 607374"/>
                    <a:gd name="connsiteY49" fmla="*/ 233515 h 607342"/>
                    <a:gd name="connsiteX50" fmla="*/ 289406 w 607374"/>
                    <a:gd name="connsiteY50" fmla="*/ 233721 h 607342"/>
                    <a:gd name="connsiteX51" fmla="*/ 284091 w 607374"/>
                    <a:gd name="connsiteY51" fmla="*/ 235024 h 607342"/>
                    <a:gd name="connsiteX52" fmla="*/ 282993 w 607374"/>
                    <a:gd name="connsiteY52" fmla="*/ 235332 h 607342"/>
                    <a:gd name="connsiteX53" fmla="*/ 277233 w 607374"/>
                    <a:gd name="connsiteY53" fmla="*/ 237356 h 607342"/>
                    <a:gd name="connsiteX54" fmla="*/ 276787 w 607374"/>
                    <a:gd name="connsiteY54" fmla="*/ 237527 h 607342"/>
                    <a:gd name="connsiteX55" fmla="*/ 192571 w 607374"/>
                    <a:gd name="connsiteY55" fmla="*/ 100230 h 607342"/>
                    <a:gd name="connsiteX56" fmla="*/ 407192 w 607374"/>
                    <a:gd name="connsiteY56" fmla="*/ 96184 h 607342"/>
                    <a:gd name="connsiteX57" fmla="*/ 186158 w 607374"/>
                    <a:gd name="connsiteY57" fmla="*/ 503515 h 607342"/>
                    <a:gd name="connsiteX58" fmla="*/ 72110 w 607374"/>
                    <a:gd name="connsiteY58" fmla="*/ 314268 h 607342"/>
                    <a:gd name="connsiteX59" fmla="*/ 232553 w 607374"/>
                    <a:gd name="connsiteY59" fmla="*/ 310016 h 607342"/>
                    <a:gd name="connsiteX60" fmla="*/ 232690 w 607374"/>
                    <a:gd name="connsiteY60" fmla="*/ 310908 h 607342"/>
                    <a:gd name="connsiteX61" fmla="*/ 232861 w 607374"/>
                    <a:gd name="connsiteY61" fmla="*/ 312485 h 607342"/>
                    <a:gd name="connsiteX62" fmla="*/ 233307 w 607374"/>
                    <a:gd name="connsiteY62" fmla="*/ 315537 h 607342"/>
                    <a:gd name="connsiteX63" fmla="*/ 233547 w 607374"/>
                    <a:gd name="connsiteY63" fmla="*/ 317046 h 607342"/>
                    <a:gd name="connsiteX64" fmla="*/ 234301 w 607374"/>
                    <a:gd name="connsiteY64" fmla="*/ 320543 h 607342"/>
                    <a:gd name="connsiteX65" fmla="*/ 234542 w 607374"/>
                    <a:gd name="connsiteY65" fmla="*/ 321434 h 607342"/>
                    <a:gd name="connsiteX66" fmla="*/ 235776 w 607374"/>
                    <a:gd name="connsiteY66" fmla="*/ 325721 h 607342"/>
                    <a:gd name="connsiteX67" fmla="*/ 236187 w 607374"/>
                    <a:gd name="connsiteY67" fmla="*/ 326887 h 607342"/>
                    <a:gd name="connsiteX68" fmla="*/ 237285 w 607374"/>
                    <a:gd name="connsiteY68" fmla="*/ 329939 h 607342"/>
                    <a:gd name="connsiteX69" fmla="*/ 237902 w 607374"/>
                    <a:gd name="connsiteY69" fmla="*/ 331379 h 607342"/>
                    <a:gd name="connsiteX70" fmla="*/ 239136 w 607374"/>
                    <a:gd name="connsiteY70" fmla="*/ 334156 h 607342"/>
                    <a:gd name="connsiteX71" fmla="*/ 239788 w 607374"/>
                    <a:gd name="connsiteY71" fmla="*/ 335494 h 607342"/>
                    <a:gd name="connsiteX72" fmla="*/ 241537 w 607374"/>
                    <a:gd name="connsiteY72" fmla="*/ 338785 h 607342"/>
                    <a:gd name="connsiteX73" fmla="*/ 241880 w 607374"/>
                    <a:gd name="connsiteY73" fmla="*/ 339437 h 607342"/>
                    <a:gd name="connsiteX74" fmla="*/ 244177 w 607374"/>
                    <a:gd name="connsiteY74" fmla="*/ 343175 h 607342"/>
                    <a:gd name="connsiteX75" fmla="*/ 244931 w 607374"/>
                    <a:gd name="connsiteY75" fmla="*/ 344272 h 607342"/>
                    <a:gd name="connsiteX76" fmla="*/ 246749 w 607374"/>
                    <a:gd name="connsiteY76" fmla="*/ 346843 h 607342"/>
                    <a:gd name="connsiteX77" fmla="*/ 247709 w 607374"/>
                    <a:gd name="connsiteY77" fmla="*/ 348078 h 607342"/>
                    <a:gd name="connsiteX78" fmla="*/ 249664 w 607374"/>
                    <a:gd name="connsiteY78" fmla="*/ 350410 h 607342"/>
                    <a:gd name="connsiteX79" fmla="*/ 250624 w 607374"/>
                    <a:gd name="connsiteY79" fmla="*/ 351541 h 607342"/>
                    <a:gd name="connsiteX80" fmla="*/ 253401 w 607374"/>
                    <a:gd name="connsiteY80" fmla="*/ 354456 h 607342"/>
                    <a:gd name="connsiteX81" fmla="*/ 253675 w 607374"/>
                    <a:gd name="connsiteY81" fmla="*/ 354730 h 607342"/>
                    <a:gd name="connsiteX82" fmla="*/ 256967 w 607374"/>
                    <a:gd name="connsiteY82" fmla="*/ 357748 h 607342"/>
                    <a:gd name="connsiteX83" fmla="*/ 258030 w 607374"/>
                    <a:gd name="connsiteY83" fmla="*/ 358639 h 607342"/>
                    <a:gd name="connsiteX84" fmla="*/ 260533 w 607374"/>
                    <a:gd name="connsiteY84" fmla="*/ 360594 h 607342"/>
                    <a:gd name="connsiteX85" fmla="*/ 261802 w 607374"/>
                    <a:gd name="connsiteY85" fmla="*/ 361554 h 607342"/>
                    <a:gd name="connsiteX86" fmla="*/ 262762 w 607374"/>
                    <a:gd name="connsiteY86" fmla="*/ 362274 h 607342"/>
                    <a:gd name="connsiteX87" fmla="*/ 186124 w 607374"/>
                    <a:gd name="connsiteY87" fmla="*/ 503549 h 607342"/>
                    <a:gd name="connsiteX88" fmla="*/ 270717 w 607374"/>
                    <a:gd name="connsiteY88" fmla="*/ 348181 h 607342"/>
                    <a:gd name="connsiteX89" fmla="*/ 248360 w 607374"/>
                    <a:gd name="connsiteY89" fmla="*/ 301992 h 607342"/>
                    <a:gd name="connsiteX90" fmla="*/ 255013 w 607374"/>
                    <a:gd name="connsiteY90" fmla="*/ 277269 h 607342"/>
                    <a:gd name="connsiteX91" fmla="*/ 277473 w 607374"/>
                    <a:gd name="connsiteY91" fmla="*/ 254912 h 607342"/>
                    <a:gd name="connsiteX92" fmla="*/ 280627 w 607374"/>
                    <a:gd name="connsiteY92" fmla="*/ 253369 h 607342"/>
                    <a:gd name="connsiteX93" fmla="*/ 281999 w 607374"/>
                    <a:gd name="connsiteY93" fmla="*/ 252752 h 607342"/>
                    <a:gd name="connsiteX94" fmla="*/ 283782 w 607374"/>
                    <a:gd name="connsiteY94" fmla="*/ 251997 h 607342"/>
                    <a:gd name="connsiteX95" fmla="*/ 285051 w 607374"/>
                    <a:gd name="connsiteY95" fmla="*/ 251552 h 607342"/>
                    <a:gd name="connsiteX96" fmla="*/ 287005 w 607374"/>
                    <a:gd name="connsiteY96" fmla="*/ 250831 h 607342"/>
                    <a:gd name="connsiteX97" fmla="*/ 288343 w 607374"/>
                    <a:gd name="connsiteY97" fmla="*/ 250454 h 607342"/>
                    <a:gd name="connsiteX98" fmla="*/ 290297 w 607374"/>
                    <a:gd name="connsiteY98" fmla="*/ 249906 h 607342"/>
                    <a:gd name="connsiteX99" fmla="*/ 291977 w 607374"/>
                    <a:gd name="connsiteY99" fmla="*/ 249563 h 607342"/>
                    <a:gd name="connsiteX100" fmla="*/ 293623 w 607374"/>
                    <a:gd name="connsiteY100" fmla="*/ 249220 h 607342"/>
                    <a:gd name="connsiteX101" fmla="*/ 295372 w 607374"/>
                    <a:gd name="connsiteY101" fmla="*/ 248946 h 607342"/>
                    <a:gd name="connsiteX102" fmla="*/ 297018 w 607374"/>
                    <a:gd name="connsiteY102" fmla="*/ 248671 h 607342"/>
                    <a:gd name="connsiteX103" fmla="*/ 298835 w 607374"/>
                    <a:gd name="connsiteY103" fmla="*/ 248500 h 607342"/>
                    <a:gd name="connsiteX104" fmla="*/ 300378 w 607374"/>
                    <a:gd name="connsiteY104" fmla="*/ 248363 h 607342"/>
                    <a:gd name="connsiteX105" fmla="*/ 302299 w 607374"/>
                    <a:gd name="connsiteY105" fmla="*/ 248294 h 607342"/>
                    <a:gd name="connsiteX106" fmla="*/ 303739 w 607374"/>
                    <a:gd name="connsiteY106" fmla="*/ 248294 h 607342"/>
                    <a:gd name="connsiteX107" fmla="*/ 305933 w 607374"/>
                    <a:gd name="connsiteY107" fmla="*/ 248363 h 607342"/>
                    <a:gd name="connsiteX108" fmla="*/ 307168 w 607374"/>
                    <a:gd name="connsiteY108" fmla="*/ 248363 h 607342"/>
                    <a:gd name="connsiteX109" fmla="*/ 309328 w 607374"/>
                    <a:gd name="connsiteY109" fmla="*/ 248568 h 607342"/>
                    <a:gd name="connsiteX110" fmla="*/ 310562 w 607374"/>
                    <a:gd name="connsiteY110" fmla="*/ 248705 h 607342"/>
                    <a:gd name="connsiteX111" fmla="*/ 312860 w 607374"/>
                    <a:gd name="connsiteY111" fmla="*/ 249048 h 607342"/>
                    <a:gd name="connsiteX112" fmla="*/ 313957 w 607374"/>
                    <a:gd name="connsiteY112" fmla="*/ 249220 h 607342"/>
                    <a:gd name="connsiteX113" fmla="*/ 316323 w 607374"/>
                    <a:gd name="connsiteY113" fmla="*/ 249734 h 607342"/>
                    <a:gd name="connsiteX114" fmla="*/ 317283 w 607374"/>
                    <a:gd name="connsiteY114" fmla="*/ 249974 h 607342"/>
                    <a:gd name="connsiteX115" fmla="*/ 319512 w 607374"/>
                    <a:gd name="connsiteY115" fmla="*/ 250626 h 607342"/>
                    <a:gd name="connsiteX116" fmla="*/ 320575 w 607374"/>
                    <a:gd name="connsiteY116" fmla="*/ 250900 h 607342"/>
                    <a:gd name="connsiteX117" fmla="*/ 322530 w 607374"/>
                    <a:gd name="connsiteY117" fmla="*/ 251620 h 607342"/>
                    <a:gd name="connsiteX118" fmla="*/ 323833 w 607374"/>
                    <a:gd name="connsiteY118" fmla="*/ 252066 h 607342"/>
                    <a:gd name="connsiteX119" fmla="*/ 325616 w 607374"/>
                    <a:gd name="connsiteY119" fmla="*/ 252821 h 607342"/>
                    <a:gd name="connsiteX120" fmla="*/ 326987 w 607374"/>
                    <a:gd name="connsiteY120" fmla="*/ 253438 h 607342"/>
                    <a:gd name="connsiteX121" fmla="*/ 330108 w 607374"/>
                    <a:gd name="connsiteY121" fmla="*/ 255015 h 607342"/>
                    <a:gd name="connsiteX122" fmla="*/ 358877 w 607374"/>
                    <a:gd name="connsiteY122" fmla="*/ 299112 h 607342"/>
                    <a:gd name="connsiteX123" fmla="*/ 359083 w 607374"/>
                    <a:gd name="connsiteY123" fmla="*/ 303124 h 607342"/>
                    <a:gd name="connsiteX124" fmla="*/ 352396 w 607374"/>
                    <a:gd name="connsiteY124" fmla="*/ 330110 h 607342"/>
                    <a:gd name="connsiteX125" fmla="*/ 335251 w 607374"/>
                    <a:gd name="connsiteY125" fmla="*/ 349175 h 607342"/>
                    <a:gd name="connsiteX126" fmla="*/ 277301 w 607374"/>
                    <a:gd name="connsiteY126" fmla="*/ 352364 h 607342"/>
                    <a:gd name="connsiteX127" fmla="*/ 270717 w 607374"/>
                    <a:gd name="connsiteY127" fmla="*/ 348181 h 60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607374" h="607342">
                      <a:moveTo>
                        <a:pt x="390012" y="594657"/>
                      </a:moveTo>
                      <a:cubicBezTo>
                        <a:pt x="467748" y="571615"/>
                        <a:pt x="531836" y="519699"/>
                        <a:pt x="570481" y="448410"/>
                      </a:cubicBezTo>
                      <a:cubicBezTo>
                        <a:pt x="609160" y="377122"/>
                        <a:pt x="617767" y="295100"/>
                        <a:pt x="594690" y="217364"/>
                      </a:cubicBezTo>
                      <a:cubicBezTo>
                        <a:pt x="571612" y="139629"/>
                        <a:pt x="519697" y="75541"/>
                        <a:pt x="448443" y="36862"/>
                      </a:cubicBezTo>
                      <a:cubicBezTo>
                        <a:pt x="403385" y="12413"/>
                        <a:pt x="353974" y="0"/>
                        <a:pt x="304082" y="0"/>
                      </a:cubicBezTo>
                      <a:cubicBezTo>
                        <a:pt x="275072" y="0"/>
                        <a:pt x="245960" y="4184"/>
                        <a:pt x="217362" y="12653"/>
                      </a:cubicBezTo>
                      <a:cubicBezTo>
                        <a:pt x="139627" y="35730"/>
                        <a:pt x="75539" y="87645"/>
                        <a:pt x="36894" y="158934"/>
                      </a:cubicBezTo>
                      <a:cubicBezTo>
                        <a:pt x="-1785" y="230189"/>
                        <a:pt x="-10392" y="312245"/>
                        <a:pt x="12685" y="389981"/>
                      </a:cubicBezTo>
                      <a:cubicBezTo>
                        <a:pt x="35762" y="467716"/>
                        <a:pt x="87677" y="531804"/>
                        <a:pt x="158932" y="570449"/>
                      </a:cubicBezTo>
                      <a:cubicBezTo>
                        <a:pt x="230221" y="609128"/>
                        <a:pt x="312277" y="617734"/>
                        <a:pt x="390012" y="594657"/>
                      </a:cubicBezTo>
                      <a:close/>
                      <a:moveTo>
                        <a:pt x="535573" y="301992"/>
                      </a:moveTo>
                      <a:cubicBezTo>
                        <a:pt x="535882" y="341014"/>
                        <a:pt x="526212" y="379659"/>
                        <a:pt x="507456" y="414258"/>
                      </a:cubicBezTo>
                      <a:cubicBezTo>
                        <a:pt x="489933" y="446593"/>
                        <a:pt x="464833" y="474368"/>
                        <a:pt x="434658" y="495045"/>
                      </a:cubicBezTo>
                      <a:lnTo>
                        <a:pt x="350442" y="357748"/>
                      </a:lnTo>
                      <a:cubicBezTo>
                        <a:pt x="350442" y="357748"/>
                        <a:pt x="350579" y="357611"/>
                        <a:pt x="350682" y="357542"/>
                      </a:cubicBezTo>
                      <a:cubicBezTo>
                        <a:pt x="352088" y="356308"/>
                        <a:pt x="353459" y="355039"/>
                        <a:pt x="354728" y="353701"/>
                      </a:cubicBezTo>
                      <a:cubicBezTo>
                        <a:pt x="355037" y="353427"/>
                        <a:pt x="355345" y="353084"/>
                        <a:pt x="355620" y="352776"/>
                      </a:cubicBezTo>
                      <a:cubicBezTo>
                        <a:pt x="356820" y="351507"/>
                        <a:pt x="357951" y="350238"/>
                        <a:pt x="359049" y="348901"/>
                      </a:cubicBezTo>
                      <a:cubicBezTo>
                        <a:pt x="359186" y="348730"/>
                        <a:pt x="359289" y="348627"/>
                        <a:pt x="359426" y="348455"/>
                      </a:cubicBezTo>
                      <a:cubicBezTo>
                        <a:pt x="360626" y="346981"/>
                        <a:pt x="361723" y="345437"/>
                        <a:pt x="362752" y="343895"/>
                      </a:cubicBezTo>
                      <a:cubicBezTo>
                        <a:pt x="362992" y="343517"/>
                        <a:pt x="363266" y="343106"/>
                        <a:pt x="363506" y="342763"/>
                      </a:cubicBezTo>
                      <a:cubicBezTo>
                        <a:pt x="364569" y="341117"/>
                        <a:pt x="365564" y="339471"/>
                        <a:pt x="366489" y="337791"/>
                      </a:cubicBezTo>
                      <a:cubicBezTo>
                        <a:pt x="367244" y="336385"/>
                        <a:pt x="367930" y="334979"/>
                        <a:pt x="368615" y="333505"/>
                      </a:cubicBezTo>
                      <a:cubicBezTo>
                        <a:pt x="368821" y="333059"/>
                        <a:pt x="368993" y="332613"/>
                        <a:pt x="369198" y="332167"/>
                      </a:cubicBezTo>
                      <a:cubicBezTo>
                        <a:pt x="369644" y="331139"/>
                        <a:pt x="370056" y="330144"/>
                        <a:pt x="370467" y="329081"/>
                      </a:cubicBezTo>
                      <a:cubicBezTo>
                        <a:pt x="370673" y="328567"/>
                        <a:pt x="370810" y="328053"/>
                        <a:pt x="371016" y="327538"/>
                      </a:cubicBezTo>
                      <a:cubicBezTo>
                        <a:pt x="371393" y="326510"/>
                        <a:pt x="371736" y="325447"/>
                        <a:pt x="372044" y="324384"/>
                      </a:cubicBezTo>
                      <a:cubicBezTo>
                        <a:pt x="372216" y="323904"/>
                        <a:pt x="372319" y="323458"/>
                        <a:pt x="372456" y="323012"/>
                      </a:cubicBezTo>
                      <a:cubicBezTo>
                        <a:pt x="372902" y="321503"/>
                        <a:pt x="373279" y="319995"/>
                        <a:pt x="373622" y="318451"/>
                      </a:cubicBezTo>
                      <a:cubicBezTo>
                        <a:pt x="373622" y="318314"/>
                        <a:pt x="373622" y="318177"/>
                        <a:pt x="373690" y="318040"/>
                      </a:cubicBezTo>
                      <a:cubicBezTo>
                        <a:pt x="373965" y="316634"/>
                        <a:pt x="374205" y="315262"/>
                        <a:pt x="374410" y="313822"/>
                      </a:cubicBezTo>
                      <a:cubicBezTo>
                        <a:pt x="374513" y="313308"/>
                        <a:pt x="374548" y="312794"/>
                        <a:pt x="374616" y="312279"/>
                      </a:cubicBezTo>
                      <a:cubicBezTo>
                        <a:pt x="374753" y="311216"/>
                        <a:pt x="374856" y="310119"/>
                        <a:pt x="374925" y="309056"/>
                      </a:cubicBezTo>
                      <a:cubicBezTo>
                        <a:pt x="374925" y="308507"/>
                        <a:pt x="374993" y="307924"/>
                        <a:pt x="375028" y="307376"/>
                      </a:cubicBezTo>
                      <a:cubicBezTo>
                        <a:pt x="375028" y="306998"/>
                        <a:pt x="375096" y="306621"/>
                        <a:pt x="375131" y="306244"/>
                      </a:cubicBezTo>
                      <a:lnTo>
                        <a:pt x="535608" y="301992"/>
                      </a:lnTo>
                      <a:close/>
                      <a:moveTo>
                        <a:pt x="407157" y="96184"/>
                      </a:moveTo>
                      <a:lnTo>
                        <a:pt x="330485" y="237458"/>
                      </a:lnTo>
                      <a:cubicBezTo>
                        <a:pt x="330485" y="237458"/>
                        <a:pt x="330245" y="237390"/>
                        <a:pt x="330176" y="237356"/>
                      </a:cubicBezTo>
                      <a:cubicBezTo>
                        <a:pt x="328325" y="236601"/>
                        <a:pt x="326370" y="235950"/>
                        <a:pt x="324484" y="235332"/>
                      </a:cubicBezTo>
                      <a:cubicBezTo>
                        <a:pt x="324038" y="235195"/>
                        <a:pt x="323593" y="235092"/>
                        <a:pt x="323181" y="234989"/>
                      </a:cubicBezTo>
                      <a:cubicBezTo>
                        <a:pt x="321398" y="234475"/>
                        <a:pt x="319546" y="234029"/>
                        <a:pt x="317729" y="233652"/>
                      </a:cubicBezTo>
                      <a:cubicBezTo>
                        <a:pt x="317523" y="233652"/>
                        <a:pt x="317352" y="233550"/>
                        <a:pt x="317112" y="233515"/>
                      </a:cubicBezTo>
                      <a:cubicBezTo>
                        <a:pt x="315157" y="233138"/>
                        <a:pt x="313168" y="232864"/>
                        <a:pt x="311180" y="232658"/>
                      </a:cubicBezTo>
                      <a:cubicBezTo>
                        <a:pt x="310700" y="232658"/>
                        <a:pt x="310254" y="232555"/>
                        <a:pt x="309774" y="232521"/>
                      </a:cubicBezTo>
                      <a:cubicBezTo>
                        <a:pt x="307785" y="232349"/>
                        <a:pt x="305762" y="232247"/>
                        <a:pt x="303739" y="232247"/>
                      </a:cubicBezTo>
                      <a:cubicBezTo>
                        <a:pt x="303602" y="232247"/>
                        <a:pt x="303499" y="232247"/>
                        <a:pt x="303362" y="232247"/>
                      </a:cubicBezTo>
                      <a:cubicBezTo>
                        <a:pt x="301441" y="232247"/>
                        <a:pt x="299555" y="232383"/>
                        <a:pt x="297601" y="232521"/>
                      </a:cubicBezTo>
                      <a:cubicBezTo>
                        <a:pt x="297155" y="232521"/>
                        <a:pt x="296709" y="232589"/>
                        <a:pt x="296264" y="232658"/>
                      </a:cubicBezTo>
                      <a:cubicBezTo>
                        <a:pt x="294275" y="232864"/>
                        <a:pt x="292320" y="233138"/>
                        <a:pt x="290331" y="233515"/>
                      </a:cubicBezTo>
                      <a:cubicBezTo>
                        <a:pt x="290057" y="233583"/>
                        <a:pt x="289714" y="233652"/>
                        <a:pt x="289406" y="233721"/>
                      </a:cubicBezTo>
                      <a:cubicBezTo>
                        <a:pt x="287622" y="234098"/>
                        <a:pt x="285874" y="234509"/>
                        <a:pt x="284091" y="235024"/>
                      </a:cubicBezTo>
                      <a:cubicBezTo>
                        <a:pt x="283748" y="235127"/>
                        <a:pt x="283336" y="235230"/>
                        <a:pt x="282993" y="235332"/>
                      </a:cubicBezTo>
                      <a:cubicBezTo>
                        <a:pt x="281039" y="235915"/>
                        <a:pt x="279153" y="236601"/>
                        <a:pt x="277233" y="237356"/>
                      </a:cubicBezTo>
                      <a:cubicBezTo>
                        <a:pt x="277061" y="237424"/>
                        <a:pt x="276958" y="237458"/>
                        <a:pt x="276787" y="237527"/>
                      </a:cubicBezTo>
                      <a:lnTo>
                        <a:pt x="192571" y="100230"/>
                      </a:lnTo>
                      <a:cubicBezTo>
                        <a:pt x="258819" y="64088"/>
                        <a:pt x="339640" y="62579"/>
                        <a:pt x="407192" y="96184"/>
                      </a:cubicBezTo>
                      <a:close/>
                      <a:moveTo>
                        <a:pt x="186158" y="503515"/>
                      </a:moveTo>
                      <a:cubicBezTo>
                        <a:pt x="118710" y="463807"/>
                        <a:pt x="75745" y="392518"/>
                        <a:pt x="72110" y="314268"/>
                      </a:cubicBezTo>
                      <a:lnTo>
                        <a:pt x="232553" y="310016"/>
                      </a:lnTo>
                      <a:cubicBezTo>
                        <a:pt x="232553" y="310290"/>
                        <a:pt x="232656" y="310633"/>
                        <a:pt x="232690" y="310908"/>
                      </a:cubicBezTo>
                      <a:cubicBezTo>
                        <a:pt x="232690" y="311422"/>
                        <a:pt x="232793" y="311971"/>
                        <a:pt x="232861" y="312485"/>
                      </a:cubicBezTo>
                      <a:cubicBezTo>
                        <a:pt x="232998" y="313514"/>
                        <a:pt x="233136" y="314508"/>
                        <a:pt x="233307" y="315537"/>
                      </a:cubicBezTo>
                      <a:cubicBezTo>
                        <a:pt x="233410" y="316051"/>
                        <a:pt x="233479" y="316531"/>
                        <a:pt x="233547" y="317046"/>
                      </a:cubicBezTo>
                      <a:cubicBezTo>
                        <a:pt x="233787" y="318246"/>
                        <a:pt x="234027" y="319377"/>
                        <a:pt x="234301" y="320543"/>
                      </a:cubicBezTo>
                      <a:cubicBezTo>
                        <a:pt x="234404" y="320817"/>
                        <a:pt x="234439" y="321160"/>
                        <a:pt x="234542" y="321434"/>
                      </a:cubicBezTo>
                      <a:cubicBezTo>
                        <a:pt x="234884" y="322875"/>
                        <a:pt x="235296" y="324281"/>
                        <a:pt x="235776" y="325721"/>
                      </a:cubicBezTo>
                      <a:cubicBezTo>
                        <a:pt x="235913" y="326098"/>
                        <a:pt x="236050" y="326475"/>
                        <a:pt x="236187" y="326887"/>
                      </a:cubicBezTo>
                      <a:cubicBezTo>
                        <a:pt x="236530" y="327915"/>
                        <a:pt x="236908" y="328944"/>
                        <a:pt x="237285" y="329939"/>
                      </a:cubicBezTo>
                      <a:cubicBezTo>
                        <a:pt x="237490" y="330419"/>
                        <a:pt x="237696" y="330899"/>
                        <a:pt x="237902" y="331379"/>
                      </a:cubicBezTo>
                      <a:cubicBezTo>
                        <a:pt x="238279" y="332305"/>
                        <a:pt x="238691" y="333230"/>
                        <a:pt x="239136" y="334156"/>
                      </a:cubicBezTo>
                      <a:cubicBezTo>
                        <a:pt x="239377" y="334602"/>
                        <a:pt x="239548" y="335048"/>
                        <a:pt x="239788" y="335494"/>
                      </a:cubicBezTo>
                      <a:cubicBezTo>
                        <a:pt x="240337" y="336625"/>
                        <a:pt x="240919" y="337722"/>
                        <a:pt x="241537" y="338785"/>
                      </a:cubicBezTo>
                      <a:cubicBezTo>
                        <a:pt x="241674" y="339025"/>
                        <a:pt x="241777" y="339197"/>
                        <a:pt x="241880" y="339437"/>
                      </a:cubicBezTo>
                      <a:cubicBezTo>
                        <a:pt x="242634" y="340706"/>
                        <a:pt x="243388" y="341940"/>
                        <a:pt x="244177" y="343175"/>
                      </a:cubicBezTo>
                      <a:cubicBezTo>
                        <a:pt x="244417" y="343552"/>
                        <a:pt x="244691" y="343929"/>
                        <a:pt x="244931" y="344272"/>
                      </a:cubicBezTo>
                      <a:cubicBezTo>
                        <a:pt x="245514" y="345129"/>
                        <a:pt x="246132" y="346021"/>
                        <a:pt x="246749" y="346843"/>
                      </a:cubicBezTo>
                      <a:cubicBezTo>
                        <a:pt x="247057" y="347255"/>
                        <a:pt x="247400" y="347632"/>
                        <a:pt x="247709" y="348078"/>
                      </a:cubicBezTo>
                      <a:cubicBezTo>
                        <a:pt x="248360" y="348866"/>
                        <a:pt x="248978" y="349655"/>
                        <a:pt x="249664" y="350410"/>
                      </a:cubicBezTo>
                      <a:cubicBezTo>
                        <a:pt x="249972" y="350787"/>
                        <a:pt x="250315" y="351164"/>
                        <a:pt x="250624" y="351541"/>
                      </a:cubicBezTo>
                      <a:cubicBezTo>
                        <a:pt x="251515" y="352536"/>
                        <a:pt x="252441" y="353496"/>
                        <a:pt x="253401" y="354456"/>
                      </a:cubicBezTo>
                      <a:cubicBezTo>
                        <a:pt x="253504" y="354559"/>
                        <a:pt x="253607" y="354662"/>
                        <a:pt x="253675" y="354730"/>
                      </a:cubicBezTo>
                      <a:cubicBezTo>
                        <a:pt x="254738" y="355793"/>
                        <a:pt x="255870" y="356788"/>
                        <a:pt x="256967" y="357748"/>
                      </a:cubicBezTo>
                      <a:cubicBezTo>
                        <a:pt x="257310" y="358022"/>
                        <a:pt x="257687" y="358365"/>
                        <a:pt x="258030" y="358639"/>
                      </a:cubicBezTo>
                      <a:cubicBezTo>
                        <a:pt x="258853" y="359325"/>
                        <a:pt x="259676" y="359942"/>
                        <a:pt x="260533" y="360594"/>
                      </a:cubicBezTo>
                      <a:cubicBezTo>
                        <a:pt x="260945" y="360902"/>
                        <a:pt x="261356" y="361246"/>
                        <a:pt x="261802" y="361554"/>
                      </a:cubicBezTo>
                      <a:cubicBezTo>
                        <a:pt x="262111" y="361794"/>
                        <a:pt x="262454" y="362034"/>
                        <a:pt x="262762" y="362274"/>
                      </a:cubicBezTo>
                      <a:lnTo>
                        <a:pt x="186124" y="503549"/>
                      </a:lnTo>
                      <a:close/>
                      <a:moveTo>
                        <a:pt x="270717" y="348181"/>
                      </a:moveTo>
                      <a:cubicBezTo>
                        <a:pt x="256247" y="337482"/>
                        <a:pt x="247777" y="320406"/>
                        <a:pt x="248360" y="301992"/>
                      </a:cubicBezTo>
                      <a:cubicBezTo>
                        <a:pt x="248600" y="293282"/>
                        <a:pt x="250829" y="284985"/>
                        <a:pt x="255013" y="277269"/>
                      </a:cubicBezTo>
                      <a:cubicBezTo>
                        <a:pt x="260190" y="267771"/>
                        <a:pt x="267940" y="260056"/>
                        <a:pt x="277473" y="254912"/>
                      </a:cubicBezTo>
                      <a:cubicBezTo>
                        <a:pt x="278501" y="254363"/>
                        <a:pt x="279564" y="253849"/>
                        <a:pt x="280627" y="253369"/>
                      </a:cubicBezTo>
                      <a:cubicBezTo>
                        <a:pt x="281073" y="253129"/>
                        <a:pt x="281553" y="252992"/>
                        <a:pt x="281999" y="252752"/>
                      </a:cubicBezTo>
                      <a:cubicBezTo>
                        <a:pt x="282616" y="252512"/>
                        <a:pt x="283199" y="252237"/>
                        <a:pt x="283782" y="251997"/>
                      </a:cubicBezTo>
                      <a:cubicBezTo>
                        <a:pt x="284193" y="251826"/>
                        <a:pt x="284639" y="251723"/>
                        <a:pt x="285051" y="251552"/>
                      </a:cubicBezTo>
                      <a:cubicBezTo>
                        <a:pt x="285702" y="251312"/>
                        <a:pt x="286354" y="251072"/>
                        <a:pt x="287005" y="250831"/>
                      </a:cubicBezTo>
                      <a:cubicBezTo>
                        <a:pt x="287451" y="250695"/>
                        <a:pt x="287897" y="250557"/>
                        <a:pt x="288343" y="250454"/>
                      </a:cubicBezTo>
                      <a:cubicBezTo>
                        <a:pt x="288994" y="250249"/>
                        <a:pt x="289611" y="250077"/>
                        <a:pt x="290297" y="249906"/>
                      </a:cubicBezTo>
                      <a:cubicBezTo>
                        <a:pt x="290846" y="249769"/>
                        <a:pt x="291394" y="249666"/>
                        <a:pt x="291977" y="249563"/>
                      </a:cubicBezTo>
                      <a:cubicBezTo>
                        <a:pt x="292526" y="249425"/>
                        <a:pt x="293075" y="249289"/>
                        <a:pt x="293623" y="249220"/>
                      </a:cubicBezTo>
                      <a:cubicBezTo>
                        <a:pt x="294206" y="249083"/>
                        <a:pt x="294789" y="249014"/>
                        <a:pt x="295372" y="248946"/>
                      </a:cubicBezTo>
                      <a:cubicBezTo>
                        <a:pt x="295921" y="248877"/>
                        <a:pt x="296469" y="248774"/>
                        <a:pt x="297018" y="248671"/>
                      </a:cubicBezTo>
                      <a:cubicBezTo>
                        <a:pt x="297635" y="248603"/>
                        <a:pt x="298252" y="248568"/>
                        <a:pt x="298835" y="248500"/>
                      </a:cubicBezTo>
                      <a:cubicBezTo>
                        <a:pt x="299350" y="248500"/>
                        <a:pt x="299864" y="248397"/>
                        <a:pt x="300378" y="248363"/>
                      </a:cubicBezTo>
                      <a:cubicBezTo>
                        <a:pt x="301030" y="248363"/>
                        <a:pt x="301647" y="248294"/>
                        <a:pt x="302299" y="248294"/>
                      </a:cubicBezTo>
                      <a:cubicBezTo>
                        <a:pt x="302779" y="248294"/>
                        <a:pt x="303259" y="248294"/>
                        <a:pt x="303739" y="248294"/>
                      </a:cubicBezTo>
                      <a:cubicBezTo>
                        <a:pt x="304493" y="248294"/>
                        <a:pt x="305179" y="248294"/>
                        <a:pt x="305933" y="248363"/>
                      </a:cubicBezTo>
                      <a:cubicBezTo>
                        <a:pt x="306310" y="248363"/>
                        <a:pt x="306722" y="248363"/>
                        <a:pt x="307168" y="248363"/>
                      </a:cubicBezTo>
                      <a:cubicBezTo>
                        <a:pt x="307888" y="248363"/>
                        <a:pt x="308608" y="248500"/>
                        <a:pt x="309328" y="248568"/>
                      </a:cubicBezTo>
                      <a:cubicBezTo>
                        <a:pt x="309739" y="248568"/>
                        <a:pt x="310151" y="248637"/>
                        <a:pt x="310562" y="248705"/>
                      </a:cubicBezTo>
                      <a:cubicBezTo>
                        <a:pt x="311317" y="248808"/>
                        <a:pt x="312071" y="248946"/>
                        <a:pt x="312860" y="249048"/>
                      </a:cubicBezTo>
                      <a:cubicBezTo>
                        <a:pt x="313203" y="249117"/>
                        <a:pt x="313580" y="249151"/>
                        <a:pt x="313957" y="249220"/>
                      </a:cubicBezTo>
                      <a:cubicBezTo>
                        <a:pt x="314746" y="249392"/>
                        <a:pt x="315534" y="249563"/>
                        <a:pt x="316323" y="249734"/>
                      </a:cubicBezTo>
                      <a:cubicBezTo>
                        <a:pt x="316632" y="249837"/>
                        <a:pt x="316975" y="249871"/>
                        <a:pt x="317283" y="249974"/>
                      </a:cubicBezTo>
                      <a:cubicBezTo>
                        <a:pt x="318038" y="250180"/>
                        <a:pt x="318758" y="250386"/>
                        <a:pt x="319512" y="250626"/>
                      </a:cubicBezTo>
                      <a:cubicBezTo>
                        <a:pt x="319855" y="250728"/>
                        <a:pt x="320232" y="250831"/>
                        <a:pt x="320575" y="250900"/>
                      </a:cubicBezTo>
                      <a:cubicBezTo>
                        <a:pt x="321261" y="251140"/>
                        <a:pt x="321878" y="251380"/>
                        <a:pt x="322530" y="251620"/>
                      </a:cubicBezTo>
                      <a:cubicBezTo>
                        <a:pt x="322975" y="251792"/>
                        <a:pt x="323387" y="251895"/>
                        <a:pt x="323833" y="252066"/>
                      </a:cubicBezTo>
                      <a:cubicBezTo>
                        <a:pt x="324450" y="252306"/>
                        <a:pt x="325033" y="252580"/>
                        <a:pt x="325616" y="252821"/>
                      </a:cubicBezTo>
                      <a:cubicBezTo>
                        <a:pt x="326062" y="253026"/>
                        <a:pt x="326542" y="253198"/>
                        <a:pt x="326987" y="253438"/>
                      </a:cubicBezTo>
                      <a:cubicBezTo>
                        <a:pt x="328050" y="253918"/>
                        <a:pt x="329079" y="254432"/>
                        <a:pt x="330108" y="255015"/>
                      </a:cubicBezTo>
                      <a:cubicBezTo>
                        <a:pt x="346601" y="263930"/>
                        <a:pt x="357300" y="280424"/>
                        <a:pt x="358877" y="299112"/>
                      </a:cubicBezTo>
                      <a:cubicBezTo>
                        <a:pt x="358980" y="300449"/>
                        <a:pt x="359049" y="301821"/>
                        <a:pt x="359083" y="303124"/>
                      </a:cubicBezTo>
                      <a:cubicBezTo>
                        <a:pt x="359186" y="312519"/>
                        <a:pt x="356888" y="321778"/>
                        <a:pt x="352396" y="330110"/>
                      </a:cubicBezTo>
                      <a:cubicBezTo>
                        <a:pt x="348179" y="337825"/>
                        <a:pt x="342452" y="344237"/>
                        <a:pt x="335251" y="349175"/>
                      </a:cubicBezTo>
                      <a:cubicBezTo>
                        <a:pt x="318003" y="361143"/>
                        <a:pt x="295783" y="362377"/>
                        <a:pt x="277301" y="352364"/>
                      </a:cubicBezTo>
                      <a:cubicBezTo>
                        <a:pt x="275004" y="351095"/>
                        <a:pt x="272775" y="349690"/>
                        <a:pt x="270717" y="348181"/>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grpSp>
        <p:nvGrpSpPr>
          <p:cNvPr id="21" name="Groupe 20">
            <a:extLst>
              <a:ext uri="{FF2B5EF4-FFF2-40B4-BE49-F238E27FC236}">
                <a16:creationId xmlns:a16="http://schemas.microsoft.com/office/drawing/2014/main" id="{52C02417-6A18-44CB-9A1B-E20999B6018E}"/>
              </a:ext>
            </a:extLst>
          </p:cNvPr>
          <p:cNvGrpSpPr/>
          <p:nvPr/>
        </p:nvGrpSpPr>
        <p:grpSpPr>
          <a:xfrm>
            <a:off x="3292392" y="4474622"/>
            <a:ext cx="8564247" cy="751582"/>
            <a:chOff x="3292392" y="3960104"/>
            <a:chExt cx="8564247" cy="751582"/>
          </a:xfrm>
        </p:grpSpPr>
        <p:sp>
          <p:nvSpPr>
            <p:cNvPr id="87" name="TextBox 86">
              <a:extLst>
                <a:ext uri="{FF2B5EF4-FFF2-40B4-BE49-F238E27FC236}">
                  <a16:creationId xmlns:a16="http://schemas.microsoft.com/office/drawing/2014/main" id="{A656FB5E-822A-4BAA-A325-1B63BB00347F}"/>
                </a:ext>
              </a:extLst>
            </p:cNvPr>
            <p:cNvSpPr txBox="1"/>
            <p:nvPr/>
          </p:nvSpPr>
          <p:spPr>
            <a:xfrm>
              <a:off x="4191000" y="4105063"/>
              <a:ext cx="7665639" cy="461665"/>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A balance must be found between energy security of supply, the fight against climate change and energy affordability</a:t>
              </a:r>
            </a:p>
          </p:txBody>
        </p:sp>
        <p:grpSp>
          <p:nvGrpSpPr>
            <p:cNvPr id="20" name="Groupe 19">
              <a:extLst>
                <a:ext uri="{FF2B5EF4-FFF2-40B4-BE49-F238E27FC236}">
                  <a16:creationId xmlns:a16="http://schemas.microsoft.com/office/drawing/2014/main" id="{7A5287E0-9A86-4FF6-81CE-65FFE32AF515}"/>
                </a:ext>
              </a:extLst>
            </p:cNvPr>
            <p:cNvGrpSpPr/>
            <p:nvPr/>
          </p:nvGrpSpPr>
          <p:grpSpPr>
            <a:xfrm>
              <a:off x="3292392" y="3960104"/>
              <a:ext cx="785778" cy="751582"/>
              <a:chOff x="3292392" y="3960104"/>
              <a:chExt cx="785778" cy="751582"/>
            </a:xfrm>
          </p:grpSpPr>
          <p:sp>
            <p:nvSpPr>
              <p:cNvPr id="10" name="Freeform 215">
                <a:extLst>
                  <a:ext uri="{FF2B5EF4-FFF2-40B4-BE49-F238E27FC236}">
                    <a16:creationId xmlns:a16="http://schemas.microsoft.com/office/drawing/2014/main" id="{6754F01B-8F63-D355-5817-13C933F00A9F}"/>
                  </a:ext>
                </a:extLst>
              </p:cNvPr>
              <p:cNvSpPr/>
              <p:nvPr/>
            </p:nvSpPr>
            <p:spPr>
              <a:xfrm>
                <a:off x="3292392" y="3960104"/>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56" name="Group 136">
                <a:extLst>
                  <a:ext uri="{FF2B5EF4-FFF2-40B4-BE49-F238E27FC236}">
                    <a16:creationId xmlns:a16="http://schemas.microsoft.com/office/drawing/2014/main" id="{59B80756-F682-6B1C-B520-92E742753E71}"/>
                  </a:ext>
                </a:extLst>
              </p:cNvPr>
              <p:cNvGrpSpPr/>
              <p:nvPr/>
            </p:nvGrpSpPr>
            <p:grpSpPr>
              <a:xfrm>
                <a:off x="3431295" y="4261798"/>
                <a:ext cx="507978" cy="263077"/>
                <a:chOff x="5676893" y="3213078"/>
                <a:chExt cx="841444" cy="435778"/>
              </a:xfrm>
              <a:solidFill>
                <a:schemeClr val="accent4"/>
              </a:solidFill>
            </p:grpSpPr>
            <p:sp>
              <p:nvSpPr>
                <p:cNvPr id="57" name="Freeform 137">
                  <a:extLst>
                    <a:ext uri="{FF2B5EF4-FFF2-40B4-BE49-F238E27FC236}">
                      <a16:creationId xmlns:a16="http://schemas.microsoft.com/office/drawing/2014/main" id="{08C48667-CAA7-959E-54F5-B85355F91520}"/>
                    </a:ext>
                  </a:extLst>
                </p:cNvPr>
                <p:cNvSpPr/>
                <p:nvPr/>
              </p:nvSpPr>
              <p:spPr>
                <a:xfrm>
                  <a:off x="5951877" y="3348943"/>
                  <a:ext cx="290798" cy="299913"/>
                </a:xfrm>
                <a:custGeom>
                  <a:avLst/>
                  <a:gdLst>
                    <a:gd name="connsiteX0" fmla="*/ 0 w 290798"/>
                    <a:gd name="connsiteY0" fmla="*/ 299913 h 299913"/>
                    <a:gd name="connsiteX1" fmla="*/ 145256 w 290798"/>
                    <a:gd name="connsiteY1" fmla="*/ 0 h 299913"/>
                    <a:gd name="connsiteX2" fmla="*/ 290798 w 290798"/>
                    <a:gd name="connsiteY2" fmla="*/ 299913 h 299913"/>
                    <a:gd name="connsiteX3" fmla="*/ 0 w 290798"/>
                    <a:gd name="connsiteY3" fmla="*/ 299913 h 299913"/>
                  </a:gdLst>
                  <a:ahLst/>
                  <a:cxnLst>
                    <a:cxn ang="0">
                      <a:pos x="connsiteX0" y="connsiteY0"/>
                    </a:cxn>
                    <a:cxn ang="0">
                      <a:pos x="connsiteX1" y="connsiteY1"/>
                    </a:cxn>
                    <a:cxn ang="0">
                      <a:pos x="connsiteX2" y="connsiteY2"/>
                    </a:cxn>
                    <a:cxn ang="0">
                      <a:pos x="connsiteX3" y="connsiteY3"/>
                    </a:cxn>
                  </a:cxnLst>
                  <a:rect l="l" t="t" r="r" b="b"/>
                  <a:pathLst>
                    <a:path w="290798" h="299913">
                      <a:moveTo>
                        <a:pt x="0" y="299913"/>
                      </a:moveTo>
                      <a:lnTo>
                        <a:pt x="145256" y="0"/>
                      </a:lnTo>
                      <a:lnTo>
                        <a:pt x="290798" y="299913"/>
                      </a:lnTo>
                      <a:lnTo>
                        <a:pt x="0" y="29991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8" name="Freeform 138">
                  <a:extLst>
                    <a:ext uri="{FF2B5EF4-FFF2-40B4-BE49-F238E27FC236}">
                      <a16:creationId xmlns:a16="http://schemas.microsoft.com/office/drawing/2014/main" id="{E05231BC-EF8E-7D6C-053C-CBC0D9519F25}"/>
                    </a:ext>
                  </a:extLst>
                </p:cNvPr>
                <p:cNvSpPr/>
                <p:nvPr/>
              </p:nvSpPr>
              <p:spPr>
                <a:xfrm>
                  <a:off x="5731278" y="3246234"/>
                  <a:ext cx="731899" cy="138179"/>
                </a:xfrm>
                <a:custGeom>
                  <a:avLst/>
                  <a:gdLst>
                    <a:gd name="connsiteX0" fmla="*/ 701707 w 731901"/>
                    <a:gd name="connsiteY0" fmla="*/ 73972 h 138178"/>
                    <a:gd name="connsiteX1" fmla="*/ 645795 w 731901"/>
                    <a:gd name="connsiteY1" fmla="*/ 73972 h 138178"/>
                    <a:gd name="connsiteX2" fmla="*/ 645795 w 731901"/>
                    <a:gd name="connsiteY2" fmla="*/ 24502 h 138178"/>
                    <a:gd name="connsiteX3" fmla="*/ 626745 w 731901"/>
                    <a:gd name="connsiteY3" fmla="*/ 1411 h 138178"/>
                    <a:gd name="connsiteX4" fmla="*/ 607409 w 731901"/>
                    <a:gd name="connsiteY4" fmla="*/ 24221 h 138178"/>
                    <a:gd name="connsiteX5" fmla="*/ 607409 w 731901"/>
                    <a:gd name="connsiteY5" fmla="*/ 73878 h 138178"/>
                    <a:gd name="connsiteX6" fmla="*/ 124777 w 731901"/>
                    <a:gd name="connsiteY6" fmla="*/ 73878 h 138178"/>
                    <a:gd name="connsiteX7" fmla="*/ 124968 w 731901"/>
                    <a:gd name="connsiteY7" fmla="*/ 72188 h 138178"/>
                    <a:gd name="connsiteX8" fmla="*/ 124968 w 731901"/>
                    <a:gd name="connsiteY8" fmla="*/ 22907 h 138178"/>
                    <a:gd name="connsiteX9" fmla="*/ 105823 w 731901"/>
                    <a:gd name="connsiteY9" fmla="*/ 2 h 138178"/>
                    <a:gd name="connsiteX10" fmla="*/ 86487 w 731901"/>
                    <a:gd name="connsiteY10" fmla="*/ 22907 h 138178"/>
                    <a:gd name="connsiteX11" fmla="*/ 86297 w 731901"/>
                    <a:gd name="connsiteY11" fmla="*/ 72188 h 138178"/>
                    <a:gd name="connsiteX12" fmla="*/ 86487 w 731901"/>
                    <a:gd name="connsiteY12" fmla="*/ 73878 h 138178"/>
                    <a:gd name="connsiteX13" fmla="*/ 30194 w 731901"/>
                    <a:gd name="connsiteY13" fmla="*/ 73878 h 138178"/>
                    <a:gd name="connsiteX14" fmla="*/ 0 w 731901"/>
                    <a:gd name="connsiteY14" fmla="*/ 105981 h 138178"/>
                    <a:gd name="connsiteX15" fmla="*/ 20860 w 731901"/>
                    <a:gd name="connsiteY15" fmla="*/ 136583 h 138178"/>
                    <a:gd name="connsiteX16" fmla="*/ 30290 w 731901"/>
                    <a:gd name="connsiteY16" fmla="*/ 138179 h 138178"/>
                    <a:gd name="connsiteX17" fmla="*/ 701707 w 731901"/>
                    <a:gd name="connsiteY17" fmla="*/ 138179 h 138178"/>
                    <a:gd name="connsiteX18" fmla="*/ 731901 w 731901"/>
                    <a:gd name="connsiteY18" fmla="*/ 106075 h 138178"/>
                    <a:gd name="connsiteX19" fmla="*/ 701612 w 731901"/>
                    <a:gd name="connsiteY19" fmla="*/ 73972 h 13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1901" h="138178">
                      <a:moveTo>
                        <a:pt x="701707" y="73972"/>
                      </a:moveTo>
                      <a:lnTo>
                        <a:pt x="645795" y="73972"/>
                      </a:lnTo>
                      <a:lnTo>
                        <a:pt x="645795" y="24502"/>
                      </a:lnTo>
                      <a:cubicBezTo>
                        <a:pt x="645890" y="11830"/>
                        <a:pt x="637318" y="1598"/>
                        <a:pt x="626745" y="1411"/>
                      </a:cubicBezTo>
                      <a:cubicBezTo>
                        <a:pt x="616077" y="1411"/>
                        <a:pt x="607314" y="11548"/>
                        <a:pt x="607409" y="24221"/>
                      </a:cubicBezTo>
                      <a:lnTo>
                        <a:pt x="607409" y="73878"/>
                      </a:lnTo>
                      <a:lnTo>
                        <a:pt x="124777" y="73878"/>
                      </a:lnTo>
                      <a:cubicBezTo>
                        <a:pt x="124777" y="73315"/>
                        <a:pt x="124873" y="72751"/>
                        <a:pt x="124968" y="72188"/>
                      </a:cubicBezTo>
                      <a:lnTo>
                        <a:pt x="124968" y="22907"/>
                      </a:lnTo>
                      <a:cubicBezTo>
                        <a:pt x="125159" y="10234"/>
                        <a:pt x="116491" y="2"/>
                        <a:pt x="105823" y="2"/>
                      </a:cubicBezTo>
                      <a:cubicBezTo>
                        <a:pt x="95250" y="-185"/>
                        <a:pt x="86582" y="10234"/>
                        <a:pt x="86487" y="22907"/>
                      </a:cubicBezTo>
                      <a:lnTo>
                        <a:pt x="86297" y="72188"/>
                      </a:lnTo>
                      <a:cubicBezTo>
                        <a:pt x="86297" y="72751"/>
                        <a:pt x="86487" y="73315"/>
                        <a:pt x="86487" y="73878"/>
                      </a:cubicBezTo>
                      <a:lnTo>
                        <a:pt x="30194" y="73878"/>
                      </a:lnTo>
                      <a:cubicBezTo>
                        <a:pt x="13526" y="73878"/>
                        <a:pt x="0" y="88334"/>
                        <a:pt x="0" y="105981"/>
                      </a:cubicBezTo>
                      <a:cubicBezTo>
                        <a:pt x="0" y="120249"/>
                        <a:pt x="8763" y="132359"/>
                        <a:pt x="20860" y="136583"/>
                      </a:cubicBezTo>
                      <a:cubicBezTo>
                        <a:pt x="23813" y="137615"/>
                        <a:pt x="27051" y="138085"/>
                        <a:pt x="30290" y="138179"/>
                      </a:cubicBezTo>
                      <a:lnTo>
                        <a:pt x="701707" y="138179"/>
                      </a:lnTo>
                      <a:cubicBezTo>
                        <a:pt x="718376" y="138179"/>
                        <a:pt x="731996" y="123910"/>
                        <a:pt x="731901" y="106075"/>
                      </a:cubicBezTo>
                      <a:cubicBezTo>
                        <a:pt x="731901" y="88428"/>
                        <a:pt x="718376" y="73972"/>
                        <a:pt x="701612" y="7397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59" name="Freeform 139">
                  <a:extLst>
                    <a:ext uri="{FF2B5EF4-FFF2-40B4-BE49-F238E27FC236}">
                      <a16:creationId xmlns:a16="http://schemas.microsoft.com/office/drawing/2014/main" id="{855791BA-039C-E7CA-7A59-DC1CCBABBA5F}"/>
                    </a:ext>
                  </a:extLst>
                </p:cNvPr>
                <p:cNvSpPr/>
                <p:nvPr/>
              </p:nvSpPr>
              <p:spPr>
                <a:xfrm>
                  <a:off x="5676893" y="3213078"/>
                  <a:ext cx="324896" cy="66364"/>
                </a:xfrm>
                <a:custGeom>
                  <a:avLst/>
                  <a:gdLst>
                    <a:gd name="connsiteX0" fmla="*/ 0 w 324897"/>
                    <a:gd name="connsiteY0" fmla="*/ 0 h 66365"/>
                    <a:gd name="connsiteX1" fmla="*/ 0 w 324897"/>
                    <a:gd name="connsiteY1" fmla="*/ 32854 h 66365"/>
                    <a:gd name="connsiteX2" fmla="*/ 28099 w 324897"/>
                    <a:gd name="connsiteY2" fmla="*/ 66366 h 66365"/>
                    <a:gd name="connsiteX3" fmla="*/ 296799 w 324897"/>
                    <a:gd name="connsiteY3" fmla="*/ 66366 h 66365"/>
                    <a:gd name="connsiteX4" fmla="*/ 324898 w 324897"/>
                    <a:gd name="connsiteY4" fmla="*/ 32854 h 66365"/>
                    <a:gd name="connsiteX5" fmla="*/ 324898 w 324897"/>
                    <a:gd name="connsiteY5" fmla="*/ 0 h 66365"/>
                    <a:gd name="connsiteX6" fmla="*/ 0 w 324897"/>
                    <a:gd name="connsiteY6" fmla="*/ 0 h 6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97" h="66365">
                      <a:moveTo>
                        <a:pt x="0" y="0"/>
                      </a:moveTo>
                      <a:lnTo>
                        <a:pt x="0" y="32854"/>
                      </a:lnTo>
                      <a:cubicBezTo>
                        <a:pt x="0" y="51253"/>
                        <a:pt x="12668" y="66366"/>
                        <a:pt x="28099" y="66366"/>
                      </a:cubicBezTo>
                      <a:lnTo>
                        <a:pt x="296799" y="66366"/>
                      </a:lnTo>
                      <a:cubicBezTo>
                        <a:pt x="312230" y="66366"/>
                        <a:pt x="324898" y="51347"/>
                        <a:pt x="324898" y="32854"/>
                      </a:cubicBezTo>
                      <a:lnTo>
                        <a:pt x="324898" y="0"/>
                      </a:lnTo>
                      <a:lnTo>
                        <a:pt x="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0" name="Freeform 140">
                  <a:extLst>
                    <a:ext uri="{FF2B5EF4-FFF2-40B4-BE49-F238E27FC236}">
                      <a16:creationId xmlns:a16="http://schemas.microsoft.com/office/drawing/2014/main" id="{BE47BC20-3F67-55C9-800C-EFAA962BE22F}"/>
                    </a:ext>
                  </a:extLst>
                </p:cNvPr>
                <p:cNvSpPr/>
                <p:nvPr/>
              </p:nvSpPr>
              <p:spPr>
                <a:xfrm>
                  <a:off x="6193441" y="3213100"/>
                  <a:ext cx="324896" cy="66364"/>
                </a:xfrm>
                <a:custGeom>
                  <a:avLst/>
                  <a:gdLst>
                    <a:gd name="connsiteX0" fmla="*/ 0 w 324897"/>
                    <a:gd name="connsiteY0" fmla="*/ 0 h 66365"/>
                    <a:gd name="connsiteX1" fmla="*/ 0 w 324897"/>
                    <a:gd name="connsiteY1" fmla="*/ 32854 h 66365"/>
                    <a:gd name="connsiteX2" fmla="*/ 28099 w 324897"/>
                    <a:gd name="connsiteY2" fmla="*/ 66366 h 66365"/>
                    <a:gd name="connsiteX3" fmla="*/ 296799 w 324897"/>
                    <a:gd name="connsiteY3" fmla="*/ 66366 h 66365"/>
                    <a:gd name="connsiteX4" fmla="*/ 324898 w 324897"/>
                    <a:gd name="connsiteY4" fmla="*/ 32854 h 66365"/>
                    <a:gd name="connsiteX5" fmla="*/ 324898 w 324897"/>
                    <a:gd name="connsiteY5" fmla="*/ 0 h 66365"/>
                    <a:gd name="connsiteX6" fmla="*/ 0 w 324897"/>
                    <a:gd name="connsiteY6" fmla="*/ 0 h 66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97" h="66365">
                      <a:moveTo>
                        <a:pt x="0" y="0"/>
                      </a:moveTo>
                      <a:lnTo>
                        <a:pt x="0" y="32854"/>
                      </a:lnTo>
                      <a:cubicBezTo>
                        <a:pt x="0" y="51253"/>
                        <a:pt x="12668" y="66366"/>
                        <a:pt x="28099" y="66366"/>
                      </a:cubicBezTo>
                      <a:lnTo>
                        <a:pt x="296799" y="66366"/>
                      </a:lnTo>
                      <a:cubicBezTo>
                        <a:pt x="312230" y="66366"/>
                        <a:pt x="324898" y="51347"/>
                        <a:pt x="324898" y="32854"/>
                      </a:cubicBezTo>
                      <a:lnTo>
                        <a:pt x="324898" y="0"/>
                      </a:lnTo>
                      <a:lnTo>
                        <a:pt x="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grpSp>
        <p:nvGrpSpPr>
          <p:cNvPr id="14" name="Groupe 13">
            <a:extLst>
              <a:ext uri="{FF2B5EF4-FFF2-40B4-BE49-F238E27FC236}">
                <a16:creationId xmlns:a16="http://schemas.microsoft.com/office/drawing/2014/main" id="{B258AFAD-D604-4B3A-97D5-29FC9BC97294}"/>
              </a:ext>
            </a:extLst>
          </p:cNvPr>
          <p:cNvGrpSpPr/>
          <p:nvPr/>
        </p:nvGrpSpPr>
        <p:grpSpPr>
          <a:xfrm>
            <a:off x="3292392" y="3355868"/>
            <a:ext cx="8466535" cy="751582"/>
            <a:chOff x="3292392" y="3078774"/>
            <a:chExt cx="8466535" cy="751582"/>
          </a:xfrm>
        </p:grpSpPr>
        <p:sp>
          <p:nvSpPr>
            <p:cNvPr id="84" name="TextBox 83">
              <a:extLst>
                <a:ext uri="{FF2B5EF4-FFF2-40B4-BE49-F238E27FC236}">
                  <a16:creationId xmlns:a16="http://schemas.microsoft.com/office/drawing/2014/main" id="{73F5D999-4F8F-46E1-BE30-F7E6BC32209D}"/>
                </a:ext>
              </a:extLst>
            </p:cNvPr>
            <p:cNvSpPr txBox="1"/>
            <p:nvPr/>
          </p:nvSpPr>
          <p:spPr>
            <a:xfrm>
              <a:off x="4192403" y="3223733"/>
              <a:ext cx="7566524" cy="461665"/>
            </a:xfrm>
            <a:prstGeom prst="rect">
              <a:avLst/>
            </a:prstGeom>
            <a:noFill/>
          </p:spPr>
          <p:txBody>
            <a:bodyPr wrap="square" lIns="0" tIns="0" rIns="0" bIns="0" rtlCol="0" anchor="ctr"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Europe must not exchange a dependence on Russian gas with a dependence on certain energy transition key components, particularly vis-à-vis China.</a:t>
              </a:r>
              <a:endParaRPr kumimoji="0" lang="en-US"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p:txBody>
        </p:sp>
        <p:grpSp>
          <p:nvGrpSpPr>
            <p:cNvPr id="7" name="Groupe 6">
              <a:extLst>
                <a:ext uri="{FF2B5EF4-FFF2-40B4-BE49-F238E27FC236}">
                  <a16:creationId xmlns:a16="http://schemas.microsoft.com/office/drawing/2014/main" id="{2B50F4F1-EDEF-4152-8A44-741F52AB331F}"/>
                </a:ext>
              </a:extLst>
            </p:cNvPr>
            <p:cNvGrpSpPr/>
            <p:nvPr/>
          </p:nvGrpSpPr>
          <p:grpSpPr>
            <a:xfrm>
              <a:off x="3292392" y="3078774"/>
              <a:ext cx="785778" cy="751582"/>
              <a:chOff x="3292392" y="3078774"/>
              <a:chExt cx="785778" cy="751582"/>
            </a:xfrm>
          </p:grpSpPr>
          <p:sp>
            <p:nvSpPr>
              <p:cNvPr id="9" name="Freeform 215">
                <a:extLst>
                  <a:ext uri="{FF2B5EF4-FFF2-40B4-BE49-F238E27FC236}">
                    <a16:creationId xmlns:a16="http://schemas.microsoft.com/office/drawing/2014/main" id="{77AE77B8-FFC0-9E52-4072-CC9AF00A2BDE}"/>
                  </a:ext>
                </a:extLst>
              </p:cNvPr>
              <p:cNvSpPr/>
              <p:nvPr/>
            </p:nvSpPr>
            <p:spPr>
              <a:xfrm>
                <a:off x="3292392" y="3078774"/>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66" name="Group 65">
                <a:extLst>
                  <a:ext uri="{FF2B5EF4-FFF2-40B4-BE49-F238E27FC236}">
                    <a16:creationId xmlns:a16="http://schemas.microsoft.com/office/drawing/2014/main" id="{351B6D32-C79D-61D7-6E14-1774880B7AA7}"/>
                  </a:ext>
                </a:extLst>
              </p:cNvPr>
              <p:cNvGrpSpPr/>
              <p:nvPr/>
            </p:nvGrpSpPr>
            <p:grpSpPr>
              <a:xfrm>
                <a:off x="3513528" y="3131021"/>
                <a:ext cx="326096" cy="658071"/>
                <a:chOff x="3464368" y="3134196"/>
                <a:chExt cx="326096" cy="658071"/>
              </a:xfrm>
              <a:solidFill>
                <a:schemeClr val="accent4"/>
              </a:solidFill>
            </p:grpSpPr>
            <p:sp>
              <p:nvSpPr>
                <p:cNvPr id="53" name="Freeform 178">
                  <a:extLst>
                    <a:ext uri="{FF2B5EF4-FFF2-40B4-BE49-F238E27FC236}">
                      <a16:creationId xmlns:a16="http://schemas.microsoft.com/office/drawing/2014/main" id="{EB928DDC-A3D0-90F2-E794-5CD761F66829}"/>
                    </a:ext>
                  </a:extLst>
                </p:cNvPr>
                <p:cNvSpPr>
                  <a:spLocks/>
                </p:cNvSpPr>
                <p:nvPr/>
              </p:nvSpPr>
              <p:spPr bwMode="auto">
                <a:xfrm>
                  <a:off x="3464368" y="3244124"/>
                  <a:ext cx="326096" cy="446149"/>
                </a:xfrm>
                <a:custGeom>
                  <a:avLst/>
                  <a:gdLst>
                    <a:gd name="T0" fmla="*/ 28 w 85"/>
                    <a:gd name="T1" fmla="*/ 111 h 116"/>
                    <a:gd name="T2" fmla="*/ 42 w 85"/>
                    <a:gd name="T3" fmla="*/ 69 h 116"/>
                    <a:gd name="T4" fmla="*/ 3 w 85"/>
                    <a:gd name="T5" fmla="*/ 69 h 116"/>
                    <a:gd name="T6" fmla="*/ 0 w 85"/>
                    <a:gd name="T7" fmla="*/ 66 h 116"/>
                    <a:gd name="T8" fmla="*/ 1 w 85"/>
                    <a:gd name="T9" fmla="*/ 64 h 116"/>
                    <a:gd name="T10" fmla="*/ 1 w 85"/>
                    <a:gd name="T11" fmla="*/ 64 h 116"/>
                    <a:gd name="T12" fmla="*/ 35 w 85"/>
                    <a:gd name="T13" fmla="*/ 22 h 116"/>
                    <a:gd name="T14" fmla="*/ 53 w 85"/>
                    <a:gd name="T15" fmla="*/ 1 h 116"/>
                    <a:gd name="T16" fmla="*/ 57 w 85"/>
                    <a:gd name="T17" fmla="*/ 1 h 116"/>
                    <a:gd name="T18" fmla="*/ 58 w 85"/>
                    <a:gd name="T19" fmla="*/ 4 h 116"/>
                    <a:gd name="T20" fmla="*/ 43 w 85"/>
                    <a:gd name="T21" fmla="*/ 46 h 116"/>
                    <a:gd name="T22" fmla="*/ 82 w 85"/>
                    <a:gd name="T23" fmla="*/ 47 h 116"/>
                    <a:gd name="T24" fmla="*/ 85 w 85"/>
                    <a:gd name="T25" fmla="*/ 50 h 116"/>
                    <a:gd name="T26" fmla="*/ 84 w 85"/>
                    <a:gd name="T27" fmla="*/ 51 h 116"/>
                    <a:gd name="T28" fmla="*/ 84 w 85"/>
                    <a:gd name="T29" fmla="*/ 51 h 116"/>
                    <a:gd name="T30" fmla="*/ 50 w 85"/>
                    <a:gd name="T31" fmla="*/ 93 h 116"/>
                    <a:gd name="T32" fmla="*/ 33 w 85"/>
                    <a:gd name="T33" fmla="*/ 114 h 116"/>
                    <a:gd name="T34" fmla="*/ 28 w 85"/>
                    <a:gd name="T35" fmla="*/ 115 h 116"/>
                    <a:gd name="T36" fmla="*/ 28 w 85"/>
                    <a:gd name="T37" fmla="*/ 11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116">
                      <a:moveTo>
                        <a:pt x="28" y="111"/>
                      </a:moveTo>
                      <a:cubicBezTo>
                        <a:pt x="42" y="69"/>
                        <a:pt x="42" y="69"/>
                        <a:pt x="42" y="69"/>
                      </a:cubicBezTo>
                      <a:cubicBezTo>
                        <a:pt x="3" y="69"/>
                        <a:pt x="3" y="69"/>
                        <a:pt x="3" y="69"/>
                      </a:cubicBezTo>
                      <a:cubicBezTo>
                        <a:pt x="2" y="69"/>
                        <a:pt x="0" y="68"/>
                        <a:pt x="0" y="66"/>
                      </a:cubicBezTo>
                      <a:cubicBezTo>
                        <a:pt x="0" y="65"/>
                        <a:pt x="1" y="65"/>
                        <a:pt x="1" y="64"/>
                      </a:cubicBezTo>
                      <a:cubicBezTo>
                        <a:pt x="1" y="64"/>
                        <a:pt x="1" y="64"/>
                        <a:pt x="1" y="64"/>
                      </a:cubicBezTo>
                      <a:cubicBezTo>
                        <a:pt x="13" y="50"/>
                        <a:pt x="24" y="36"/>
                        <a:pt x="35" y="22"/>
                      </a:cubicBezTo>
                      <a:cubicBezTo>
                        <a:pt x="41" y="15"/>
                        <a:pt x="47" y="8"/>
                        <a:pt x="53" y="1"/>
                      </a:cubicBezTo>
                      <a:cubicBezTo>
                        <a:pt x="54" y="0"/>
                        <a:pt x="55" y="0"/>
                        <a:pt x="57" y="1"/>
                      </a:cubicBezTo>
                      <a:cubicBezTo>
                        <a:pt x="58" y="1"/>
                        <a:pt x="58" y="3"/>
                        <a:pt x="58" y="4"/>
                      </a:cubicBezTo>
                      <a:cubicBezTo>
                        <a:pt x="43" y="46"/>
                        <a:pt x="43" y="46"/>
                        <a:pt x="43" y="46"/>
                      </a:cubicBezTo>
                      <a:cubicBezTo>
                        <a:pt x="82" y="47"/>
                        <a:pt x="82" y="47"/>
                        <a:pt x="82" y="47"/>
                      </a:cubicBezTo>
                      <a:cubicBezTo>
                        <a:pt x="83" y="47"/>
                        <a:pt x="85" y="48"/>
                        <a:pt x="85" y="50"/>
                      </a:cubicBezTo>
                      <a:cubicBezTo>
                        <a:pt x="85" y="50"/>
                        <a:pt x="84" y="51"/>
                        <a:pt x="84" y="51"/>
                      </a:cubicBezTo>
                      <a:cubicBezTo>
                        <a:pt x="84" y="51"/>
                        <a:pt x="84" y="51"/>
                        <a:pt x="84" y="51"/>
                      </a:cubicBezTo>
                      <a:cubicBezTo>
                        <a:pt x="73" y="65"/>
                        <a:pt x="62" y="79"/>
                        <a:pt x="50" y="93"/>
                      </a:cubicBezTo>
                      <a:cubicBezTo>
                        <a:pt x="44" y="100"/>
                        <a:pt x="39" y="107"/>
                        <a:pt x="33" y="114"/>
                      </a:cubicBezTo>
                      <a:cubicBezTo>
                        <a:pt x="32" y="116"/>
                        <a:pt x="30" y="116"/>
                        <a:pt x="28" y="115"/>
                      </a:cubicBezTo>
                      <a:cubicBezTo>
                        <a:pt x="27" y="114"/>
                        <a:pt x="27" y="113"/>
                        <a:pt x="28" y="1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1" name="Freeform 382">
                  <a:extLst>
                    <a:ext uri="{FF2B5EF4-FFF2-40B4-BE49-F238E27FC236}">
                      <a16:creationId xmlns:a16="http://schemas.microsoft.com/office/drawing/2014/main" id="{FCDEB7AF-E759-8103-DBD6-8F0B2AD94CA5}"/>
                    </a:ext>
                  </a:extLst>
                </p:cNvPr>
                <p:cNvSpPr>
                  <a:spLocks/>
                </p:cNvSpPr>
                <p:nvPr/>
              </p:nvSpPr>
              <p:spPr bwMode="auto">
                <a:xfrm rot="1960742">
                  <a:off x="3472668" y="3134196"/>
                  <a:ext cx="312738" cy="236538"/>
                </a:xfrm>
                <a:custGeom>
                  <a:avLst/>
                  <a:gdLst>
                    <a:gd name="T0" fmla="*/ 38 w 108"/>
                    <a:gd name="T1" fmla="*/ 55 h 81"/>
                    <a:gd name="T2" fmla="*/ 31 w 108"/>
                    <a:gd name="T3" fmla="*/ 55 h 81"/>
                    <a:gd name="T4" fmla="*/ 31 w 108"/>
                    <a:gd name="T5" fmla="*/ 55 h 81"/>
                    <a:gd name="T6" fmla="*/ 69 w 108"/>
                    <a:gd name="T7" fmla="*/ 17 h 81"/>
                    <a:gd name="T8" fmla="*/ 92 w 108"/>
                    <a:gd name="T9" fmla="*/ 25 h 81"/>
                    <a:gd name="T10" fmla="*/ 99 w 108"/>
                    <a:gd name="T11" fmla="*/ 25 h 81"/>
                    <a:gd name="T12" fmla="*/ 108 w 108"/>
                    <a:gd name="T13" fmla="*/ 16 h 81"/>
                    <a:gd name="T14" fmla="*/ 69 w 108"/>
                    <a:gd name="T15" fmla="*/ 0 h 81"/>
                    <a:gd name="T16" fmla="*/ 14 w 108"/>
                    <a:gd name="T17" fmla="*/ 55 h 81"/>
                    <a:gd name="T18" fmla="*/ 6 w 108"/>
                    <a:gd name="T19" fmla="*/ 55 h 81"/>
                    <a:gd name="T20" fmla="*/ 2 w 108"/>
                    <a:gd name="T21" fmla="*/ 62 h 81"/>
                    <a:gd name="T22" fmla="*/ 18 w 108"/>
                    <a:gd name="T23" fmla="*/ 78 h 81"/>
                    <a:gd name="T24" fmla="*/ 27 w 108"/>
                    <a:gd name="T25" fmla="*/ 78 h 81"/>
                    <a:gd name="T26" fmla="*/ 43 w 108"/>
                    <a:gd name="T27" fmla="*/ 62 h 81"/>
                    <a:gd name="T28" fmla="*/ 38 w 108"/>
                    <a:gd name="T29" fmla="*/ 5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81">
                      <a:moveTo>
                        <a:pt x="38" y="55"/>
                      </a:moveTo>
                      <a:cubicBezTo>
                        <a:pt x="31" y="55"/>
                        <a:pt x="31" y="55"/>
                        <a:pt x="31" y="55"/>
                      </a:cubicBezTo>
                      <a:cubicBezTo>
                        <a:pt x="31" y="55"/>
                        <a:pt x="31" y="55"/>
                        <a:pt x="31" y="55"/>
                      </a:cubicBezTo>
                      <a:cubicBezTo>
                        <a:pt x="31" y="34"/>
                        <a:pt x="48" y="17"/>
                        <a:pt x="69" y="17"/>
                      </a:cubicBezTo>
                      <a:cubicBezTo>
                        <a:pt x="78" y="17"/>
                        <a:pt x="86" y="20"/>
                        <a:pt x="92" y="25"/>
                      </a:cubicBezTo>
                      <a:cubicBezTo>
                        <a:pt x="94" y="27"/>
                        <a:pt x="97" y="27"/>
                        <a:pt x="99" y="25"/>
                      </a:cubicBezTo>
                      <a:cubicBezTo>
                        <a:pt x="108" y="16"/>
                        <a:pt x="108" y="16"/>
                        <a:pt x="108" y="16"/>
                      </a:cubicBezTo>
                      <a:cubicBezTo>
                        <a:pt x="98" y="6"/>
                        <a:pt x="84" y="0"/>
                        <a:pt x="69" y="0"/>
                      </a:cubicBezTo>
                      <a:cubicBezTo>
                        <a:pt x="38" y="0"/>
                        <a:pt x="14" y="25"/>
                        <a:pt x="14" y="55"/>
                      </a:cubicBezTo>
                      <a:cubicBezTo>
                        <a:pt x="6" y="55"/>
                        <a:pt x="6" y="55"/>
                        <a:pt x="6" y="55"/>
                      </a:cubicBezTo>
                      <a:cubicBezTo>
                        <a:pt x="2" y="55"/>
                        <a:pt x="0" y="58"/>
                        <a:pt x="2" y="62"/>
                      </a:cubicBezTo>
                      <a:cubicBezTo>
                        <a:pt x="18" y="78"/>
                        <a:pt x="18" y="78"/>
                        <a:pt x="18" y="78"/>
                      </a:cubicBezTo>
                      <a:cubicBezTo>
                        <a:pt x="21" y="81"/>
                        <a:pt x="23" y="81"/>
                        <a:pt x="27" y="78"/>
                      </a:cubicBezTo>
                      <a:cubicBezTo>
                        <a:pt x="43" y="62"/>
                        <a:pt x="43" y="62"/>
                        <a:pt x="43" y="62"/>
                      </a:cubicBezTo>
                      <a:cubicBezTo>
                        <a:pt x="45" y="58"/>
                        <a:pt x="43" y="55"/>
                        <a:pt x="38" y="55"/>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sp>
              <p:nvSpPr>
                <p:cNvPr id="65" name="Freeform 383">
                  <a:extLst>
                    <a:ext uri="{FF2B5EF4-FFF2-40B4-BE49-F238E27FC236}">
                      <a16:creationId xmlns:a16="http://schemas.microsoft.com/office/drawing/2014/main" id="{ACFDB804-5368-C126-BAB6-9B3E7DF93B4C}"/>
                    </a:ext>
                  </a:extLst>
                </p:cNvPr>
                <p:cNvSpPr>
                  <a:spLocks/>
                </p:cNvSpPr>
                <p:nvPr/>
              </p:nvSpPr>
              <p:spPr bwMode="auto">
                <a:xfrm rot="1874662">
                  <a:off x="3471151" y="3555729"/>
                  <a:ext cx="314325" cy="236538"/>
                </a:xfrm>
                <a:custGeom>
                  <a:avLst/>
                  <a:gdLst>
                    <a:gd name="T0" fmla="*/ 105 w 108"/>
                    <a:gd name="T1" fmla="*/ 19 h 81"/>
                    <a:gd name="T2" fmla="*/ 89 w 108"/>
                    <a:gd name="T3" fmla="*/ 3 h 81"/>
                    <a:gd name="T4" fmla="*/ 81 w 108"/>
                    <a:gd name="T5" fmla="*/ 3 h 81"/>
                    <a:gd name="T6" fmla="*/ 65 w 108"/>
                    <a:gd name="T7" fmla="*/ 19 h 81"/>
                    <a:gd name="T8" fmla="*/ 69 w 108"/>
                    <a:gd name="T9" fmla="*/ 26 h 81"/>
                    <a:gd name="T10" fmla="*/ 76 w 108"/>
                    <a:gd name="T11" fmla="*/ 26 h 81"/>
                    <a:gd name="T12" fmla="*/ 39 w 108"/>
                    <a:gd name="T13" fmla="*/ 64 h 81"/>
                    <a:gd name="T14" fmla="*/ 15 w 108"/>
                    <a:gd name="T15" fmla="*/ 56 h 81"/>
                    <a:gd name="T16" fmla="*/ 9 w 108"/>
                    <a:gd name="T17" fmla="*/ 56 h 81"/>
                    <a:gd name="T18" fmla="*/ 0 w 108"/>
                    <a:gd name="T19" fmla="*/ 65 h 81"/>
                    <a:gd name="T20" fmla="*/ 39 w 108"/>
                    <a:gd name="T21" fmla="*/ 81 h 81"/>
                    <a:gd name="T22" fmla="*/ 94 w 108"/>
                    <a:gd name="T23" fmla="*/ 26 h 81"/>
                    <a:gd name="T24" fmla="*/ 101 w 108"/>
                    <a:gd name="T25" fmla="*/ 26 h 81"/>
                    <a:gd name="T26" fmla="*/ 105 w 108"/>
                    <a:gd name="T27" fmla="*/ 1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1">
                      <a:moveTo>
                        <a:pt x="105" y="19"/>
                      </a:moveTo>
                      <a:cubicBezTo>
                        <a:pt x="89" y="3"/>
                        <a:pt x="89" y="3"/>
                        <a:pt x="89" y="3"/>
                      </a:cubicBezTo>
                      <a:cubicBezTo>
                        <a:pt x="86" y="0"/>
                        <a:pt x="84" y="0"/>
                        <a:pt x="81" y="3"/>
                      </a:cubicBezTo>
                      <a:cubicBezTo>
                        <a:pt x="65" y="19"/>
                        <a:pt x="65" y="19"/>
                        <a:pt x="65" y="19"/>
                      </a:cubicBezTo>
                      <a:cubicBezTo>
                        <a:pt x="62" y="23"/>
                        <a:pt x="64" y="26"/>
                        <a:pt x="69" y="26"/>
                      </a:cubicBezTo>
                      <a:cubicBezTo>
                        <a:pt x="76" y="26"/>
                        <a:pt x="76" y="26"/>
                        <a:pt x="76" y="26"/>
                      </a:cubicBezTo>
                      <a:cubicBezTo>
                        <a:pt x="76" y="46"/>
                        <a:pt x="60" y="64"/>
                        <a:pt x="39" y="64"/>
                      </a:cubicBezTo>
                      <a:cubicBezTo>
                        <a:pt x="30" y="64"/>
                        <a:pt x="22" y="61"/>
                        <a:pt x="15" y="56"/>
                      </a:cubicBezTo>
                      <a:cubicBezTo>
                        <a:pt x="13" y="54"/>
                        <a:pt x="10" y="54"/>
                        <a:pt x="9" y="56"/>
                      </a:cubicBezTo>
                      <a:cubicBezTo>
                        <a:pt x="0" y="65"/>
                        <a:pt x="0" y="65"/>
                        <a:pt x="0" y="65"/>
                      </a:cubicBezTo>
                      <a:cubicBezTo>
                        <a:pt x="10" y="75"/>
                        <a:pt x="23" y="81"/>
                        <a:pt x="39" y="81"/>
                      </a:cubicBezTo>
                      <a:cubicBezTo>
                        <a:pt x="69" y="81"/>
                        <a:pt x="93" y="56"/>
                        <a:pt x="94" y="26"/>
                      </a:cubicBezTo>
                      <a:cubicBezTo>
                        <a:pt x="101" y="26"/>
                        <a:pt x="101" y="26"/>
                        <a:pt x="101" y="26"/>
                      </a:cubicBezTo>
                      <a:cubicBezTo>
                        <a:pt x="106" y="26"/>
                        <a:pt x="108" y="23"/>
                        <a:pt x="105" y="19"/>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Ubuntu"/>
                    <a:ea typeface="+mn-ea"/>
                    <a:cs typeface="+mn-cs"/>
                  </a:endParaRPr>
                </a:p>
              </p:txBody>
            </p:sp>
          </p:grpSp>
        </p:grpSp>
      </p:grpSp>
      <p:grpSp>
        <p:nvGrpSpPr>
          <p:cNvPr id="25" name="Groupe 24">
            <a:extLst>
              <a:ext uri="{FF2B5EF4-FFF2-40B4-BE49-F238E27FC236}">
                <a16:creationId xmlns:a16="http://schemas.microsoft.com/office/drawing/2014/main" id="{58929CD4-E115-455C-B7B6-74E14C0905EE}"/>
              </a:ext>
            </a:extLst>
          </p:cNvPr>
          <p:cNvGrpSpPr/>
          <p:nvPr/>
        </p:nvGrpSpPr>
        <p:grpSpPr>
          <a:xfrm>
            <a:off x="3292392" y="5593373"/>
            <a:ext cx="8564247" cy="751582"/>
            <a:chOff x="3292392" y="4945526"/>
            <a:chExt cx="8564247" cy="751582"/>
          </a:xfrm>
        </p:grpSpPr>
        <p:sp>
          <p:nvSpPr>
            <p:cNvPr id="5" name="TextBox 4">
              <a:extLst>
                <a:ext uri="{FF2B5EF4-FFF2-40B4-BE49-F238E27FC236}">
                  <a16:creationId xmlns:a16="http://schemas.microsoft.com/office/drawing/2014/main" id="{E31773A2-DD3D-31A9-EEF8-7806BF73186B}"/>
                </a:ext>
              </a:extLst>
            </p:cNvPr>
            <p:cNvSpPr txBox="1"/>
            <p:nvPr/>
          </p:nvSpPr>
          <p:spPr>
            <a:xfrm>
              <a:off x="4191000" y="4975069"/>
              <a:ext cx="7665639" cy="692497"/>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Governments should invest more in education, research, and innovation.</a:t>
              </a:r>
              <a:br>
                <a:rPr kumimoji="0" lang="en-GB"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br>
              <a:r>
                <a:rPr lang="en-GB" sz="1500" dirty="0">
                  <a:solidFill>
                    <a:srgbClr val="FFFFFF"/>
                  </a:solidFill>
                  <a:latin typeface="Ubuntu Light" panose="020B0304030602030204" pitchFamily="34" charset="0"/>
                </a:rPr>
                <a:t>Citizens</a:t>
              </a:r>
              <a:r>
                <a:rPr kumimoji="0" lang="en-US" sz="1500" b="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media and politicians should all receive basic knowledge to understand energy challenges.</a:t>
              </a:r>
            </a:p>
          </p:txBody>
        </p:sp>
        <p:grpSp>
          <p:nvGrpSpPr>
            <p:cNvPr id="22" name="Groupe 21">
              <a:extLst>
                <a:ext uri="{FF2B5EF4-FFF2-40B4-BE49-F238E27FC236}">
                  <a16:creationId xmlns:a16="http://schemas.microsoft.com/office/drawing/2014/main" id="{6242319F-C18B-4CD0-9896-A844DA9875F2}"/>
                </a:ext>
              </a:extLst>
            </p:cNvPr>
            <p:cNvGrpSpPr/>
            <p:nvPr/>
          </p:nvGrpSpPr>
          <p:grpSpPr>
            <a:xfrm>
              <a:off x="3292392" y="4945526"/>
              <a:ext cx="785778" cy="751582"/>
              <a:chOff x="3292392" y="4945526"/>
              <a:chExt cx="785778" cy="751582"/>
            </a:xfrm>
          </p:grpSpPr>
          <p:sp>
            <p:nvSpPr>
              <p:cNvPr id="18" name="Freeform 215">
                <a:extLst>
                  <a:ext uri="{FF2B5EF4-FFF2-40B4-BE49-F238E27FC236}">
                    <a16:creationId xmlns:a16="http://schemas.microsoft.com/office/drawing/2014/main" id="{8002512A-1E9D-8F73-EF3D-A2A238D72CF4}"/>
                  </a:ext>
                </a:extLst>
              </p:cNvPr>
              <p:cNvSpPr/>
              <p:nvPr/>
            </p:nvSpPr>
            <p:spPr>
              <a:xfrm>
                <a:off x="3292392" y="4945526"/>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75" name="Group 74">
                <a:extLst>
                  <a:ext uri="{FF2B5EF4-FFF2-40B4-BE49-F238E27FC236}">
                    <a16:creationId xmlns:a16="http://schemas.microsoft.com/office/drawing/2014/main" id="{32C33BFD-ECA6-0466-983D-526528D65A45}"/>
                  </a:ext>
                </a:extLst>
              </p:cNvPr>
              <p:cNvGrpSpPr/>
              <p:nvPr/>
            </p:nvGrpSpPr>
            <p:grpSpPr>
              <a:xfrm>
                <a:off x="3458569" y="5033401"/>
                <a:ext cx="456426" cy="559972"/>
                <a:chOff x="3412584" y="5033401"/>
                <a:chExt cx="456426" cy="559972"/>
              </a:xfrm>
              <a:solidFill>
                <a:schemeClr val="accent4"/>
              </a:solidFill>
            </p:grpSpPr>
            <p:grpSp>
              <p:nvGrpSpPr>
                <p:cNvPr id="67" name="Group 66">
                  <a:extLst>
                    <a:ext uri="{FF2B5EF4-FFF2-40B4-BE49-F238E27FC236}">
                      <a16:creationId xmlns:a16="http://schemas.microsoft.com/office/drawing/2014/main" id="{2D7748E9-99B5-7BAF-8B4B-E43471F1C85B}"/>
                    </a:ext>
                  </a:extLst>
                </p:cNvPr>
                <p:cNvGrpSpPr/>
                <p:nvPr/>
              </p:nvGrpSpPr>
              <p:grpSpPr>
                <a:xfrm>
                  <a:off x="3412584" y="5392702"/>
                  <a:ext cx="456426" cy="200671"/>
                  <a:chOff x="2203627" y="5293325"/>
                  <a:chExt cx="317256" cy="139484"/>
                </a:xfrm>
                <a:grpFill/>
              </p:grpSpPr>
              <p:sp>
                <p:nvSpPr>
                  <p:cNvPr id="68" name="Freeform 33">
                    <a:extLst>
                      <a:ext uri="{FF2B5EF4-FFF2-40B4-BE49-F238E27FC236}">
                        <a16:creationId xmlns:a16="http://schemas.microsoft.com/office/drawing/2014/main" id="{6E87ACA4-9804-F944-5178-3B178B3ECF81}"/>
                      </a:ext>
                    </a:extLst>
                  </p:cNvPr>
                  <p:cNvSpPr>
                    <a:spLocks noEditPoints="1"/>
                  </p:cNvSpPr>
                  <p:nvPr/>
                </p:nvSpPr>
                <p:spPr bwMode="auto">
                  <a:xfrm>
                    <a:off x="2270634" y="5293325"/>
                    <a:ext cx="250249" cy="106664"/>
                  </a:xfrm>
                  <a:custGeom>
                    <a:avLst/>
                    <a:gdLst>
                      <a:gd name="T0" fmla="*/ 77 w 86"/>
                      <a:gd name="T1" fmla="*/ 3 h 36"/>
                      <a:gd name="T2" fmla="*/ 51 w 86"/>
                      <a:gd name="T3" fmla="*/ 13 h 36"/>
                      <a:gd name="T4" fmla="*/ 27 w 86"/>
                      <a:gd name="T5" fmla="*/ 12 h 36"/>
                      <a:gd name="T6" fmla="*/ 46 w 86"/>
                      <a:gd name="T7" fmla="*/ 7 h 36"/>
                      <a:gd name="T8" fmla="*/ 46 w 86"/>
                      <a:gd name="T9" fmla="*/ 0 h 36"/>
                      <a:gd name="T10" fmla="*/ 17 w 86"/>
                      <a:gd name="T11" fmla="*/ 1 h 36"/>
                      <a:gd name="T12" fmla="*/ 0 w 86"/>
                      <a:gd name="T13" fmla="*/ 7 h 36"/>
                      <a:gd name="T14" fmla="*/ 5 w 86"/>
                      <a:gd name="T15" fmla="*/ 36 h 36"/>
                      <a:gd name="T16" fmla="*/ 12 w 86"/>
                      <a:gd name="T17" fmla="*/ 30 h 36"/>
                      <a:gd name="T18" fmla="*/ 50 w 86"/>
                      <a:gd name="T19" fmla="*/ 30 h 36"/>
                      <a:gd name="T20" fmla="*/ 83 w 86"/>
                      <a:gd name="T21" fmla="*/ 9 h 36"/>
                      <a:gd name="T22" fmla="*/ 77 w 86"/>
                      <a:gd name="T23" fmla="*/ 3 h 36"/>
                      <a:gd name="T24" fmla="*/ 77 w 86"/>
                      <a:gd name="T25" fmla="*/ 3 h 36"/>
                      <a:gd name="T26" fmla="*/ 77 w 86"/>
                      <a:gd name="T27"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36">
                        <a:moveTo>
                          <a:pt x="77" y="3"/>
                        </a:moveTo>
                        <a:cubicBezTo>
                          <a:pt x="71" y="6"/>
                          <a:pt x="51" y="13"/>
                          <a:pt x="51" y="13"/>
                        </a:cubicBezTo>
                        <a:cubicBezTo>
                          <a:pt x="27" y="12"/>
                          <a:pt x="27" y="12"/>
                          <a:pt x="27" y="12"/>
                        </a:cubicBezTo>
                        <a:cubicBezTo>
                          <a:pt x="27" y="12"/>
                          <a:pt x="41" y="8"/>
                          <a:pt x="46" y="7"/>
                        </a:cubicBezTo>
                        <a:cubicBezTo>
                          <a:pt x="51" y="6"/>
                          <a:pt x="49" y="0"/>
                          <a:pt x="46" y="0"/>
                        </a:cubicBezTo>
                        <a:cubicBezTo>
                          <a:pt x="43" y="0"/>
                          <a:pt x="17" y="1"/>
                          <a:pt x="17" y="1"/>
                        </a:cubicBezTo>
                        <a:cubicBezTo>
                          <a:pt x="0" y="7"/>
                          <a:pt x="0" y="7"/>
                          <a:pt x="0" y="7"/>
                        </a:cubicBezTo>
                        <a:cubicBezTo>
                          <a:pt x="5" y="36"/>
                          <a:pt x="5" y="36"/>
                          <a:pt x="5" y="36"/>
                        </a:cubicBezTo>
                        <a:cubicBezTo>
                          <a:pt x="5" y="36"/>
                          <a:pt x="8" y="30"/>
                          <a:pt x="12" y="30"/>
                        </a:cubicBezTo>
                        <a:cubicBezTo>
                          <a:pt x="15" y="30"/>
                          <a:pt x="46" y="30"/>
                          <a:pt x="50" y="30"/>
                        </a:cubicBezTo>
                        <a:cubicBezTo>
                          <a:pt x="54" y="29"/>
                          <a:pt x="80" y="11"/>
                          <a:pt x="83" y="9"/>
                        </a:cubicBezTo>
                        <a:cubicBezTo>
                          <a:pt x="86" y="7"/>
                          <a:pt x="83" y="0"/>
                          <a:pt x="77" y="3"/>
                        </a:cubicBezTo>
                        <a:close/>
                        <a:moveTo>
                          <a:pt x="77" y="3"/>
                        </a:moveTo>
                        <a:cubicBezTo>
                          <a:pt x="77" y="3"/>
                          <a:pt x="77" y="3"/>
                          <a:pt x="7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9" name="Freeform 34">
                    <a:extLst>
                      <a:ext uri="{FF2B5EF4-FFF2-40B4-BE49-F238E27FC236}">
                        <a16:creationId xmlns:a16="http://schemas.microsoft.com/office/drawing/2014/main" id="{87F7B4CB-6A96-B2D7-F10A-F125506EA5D7}"/>
                      </a:ext>
                    </a:extLst>
                  </p:cNvPr>
                  <p:cNvSpPr>
                    <a:spLocks noEditPoints="1"/>
                  </p:cNvSpPr>
                  <p:nvPr/>
                </p:nvSpPr>
                <p:spPr bwMode="auto">
                  <a:xfrm>
                    <a:off x="2203627" y="5311103"/>
                    <a:ext cx="76579" cy="121706"/>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close/>
                        <a:moveTo>
                          <a:pt x="0" y="9"/>
                        </a:move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0" name="Freeform 35">
                    <a:extLst>
                      <a:ext uri="{FF2B5EF4-FFF2-40B4-BE49-F238E27FC236}">
                        <a16:creationId xmlns:a16="http://schemas.microsoft.com/office/drawing/2014/main" id="{6961B95F-D4E3-1D1B-EE33-BD0CF0522D21}"/>
                      </a:ext>
                    </a:extLst>
                  </p:cNvPr>
                  <p:cNvSpPr>
                    <a:spLocks noEditPoints="1"/>
                  </p:cNvSpPr>
                  <p:nvPr/>
                </p:nvSpPr>
                <p:spPr bwMode="auto">
                  <a:xfrm>
                    <a:off x="2203627" y="5311103"/>
                    <a:ext cx="76579" cy="121706"/>
                  </a:xfrm>
                  <a:custGeom>
                    <a:avLst/>
                    <a:gdLst>
                      <a:gd name="T0" fmla="*/ 0 w 56"/>
                      <a:gd name="T1" fmla="*/ 9 h 89"/>
                      <a:gd name="T2" fmla="*/ 0 w 56"/>
                      <a:gd name="T3" fmla="*/ 89 h 89"/>
                      <a:gd name="T4" fmla="*/ 56 w 56"/>
                      <a:gd name="T5" fmla="*/ 78 h 89"/>
                      <a:gd name="T6" fmla="*/ 43 w 56"/>
                      <a:gd name="T7" fmla="*/ 0 h 89"/>
                      <a:gd name="T8" fmla="*/ 0 w 56"/>
                      <a:gd name="T9" fmla="*/ 9 h 89"/>
                      <a:gd name="T10" fmla="*/ 0 w 56"/>
                      <a:gd name="T11" fmla="*/ 9 h 89"/>
                      <a:gd name="T12" fmla="*/ 0 w 56"/>
                      <a:gd name="T13" fmla="*/ 9 h 89"/>
                    </a:gdLst>
                    <a:ahLst/>
                    <a:cxnLst>
                      <a:cxn ang="0">
                        <a:pos x="T0" y="T1"/>
                      </a:cxn>
                      <a:cxn ang="0">
                        <a:pos x="T2" y="T3"/>
                      </a:cxn>
                      <a:cxn ang="0">
                        <a:pos x="T4" y="T5"/>
                      </a:cxn>
                      <a:cxn ang="0">
                        <a:pos x="T6" y="T7"/>
                      </a:cxn>
                      <a:cxn ang="0">
                        <a:pos x="T8" y="T9"/>
                      </a:cxn>
                      <a:cxn ang="0">
                        <a:pos x="T10" y="T11"/>
                      </a:cxn>
                      <a:cxn ang="0">
                        <a:pos x="T12" y="T13"/>
                      </a:cxn>
                    </a:cxnLst>
                    <a:rect l="0" t="0" r="r" b="b"/>
                    <a:pathLst>
                      <a:path w="56" h="89">
                        <a:moveTo>
                          <a:pt x="0" y="9"/>
                        </a:moveTo>
                        <a:lnTo>
                          <a:pt x="0" y="89"/>
                        </a:lnTo>
                        <a:lnTo>
                          <a:pt x="56" y="78"/>
                        </a:lnTo>
                        <a:lnTo>
                          <a:pt x="43" y="0"/>
                        </a:lnTo>
                        <a:lnTo>
                          <a:pt x="0" y="9"/>
                        </a:lnTo>
                        <a:moveTo>
                          <a:pt x="0" y="9"/>
                        </a:moveTo>
                        <a:lnTo>
                          <a:pt x="0" y="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71" name="Graphic 1293">
                  <a:extLst>
                    <a:ext uri="{FF2B5EF4-FFF2-40B4-BE49-F238E27FC236}">
                      <a16:creationId xmlns:a16="http://schemas.microsoft.com/office/drawing/2014/main" id="{A7ED7FDC-C4FC-55F4-8B70-150FFA72923F}"/>
                    </a:ext>
                  </a:extLst>
                </p:cNvPr>
                <p:cNvGrpSpPr/>
                <p:nvPr/>
              </p:nvGrpSpPr>
              <p:grpSpPr>
                <a:xfrm>
                  <a:off x="3482481" y="5033401"/>
                  <a:ext cx="386529" cy="322819"/>
                  <a:chOff x="8038114" y="3849201"/>
                  <a:chExt cx="1006095" cy="840264"/>
                </a:xfrm>
                <a:grpFill/>
              </p:grpSpPr>
              <p:sp>
                <p:nvSpPr>
                  <p:cNvPr id="72" name="Freeform 71">
                    <a:extLst>
                      <a:ext uri="{FF2B5EF4-FFF2-40B4-BE49-F238E27FC236}">
                        <a16:creationId xmlns:a16="http://schemas.microsoft.com/office/drawing/2014/main" id="{532C7AC5-30E0-97C5-4333-4DAD87E8010A}"/>
                      </a:ext>
                    </a:extLst>
                  </p:cNvPr>
                  <p:cNvSpPr/>
                  <p:nvPr/>
                </p:nvSpPr>
                <p:spPr>
                  <a:xfrm>
                    <a:off x="8260504" y="3951970"/>
                    <a:ext cx="395205" cy="632774"/>
                  </a:xfrm>
                  <a:custGeom>
                    <a:avLst/>
                    <a:gdLst>
                      <a:gd name="connsiteX0" fmla="*/ 392398 w 395205"/>
                      <a:gd name="connsiteY0" fmla="*/ 277598 h 632774"/>
                      <a:gd name="connsiteX1" fmla="*/ 111632 w 395205"/>
                      <a:gd name="connsiteY1" fmla="*/ 627939 h 632774"/>
                      <a:gd name="connsiteX2" fmla="*/ 101619 w 395205"/>
                      <a:gd name="connsiteY2" fmla="*/ 632774 h 632774"/>
                      <a:gd name="connsiteX3" fmla="*/ 95892 w 395205"/>
                      <a:gd name="connsiteY3" fmla="*/ 631437 h 632774"/>
                      <a:gd name="connsiteX4" fmla="*/ 89137 w 395205"/>
                      <a:gd name="connsiteY4" fmla="*/ 616795 h 632774"/>
                      <a:gd name="connsiteX5" fmla="*/ 150174 w 395205"/>
                      <a:gd name="connsiteY5" fmla="*/ 376045 h 632774"/>
                      <a:gd name="connsiteX6" fmla="*/ 12842 w 395205"/>
                      <a:gd name="connsiteY6" fmla="*/ 376045 h 632774"/>
                      <a:gd name="connsiteX7" fmla="*/ 1252 w 395205"/>
                      <a:gd name="connsiteY7" fmla="*/ 368741 h 632774"/>
                      <a:gd name="connsiteX8" fmla="*/ 2830 w 395205"/>
                      <a:gd name="connsiteY8" fmla="*/ 355162 h 632774"/>
                      <a:gd name="connsiteX9" fmla="*/ 283562 w 395205"/>
                      <a:gd name="connsiteY9" fmla="*/ 4821 h 632774"/>
                      <a:gd name="connsiteX10" fmla="*/ 299335 w 395205"/>
                      <a:gd name="connsiteY10" fmla="*/ 1358 h 632774"/>
                      <a:gd name="connsiteX11" fmla="*/ 306056 w 395205"/>
                      <a:gd name="connsiteY11" fmla="*/ 16000 h 632774"/>
                      <a:gd name="connsiteX12" fmla="*/ 245054 w 395205"/>
                      <a:gd name="connsiteY12" fmla="*/ 256750 h 632774"/>
                      <a:gd name="connsiteX13" fmla="*/ 382351 w 395205"/>
                      <a:gd name="connsiteY13" fmla="*/ 256750 h 632774"/>
                      <a:gd name="connsiteX14" fmla="*/ 393941 w 395205"/>
                      <a:gd name="connsiteY14" fmla="*/ 264054 h 632774"/>
                      <a:gd name="connsiteX15" fmla="*/ 392398 w 395205"/>
                      <a:gd name="connsiteY15" fmla="*/ 277632 h 632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5205" h="632774">
                        <a:moveTo>
                          <a:pt x="392398" y="277598"/>
                        </a:moveTo>
                        <a:lnTo>
                          <a:pt x="111632" y="627939"/>
                        </a:lnTo>
                        <a:cubicBezTo>
                          <a:pt x="109129" y="631060"/>
                          <a:pt x="105391" y="632774"/>
                          <a:pt x="101619" y="632774"/>
                        </a:cubicBezTo>
                        <a:cubicBezTo>
                          <a:pt x="99699" y="632774"/>
                          <a:pt x="97744" y="632328"/>
                          <a:pt x="95892" y="631437"/>
                        </a:cubicBezTo>
                        <a:cubicBezTo>
                          <a:pt x="90475" y="628728"/>
                          <a:pt x="87663" y="622624"/>
                          <a:pt x="89137" y="616795"/>
                        </a:cubicBezTo>
                        <a:lnTo>
                          <a:pt x="150174" y="376045"/>
                        </a:lnTo>
                        <a:lnTo>
                          <a:pt x="12842" y="376045"/>
                        </a:lnTo>
                        <a:cubicBezTo>
                          <a:pt x="7905" y="376045"/>
                          <a:pt x="3412" y="373233"/>
                          <a:pt x="1252" y="368741"/>
                        </a:cubicBezTo>
                        <a:cubicBezTo>
                          <a:pt x="-874" y="364283"/>
                          <a:pt x="-256" y="359002"/>
                          <a:pt x="2830" y="355162"/>
                        </a:cubicBezTo>
                        <a:lnTo>
                          <a:pt x="283562" y="4821"/>
                        </a:lnTo>
                        <a:cubicBezTo>
                          <a:pt x="287368" y="89"/>
                          <a:pt x="293917" y="-1351"/>
                          <a:pt x="299335" y="1358"/>
                        </a:cubicBezTo>
                        <a:cubicBezTo>
                          <a:pt x="304719" y="4067"/>
                          <a:pt x="307531" y="10170"/>
                          <a:pt x="306056" y="16000"/>
                        </a:cubicBezTo>
                        <a:lnTo>
                          <a:pt x="245054" y="256750"/>
                        </a:lnTo>
                        <a:lnTo>
                          <a:pt x="382351" y="256750"/>
                        </a:lnTo>
                        <a:cubicBezTo>
                          <a:pt x="387289" y="256750"/>
                          <a:pt x="391781" y="259561"/>
                          <a:pt x="393941" y="264054"/>
                        </a:cubicBezTo>
                        <a:cubicBezTo>
                          <a:pt x="396067" y="268511"/>
                          <a:pt x="395484" y="273792"/>
                          <a:pt x="392398" y="277632"/>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3" name="Freeform 72">
                    <a:extLst>
                      <a:ext uri="{FF2B5EF4-FFF2-40B4-BE49-F238E27FC236}">
                        <a16:creationId xmlns:a16="http://schemas.microsoft.com/office/drawing/2014/main" id="{9E9BBC34-0726-F1E2-1C44-E605772586FD}"/>
                      </a:ext>
                    </a:extLst>
                  </p:cNvPr>
                  <p:cNvSpPr/>
                  <p:nvPr/>
                </p:nvSpPr>
                <p:spPr>
                  <a:xfrm>
                    <a:off x="8725747" y="3908888"/>
                    <a:ext cx="232774" cy="377807"/>
                  </a:xfrm>
                  <a:custGeom>
                    <a:avLst/>
                    <a:gdLst>
                      <a:gd name="connsiteX0" fmla="*/ 73299 w 232774"/>
                      <a:gd name="connsiteY0" fmla="*/ 162706 h 377807"/>
                      <a:gd name="connsiteX1" fmla="*/ 58245 w 232774"/>
                      <a:gd name="connsiteY1" fmla="*/ 138703 h 377807"/>
                      <a:gd name="connsiteX2" fmla="*/ 61640 w 232774"/>
                      <a:gd name="connsiteY2" fmla="*/ 120872 h 377807"/>
                      <a:gd name="connsiteX3" fmla="*/ 79505 w 232774"/>
                      <a:gd name="connsiteY3" fmla="*/ 124267 h 377807"/>
                      <a:gd name="connsiteX4" fmla="*/ 95519 w 232774"/>
                      <a:gd name="connsiteY4" fmla="*/ 149779 h 377807"/>
                      <a:gd name="connsiteX5" fmla="*/ 151823 w 232774"/>
                      <a:gd name="connsiteY5" fmla="*/ 377807 h 377807"/>
                      <a:gd name="connsiteX6" fmla="*/ 229764 w 232774"/>
                      <a:gd name="connsiteY6" fmla="*/ 222577 h 377807"/>
                      <a:gd name="connsiteX7" fmla="*/ 128540 w 232774"/>
                      <a:gd name="connsiteY7" fmla="*/ 88057 h 377807"/>
                      <a:gd name="connsiteX8" fmla="*/ 50324 w 232774"/>
                      <a:gd name="connsiteY8" fmla="*/ 0 h 377807"/>
                      <a:gd name="connsiteX9" fmla="*/ 2833 w 232774"/>
                      <a:gd name="connsiteY9" fmla="*/ 197408 h 377807"/>
                      <a:gd name="connsiteX10" fmla="*/ 126208 w 232774"/>
                      <a:gd name="connsiteY10" fmla="*/ 375647 h 377807"/>
                      <a:gd name="connsiteX11" fmla="*/ 73299 w 232774"/>
                      <a:gd name="connsiteY11" fmla="*/ 162741 h 37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774" h="377807">
                        <a:moveTo>
                          <a:pt x="73299" y="162706"/>
                        </a:moveTo>
                        <a:cubicBezTo>
                          <a:pt x="68567" y="154545"/>
                          <a:pt x="63492" y="146487"/>
                          <a:pt x="58245" y="138703"/>
                        </a:cubicBezTo>
                        <a:cubicBezTo>
                          <a:pt x="54268" y="132874"/>
                          <a:pt x="55810" y="124850"/>
                          <a:pt x="61640" y="120872"/>
                        </a:cubicBezTo>
                        <a:cubicBezTo>
                          <a:pt x="67504" y="116895"/>
                          <a:pt x="75527" y="118403"/>
                          <a:pt x="79505" y="124267"/>
                        </a:cubicBezTo>
                        <a:cubicBezTo>
                          <a:pt x="85129" y="132531"/>
                          <a:pt x="90512" y="141103"/>
                          <a:pt x="95519" y="149779"/>
                        </a:cubicBezTo>
                        <a:cubicBezTo>
                          <a:pt x="137147" y="221479"/>
                          <a:pt x="155115" y="300518"/>
                          <a:pt x="151823" y="377807"/>
                        </a:cubicBezTo>
                        <a:cubicBezTo>
                          <a:pt x="184501" y="356959"/>
                          <a:pt x="247218" y="305113"/>
                          <a:pt x="229764" y="222577"/>
                        </a:cubicBezTo>
                        <a:cubicBezTo>
                          <a:pt x="217454" y="164318"/>
                          <a:pt x="172260" y="125536"/>
                          <a:pt x="128540" y="88057"/>
                        </a:cubicBezTo>
                        <a:cubicBezTo>
                          <a:pt x="95827" y="60008"/>
                          <a:pt x="64555" y="33159"/>
                          <a:pt x="50324" y="0"/>
                        </a:cubicBezTo>
                        <a:cubicBezTo>
                          <a:pt x="27693" y="36279"/>
                          <a:pt x="-10746" y="112883"/>
                          <a:pt x="2833" y="197408"/>
                        </a:cubicBezTo>
                        <a:cubicBezTo>
                          <a:pt x="13634" y="264788"/>
                          <a:pt x="55091" y="324658"/>
                          <a:pt x="126208" y="375647"/>
                        </a:cubicBezTo>
                        <a:cubicBezTo>
                          <a:pt x="129054" y="303467"/>
                          <a:pt x="112183" y="229709"/>
                          <a:pt x="73299" y="162741"/>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4" name="Freeform 73">
                    <a:extLst>
                      <a:ext uri="{FF2B5EF4-FFF2-40B4-BE49-F238E27FC236}">
                        <a16:creationId xmlns:a16="http://schemas.microsoft.com/office/drawing/2014/main" id="{A1BB7541-350C-BD5D-DBC9-DE744A68D972}"/>
                      </a:ext>
                    </a:extLst>
                  </p:cNvPr>
                  <p:cNvSpPr/>
                  <p:nvPr/>
                </p:nvSpPr>
                <p:spPr>
                  <a:xfrm>
                    <a:off x="8038114" y="3849201"/>
                    <a:ext cx="1006095" cy="840264"/>
                  </a:xfrm>
                  <a:custGeom>
                    <a:avLst/>
                    <a:gdLst>
                      <a:gd name="connsiteX0" fmla="*/ 984777 w 1006095"/>
                      <a:gd name="connsiteY0" fmla="*/ 240875 h 840264"/>
                      <a:gd name="connsiteX1" fmla="*/ 966775 w 1006095"/>
                      <a:gd name="connsiteY1" fmla="*/ 129398 h 840264"/>
                      <a:gd name="connsiteX2" fmla="*/ 893635 w 1006095"/>
                      <a:gd name="connsiteY2" fmla="*/ 185463 h 840264"/>
                      <a:gd name="connsiteX3" fmla="*/ 942566 w 1006095"/>
                      <a:gd name="connsiteY3" fmla="*/ 276982 h 840264"/>
                      <a:gd name="connsiteX4" fmla="*/ 896961 w 1006095"/>
                      <a:gd name="connsiteY4" fmla="*/ 423367 h 840264"/>
                      <a:gd name="connsiteX5" fmla="*/ 836987 w 1006095"/>
                      <a:gd name="connsiteY5" fmla="*/ 468698 h 840264"/>
                      <a:gd name="connsiteX6" fmla="*/ 839456 w 1006095"/>
                      <a:gd name="connsiteY6" fmla="*/ 437528 h 840264"/>
                      <a:gd name="connsiteX7" fmla="*/ 827387 w 1006095"/>
                      <a:gd name="connsiteY7" fmla="*/ 444729 h 840264"/>
                      <a:gd name="connsiteX8" fmla="*/ 813842 w 1006095"/>
                      <a:gd name="connsiteY8" fmla="*/ 435334 h 840264"/>
                      <a:gd name="connsiteX9" fmla="*/ 811545 w 1006095"/>
                      <a:gd name="connsiteY9" fmla="*/ 465029 h 840264"/>
                      <a:gd name="connsiteX10" fmla="*/ 617909 w 1006095"/>
                      <a:gd name="connsiteY10" fmla="*/ 761397 h 840264"/>
                      <a:gd name="connsiteX11" fmla="*/ 420604 w 1006095"/>
                      <a:gd name="connsiteY11" fmla="*/ 814615 h 840264"/>
                      <a:gd name="connsiteX12" fmla="*/ 78939 w 1006095"/>
                      <a:gd name="connsiteY12" fmla="*/ 618374 h 840264"/>
                      <a:gd name="connsiteX13" fmla="*/ 221962 w 1006095"/>
                      <a:gd name="connsiteY13" fmla="*/ 79403 h 840264"/>
                      <a:gd name="connsiteX14" fmla="*/ 605907 w 1006095"/>
                      <a:gd name="connsiteY14" fmla="*/ 72614 h 840264"/>
                      <a:gd name="connsiteX15" fmla="*/ 623292 w 1006095"/>
                      <a:gd name="connsiteY15" fmla="*/ 67334 h 840264"/>
                      <a:gd name="connsiteX16" fmla="*/ 617977 w 1006095"/>
                      <a:gd name="connsiteY16" fmla="*/ 49914 h 840264"/>
                      <a:gd name="connsiteX17" fmla="*/ 209069 w 1006095"/>
                      <a:gd name="connsiteY17" fmla="*/ 57149 h 840264"/>
                      <a:gd name="connsiteX18" fmla="*/ 56684 w 1006095"/>
                      <a:gd name="connsiteY18" fmla="*/ 631233 h 840264"/>
                      <a:gd name="connsiteX19" fmla="*/ 420639 w 1006095"/>
                      <a:gd name="connsiteY19" fmla="*/ 840264 h 840264"/>
                      <a:gd name="connsiteX20" fmla="*/ 630802 w 1006095"/>
                      <a:gd name="connsiteY20" fmla="*/ 783617 h 840264"/>
                      <a:gd name="connsiteX21" fmla="*/ 827489 w 1006095"/>
                      <a:gd name="connsiteY21" fmla="*/ 520956 h 840264"/>
                      <a:gd name="connsiteX22" fmla="*/ 832907 w 1006095"/>
                      <a:gd name="connsiteY22" fmla="*/ 495615 h 840264"/>
                      <a:gd name="connsiteX23" fmla="*/ 848097 w 1006095"/>
                      <a:gd name="connsiteY23" fmla="*/ 496130 h 840264"/>
                      <a:gd name="connsiteX24" fmla="*/ 995785 w 1006095"/>
                      <a:gd name="connsiteY24" fmla="*/ 408931 h 840264"/>
                      <a:gd name="connsiteX25" fmla="*/ 984743 w 1006095"/>
                      <a:gd name="connsiteY25" fmla="*/ 240944 h 84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6095" h="840264">
                        <a:moveTo>
                          <a:pt x="984777" y="240875"/>
                        </a:moveTo>
                        <a:cubicBezTo>
                          <a:pt x="973359" y="201442"/>
                          <a:pt x="962386" y="163620"/>
                          <a:pt x="966775" y="129398"/>
                        </a:cubicBezTo>
                        <a:cubicBezTo>
                          <a:pt x="947607" y="141537"/>
                          <a:pt x="920621" y="160431"/>
                          <a:pt x="893635" y="185463"/>
                        </a:cubicBezTo>
                        <a:cubicBezTo>
                          <a:pt x="916232" y="211043"/>
                          <a:pt x="934851" y="240532"/>
                          <a:pt x="942566" y="276982"/>
                        </a:cubicBezTo>
                        <a:cubicBezTo>
                          <a:pt x="953814" y="330201"/>
                          <a:pt x="938040" y="380813"/>
                          <a:pt x="896961" y="423367"/>
                        </a:cubicBezTo>
                        <a:cubicBezTo>
                          <a:pt x="873164" y="447987"/>
                          <a:pt x="847583" y="463040"/>
                          <a:pt x="836987" y="468698"/>
                        </a:cubicBezTo>
                        <a:cubicBezTo>
                          <a:pt x="838222" y="458342"/>
                          <a:pt x="839011" y="447987"/>
                          <a:pt x="839456" y="437528"/>
                        </a:cubicBezTo>
                        <a:cubicBezTo>
                          <a:pt x="834656" y="440615"/>
                          <a:pt x="830541" y="442980"/>
                          <a:pt x="827387" y="444729"/>
                        </a:cubicBezTo>
                        <a:cubicBezTo>
                          <a:pt x="822757" y="441643"/>
                          <a:pt x="818231" y="438489"/>
                          <a:pt x="813842" y="435334"/>
                        </a:cubicBezTo>
                        <a:cubicBezTo>
                          <a:pt x="813465" y="445244"/>
                          <a:pt x="812676" y="455188"/>
                          <a:pt x="811545" y="465029"/>
                        </a:cubicBezTo>
                        <a:cubicBezTo>
                          <a:pt x="797760" y="584564"/>
                          <a:pt x="729728" y="696452"/>
                          <a:pt x="617909" y="761397"/>
                        </a:cubicBezTo>
                        <a:cubicBezTo>
                          <a:pt x="555775" y="797470"/>
                          <a:pt x="487778" y="814615"/>
                          <a:pt x="420604" y="814615"/>
                        </a:cubicBezTo>
                        <a:cubicBezTo>
                          <a:pt x="284576" y="814615"/>
                          <a:pt x="152045" y="744252"/>
                          <a:pt x="78939" y="618374"/>
                        </a:cubicBezTo>
                        <a:cubicBezTo>
                          <a:pt x="-30207" y="430362"/>
                          <a:pt x="33950" y="188549"/>
                          <a:pt x="221962" y="79403"/>
                        </a:cubicBezTo>
                        <a:cubicBezTo>
                          <a:pt x="340914" y="10344"/>
                          <a:pt x="484418" y="7806"/>
                          <a:pt x="605907" y="72614"/>
                        </a:cubicBezTo>
                        <a:cubicBezTo>
                          <a:pt x="612182" y="75940"/>
                          <a:pt x="619932" y="73609"/>
                          <a:pt x="623292" y="67334"/>
                        </a:cubicBezTo>
                        <a:cubicBezTo>
                          <a:pt x="626618" y="61058"/>
                          <a:pt x="624253" y="53274"/>
                          <a:pt x="617977" y="49914"/>
                        </a:cubicBezTo>
                        <a:cubicBezTo>
                          <a:pt x="488601" y="-19112"/>
                          <a:pt x="335702" y="-16403"/>
                          <a:pt x="209069" y="57149"/>
                        </a:cubicBezTo>
                        <a:cubicBezTo>
                          <a:pt x="8781" y="173427"/>
                          <a:pt x="-59593" y="430945"/>
                          <a:pt x="56684" y="631233"/>
                        </a:cubicBezTo>
                        <a:cubicBezTo>
                          <a:pt x="134557" y="765341"/>
                          <a:pt x="275695" y="840299"/>
                          <a:pt x="420639" y="840264"/>
                        </a:cubicBezTo>
                        <a:cubicBezTo>
                          <a:pt x="492167" y="840264"/>
                          <a:pt x="564622" y="822022"/>
                          <a:pt x="630802" y="783617"/>
                        </a:cubicBezTo>
                        <a:cubicBezTo>
                          <a:pt x="733226" y="724124"/>
                          <a:pt x="801120" y="627735"/>
                          <a:pt x="827489" y="520956"/>
                        </a:cubicBezTo>
                        <a:cubicBezTo>
                          <a:pt x="829581" y="512589"/>
                          <a:pt x="831364" y="504120"/>
                          <a:pt x="832907" y="495615"/>
                        </a:cubicBezTo>
                        <a:cubicBezTo>
                          <a:pt x="836851" y="495890"/>
                          <a:pt x="842028" y="496130"/>
                          <a:pt x="848097" y="496130"/>
                        </a:cubicBezTo>
                        <a:cubicBezTo>
                          <a:pt x="887771" y="496130"/>
                          <a:pt x="965815" y="485809"/>
                          <a:pt x="995785" y="408931"/>
                        </a:cubicBezTo>
                        <a:cubicBezTo>
                          <a:pt x="1017387" y="353449"/>
                          <a:pt x="1000791" y="296253"/>
                          <a:pt x="984743" y="240944"/>
                        </a:cubicBezTo>
                        <a:close/>
                      </a:path>
                    </a:pathLst>
                  </a:custGeom>
                  <a:grpFill/>
                  <a:ln w="34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grpSp>
      <p:sp>
        <p:nvSpPr>
          <p:cNvPr id="44" name="Ellipse 110">
            <a:extLst>
              <a:ext uri="{FF2B5EF4-FFF2-40B4-BE49-F238E27FC236}">
                <a16:creationId xmlns:a16="http://schemas.microsoft.com/office/drawing/2014/main" id="{2496A09E-0802-41B1-8F89-3CAD1C67506C}"/>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26" name="Groupe 25">
            <a:extLst>
              <a:ext uri="{FF2B5EF4-FFF2-40B4-BE49-F238E27FC236}">
                <a16:creationId xmlns:a16="http://schemas.microsoft.com/office/drawing/2014/main" id="{A45C4A16-5054-4199-B0E6-6FAE77565275}"/>
              </a:ext>
            </a:extLst>
          </p:cNvPr>
          <p:cNvGrpSpPr/>
          <p:nvPr/>
        </p:nvGrpSpPr>
        <p:grpSpPr>
          <a:xfrm>
            <a:off x="3255255" y="1118360"/>
            <a:ext cx="8503672" cy="751582"/>
            <a:chOff x="3255255" y="1118360"/>
            <a:chExt cx="8503672" cy="751582"/>
          </a:xfrm>
        </p:grpSpPr>
        <p:sp>
          <p:nvSpPr>
            <p:cNvPr id="48" name="TextBox 76">
              <a:extLst>
                <a:ext uri="{FF2B5EF4-FFF2-40B4-BE49-F238E27FC236}">
                  <a16:creationId xmlns:a16="http://schemas.microsoft.com/office/drawing/2014/main" id="{270122FC-229D-473C-807C-B0BCCF5F9E0B}"/>
                </a:ext>
              </a:extLst>
            </p:cNvPr>
            <p:cNvSpPr txBox="1"/>
            <p:nvPr/>
          </p:nvSpPr>
          <p:spPr>
            <a:xfrm>
              <a:off x="4186329" y="1494152"/>
              <a:ext cx="7572598" cy="230832"/>
            </a:xfrm>
            <a:prstGeom prst="rect">
              <a:avLst/>
            </a:prstGeom>
            <a:noFill/>
          </p:spPr>
          <p:txBody>
            <a:bodyPr wrap="square" lIns="0" tIns="0" rIns="0" bIns="0" rtlCol="0" anchor="b"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500" dirty="0">
                  <a:solidFill>
                    <a:srgbClr val="FFFFFF"/>
                  </a:solidFill>
                  <a:latin typeface="Ubuntu Light" panose="020B0304030602030204" pitchFamily="34" charset="0"/>
                </a:rPr>
                <a:t>A</a:t>
              </a:r>
              <a:r>
                <a:rPr kumimoji="0" lang="en-US" sz="1500" i="0" u="none" strike="noStrike" kern="1200" cap="none" spc="0" normalizeH="0" baseline="0" noProof="0" dirty="0" err="1">
                  <a:ln>
                    <a:noFill/>
                  </a:ln>
                  <a:solidFill>
                    <a:srgbClr val="FFFFFF"/>
                  </a:solidFill>
                  <a:effectLst/>
                  <a:uLnTx/>
                  <a:uFillTx/>
                  <a:latin typeface="Ubuntu Light" panose="020B0304030602030204" pitchFamily="34" charset="0"/>
                  <a:ea typeface="+mn-ea"/>
                  <a:cs typeface="+mn-cs"/>
                </a:rPr>
                <a:t>cceleration</a:t>
              </a:r>
              <a:r>
                <a:rPr kumimoji="0" lang="en-US" sz="150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in the </a:t>
              </a:r>
              <a:r>
                <a:rPr kumimoji="0" lang="en-US"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deployment of renewables</a:t>
              </a:r>
              <a:r>
                <a:rPr kumimoji="0" lang="en-US" sz="1500"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rPr>
                <a:t> </a:t>
              </a:r>
              <a:r>
                <a:rPr lang="en-US" sz="1500" dirty="0">
                  <a:solidFill>
                    <a:srgbClr val="FFFFFF"/>
                  </a:solidFill>
                  <a:latin typeface="Ubuntu Light" panose="020B0304030602030204" pitchFamily="34" charset="0"/>
                </a:rPr>
                <a:t>,</a:t>
              </a:r>
              <a:r>
                <a:rPr lang="en-US" sz="1500">
                  <a:solidFill>
                    <a:srgbClr val="FFFFFF"/>
                  </a:solidFill>
                  <a:latin typeface="Ubuntu Light" panose="020B0304030602030204" pitchFamily="34" charset="0"/>
                </a:rPr>
                <a:t>however metal recycling </a:t>
              </a:r>
              <a:r>
                <a:rPr lang="en-US" sz="1500" dirty="0">
                  <a:solidFill>
                    <a:srgbClr val="FFFFFF"/>
                  </a:solidFill>
                  <a:latin typeface="Ubuntu Light" panose="020B0304030602030204" pitchFamily="34" charset="0"/>
                </a:rPr>
                <a:t>is a must.</a:t>
              </a:r>
              <a:endParaRPr kumimoji="0" lang="en-US" sz="1500" b="1" i="0" u="none" strike="noStrike" kern="1200" cap="none" spc="0" normalizeH="0" baseline="0" noProof="0" dirty="0">
                <a:ln>
                  <a:noFill/>
                </a:ln>
                <a:solidFill>
                  <a:srgbClr val="FFFFFF"/>
                </a:solidFill>
                <a:effectLst/>
                <a:uLnTx/>
                <a:uFillTx/>
                <a:latin typeface="Ubuntu Light" panose="020B0304030602030204" pitchFamily="34" charset="0"/>
                <a:ea typeface="+mn-ea"/>
                <a:cs typeface="+mn-cs"/>
              </a:endParaRPr>
            </a:p>
          </p:txBody>
        </p:sp>
        <p:grpSp>
          <p:nvGrpSpPr>
            <p:cNvPr id="17" name="Groupe 16">
              <a:extLst>
                <a:ext uri="{FF2B5EF4-FFF2-40B4-BE49-F238E27FC236}">
                  <a16:creationId xmlns:a16="http://schemas.microsoft.com/office/drawing/2014/main" id="{E2B3AB66-E5DA-4CE3-9F6C-87BFD6AF8178}"/>
                </a:ext>
              </a:extLst>
            </p:cNvPr>
            <p:cNvGrpSpPr/>
            <p:nvPr/>
          </p:nvGrpSpPr>
          <p:grpSpPr>
            <a:xfrm>
              <a:off x="3255255" y="1118360"/>
              <a:ext cx="785778" cy="751582"/>
              <a:chOff x="3255255" y="1118360"/>
              <a:chExt cx="785778" cy="751582"/>
            </a:xfrm>
          </p:grpSpPr>
          <p:sp>
            <p:nvSpPr>
              <p:cNvPr id="50" name="Freeform 215">
                <a:extLst>
                  <a:ext uri="{FF2B5EF4-FFF2-40B4-BE49-F238E27FC236}">
                    <a16:creationId xmlns:a16="http://schemas.microsoft.com/office/drawing/2014/main" id="{AABA11C6-EEB5-422C-8ECC-640A22F75AED}"/>
                  </a:ext>
                </a:extLst>
              </p:cNvPr>
              <p:cNvSpPr/>
              <p:nvPr/>
            </p:nvSpPr>
            <p:spPr>
              <a:xfrm>
                <a:off x="3255255" y="1118360"/>
                <a:ext cx="785778" cy="751582"/>
              </a:xfrm>
              <a:custGeom>
                <a:avLst/>
                <a:gdLst>
                  <a:gd name="connsiteX0" fmla="*/ 37431 w 389405"/>
                  <a:gd name="connsiteY0" fmla="*/ 302133 h 372463"/>
                  <a:gd name="connsiteX1" fmla="*/ 72232 w 389405"/>
                  <a:gd name="connsiteY1" fmla="*/ 43537 h 372463"/>
                  <a:gd name="connsiteX2" fmla="*/ 80269 w 389405"/>
                  <a:gd name="connsiteY2" fmla="*/ 37712 h 372463"/>
                  <a:gd name="connsiteX3" fmla="*/ 354172 w 389405"/>
                  <a:gd name="connsiteY3" fmla="*/ 76242 h 372463"/>
                  <a:gd name="connsiteX4" fmla="*/ 304397 w 389405"/>
                  <a:gd name="connsiteY4" fmla="*/ 331219 h 372463"/>
                  <a:gd name="connsiteX5" fmla="*/ 37431 w 389405"/>
                  <a:gd name="connsiteY5" fmla="*/ 302133 h 37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405" h="372463">
                    <a:moveTo>
                      <a:pt x="37431" y="302133"/>
                    </a:moveTo>
                    <a:cubicBezTo>
                      <a:pt x="-23841" y="221042"/>
                      <a:pt x="-8260" y="105264"/>
                      <a:pt x="72232" y="43537"/>
                    </a:cubicBezTo>
                    <a:cubicBezTo>
                      <a:pt x="74859" y="41523"/>
                      <a:pt x="77539" y="39580"/>
                      <a:pt x="80269" y="37712"/>
                    </a:cubicBezTo>
                    <a:cubicBezTo>
                      <a:pt x="167633" y="-24993"/>
                      <a:pt x="290524" y="-7712"/>
                      <a:pt x="354172" y="76242"/>
                    </a:cubicBezTo>
                    <a:cubicBezTo>
                      <a:pt x="417820" y="160195"/>
                      <a:pt x="391667" y="268419"/>
                      <a:pt x="304397" y="331219"/>
                    </a:cubicBezTo>
                    <a:cubicBezTo>
                      <a:pt x="217127" y="394019"/>
                      <a:pt x="101454" y="385708"/>
                      <a:pt x="37431" y="302133"/>
                    </a:cubicBezTo>
                  </a:path>
                </a:pathLst>
              </a:custGeom>
              <a:solidFill>
                <a:schemeClr val="bg1"/>
              </a:solidFill>
              <a:ln w="92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3" name="Groupe 12">
                <a:extLst>
                  <a:ext uri="{FF2B5EF4-FFF2-40B4-BE49-F238E27FC236}">
                    <a16:creationId xmlns:a16="http://schemas.microsoft.com/office/drawing/2014/main" id="{00F23034-4AE2-4068-8D64-D97E2954DAE0}"/>
                  </a:ext>
                </a:extLst>
              </p:cNvPr>
              <p:cNvGrpSpPr/>
              <p:nvPr/>
            </p:nvGrpSpPr>
            <p:grpSpPr>
              <a:xfrm>
                <a:off x="3318007" y="1200174"/>
                <a:ext cx="616401" cy="591518"/>
                <a:chOff x="3318007" y="1200174"/>
                <a:chExt cx="616401" cy="591518"/>
              </a:xfrm>
            </p:grpSpPr>
            <p:sp>
              <p:nvSpPr>
                <p:cNvPr id="8" name="Flèche : droite 7">
                  <a:extLst>
                    <a:ext uri="{FF2B5EF4-FFF2-40B4-BE49-F238E27FC236}">
                      <a16:creationId xmlns:a16="http://schemas.microsoft.com/office/drawing/2014/main" id="{19F79C66-9037-4FD1-BC0C-53F8C1288438}"/>
                    </a:ext>
                  </a:extLst>
                </p:cNvPr>
                <p:cNvSpPr/>
                <p:nvPr/>
              </p:nvSpPr>
              <p:spPr>
                <a:xfrm>
                  <a:off x="3482716" y="1200174"/>
                  <a:ext cx="451692" cy="197210"/>
                </a:xfrm>
                <a:prstGeom prst="rightArrow">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p>
              </p:txBody>
            </p:sp>
            <p:sp>
              <p:nvSpPr>
                <p:cNvPr id="64" name="Flèche : droite 63">
                  <a:extLst>
                    <a:ext uri="{FF2B5EF4-FFF2-40B4-BE49-F238E27FC236}">
                      <a16:creationId xmlns:a16="http://schemas.microsoft.com/office/drawing/2014/main" id="{E5CEEBA4-C330-4023-94ED-510C844C9D40}"/>
                    </a:ext>
                  </a:extLst>
                </p:cNvPr>
                <p:cNvSpPr/>
                <p:nvPr/>
              </p:nvSpPr>
              <p:spPr>
                <a:xfrm>
                  <a:off x="3318007" y="1397328"/>
                  <a:ext cx="451692" cy="197210"/>
                </a:xfrm>
                <a:prstGeom prst="rightArrow">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p>
              </p:txBody>
            </p:sp>
            <p:sp>
              <p:nvSpPr>
                <p:cNvPr id="76" name="Flèche : droite 75">
                  <a:extLst>
                    <a:ext uri="{FF2B5EF4-FFF2-40B4-BE49-F238E27FC236}">
                      <a16:creationId xmlns:a16="http://schemas.microsoft.com/office/drawing/2014/main" id="{D8BDEB2F-8F6F-444B-994B-3CF2C8918403}"/>
                    </a:ext>
                  </a:extLst>
                </p:cNvPr>
                <p:cNvSpPr/>
                <p:nvPr/>
              </p:nvSpPr>
              <p:spPr>
                <a:xfrm>
                  <a:off x="3463303" y="1594482"/>
                  <a:ext cx="451692" cy="197210"/>
                </a:xfrm>
                <a:prstGeom prst="rightArrow">
                  <a:avLst/>
                </a:prstGeom>
                <a:solidFill>
                  <a:srgbClr val="2729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err="1"/>
                </a:p>
              </p:txBody>
            </p:sp>
          </p:grpSp>
        </p:grpSp>
      </p:grpSp>
      <p:cxnSp>
        <p:nvCxnSpPr>
          <p:cNvPr id="78" name="Straight Connector 10">
            <a:extLst>
              <a:ext uri="{FF2B5EF4-FFF2-40B4-BE49-F238E27FC236}">
                <a16:creationId xmlns:a16="http://schemas.microsoft.com/office/drawing/2014/main" id="{FC58133C-E603-4A09-BF9B-5ADB81760835}"/>
              </a:ext>
            </a:extLst>
          </p:cNvPr>
          <p:cNvCxnSpPr>
            <a:cxnSpLocks/>
          </p:cNvCxnSpPr>
          <p:nvPr/>
        </p:nvCxnSpPr>
        <p:spPr>
          <a:xfrm>
            <a:off x="4071257" y="2053528"/>
            <a:ext cx="778538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41661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E2018ED-A769-45C8-90C1-CC95AF116C81}"/>
              </a:ext>
            </a:extLst>
          </p:cNvPr>
          <p:cNvPicPr>
            <a:picLocks noChangeAspect="1"/>
          </p:cNvPicPr>
          <p:nvPr/>
        </p:nvPicPr>
        <p:blipFill>
          <a:blip r:embed="rId2"/>
          <a:stretch>
            <a:fillRect/>
          </a:stretch>
        </p:blipFill>
        <p:spPr>
          <a:xfrm>
            <a:off x="2014089" y="521840"/>
            <a:ext cx="1929403" cy="265785"/>
          </a:xfrm>
          <a:prstGeom prst="rect">
            <a:avLst/>
          </a:prstGeom>
        </p:spPr>
      </p:pic>
      <p:pic>
        <p:nvPicPr>
          <p:cNvPr id="14" name="Picture 13">
            <a:extLst>
              <a:ext uri="{FF2B5EF4-FFF2-40B4-BE49-F238E27FC236}">
                <a16:creationId xmlns:a16="http://schemas.microsoft.com/office/drawing/2014/main" id="{E649584B-4ADB-437B-B70F-2C004EAA6A27}"/>
              </a:ext>
            </a:extLst>
          </p:cNvPr>
          <p:cNvPicPr>
            <a:picLocks noChangeAspect="1"/>
          </p:cNvPicPr>
          <p:nvPr/>
        </p:nvPicPr>
        <p:blipFill>
          <a:blip r:embed="rId3"/>
          <a:stretch>
            <a:fillRect/>
          </a:stretch>
        </p:blipFill>
        <p:spPr>
          <a:xfrm>
            <a:off x="413235" y="526456"/>
            <a:ext cx="1253978" cy="256553"/>
          </a:xfrm>
          <a:prstGeom prst="rect">
            <a:avLst/>
          </a:prstGeom>
        </p:spPr>
      </p:pic>
      <p:cxnSp>
        <p:nvCxnSpPr>
          <p:cNvPr id="23" name="Straight Connector 22">
            <a:extLst>
              <a:ext uri="{FF2B5EF4-FFF2-40B4-BE49-F238E27FC236}">
                <a16:creationId xmlns:a16="http://schemas.microsoft.com/office/drawing/2014/main" id="{7AF610E9-0F2B-4028-9BFF-FE0933BA837D}"/>
              </a:ext>
            </a:extLst>
          </p:cNvPr>
          <p:cNvCxnSpPr>
            <a:cxnSpLocks/>
          </p:cNvCxnSpPr>
          <p:nvPr/>
        </p:nvCxnSpPr>
        <p:spPr>
          <a:xfrm>
            <a:off x="1840651" y="471852"/>
            <a:ext cx="0" cy="3657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DFBFE32-A9DC-4608-BBA1-B93CDD7F28C1}"/>
              </a:ext>
            </a:extLst>
          </p:cNvPr>
          <p:cNvCxnSpPr>
            <a:cxnSpLocks/>
          </p:cNvCxnSpPr>
          <p:nvPr/>
        </p:nvCxnSpPr>
        <p:spPr>
          <a:xfrm>
            <a:off x="4090979" y="471852"/>
            <a:ext cx="0" cy="3657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Subtitle 1">
            <a:extLst>
              <a:ext uri="{FF2B5EF4-FFF2-40B4-BE49-F238E27FC236}">
                <a16:creationId xmlns:a16="http://schemas.microsoft.com/office/drawing/2014/main" id="{8B1D24EF-ABD2-48E1-8293-E6BDAF645544}"/>
              </a:ext>
            </a:extLst>
          </p:cNvPr>
          <p:cNvSpPr txBox="1">
            <a:spLocks/>
          </p:cNvSpPr>
          <p:nvPr/>
        </p:nvSpPr>
        <p:spPr>
          <a:xfrm>
            <a:off x="404813" y="116632"/>
            <a:ext cx="1477969" cy="184666"/>
          </a:xfrm>
          <a:prstGeom prst="rect">
            <a:avLst/>
          </a:prstGeom>
        </p:spPr>
        <p:txBody>
          <a:bodyPr vert="horz" wrap="non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200"/>
              <a:t>In collaboration with:</a:t>
            </a:r>
          </a:p>
        </p:txBody>
      </p:sp>
      <p:sp>
        <p:nvSpPr>
          <p:cNvPr id="31" name="Subtitle 1">
            <a:extLst>
              <a:ext uri="{FF2B5EF4-FFF2-40B4-BE49-F238E27FC236}">
                <a16:creationId xmlns:a16="http://schemas.microsoft.com/office/drawing/2014/main" id="{A9235BFD-59D1-4BE2-B49D-85A16CEF1756}"/>
              </a:ext>
            </a:extLst>
          </p:cNvPr>
          <p:cNvSpPr txBox="1">
            <a:spLocks/>
          </p:cNvSpPr>
          <p:nvPr/>
        </p:nvSpPr>
        <p:spPr>
          <a:xfrm>
            <a:off x="9912082" y="6012957"/>
            <a:ext cx="1873911" cy="276999"/>
          </a:xfrm>
          <a:prstGeom prst="rect">
            <a:avLst/>
          </a:prstGeom>
        </p:spPr>
        <p:txBody>
          <a:bodyPr vert="horz" wrap="none" lIns="0" tIns="0" rIns="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800">
                <a:latin typeface="Ubuntu Light" panose="020B0304030602030204" pitchFamily="34" charset="0"/>
              </a:rPr>
              <a:t>24</a:t>
            </a:r>
            <a:r>
              <a:rPr lang="en-GB" sz="1800" baseline="30000">
                <a:latin typeface="Ubuntu Light" panose="020B0304030602030204" pitchFamily="34" charset="0"/>
              </a:rPr>
              <a:t>th</a:t>
            </a:r>
            <a:r>
              <a:rPr lang="en-GB" sz="1800">
                <a:latin typeface="Ubuntu Light" panose="020B0304030602030204" pitchFamily="34" charset="0"/>
              </a:rPr>
              <a:t> Edition | 2022</a:t>
            </a:r>
          </a:p>
        </p:txBody>
      </p:sp>
      <p:sp>
        <p:nvSpPr>
          <p:cNvPr id="16" name="Title 2">
            <a:extLst>
              <a:ext uri="{FF2B5EF4-FFF2-40B4-BE49-F238E27FC236}">
                <a16:creationId xmlns:a16="http://schemas.microsoft.com/office/drawing/2014/main" id="{871AA915-EE08-4AEF-8A44-C8151DA4E125}"/>
              </a:ext>
            </a:extLst>
          </p:cNvPr>
          <p:cNvSpPr>
            <a:spLocks noGrp="1"/>
          </p:cNvSpPr>
          <p:nvPr>
            <p:ph type="ctrTitle"/>
          </p:nvPr>
        </p:nvSpPr>
        <p:spPr>
          <a:xfrm>
            <a:off x="312068" y="1690737"/>
            <a:ext cx="4615753" cy="923330"/>
          </a:xfrm>
        </p:spPr>
        <p:txBody>
          <a:bodyPr/>
          <a:lstStyle/>
          <a:p>
            <a:r>
              <a:rPr lang="en-US" sz="6000">
                <a:solidFill>
                  <a:srgbClr val="272936"/>
                </a:solidFill>
              </a:rPr>
              <a:t>THANK YOU</a:t>
            </a:r>
          </a:p>
        </p:txBody>
      </p:sp>
      <p:sp>
        <p:nvSpPr>
          <p:cNvPr id="17" name="Title 3">
            <a:extLst>
              <a:ext uri="{FF2B5EF4-FFF2-40B4-BE49-F238E27FC236}">
                <a16:creationId xmlns:a16="http://schemas.microsoft.com/office/drawing/2014/main" id="{E37B73D7-F0C5-4D27-95AA-DD0FE81B050E}"/>
              </a:ext>
            </a:extLst>
          </p:cNvPr>
          <p:cNvSpPr txBox="1">
            <a:spLocks/>
          </p:cNvSpPr>
          <p:nvPr/>
        </p:nvSpPr>
        <p:spPr>
          <a:xfrm>
            <a:off x="263352" y="2800474"/>
            <a:ext cx="5422950" cy="484510"/>
          </a:xfrm>
          <a:prstGeom prst="rect">
            <a:avLst/>
          </a:prstGeom>
        </p:spPr>
        <p:txBody>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US" sz="3600">
                <a:solidFill>
                  <a:schemeClr val="bg1"/>
                </a:solidFill>
                <a:latin typeface="Ubuntu Light" panose="020B0304030602030204" pitchFamily="34" charset="0"/>
              </a:rPr>
              <a:t>WEMO 24</a:t>
            </a:r>
            <a:r>
              <a:rPr lang="en-US" sz="3600" baseline="30000">
                <a:solidFill>
                  <a:schemeClr val="bg1"/>
                </a:solidFill>
                <a:latin typeface="Ubuntu Light" panose="020B0304030602030204" pitchFamily="34" charset="0"/>
              </a:rPr>
              <a:t>th</a:t>
            </a:r>
            <a:r>
              <a:rPr lang="en-US" sz="3600">
                <a:solidFill>
                  <a:schemeClr val="bg1"/>
                </a:solidFill>
                <a:latin typeface="Ubuntu Light" panose="020B0304030602030204" pitchFamily="34" charset="0"/>
              </a:rPr>
              <a:t> edition</a:t>
            </a:r>
          </a:p>
        </p:txBody>
      </p:sp>
      <p:sp>
        <p:nvSpPr>
          <p:cNvPr id="18" name="TextBox 17">
            <a:extLst>
              <a:ext uri="{FF2B5EF4-FFF2-40B4-BE49-F238E27FC236}">
                <a16:creationId xmlns:a16="http://schemas.microsoft.com/office/drawing/2014/main" id="{717AF18E-907B-4EAE-96D3-372875288B24}"/>
              </a:ext>
            </a:extLst>
          </p:cNvPr>
          <p:cNvSpPr txBox="1"/>
          <p:nvPr/>
        </p:nvSpPr>
        <p:spPr>
          <a:xfrm>
            <a:off x="419098" y="3429000"/>
            <a:ext cx="2868590" cy="830997"/>
          </a:xfrm>
          <a:prstGeom prst="rect">
            <a:avLst/>
          </a:prstGeom>
          <a:noFill/>
        </p:spPr>
        <p:txBody>
          <a:bodyPr wrap="square" lIns="0" rtlCol="0">
            <a:spAutoFit/>
          </a:bodyPr>
          <a:lstStyle/>
          <a:p>
            <a:r>
              <a:rPr lang="fr-FR" sz="1600">
                <a:solidFill>
                  <a:schemeClr val="bg1"/>
                </a:solidFill>
                <a:latin typeface="Ubuntu Medium" panose="020B0504030602030204" pitchFamily="34" charset="0"/>
              </a:rPr>
              <a:t>Download </a:t>
            </a:r>
            <a:r>
              <a:rPr lang="fr-FR" sz="1600" err="1">
                <a:solidFill>
                  <a:schemeClr val="bg1"/>
                </a:solidFill>
                <a:latin typeface="Ubuntu Medium" panose="020B0504030602030204" pitchFamily="34" charset="0"/>
              </a:rPr>
              <a:t>your</a:t>
            </a:r>
            <a:r>
              <a:rPr lang="fr-FR" sz="1600">
                <a:solidFill>
                  <a:schemeClr val="bg1"/>
                </a:solidFill>
                <a:latin typeface="Ubuntu Medium" panose="020B0504030602030204" pitchFamily="34" charset="0"/>
              </a:rPr>
              <a:t> copy @:</a:t>
            </a:r>
          </a:p>
          <a:p>
            <a:r>
              <a:rPr lang="fr-FR" sz="1600">
                <a:solidFill>
                  <a:schemeClr val="bg1"/>
                </a:solidFill>
                <a:latin typeface="Ubuntu Medium" panose="020B0504030602030204" pitchFamily="34" charset="0"/>
                <a:hlinkClick r:id="rId4">
                  <a:extLst>
                    <a:ext uri="{A12FA001-AC4F-418D-AE19-62706E023703}">
                      <ahyp:hlinkClr xmlns:ahyp="http://schemas.microsoft.com/office/drawing/2018/hyperlinkcolor" val="tx"/>
                    </a:ext>
                  </a:extLst>
                </a:hlinkClick>
              </a:rPr>
              <a:t>www.capgemini.com/wemo</a:t>
            </a:r>
            <a:endParaRPr lang="fr-FR" sz="1600">
              <a:solidFill>
                <a:schemeClr val="bg1"/>
              </a:solidFill>
              <a:latin typeface="Ubuntu Medium" panose="020B0504030602030204" pitchFamily="34" charset="0"/>
            </a:endParaRPr>
          </a:p>
          <a:p>
            <a:endParaRPr lang="fr-FR" sz="1600">
              <a:solidFill>
                <a:schemeClr val="bg1"/>
              </a:solidFill>
              <a:latin typeface="Ubuntu Medium" panose="020B0504030602030204" pitchFamily="34" charset="0"/>
            </a:endParaRPr>
          </a:p>
        </p:txBody>
      </p:sp>
      <p:sp>
        <p:nvSpPr>
          <p:cNvPr id="19" name="Rectangle 18">
            <a:extLst>
              <a:ext uri="{FF2B5EF4-FFF2-40B4-BE49-F238E27FC236}">
                <a16:creationId xmlns:a16="http://schemas.microsoft.com/office/drawing/2014/main" id="{04CEEB4B-0B28-4545-B5F6-9DC47E3AC460}"/>
              </a:ext>
            </a:extLst>
          </p:cNvPr>
          <p:cNvSpPr/>
          <p:nvPr/>
        </p:nvSpPr>
        <p:spPr>
          <a:xfrm>
            <a:off x="1543968" y="4077072"/>
            <a:ext cx="2463800" cy="830997"/>
          </a:xfrm>
          <a:prstGeom prst="rect">
            <a:avLst/>
          </a:prstGeom>
        </p:spPr>
        <p:txBody>
          <a:bodyPr wrap="square">
            <a:spAutoFit/>
          </a:bodyPr>
          <a:lstStyle/>
          <a:p>
            <a:r>
              <a:rPr lang="en-US" sz="1600">
                <a:solidFill>
                  <a:schemeClr val="bg1"/>
                </a:solidFill>
                <a:latin typeface="Ubuntu Medium" panose="020B0504030602030204" pitchFamily="34" charset="0"/>
              </a:rPr>
              <a:t>Scan now to </a:t>
            </a:r>
          </a:p>
          <a:p>
            <a:r>
              <a:rPr lang="en-US" sz="1600">
                <a:solidFill>
                  <a:schemeClr val="bg1"/>
                </a:solidFill>
                <a:latin typeface="Ubuntu Medium" panose="020B0504030602030204" pitchFamily="34" charset="0"/>
              </a:rPr>
              <a:t>download this </a:t>
            </a:r>
          </a:p>
          <a:p>
            <a:r>
              <a:rPr lang="en-US" sz="1600">
                <a:solidFill>
                  <a:schemeClr val="bg1"/>
                </a:solidFill>
                <a:latin typeface="Ubuntu Medium" panose="020B0504030602030204" pitchFamily="34" charset="0"/>
              </a:rPr>
              <a:t>year’s report.</a:t>
            </a:r>
          </a:p>
        </p:txBody>
      </p:sp>
      <p:pic>
        <p:nvPicPr>
          <p:cNvPr id="20" name="Picture 19">
            <a:extLst>
              <a:ext uri="{FF2B5EF4-FFF2-40B4-BE49-F238E27FC236}">
                <a16:creationId xmlns:a16="http://schemas.microsoft.com/office/drawing/2014/main" id="{29A0D8E4-6563-420B-8DDE-2F80D4D45337}"/>
              </a:ext>
            </a:extLst>
          </p:cNvPr>
          <p:cNvPicPr>
            <a:picLocks noChangeAspect="1"/>
          </p:cNvPicPr>
          <p:nvPr/>
        </p:nvPicPr>
        <p:blipFill>
          <a:blip r:embed="rId5"/>
          <a:stretch>
            <a:fillRect/>
          </a:stretch>
        </p:blipFill>
        <p:spPr>
          <a:xfrm>
            <a:off x="419098" y="4187989"/>
            <a:ext cx="1084709" cy="1084709"/>
          </a:xfrm>
          <a:prstGeom prst="rect">
            <a:avLst/>
          </a:prstGeom>
        </p:spPr>
      </p:pic>
      <p:pic>
        <p:nvPicPr>
          <p:cNvPr id="15" name="Picture 14">
            <a:extLst>
              <a:ext uri="{FF2B5EF4-FFF2-40B4-BE49-F238E27FC236}">
                <a16:creationId xmlns:a16="http://schemas.microsoft.com/office/drawing/2014/main" id="{2237809F-D309-4166-9B03-EAFED7D936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38467" y="428262"/>
            <a:ext cx="783392" cy="452940"/>
          </a:xfrm>
          <a:prstGeom prst="rect">
            <a:avLst/>
          </a:prstGeom>
        </p:spPr>
      </p:pic>
      <p:sp>
        <p:nvSpPr>
          <p:cNvPr id="21" name="Ellipse 110">
            <a:extLst>
              <a:ext uri="{FF2B5EF4-FFF2-40B4-BE49-F238E27FC236}">
                <a16:creationId xmlns:a16="http://schemas.microsoft.com/office/drawing/2014/main" id="{7CC66CFE-E5B8-4F59-8ADB-8C3066859577}"/>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13286782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11E882C2-1DF8-43EE-8A2E-3CEF918A1B2D}"/>
              </a:ext>
            </a:extLst>
          </p:cNvPr>
          <p:cNvPicPr>
            <a:picLocks noChangeAspect="1"/>
          </p:cNvPicPr>
          <p:nvPr/>
        </p:nvPicPr>
        <p:blipFill>
          <a:blip r:embed="rId3"/>
          <a:stretch>
            <a:fillRect/>
          </a:stretch>
        </p:blipFill>
        <p:spPr>
          <a:xfrm>
            <a:off x="5824704" y="3246104"/>
            <a:ext cx="542591" cy="365792"/>
          </a:xfrm>
          <a:prstGeom prst="rect">
            <a:avLst/>
          </a:prstGeom>
        </p:spPr>
      </p:pic>
      <p:pic>
        <p:nvPicPr>
          <p:cNvPr id="4" name="Image 3">
            <a:extLst>
              <a:ext uri="{FF2B5EF4-FFF2-40B4-BE49-F238E27FC236}">
                <a16:creationId xmlns:a16="http://schemas.microsoft.com/office/drawing/2014/main" id="{5B6121B8-AE3F-4354-A297-632BC8CA047D}"/>
              </a:ext>
            </a:extLst>
          </p:cNvPr>
          <p:cNvPicPr>
            <a:picLocks noChangeAspect="1"/>
          </p:cNvPicPr>
          <p:nvPr/>
        </p:nvPicPr>
        <p:blipFill>
          <a:blip r:embed="rId3"/>
          <a:stretch>
            <a:fillRect/>
          </a:stretch>
        </p:blipFill>
        <p:spPr>
          <a:xfrm>
            <a:off x="5824704" y="3246104"/>
            <a:ext cx="542591" cy="365792"/>
          </a:xfrm>
          <a:prstGeom prst="rect">
            <a:avLst/>
          </a:prstGeom>
        </p:spPr>
      </p:pic>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IN"/>
              <a:t>How did we get there?</a:t>
            </a:r>
          </a:p>
        </p:txBody>
      </p:sp>
      <p:pic>
        <p:nvPicPr>
          <p:cNvPr id="8" name="Image 7">
            <a:extLst>
              <a:ext uri="{FF2B5EF4-FFF2-40B4-BE49-F238E27FC236}">
                <a16:creationId xmlns:a16="http://schemas.microsoft.com/office/drawing/2014/main" id="{7AF01FCC-A0BE-4C85-847A-27DA609B2B83}"/>
              </a:ext>
            </a:extLst>
          </p:cNvPr>
          <p:cNvPicPr>
            <a:picLocks noChangeAspect="1"/>
          </p:cNvPicPr>
          <p:nvPr/>
        </p:nvPicPr>
        <p:blipFill rotWithShape="1">
          <a:blip r:embed="rId4"/>
          <a:srcRect l="3684" r="5093"/>
          <a:stretch/>
        </p:blipFill>
        <p:spPr>
          <a:xfrm>
            <a:off x="422099" y="1268761"/>
            <a:ext cx="7897347" cy="4991891"/>
          </a:xfrm>
          <a:prstGeom prst="rect">
            <a:avLst/>
          </a:prstGeom>
        </p:spPr>
      </p:pic>
      <p:pic>
        <p:nvPicPr>
          <p:cNvPr id="14" name="Image 13">
            <a:extLst>
              <a:ext uri="{FF2B5EF4-FFF2-40B4-BE49-F238E27FC236}">
                <a16:creationId xmlns:a16="http://schemas.microsoft.com/office/drawing/2014/main" id="{1CE80BCE-9CD4-4E61-A50F-2CD4C74AA26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248127" y="467966"/>
            <a:ext cx="838219" cy="567952"/>
          </a:xfrm>
          <a:prstGeom prst="rect">
            <a:avLst/>
          </a:prstGeom>
          <a:noFill/>
        </p:spPr>
      </p:pic>
      <p:sp>
        <p:nvSpPr>
          <p:cNvPr id="13" name="Text Placeholder 8">
            <a:extLst>
              <a:ext uri="{FF2B5EF4-FFF2-40B4-BE49-F238E27FC236}">
                <a16:creationId xmlns:a16="http://schemas.microsoft.com/office/drawing/2014/main" id="{D425272F-2B5C-455B-B704-203924398308}"/>
              </a:ext>
            </a:extLst>
          </p:cNvPr>
          <p:cNvSpPr txBox="1">
            <a:spLocks/>
          </p:cNvSpPr>
          <p:nvPr/>
        </p:nvSpPr>
        <p:spPr>
          <a:xfrm>
            <a:off x="8472264" y="1336119"/>
            <a:ext cx="3311749" cy="1631216"/>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4320" marR="0" lvl="0" indent="-274320"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Nuclear plant closures in Europe; mainly in Germany, and the two reactors in </a:t>
            </a:r>
            <a:r>
              <a:rPr kumimoji="0" lang="en-US" sz="1600" b="0" i="0" u="none" strike="noStrike" kern="1200" cap="none" spc="0" normalizeH="0" baseline="0" noProof="0" err="1">
                <a:ln>
                  <a:noFill/>
                </a:ln>
                <a:solidFill>
                  <a:srgbClr val="FFFFFF"/>
                </a:solidFill>
                <a:effectLst/>
                <a:uLnTx/>
                <a:uFillTx/>
                <a:latin typeface="Ubuntu Light" panose="020B0304030602030204" pitchFamily="34" charset="0"/>
                <a:ea typeface="+mn-ea"/>
                <a:cs typeface="+mn-cs"/>
              </a:rPr>
              <a:t>Fessenheim</a:t>
            </a: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 (France)</a:t>
            </a:r>
          </a:p>
          <a:p>
            <a:pPr marL="274320" marR="0" lvl="0" indent="-274320"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Climate change leading to a shift from coal to gas</a:t>
            </a:r>
          </a:p>
          <a:p>
            <a:pPr marL="274320" marR="0" lvl="0" indent="-274320"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Gas is King”</a:t>
            </a:r>
            <a:endParaRPr kumimoji="0" lang="en-IN"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p:txBody>
      </p:sp>
      <p:sp>
        <p:nvSpPr>
          <p:cNvPr id="15" name="Flèche : bas 10">
            <a:extLst>
              <a:ext uri="{FF2B5EF4-FFF2-40B4-BE49-F238E27FC236}">
                <a16:creationId xmlns:a16="http://schemas.microsoft.com/office/drawing/2014/main" id="{D239F48D-1F8F-4645-9298-3823D9F64AC1}"/>
              </a:ext>
            </a:extLst>
          </p:cNvPr>
          <p:cNvSpPr/>
          <p:nvPr/>
        </p:nvSpPr>
        <p:spPr>
          <a:xfrm>
            <a:off x="9988678" y="3722585"/>
            <a:ext cx="432048" cy="663207"/>
          </a:xfrm>
          <a:prstGeom prst="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6" name="Text Placeholder 8">
            <a:extLst>
              <a:ext uri="{FF2B5EF4-FFF2-40B4-BE49-F238E27FC236}">
                <a16:creationId xmlns:a16="http://schemas.microsoft.com/office/drawing/2014/main" id="{7F991E04-EFE9-4C95-9AF2-A8073631A85D}"/>
              </a:ext>
            </a:extLst>
          </p:cNvPr>
          <p:cNvSpPr txBox="1">
            <a:spLocks/>
          </p:cNvSpPr>
          <p:nvPr/>
        </p:nvSpPr>
        <p:spPr>
          <a:xfrm>
            <a:off x="8639503" y="4614572"/>
            <a:ext cx="3130398" cy="1477328"/>
          </a:xfrm>
          <a:prstGeom prst="rect">
            <a:avLst/>
          </a:prstGeom>
        </p:spPr>
        <p:txBody>
          <a:bodyPr vert="horz" wrap="square" lIns="0" tIns="0" rIns="0" bIns="0" rtlCol="0" anchor="t" anchorCtr="0">
            <a:spAutoFit/>
          </a:bodyPr>
          <a:lstStyle>
            <a:lvl1pPr marL="0" indent="0" algn="l" defTabSz="914400" rtl="0" eaLnBrk="1" latinLnBrk="0" hangingPunct="1">
              <a:lnSpc>
                <a:spcPts val="2200"/>
              </a:lnSpc>
              <a:spcBef>
                <a:spcPts val="0"/>
              </a:spcBef>
              <a:spcAft>
                <a:spcPts val="600"/>
              </a:spcAft>
              <a:buFont typeface="Arial" panose="020B0604020202020204" pitchFamily="34" charset="0"/>
              <a:buNone/>
              <a:defRPr sz="1800" kern="1200">
                <a:solidFill>
                  <a:schemeClr val="tx1"/>
                </a:solidFill>
                <a:latin typeface="+mn-lt"/>
                <a:ea typeface="+mn-ea"/>
                <a:cs typeface="+mn-cs"/>
              </a:defRPr>
            </a:lvl1pPr>
            <a:lvl2pPr marL="233363" indent="-228600" algn="l" defTabSz="914400" rtl="0" eaLnBrk="1" latinLnBrk="0" hangingPunct="1">
              <a:lnSpc>
                <a:spcPts val="2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457200" indent="-223838" algn="l" defTabSz="914400" rtl="0" eaLnBrk="1" latinLnBrk="0" hangingPunct="1">
              <a:lnSpc>
                <a:spcPts val="1600"/>
              </a:lnSpc>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690563" indent="-233363" algn="l" defTabSz="914400" rtl="0" eaLnBrk="1" latinLnBrk="0" hangingPunct="1">
              <a:lnSpc>
                <a:spcPct val="9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12ABDB"/>
              </a:buClr>
              <a:buSzTx/>
              <a:buFont typeface="Arial" panose="020B0604020202020204" pitchFamily="34" charset="0"/>
              <a:buNone/>
              <a:tabLst/>
              <a:defRPr/>
            </a:pPr>
            <a:r>
              <a:rPr kumimoji="0" lang="en-US" sz="2400" b="1" i="0" u="none" strike="noStrike" kern="1200" cap="none" spc="0" normalizeH="0" baseline="0" noProof="0">
                <a:ln>
                  <a:noFill/>
                </a:ln>
                <a:solidFill>
                  <a:srgbClr val="12ABDB"/>
                </a:solidFill>
                <a:effectLst/>
                <a:uLnTx/>
                <a:uFillTx/>
                <a:latin typeface="Ubuntu Light" panose="020B0304030602030204" pitchFamily="34" charset="0"/>
                <a:ea typeface="+mn-ea"/>
                <a:cs typeface="+mn-cs"/>
              </a:rPr>
              <a:t>Increasing gas consumption and, in Europe, dependency on Russian gas</a:t>
            </a:r>
            <a:endParaRPr kumimoji="0" lang="en-IN" sz="2400" b="1" i="0" u="none" strike="noStrike" kern="1200" cap="none" spc="0" normalizeH="0" baseline="0" noProof="0">
              <a:ln>
                <a:noFill/>
              </a:ln>
              <a:solidFill>
                <a:srgbClr val="12ABDB"/>
              </a:solidFill>
              <a:effectLst/>
              <a:uLnTx/>
              <a:uFillTx/>
              <a:latin typeface="Ubuntu Light" panose="020B0304030602030204" pitchFamily="34" charset="0"/>
              <a:ea typeface="+mn-ea"/>
              <a:cs typeface="+mn-cs"/>
            </a:endParaRPr>
          </a:p>
        </p:txBody>
      </p:sp>
      <p:sp>
        <p:nvSpPr>
          <p:cNvPr id="11" name="Ellipse 10">
            <a:extLst>
              <a:ext uri="{FF2B5EF4-FFF2-40B4-BE49-F238E27FC236}">
                <a16:creationId xmlns:a16="http://schemas.microsoft.com/office/drawing/2014/main" id="{BEFB3E87-92EC-4117-B74A-2CAC62DF1E22}"/>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26749437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lipse 110">
            <a:extLst>
              <a:ext uri="{FF2B5EF4-FFF2-40B4-BE49-F238E27FC236}">
                <a16:creationId xmlns:a16="http://schemas.microsoft.com/office/drawing/2014/main" id="{A1E151FA-BB5A-4EEA-AECB-73616CB9F945}"/>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32972219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e 22">
            <a:extLst>
              <a:ext uri="{FF2B5EF4-FFF2-40B4-BE49-F238E27FC236}">
                <a16:creationId xmlns:a16="http://schemas.microsoft.com/office/drawing/2014/main" id="{B5391EA4-24B1-4F0B-B94A-6AFE25F40C22}"/>
              </a:ext>
            </a:extLst>
          </p:cNvPr>
          <p:cNvGrpSpPr/>
          <p:nvPr/>
        </p:nvGrpSpPr>
        <p:grpSpPr>
          <a:xfrm>
            <a:off x="0" y="0"/>
            <a:ext cx="12182665" cy="6858000"/>
            <a:chOff x="0" y="0"/>
            <a:chExt cx="12182665" cy="6858000"/>
          </a:xfrm>
        </p:grpSpPr>
        <p:grpSp>
          <p:nvGrpSpPr>
            <p:cNvPr id="22" name="Groupe 21">
              <a:extLst>
                <a:ext uri="{FF2B5EF4-FFF2-40B4-BE49-F238E27FC236}">
                  <a16:creationId xmlns:a16="http://schemas.microsoft.com/office/drawing/2014/main" id="{BEE097C1-0863-41D6-9558-FFFF2FB0C3AC}"/>
                </a:ext>
              </a:extLst>
            </p:cNvPr>
            <p:cNvGrpSpPr/>
            <p:nvPr/>
          </p:nvGrpSpPr>
          <p:grpSpPr>
            <a:xfrm>
              <a:off x="0" y="0"/>
              <a:ext cx="12182665" cy="6858000"/>
              <a:chOff x="4667" y="0"/>
              <a:chExt cx="12182665" cy="6858000"/>
            </a:xfrm>
          </p:grpSpPr>
          <p:pic>
            <p:nvPicPr>
              <p:cNvPr id="4" name="Image 3" descr="Une image contenant carte&#10;&#10;Description générée automatiquement">
                <a:extLst>
                  <a:ext uri="{FF2B5EF4-FFF2-40B4-BE49-F238E27FC236}">
                    <a16:creationId xmlns:a16="http://schemas.microsoft.com/office/drawing/2014/main" id="{3B0ADB1F-7BD6-4E6A-9484-119BB8ED30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7" y="0"/>
                <a:ext cx="12182665" cy="6858000"/>
              </a:xfrm>
              <a:prstGeom prst="rect">
                <a:avLst/>
              </a:prstGeom>
            </p:spPr>
          </p:pic>
          <p:sp>
            <p:nvSpPr>
              <p:cNvPr id="3" name="Ellipse 2">
                <a:extLst>
                  <a:ext uri="{FF2B5EF4-FFF2-40B4-BE49-F238E27FC236}">
                    <a16:creationId xmlns:a16="http://schemas.microsoft.com/office/drawing/2014/main" id="{8B9205B5-E50B-4B2F-A535-1E9F53CD4EE3}"/>
                  </a:ext>
                </a:extLst>
              </p:cNvPr>
              <p:cNvSpPr/>
              <p:nvPr/>
            </p:nvSpPr>
            <p:spPr>
              <a:xfrm>
                <a:off x="8445499" y="558800"/>
                <a:ext cx="2095500" cy="2095500"/>
              </a:xfrm>
              <a:prstGeom prst="ellipse">
                <a:avLst/>
              </a:prstGeom>
              <a:solidFill>
                <a:srgbClr val="178C3D"/>
              </a:solidFill>
              <a:ln>
                <a:solidFill>
                  <a:srgbClr val="178C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a:solidFill>
                      <a:schemeClr val="bg1"/>
                    </a:solidFill>
                  </a:rPr>
                  <a:t>23%</a:t>
                </a:r>
                <a:r>
                  <a:rPr lang="en-US" sz="1600" b="1">
                    <a:solidFill>
                      <a:schemeClr val="bg1"/>
                    </a:solidFill>
                  </a:rPr>
                  <a:t> </a:t>
                </a:r>
                <a:r>
                  <a:rPr lang="en-US" sz="1600">
                    <a:solidFill>
                      <a:schemeClr val="bg1"/>
                    </a:solidFill>
                  </a:rPr>
                  <a:t>of the world's natural gas reserves</a:t>
                </a:r>
              </a:p>
            </p:txBody>
          </p:sp>
          <p:sp>
            <p:nvSpPr>
              <p:cNvPr id="7" name="Rectangle 6">
                <a:extLst>
                  <a:ext uri="{FF2B5EF4-FFF2-40B4-BE49-F238E27FC236}">
                    <a16:creationId xmlns:a16="http://schemas.microsoft.com/office/drawing/2014/main" id="{3C21154E-BE9D-49A6-9886-0448A8526C97}"/>
                  </a:ext>
                </a:extLst>
              </p:cNvPr>
              <p:cNvSpPr/>
              <p:nvPr/>
            </p:nvSpPr>
            <p:spPr>
              <a:xfrm>
                <a:off x="6534242" y="1955800"/>
                <a:ext cx="1099671" cy="571500"/>
              </a:xfrm>
              <a:prstGeom prst="rect">
                <a:avLst/>
              </a:prstGeom>
              <a:solidFill>
                <a:srgbClr val="77CD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a:t>RUSSIA</a:t>
                </a:r>
              </a:p>
            </p:txBody>
          </p:sp>
          <p:sp>
            <p:nvSpPr>
              <p:cNvPr id="8" name="Ellipse 7">
                <a:extLst>
                  <a:ext uri="{FF2B5EF4-FFF2-40B4-BE49-F238E27FC236}">
                    <a16:creationId xmlns:a16="http://schemas.microsoft.com/office/drawing/2014/main" id="{BCA3E325-D9BD-43EC-876B-8CFCD18B5344}"/>
                  </a:ext>
                </a:extLst>
              </p:cNvPr>
              <p:cNvSpPr/>
              <p:nvPr/>
            </p:nvSpPr>
            <p:spPr>
              <a:xfrm>
                <a:off x="9626600" y="2489065"/>
                <a:ext cx="1492384" cy="1492384"/>
              </a:xfrm>
              <a:prstGeom prst="ellipse">
                <a:avLst/>
              </a:prstGeom>
              <a:solidFill>
                <a:schemeClr val="tx2">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rPr>
                  <a:t>Central Asia </a:t>
                </a:r>
              </a:p>
              <a:p>
                <a:pPr algn="ctr"/>
                <a:r>
                  <a:rPr lang="en-US" sz="3200" b="1">
                    <a:solidFill>
                      <a:schemeClr val="bg1"/>
                    </a:solidFill>
                  </a:rPr>
                  <a:t>8%</a:t>
                </a:r>
                <a:r>
                  <a:rPr lang="en-US">
                    <a:solidFill>
                      <a:schemeClr val="bg1"/>
                    </a:solidFill>
                  </a:rPr>
                  <a:t> </a:t>
                </a:r>
                <a:r>
                  <a:rPr lang="en-US" sz="1600">
                    <a:solidFill>
                      <a:schemeClr val="bg1"/>
                    </a:solidFill>
                  </a:rPr>
                  <a:t>of reserves</a:t>
                </a:r>
                <a:endParaRPr lang="fr-FR" sz="1600">
                  <a:solidFill>
                    <a:schemeClr val="bg1"/>
                  </a:solidFill>
                </a:endParaRPr>
              </a:p>
            </p:txBody>
          </p:sp>
          <p:sp>
            <p:nvSpPr>
              <p:cNvPr id="9" name="Rectangle 8">
                <a:extLst>
                  <a:ext uri="{FF2B5EF4-FFF2-40B4-BE49-F238E27FC236}">
                    <a16:creationId xmlns:a16="http://schemas.microsoft.com/office/drawing/2014/main" id="{C49751FA-4BFD-40F8-B364-D0D2081D97E6}"/>
                  </a:ext>
                </a:extLst>
              </p:cNvPr>
              <p:cNvSpPr/>
              <p:nvPr/>
            </p:nvSpPr>
            <p:spPr>
              <a:xfrm>
                <a:off x="2942166" y="3191933"/>
                <a:ext cx="736601" cy="237067"/>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GERMANY</a:t>
                </a:r>
              </a:p>
            </p:txBody>
          </p:sp>
          <p:sp>
            <p:nvSpPr>
              <p:cNvPr id="10" name="Rectangle 9">
                <a:extLst>
                  <a:ext uri="{FF2B5EF4-FFF2-40B4-BE49-F238E27FC236}">
                    <a16:creationId xmlns:a16="http://schemas.microsoft.com/office/drawing/2014/main" id="{2544BE70-4646-4DB9-93FD-DAA38D51D028}"/>
                  </a:ext>
                </a:extLst>
              </p:cNvPr>
              <p:cNvSpPr/>
              <p:nvPr/>
            </p:nvSpPr>
            <p:spPr>
              <a:xfrm>
                <a:off x="2125133" y="4034366"/>
                <a:ext cx="736601" cy="237067"/>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FRANCE</a:t>
                </a:r>
              </a:p>
            </p:txBody>
          </p:sp>
          <p:sp>
            <p:nvSpPr>
              <p:cNvPr id="11" name="Rectangle 10">
                <a:extLst>
                  <a:ext uri="{FF2B5EF4-FFF2-40B4-BE49-F238E27FC236}">
                    <a16:creationId xmlns:a16="http://schemas.microsoft.com/office/drawing/2014/main" id="{9B677E0D-615D-4A10-9A69-D70D574CA095}"/>
                  </a:ext>
                </a:extLst>
              </p:cNvPr>
              <p:cNvSpPr/>
              <p:nvPr/>
            </p:nvSpPr>
            <p:spPr>
              <a:xfrm>
                <a:off x="4290645" y="3122083"/>
                <a:ext cx="651773" cy="139700"/>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POLAND</a:t>
                </a:r>
              </a:p>
            </p:txBody>
          </p:sp>
          <p:sp>
            <p:nvSpPr>
              <p:cNvPr id="12" name="Rectangle 11">
                <a:extLst>
                  <a:ext uri="{FF2B5EF4-FFF2-40B4-BE49-F238E27FC236}">
                    <a16:creationId xmlns:a16="http://schemas.microsoft.com/office/drawing/2014/main" id="{D9F04BAB-E444-472C-ABFE-6E8ECA7A23C6}"/>
                  </a:ext>
                </a:extLst>
              </p:cNvPr>
              <p:cNvSpPr/>
              <p:nvPr/>
            </p:nvSpPr>
            <p:spPr>
              <a:xfrm>
                <a:off x="3573094" y="3784601"/>
                <a:ext cx="651773" cy="139700"/>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AUSTRIA</a:t>
                </a:r>
              </a:p>
            </p:txBody>
          </p:sp>
          <p:sp>
            <p:nvSpPr>
              <p:cNvPr id="13" name="Rectangle 12">
                <a:extLst>
                  <a:ext uri="{FF2B5EF4-FFF2-40B4-BE49-F238E27FC236}">
                    <a16:creationId xmlns:a16="http://schemas.microsoft.com/office/drawing/2014/main" id="{1CFEC6B3-97B2-47F3-A152-D2F0281AF4C3}"/>
                  </a:ext>
                </a:extLst>
              </p:cNvPr>
              <p:cNvSpPr/>
              <p:nvPr/>
            </p:nvSpPr>
            <p:spPr>
              <a:xfrm>
                <a:off x="4616531" y="3714751"/>
                <a:ext cx="723819" cy="139700"/>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HUNGARY</a:t>
                </a:r>
              </a:p>
            </p:txBody>
          </p:sp>
          <p:sp>
            <p:nvSpPr>
              <p:cNvPr id="14" name="Rectangle 13">
                <a:extLst>
                  <a:ext uri="{FF2B5EF4-FFF2-40B4-BE49-F238E27FC236}">
                    <a16:creationId xmlns:a16="http://schemas.microsoft.com/office/drawing/2014/main" id="{345A03FA-9684-4A00-903C-2E16F3A814F5}"/>
                  </a:ext>
                </a:extLst>
              </p:cNvPr>
              <p:cNvSpPr/>
              <p:nvPr/>
            </p:nvSpPr>
            <p:spPr>
              <a:xfrm>
                <a:off x="5154880" y="4083049"/>
                <a:ext cx="723819" cy="139700"/>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ROMANIA</a:t>
                </a:r>
              </a:p>
            </p:txBody>
          </p:sp>
          <p:sp>
            <p:nvSpPr>
              <p:cNvPr id="15" name="Rectangle 14">
                <a:extLst>
                  <a:ext uri="{FF2B5EF4-FFF2-40B4-BE49-F238E27FC236}">
                    <a16:creationId xmlns:a16="http://schemas.microsoft.com/office/drawing/2014/main" id="{AC4E8306-6D70-44E4-80A4-D16A580E49F6}"/>
                  </a:ext>
                </a:extLst>
              </p:cNvPr>
              <p:cNvSpPr/>
              <p:nvPr/>
            </p:nvSpPr>
            <p:spPr>
              <a:xfrm>
                <a:off x="5469840" y="3289300"/>
                <a:ext cx="723819" cy="139700"/>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UKRAINE</a:t>
                </a:r>
              </a:p>
            </p:txBody>
          </p:sp>
          <p:sp>
            <p:nvSpPr>
              <p:cNvPr id="16" name="Rectangle 15">
                <a:extLst>
                  <a:ext uri="{FF2B5EF4-FFF2-40B4-BE49-F238E27FC236}">
                    <a16:creationId xmlns:a16="http://schemas.microsoft.com/office/drawing/2014/main" id="{42854B33-F600-4B0D-8C73-FAF8E95BFD82}"/>
                  </a:ext>
                </a:extLst>
              </p:cNvPr>
              <p:cNvSpPr/>
              <p:nvPr/>
            </p:nvSpPr>
            <p:spPr>
              <a:xfrm>
                <a:off x="5340350" y="2860675"/>
                <a:ext cx="774700" cy="171451"/>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BELARUS</a:t>
                </a:r>
              </a:p>
            </p:txBody>
          </p:sp>
          <p:sp>
            <p:nvSpPr>
              <p:cNvPr id="17" name="Rectangle 16">
                <a:extLst>
                  <a:ext uri="{FF2B5EF4-FFF2-40B4-BE49-F238E27FC236}">
                    <a16:creationId xmlns:a16="http://schemas.microsoft.com/office/drawing/2014/main" id="{A63B1CCA-B4ED-4CEF-9228-3DC5AC8D6FC2}"/>
                  </a:ext>
                </a:extLst>
              </p:cNvPr>
              <p:cNvSpPr/>
              <p:nvPr/>
            </p:nvSpPr>
            <p:spPr>
              <a:xfrm>
                <a:off x="3361520" y="2002366"/>
                <a:ext cx="736601" cy="389467"/>
              </a:xfrm>
              <a:prstGeom prst="rect">
                <a:avLst/>
              </a:prstGeom>
              <a:solidFill>
                <a:srgbClr val="00C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t>NORTH STREAM</a:t>
                </a:r>
              </a:p>
            </p:txBody>
          </p:sp>
          <p:sp>
            <p:nvSpPr>
              <p:cNvPr id="18" name="Rectangle 17">
                <a:extLst>
                  <a:ext uri="{FF2B5EF4-FFF2-40B4-BE49-F238E27FC236}">
                    <a16:creationId xmlns:a16="http://schemas.microsoft.com/office/drawing/2014/main" id="{A18B9F5A-90AC-444D-9BDE-C913A2D70D94}"/>
                  </a:ext>
                </a:extLst>
              </p:cNvPr>
              <p:cNvSpPr/>
              <p:nvPr/>
            </p:nvSpPr>
            <p:spPr>
              <a:xfrm>
                <a:off x="8508999" y="3590397"/>
                <a:ext cx="892175" cy="139700"/>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70"/>
                  <a:t>KAZAKHSTAN</a:t>
                </a:r>
              </a:p>
            </p:txBody>
          </p:sp>
          <p:sp>
            <p:nvSpPr>
              <p:cNvPr id="19" name="Rectangle 18">
                <a:extLst>
                  <a:ext uri="{FF2B5EF4-FFF2-40B4-BE49-F238E27FC236}">
                    <a16:creationId xmlns:a16="http://schemas.microsoft.com/office/drawing/2014/main" id="{FE3610F2-7C5C-4A05-9115-6D87708ED713}"/>
                  </a:ext>
                </a:extLst>
              </p:cNvPr>
              <p:cNvSpPr/>
              <p:nvPr/>
            </p:nvSpPr>
            <p:spPr>
              <a:xfrm>
                <a:off x="6518631" y="3881966"/>
                <a:ext cx="736601" cy="389467"/>
              </a:xfrm>
              <a:prstGeom prst="rect">
                <a:avLst/>
              </a:prstGeom>
              <a:solidFill>
                <a:srgbClr val="F92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t>SOUTH STREAM</a:t>
                </a:r>
              </a:p>
            </p:txBody>
          </p:sp>
          <p:sp>
            <p:nvSpPr>
              <p:cNvPr id="21" name="Rectangle 20">
                <a:extLst>
                  <a:ext uri="{FF2B5EF4-FFF2-40B4-BE49-F238E27FC236}">
                    <a16:creationId xmlns:a16="http://schemas.microsoft.com/office/drawing/2014/main" id="{EFA98D6A-D10B-4117-A5AF-620CFB0D8143}"/>
                  </a:ext>
                </a:extLst>
              </p:cNvPr>
              <p:cNvSpPr/>
              <p:nvPr/>
            </p:nvSpPr>
            <p:spPr>
              <a:xfrm>
                <a:off x="4786579" y="1174749"/>
                <a:ext cx="736601" cy="237067"/>
              </a:xfrm>
              <a:prstGeom prst="rect">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a:t>FINLAND</a:t>
                </a:r>
              </a:p>
            </p:txBody>
          </p:sp>
        </p:grpSp>
        <p:grpSp>
          <p:nvGrpSpPr>
            <p:cNvPr id="26" name="Group 37">
              <a:extLst>
                <a:ext uri="{FF2B5EF4-FFF2-40B4-BE49-F238E27FC236}">
                  <a16:creationId xmlns:a16="http://schemas.microsoft.com/office/drawing/2014/main" id="{A767D118-BC65-49B3-AFAD-DF66E4D2BF84}"/>
                </a:ext>
              </a:extLst>
            </p:cNvPr>
            <p:cNvGrpSpPr/>
            <p:nvPr/>
          </p:nvGrpSpPr>
          <p:grpSpPr>
            <a:xfrm>
              <a:off x="11558197" y="207688"/>
              <a:ext cx="418487" cy="387209"/>
              <a:chOff x="5481638" y="2859088"/>
              <a:chExt cx="1231900" cy="1139825"/>
            </a:xfrm>
            <a:solidFill>
              <a:schemeClr val="bg1"/>
            </a:solidFill>
          </p:grpSpPr>
          <p:sp>
            <p:nvSpPr>
              <p:cNvPr id="27" name="Freeform 320">
                <a:extLst>
                  <a:ext uri="{FF2B5EF4-FFF2-40B4-BE49-F238E27FC236}">
                    <a16:creationId xmlns:a16="http://schemas.microsoft.com/office/drawing/2014/main" id="{86C023A0-CD16-45FB-BCC7-66285599774E}"/>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321">
                <a:extLst>
                  <a:ext uri="{FF2B5EF4-FFF2-40B4-BE49-F238E27FC236}">
                    <a16:creationId xmlns:a16="http://schemas.microsoft.com/office/drawing/2014/main" id="{498C4850-137A-447D-B0FE-A0D32CDAE90C}"/>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 name="Rectangle 4">
              <a:extLst>
                <a:ext uri="{FF2B5EF4-FFF2-40B4-BE49-F238E27FC236}">
                  <a16:creationId xmlns:a16="http://schemas.microsoft.com/office/drawing/2014/main" id="{4E1F73BE-DDF0-4F45-9E48-9CE4B0B19ED4}"/>
                </a:ext>
              </a:extLst>
            </p:cNvPr>
            <p:cNvSpPr/>
            <p:nvPr/>
          </p:nvSpPr>
          <p:spPr>
            <a:xfrm>
              <a:off x="5003364" y="2495280"/>
              <a:ext cx="649728" cy="191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solidFill>
                    <a:schemeClr val="accent1"/>
                  </a:solidFill>
                </a:rPr>
                <a:t>YAMAL</a:t>
              </a:r>
            </a:p>
          </p:txBody>
        </p:sp>
        <p:sp>
          <p:nvSpPr>
            <p:cNvPr id="25" name="Rectangle 24">
              <a:extLst>
                <a:ext uri="{FF2B5EF4-FFF2-40B4-BE49-F238E27FC236}">
                  <a16:creationId xmlns:a16="http://schemas.microsoft.com/office/drawing/2014/main" id="{6B0A9C11-D2CB-4ABF-8189-B2795BBCB17E}"/>
                </a:ext>
              </a:extLst>
            </p:cNvPr>
            <p:cNvSpPr/>
            <p:nvPr/>
          </p:nvSpPr>
          <p:spPr>
            <a:xfrm>
              <a:off x="6310361" y="2786589"/>
              <a:ext cx="796972" cy="191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solidFill>
                    <a:schemeClr val="accent1"/>
                  </a:solidFill>
                </a:rPr>
                <a:t>DROUJBA</a:t>
              </a:r>
            </a:p>
          </p:txBody>
        </p:sp>
        <p:sp>
          <p:nvSpPr>
            <p:cNvPr id="29" name="Rectangle 28">
              <a:extLst>
                <a:ext uri="{FF2B5EF4-FFF2-40B4-BE49-F238E27FC236}">
                  <a16:creationId xmlns:a16="http://schemas.microsoft.com/office/drawing/2014/main" id="{178F51F3-4D93-4414-A113-43C8AF67BF4D}"/>
                </a:ext>
              </a:extLst>
            </p:cNvPr>
            <p:cNvSpPr/>
            <p:nvPr/>
          </p:nvSpPr>
          <p:spPr>
            <a:xfrm>
              <a:off x="7008183" y="3346977"/>
              <a:ext cx="723819" cy="191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solidFill>
                    <a:schemeClr val="accent1"/>
                  </a:solidFill>
                </a:rPr>
                <a:t>SOYOUZ</a:t>
              </a:r>
            </a:p>
          </p:txBody>
        </p:sp>
      </p:grpSp>
      <p:sp>
        <p:nvSpPr>
          <p:cNvPr id="6" name="Titre 2">
            <a:extLst>
              <a:ext uri="{FF2B5EF4-FFF2-40B4-BE49-F238E27FC236}">
                <a16:creationId xmlns:a16="http://schemas.microsoft.com/office/drawing/2014/main" id="{7DBB77AA-EF03-4B7B-83F1-3840D4E9910C}"/>
              </a:ext>
            </a:extLst>
          </p:cNvPr>
          <p:cNvSpPr txBox="1">
            <a:spLocks/>
          </p:cNvSpPr>
          <p:nvPr/>
        </p:nvSpPr>
        <p:spPr>
          <a:xfrm>
            <a:off x="340879" y="277063"/>
            <a:ext cx="3972615" cy="716711"/>
          </a:xfrm>
          <a:prstGeom prst="rect">
            <a:avLst/>
          </a:prstGeom>
        </p:spPr>
        <p:txBody>
          <a:bodyPr vert="horz" lIns="0" tIns="0" rIns="0" bIns="0" rtlCol="0" anchor="ctr">
            <a:noAutofit/>
          </a:bodyPr>
          <a:lst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a:lstStyle>
          <a:p>
            <a:r>
              <a:rPr lang="en-US" sz="2400">
                <a:solidFill>
                  <a:schemeClr val="bg1"/>
                </a:solidFill>
              </a:rPr>
              <a:t>Russian pipelines supplying Europe</a:t>
            </a:r>
            <a:endParaRPr lang="en-US">
              <a:solidFill>
                <a:schemeClr val="bg1"/>
              </a:solidFill>
            </a:endParaRPr>
          </a:p>
        </p:txBody>
      </p:sp>
    </p:spTree>
    <p:extLst>
      <p:ext uri="{BB962C8B-B14F-4D97-AF65-F5344CB8AC3E}">
        <p14:creationId xmlns:p14="http://schemas.microsoft.com/office/powerpoint/2010/main" val="3255778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a:xfrm>
            <a:off x="340242" y="388188"/>
            <a:ext cx="11012343" cy="716711"/>
          </a:xfrm>
        </p:spPr>
        <p:txBody>
          <a:bodyPr/>
          <a:lstStyle/>
          <a:p>
            <a:r>
              <a:rPr lang="en-US" sz="2400"/>
              <a:t>ENERGY is also A driver of the Ukraine invasion</a:t>
            </a:r>
            <a:endParaRPr lang="en-IN"/>
          </a:p>
        </p:txBody>
      </p:sp>
      <p:sp>
        <p:nvSpPr>
          <p:cNvPr id="50" name="TextBox 5">
            <a:extLst>
              <a:ext uri="{FF2B5EF4-FFF2-40B4-BE49-F238E27FC236}">
                <a16:creationId xmlns:a16="http://schemas.microsoft.com/office/drawing/2014/main" id="{8E52AA80-7479-48D4-8E90-EFDEE4E4BBE2}"/>
              </a:ext>
            </a:extLst>
          </p:cNvPr>
          <p:cNvSpPr txBox="1"/>
          <p:nvPr/>
        </p:nvSpPr>
        <p:spPr>
          <a:xfrm>
            <a:off x="8688288" y="6184935"/>
            <a:ext cx="3098898" cy="276999"/>
          </a:xfrm>
          <a:prstGeom prst="rect">
            <a:avLst/>
          </a:prstGeom>
          <a:noFill/>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lumMod val="85000"/>
                  </a:srgbClr>
                </a:solidFill>
                <a:effectLst/>
                <a:uLnTx/>
                <a:uFillTx/>
                <a:latin typeface="Verdana" panose="020B0604030504040204" pitchFamily="34" charset="0"/>
                <a:ea typeface="Verdana" panose="020B0604030504040204" pitchFamily="34" charset="0"/>
                <a:cs typeface="+mn-cs"/>
              </a:rPr>
              <a:t>Source: </a:t>
            </a:r>
            <a:r>
              <a:rPr kumimoji="0" lang="en-US" sz="900" b="0" i="0" u="none" strike="noStrike" kern="1200" cap="none" spc="0" normalizeH="0" baseline="30000" noProof="0">
                <a:ln>
                  <a:noFill/>
                </a:ln>
                <a:solidFill>
                  <a:srgbClr val="FFFFFF">
                    <a:lumMod val="85000"/>
                  </a:srgbClr>
                </a:solidFill>
                <a:effectLst/>
                <a:uLnTx/>
                <a:uFillTx/>
                <a:latin typeface="Verdana" panose="020B0604030504040204" pitchFamily="34" charset="0"/>
                <a:ea typeface="Verdana" panose="020B0604030504040204" pitchFamily="34" charset="0"/>
                <a:cs typeface="+mn-cs"/>
              </a:rPr>
              <a:t>1</a:t>
            </a:r>
            <a:r>
              <a:rPr kumimoji="0" lang="en-US" sz="900" b="0" i="0" u="none" strike="noStrike" kern="1200" cap="none" spc="0" normalizeH="0" baseline="0" noProof="0">
                <a:ln>
                  <a:noFill/>
                </a:ln>
                <a:solidFill>
                  <a:srgbClr val="FFFFFF">
                    <a:lumMod val="85000"/>
                  </a:srgbClr>
                </a:solidFill>
                <a:effectLst/>
                <a:uLnTx/>
                <a:uFillTx/>
                <a:latin typeface="Verdana" panose="020B0604030504040204" pitchFamily="34" charset="0"/>
                <a:ea typeface="Verdana" panose="020B0604030504040204" pitchFamily="34" charset="0"/>
                <a:cs typeface="+mn-cs"/>
              </a:rPr>
              <a:t> Energy security, IEA; </a:t>
            </a:r>
            <a:r>
              <a:rPr kumimoji="0" lang="en-US" sz="900" b="0" i="0" u="none" strike="noStrike" kern="1200" cap="none" spc="0" normalizeH="0" baseline="30000" noProof="0">
                <a:ln>
                  <a:noFill/>
                </a:ln>
                <a:solidFill>
                  <a:srgbClr val="FFFFFF">
                    <a:lumMod val="85000"/>
                  </a:srgbClr>
                </a:solidFill>
                <a:effectLst/>
                <a:uLnTx/>
                <a:uFillTx/>
                <a:latin typeface="Verdana" panose="020B0604030504040204" pitchFamily="34" charset="0"/>
                <a:ea typeface="Verdana" panose="020B0604030504040204" pitchFamily="34" charset="0"/>
                <a:cs typeface="+mn-cs"/>
              </a:rPr>
              <a:t>2</a:t>
            </a:r>
            <a:r>
              <a:rPr kumimoji="0" lang="en-US" sz="900" b="0" i="0" u="none" strike="noStrike" kern="1200" cap="none" spc="0" normalizeH="0" baseline="0" noProof="0">
                <a:ln>
                  <a:noFill/>
                </a:ln>
                <a:solidFill>
                  <a:srgbClr val="FFFFFF">
                    <a:lumMod val="85000"/>
                  </a:srgbClr>
                </a:solidFill>
                <a:effectLst/>
                <a:uLnTx/>
                <a:uFillTx/>
                <a:latin typeface="Verdana" panose="020B0604030504040204" pitchFamily="34" charset="0"/>
                <a:ea typeface="Verdana" panose="020B0604030504040204" pitchFamily="34" charset="0"/>
                <a:cs typeface="+mn-cs"/>
              </a:rPr>
              <a:t> Ukraine At Risk: An Oil and Gas Perspective, Energy Consulting Group</a:t>
            </a:r>
            <a:endParaRPr kumimoji="0" lang="en-US" sz="900" b="0" i="0" u="none" strike="noStrike" kern="1200" cap="none" spc="0" normalizeH="0" baseline="30000" noProof="0">
              <a:ln>
                <a:noFill/>
              </a:ln>
              <a:solidFill>
                <a:srgbClr val="FFFFFF">
                  <a:lumMod val="85000"/>
                </a:srgbClr>
              </a:solidFill>
              <a:effectLst/>
              <a:uLnTx/>
              <a:uFillTx/>
              <a:latin typeface="Verdana" panose="020B0604030504040204" pitchFamily="34" charset="0"/>
              <a:ea typeface="Verdana" panose="020B0604030504040204" pitchFamily="34" charset="0"/>
              <a:cs typeface="+mn-cs"/>
            </a:endParaRPr>
          </a:p>
        </p:txBody>
      </p:sp>
      <p:grpSp>
        <p:nvGrpSpPr>
          <p:cNvPr id="51" name="Groupe 14">
            <a:extLst>
              <a:ext uri="{FF2B5EF4-FFF2-40B4-BE49-F238E27FC236}">
                <a16:creationId xmlns:a16="http://schemas.microsoft.com/office/drawing/2014/main" id="{8BB5AC8E-5519-41F2-A22D-5C0DE205E316}"/>
              </a:ext>
            </a:extLst>
          </p:cNvPr>
          <p:cNvGrpSpPr/>
          <p:nvPr/>
        </p:nvGrpSpPr>
        <p:grpSpPr>
          <a:xfrm>
            <a:off x="367674" y="1323690"/>
            <a:ext cx="7921790" cy="5171796"/>
            <a:chOff x="2499299" y="1323690"/>
            <a:chExt cx="7921790" cy="5171796"/>
          </a:xfrm>
        </p:grpSpPr>
        <p:sp>
          <p:nvSpPr>
            <p:cNvPr id="52" name="Freeform 120">
              <a:extLst>
                <a:ext uri="{FF2B5EF4-FFF2-40B4-BE49-F238E27FC236}">
                  <a16:creationId xmlns:a16="http://schemas.microsoft.com/office/drawing/2014/main" id="{CF2E7EF1-AB09-4612-90A8-BF8D0D683050}"/>
                </a:ext>
              </a:extLst>
            </p:cNvPr>
            <p:cNvSpPr>
              <a:spLocks/>
            </p:cNvSpPr>
            <p:nvPr/>
          </p:nvSpPr>
          <p:spPr bwMode="auto">
            <a:xfrm>
              <a:off x="8457623" y="3540810"/>
              <a:ext cx="1071459" cy="1472144"/>
            </a:xfrm>
            <a:custGeom>
              <a:avLst/>
              <a:gdLst>
                <a:gd name="T0" fmla="*/ 415 w 722"/>
                <a:gd name="T1" fmla="*/ 46 h 992"/>
                <a:gd name="T2" fmla="*/ 446 w 722"/>
                <a:gd name="T3" fmla="*/ 98 h 992"/>
                <a:gd name="T4" fmla="*/ 444 w 722"/>
                <a:gd name="T5" fmla="*/ 128 h 992"/>
                <a:gd name="T6" fmla="*/ 480 w 722"/>
                <a:gd name="T7" fmla="*/ 163 h 992"/>
                <a:gd name="T8" fmla="*/ 502 w 722"/>
                <a:gd name="T9" fmla="*/ 211 h 992"/>
                <a:gd name="T10" fmla="*/ 488 w 722"/>
                <a:gd name="T11" fmla="*/ 251 h 992"/>
                <a:gd name="T12" fmla="*/ 502 w 722"/>
                <a:gd name="T13" fmla="*/ 319 h 992"/>
                <a:gd name="T14" fmla="*/ 538 w 722"/>
                <a:gd name="T15" fmla="*/ 342 h 992"/>
                <a:gd name="T16" fmla="*/ 538 w 722"/>
                <a:gd name="T17" fmla="*/ 388 h 992"/>
                <a:gd name="T18" fmla="*/ 576 w 722"/>
                <a:gd name="T19" fmla="*/ 409 h 992"/>
                <a:gd name="T20" fmla="*/ 594 w 722"/>
                <a:gd name="T21" fmla="*/ 453 h 992"/>
                <a:gd name="T22" fmla="*/ 638 w 722"/>
                <a:gd name="T23" fmla="*/ 470 h 992"/>
                <a:gd name="T24" fmla="*/ 648 w 722"/>
                <a:gd name="T25" fmla="*/ 507 h 992"/>
                <a:gd name="T26" fmla="*/ 707 w 722"/>
                <a:gd name="T27" fmla="*/ 534 h 992"/>
                <a:gd name="T28" fmla="*/ 696 w 722"/>
                <a:gd name="T29" fmla="*/ 578 h 992"/>
                <a:gd name="T30" fmla="*/ 646 w 722"/>
                <a:gd name="T31" fmla="*/ 591 h 992"/>
                <a:gd name="T32" fmla="*/ 634 w 722"/>
                <a:gd name="T33" fmla="*/ 633 h 992"/>
                <a:gd name="T34" fmla="*/ 600 w 722"/>
                <a:gd name="T35" fmla="*/ 649 h 992"/>
                <a:gd name="T36" fmla="*/ 542 w 722"/>
                <a:gd name="T37" fmla="*/ 683 h 992"/>
                <a:gd name="T38" fmla="*/ 498 w 722"/>
                <a:gd name="T39" fmla="*/ 712 h 992"/>
                <a:gd name="T40" fmla="*/ 498 w 722"/>
                <a:gd name="T41" fmla="*/ 762 h 992"/>
                <a:gd name="T42" fmla="*/ 473 w 722"/>
                <a:gd name="T43" fmla="*/ 808 h 992"/>
                <a:gd name="T44" fmla="*/ 503 w 722"/>
                <a:gd name="T45" fmla="*/ 831 h 992"/>
                <a:gd name="T46" fmla="*/ 477 w 722"/>
                <a:gd name="T47" fmla="*/ 887 h 992"/>
                <a:gd name="T48" fmla="*/ 440 w 722"/>
                <a:gd name="T49" fmla="*/ 923 h 992"/>
                <a:gd name="T50" fmla="*/ 436 w 722"/>
                <a:gd name="T51" fmla="*/ 898 h 992"/>
                <a:gd name="T52" fmla="*/ 396 w 722"/>
                <a:gd name="T53" fmla="*/ 900 h 992"/>
                <a:gd name="T54" fmla="*/ 340 w 722"/>
                <a:gd name="T55" fmla="*/ 902 h 992"/>
                <a:gd name="T56" fmla="*/ 292 w 722"/>
                <a:gd name="T57" fmla="*/ 904 h 992"/>
                <a:gd name="T58" fmla="*/ 269 w 722"/>
                <a:gd name="T59" fmla="*/ 912 h 992"/>
                <a:gd name="T60" fmla="*/ 238 w 722"/>
                <a:gd name="T61" fmla="*/ 952 h 992"/>
                <a:gd name="T62" fmla="*/ 202 w 722"/>
                <a:gd name="T63" fmla="*/ 991 h 992"/>
                <a:gd name="T64" fmla="*/ 206 w 722"/>
                <a:gd name="T65" fmla="*/ 967 h 992"/>
                <a:gd name="T66" fmla="*/ 158 w 722"/>
                <a:gd name="T67" fmla="*/ 973 h 992"/>
                <a:gd name="T68" fmla="*/ 158 w 722"/>
                <a:gd name="T69" fmla="*/ 946 h 992"/>
                <a:gd name="T70" fmla="*/ 119 w 722"/>
                <a:gd name="T71" fmla="*/ 900 h 992"/>
                <a:gd name="T72" fmla="*/ 110 w 722"/>
                <a:gd name="T73" fmla="*/ 870 h 992"/>
                <a:gd name="T74" fmla="*/ 83 w 722"/>
                <a:gd name="T75" fmla="*/ 850 h 992"/>
                <a:gd name="T76" fmla="*/ 123 w 722"/>
                <a:gd name="T77" fmla="*/ 804 h 992"/>
                <a:gd name="T78" fmla="*/ 183 w 722"/>
                <a:gd name="T79" fmla="*/ 787 h 992"/>
                <a:gd name="T80" fmla="*/ 169 w 722"/>
                <a:gd name="T81" fmla="*/ 745 h 992"/>
                <a:gd name="T82" fmla="*/ 85 w 722"/>
                <a:gd name="T83" fmla="*/ 683 h 992"/>
                <a:gd name="T84" fmla="*/ 58 w 722"/>
                <a:gd name="T85" fmla="*/ 655 h 992"/>
                <a:gd name="T86" fmla="*/ 39 w 722"/>
                <a:gd name="T87" fmla="*/ 616 h 992"/>
                <a:gd name="T88" fmla="*/ 2 w 722"/>
                <a:gd name="T89" fmla="*/ 555 h 992"/>
                <a:gd name="T90" fmla="*/ 14 w 722"/>
                <a:gd name="T91" fmla="*/ 511 h 992"/>
                <a:gd name="T92" fmla="*/ 20 w 722"/>
                <a:gd name="T93" fmla="*/ 476 h 992"/>
                <a:gd name="T94" fmla="*/ 39 w 722"/>
                <a:gd name="T95" fmla="*/ 474 h 992"/>
                <a:gd name="T96" fmla="*/ 68 w 722"/>
                <a:gd name="T97" fmla="*/ 491 h 992"/>
                <a:gd name="T98" fmla="*/ 102 w 722"/>
                <a:gd name="T99" fmla="*/ 472 h 992"/>
                <a:gd name="T100" fmla="*/ 114 w 722"/>
                <a:gd name="T101" fmla="*/ 432 h 992"/>
                <a:gd name="T102" fmla="*/ 87 w 722"/>
                <a:gd name="T103" fmla="*/ 349 h 992"/>
                <a:gd name="T104" fmla="*/ 104 w 722"/>
                <a:gd name="T105" fmla="*/ 296 h 992"/>
                <a:gd name="T106" fmla="*/ 64 w 722"/>
                <a:gd name="T107" fmla="*/ 240 h 992"/>
                <a:gd name="T108" fmla="*/ 54 w 722"/>
                <a:gd name="T109" fmla="*/ 190 h 992"/>
                <a:gd name="T110" fmla="*/ 100 w 722"/>
                <a:gd name="T111" fmla="*/ 176 h 992"/>
                <a:gd name="T112" fmla="*/ 146 w 722"/>
                <a:gd name="T113" fmla="*/ 188 h 992"/>
                <a:gd name="T114" fmla="*/ 194 w 722"/>
                <a:gd name="T115" fmla="*/ 159 h 992"/>
                <a:gd name="T116" fmla="*/ 235 w 722"/>
                <a:gd name="T117" fmla="*/ 123 h 992"/>
                <a:gd name="T118" fmla="*/ 233 w 722"/>
                <a:gd name="T119" fmla="*/ 100 h 992"/>
                <a:gd name="T120" fmla="*/ 267 w 722"/>
                <a:gd name="T121" fmla="*/ 73 h 992"/>
                <a:gd name="T122" fmla="*/ 300 w 722"/>
                <a:gd name="T123" fmla="*/ 42 h 992"/>
                <a:gd name="T124" fmla="*/ 310 w 722"/>
                <a:gd name="T125" fmla="*/ 2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992">
                  <a:moveTo>
                    <a:pt x="384" y="0"/>
                  </a:moveTo>
                  <a:lnTo>
                    <a:pt x="386" y="0"/>
                  </a:lnTo>
                  <a:lnTo>
                    <a:pt x="386" y="2"/>
                  </a:lnTo>
                  <a:lnTo>
                    <a:pt x="386" y="4"/>
                  </a:lnTo>
                  <a:lnTo>
                    <a:pt x="386" y="6"/>
                  </a:lnTo>
                  <a:lnTo>
                    <a:pt x="390" y="8"/>
                  </a:lnTo>
                  <a:lnTo>
                    <a:pt x="390" y="11"/>
                  </a:lnTo>
                  <a:lnTo>
                    <a:pt x="394" y="9"/>
                  </a:lnTo>
                  <a:lnTo>
                    <a:pt x="396" y="9"/>
                  </a:lnTo>
                  <a:lnTo>
                    <a:pt x="398" y="15"/>
                  </a:lnTo>
                  <a:lnTo>
                    <a:pt x="400" y="13"/>
                  </a:lnTo>
                  <a:lnTo>
                    <a:pt x="402" y="17"/>
                  </a:lnTo>
                  <a:lnTo>
                    <a:pt x="402" y="19"/>
                  </a:lnTo>
                  <a:lnTo>
                    <a:pt x="398" y="21"/>
                  </a:lnTo>
                  <a:lnTo>
                    <a:pt x="396" y="21"/>
                  </a:lnTo>
                  <a:lnTo>
                    <a:pt x="394" y="23"/>
                  </a:lnTo>
                  <a:lnTo>
                    <a:pt x="394" y="25"/>
                  </a:lnTo>
                  <a:lnTo>
                    <a:pt x="392" y="25"/>
                  </a:lnTo>
                  <a:lnTo>
                    <a:pt x="390" y="27"/>
                  </a:lnTo>
                  <a:lnTo>
                    <a:pt x="392" y="29"/>
                  </a:lnTo>
                  <a:lnTo>
                    <a:pt x="394" y="29"/>
                  </a:lnTo>
                  <a:lnTo>
                    <a:pt x="394" y="31"/>
                  </a:lnTo>
                  <a:lnTo>
                    <a:pt x="390" y="33"/>
                  </a:lnTo>
                  <a:lnTo>
                    <a:pt x="392" y="34"/>
                  </a:lnTo>
                  <a:lnTo>
                    <a:pt x="394" y="34"/>
                  </a:lnTo>
                  <a:lnTo>
                    <a:pt x="394" y="36"/>
                  </a:lnTo>
                  <a:lnTo>
                    <a:pt x="396" y="36"/>
                  </a:lnTo>
                  <a:lnTo>
                    <a:pt x="398" y="38"/>
                  </a:lnTo>
                  <a:lnTo>
                    <a:pt x="400" y="38"/>
                  </a:lnTo>
                  <a:lnTo>
                    <a:pt x="404" y="42"/>
                  </a:lnTo>
                  <a:lnTo>
                    <a:pt x="406" y="42"/>
                  </a:lnTo>
                  <a:lnTo>
                    <a:pt x="407" y="40"/>
                  </a:lnTo>
                  <a:lnTo>
                    <a:pt x="407" y="42"/>
                  </a:lnTo>
                  <a:lnTo>
                    <a:pt x="409" y="42"/>
                  </a:lnTo>
                  <a:lnTo>
                    <a:pt x="411" y="42"/>
                  </a:lnTo>
                  <a:lnTo>
                    <a:pt x="413" y="44"/>
                  </a:lnTo>
                  <a:lnTo>
                    <a:pt x="415" y="44"/>
                  </a:lnTo>
                  <a:lnTo>
                    <a:pt x="415" y="46"/>
                  </a:lnTo>
                  <a:lnTo>
                    <a:pt x="425" y="46"/>
                  </a:lnTo>
                  <a:lnTo>
                    <a:pt x="429" y="46"/>
                  </a:lnTo>
                  <a:lnTo>
                    <a:pt x="431" y="46"/>
                  </a:lnTo>
                  <a:lnTo>
                    <a:pt x="431" y="42"/>
                  </a:lnTo>
                  <a:lnTo>
                    <a:pt x="431" y="40"/>
                  </a:lnTo>
                  <a:lnTo>
                    <a:pt x="432" y="40"/>
                  </a:lnTo>
                  <a:lnTo>
                    <a:pt x="432" y="38"/>
                  </a:lnTo>
                  <a:lnTo>
                    <a:pt x="432" y="36"/>
                  </a:lnTo>
                  <a:lnTo>
                    <a:pt x="434" y="36"/>
                  </a:lnTo>
                  <a:lnTo>
                    <a:pt x="434" y="38"/>
                  </a:lnTo>
                  <a:lnTo>
                    <a:pt x="436" y="38"/>
                  </a:lnTo>
                  <a:lnTo>
                    <a:pt x="438" y="38"/>
                  </a:lnTo>
                  <a:lnTo>
                    <a:pt x="442" y="38"/>
                  </a:lnTo>
                  <a:lnTo>
                    <a:pt x="442" y="40"/>
                  </a:lnTo>
                  <a:lnTo>
                    <a:pt x="444" y="44"/>
                  </a:lnTo>
                  <a:lnTo>
                    <a:pt x="442" y="50"/>
                  </a:lnTo>
                  <a:lnTo>
                    <a:pt x="440" y="52"/>
                  </a:lnTo>
                  <a:lnTo>
                    <a:pt x="440" y="54"/>
                  </a:lnTo>
                  <a:lnTo>
                    <a:pt x="440" y="56"/>
                  </a:lnTo>
                  <a:lnTo>
                    <a:pt x="440" y="57"/>
                  </a:lnTo>
                  <a:lnTo>
                    <a:pt x="438" y="59"/>
                  </a:lnTo>
                  <a:lnTo>
                    <a:pt x="438" y="61"/>
                  </a:lnTo>
                  <a:lnTo>
                    <a:pt x="438" y="63"/>
                  </a:lnTo>
                  <a:lnTo>
                    <a:pt x="438" y="65"/>
                  </a:lnTo>
                  <a:lnTo>
                    <a:pt x="438" y="67"/>
                  </a:lnTo>
                  <a:lnTo>
                    <a:pt x="436" y="71"/>
                  </a:lnTo>
                  <a:lnTo>
                    <a:pt x="436" y="73"/>
                  </a:lnTo>
                  <a:lnTo>
                    <a:pt x="436" y="75"/>
                  </a:lnTo>
                  <a:lnTo>
                    <a:pt x="434" y="75"/>
                  </a:lnTo>
                  <a:lnTo>
                    <a:pt x="434" y="77"/>
                  </a:lnTo>
                  <a:lnTo>
                    <a:pt x="438" y="81"/>
                  </a:lnTo>
                  <a:lnTo>
                    <a:pt x="438" y="82"/>
                  </a:lnTo>
                  <a:lnTo>
                    <a:pt x="440" y="84"/>
                  </a:lnTo>
                  <a:lnTo>
                    <a:pt x="440" y="86"/>
                  </a:lnTo>
                  <a:lnTo>
                    <a:pt x="442" y="90"/>
                  </a:lnTo>
                  <a:lnTo>
                    <a:pt x="442" y="92"/>
                  </a:lnTo>
                  <a:lnTo>
                    <a:pt x="444" y="94"/>
                  </a:lnTo>
                  <a:lnTo>
                    <a:pt x="446" y="98"/>
                  </a:lnTo>
                  <a:lnTo>
                    <a:pt x="446" y="100"/>
                  </a:lnTo>
                  <a:lnTo>
                    <a:pt x="446" y="102"/>
                  </a:lnTo>
                  <a:lnTo>
                    <a:pt x="446" y="104"/>
                  </a:lnTo>
                  <a:lnTo>
                    <a:pt x="444" y="104"/>
                  </a:lnTo>
                  <a:lnTo>
                    <a:pt x="442" y="104"/>
                  </a:lnTo>
                  <a:lnTo>
                    <a:pt x="440" y="104"/>
                  </a:lnTo>
                  <a:lnTo>
                    <a:pt x="438" y="105"/>
                  </a:lnTo>
                  <a:lnTo>
                    <a:pt x="436" y="105"/>
                  </a:lnTo>
                  <a:lnTo>
                    <a:pt x="434" y="105"/>
                  </a:lnTo>
                  <a:lnTo>
                    <a:pt x="434" y="107"/>
                  </a:lnTo>
                  <a:lnTo>
                    <a:pt x="432" y="107"/>
                  </a:lnTo>
                  <a:lnTo>
                    <a:pt x="432" y="109"/>
                  </a:lnTo>
                  <a:lnTo>
                    <a:pt x="434" y="109"/>
                  </a:lnTo>
                  <a:lnTo>
                    <a:pt x="434" y="111"/>
                  </a:lnTo>
                  <a:lnTo>
                    <a:pt x="434" y="113"/>
                  </a:lnTo>
                  <a:lnTo>
                    <a:pt x="434" y="115"/>
                  </a:lnTo>
                  <a:lnTo>
                    <a:pt x="427" y="111"/>
                  </a:lnTo>
                  <a:lnTo>
                    <a:pt x="425" y="115"/>
                  </a:lnTo>
                  <a:lnTo>
                    <a:pt x="423" y="117"/>
                  </a:lnTo>
                  <a:lnTo>
                    <a:pt x="423" y="119"/>
                  </a:lnTo>
                  <a:lnTo>
                    <a:pt x="421" y="121"/>
                  </a:lnTo>
                  <a:lnTo>
                    <a:pt x="421" y="123"/>
                  </a:lnTo>
                  <a:lnTo>
                    <a:pt x="423" y="123"/>
                  </a:lnTo>
                  <a:lnTo>
                    <a:pt x="423" y="125"/>
                  </a:lnTo>
                  <a:lnTo>
                    <a:pt x="425" y="125"/>
                  </a:lnTo>
                  <a:lnTo>
                    <a:pt x="427" y="125"/>
                  </a:lnTo>
                  <a:lnTo>
                    <a:pt x="429" y="125"/>
                  </a:lnTo>
                  <a:lnTo>
                    <a:pt x="431" y="125"/>
                  </a:lnTo>
                  <a:lnTo>
                    <a:pt x="431" y="127"/>
                  </a:lnTo>
                  <a:lnTo>
                    <a:pt x="431" y="128"/>
                  </a:lnTo>
                  <a:lnTo>
                    <a:pt x="432" y="128"/>
                  </a:lnTo>
                  <a:lnTo>
                    <a:pt x="436" y="128"/>
                  </a:lnTo>
                  <a:lnTo>
                    <a:pt x="436" y="127"/>
                  </a:lnTo>
                  <a:lnTo>
                    <a:pt x="438" y="127"/>
                  </a:lnTo>
                  <a:lnTo>
                    <a:pt x="438" y="128"/>
                  </a:lnTo>
                  <a:lnTo>
                    <a:pt x="440" y="128"/>
                  </a:lnTo>
                  <a:lnTo>
                    <a:pt x="442" y="128"/>
                  </a:lnTo>
                  <a:lnTo>
                    <a:pt x="444" y="128"/>
                  </a:lnTo>
                  <a:lnTo>
                    <a:pt x="446" y="128"/>
                  </a:lnTo>
                  <a:lnTo>
                    <a:pt x="446" y="130"/>
                  </a:lnTo>
                  <a:lnTo>
                    <a:pt x="448" y="130"/>
                  </a:lnTo>
                  <a:lnTo>
                    <a:pt x="450" y="130"/>
                  </a:lnTo>
                  <a:lnTo>
                    <a:pt x="452" y="130"/>
                  </a:lnTo>
                  <a:lnTo>
                    <a:pt x="454" y="130"/>
                  </a:lnTo>
                  <a:lnTo>
                    <a:pt x="454" y="132"/>
                  </a:lnTo>
                  <a:lnTo>
                    <a:pt x="455" y="132"/>
                  </a:lnTo>
                  <a:lnTo>
                    <a:pt x="457" y="132"/>
                  </a:lnTo>
                  <a:lnTo>
                    <a:pt x="457" y="130"/>
                  </a:lnTo>
                  <a:lnTo>
                    <a:pt x="457" y="128"/>
                  </a:lnTo>
                  <a:lnTo>
                    <a:pt x="459" y="128"/>
                  </a:lnTo>
                  <a:lnTo>
                    <a:pt x="461" y="128"/>
                  </a:lnTo>
                  <a:lnTo>
                    <a:pt x="461" y="130"/>
                  </a:lnTo>
                  <a:lnTo>
                    <a:pt x="463" y="130"/>
                  </a:lnTo>
                  <a:lnTo>
                    <a:pt x="465" y="130"/>
                  </a:lnTo>
                  <a:lnTo>
                    <a:pt x="465" y="128"/>
                  </a:lnTo>
                  <a:lnTo>
                    <a:pt x="465" y="130"/>
                  </a:lnTo>
                  <a:lnTo>
                    <a:pt x="467" y="130"/>
                  </a:lnTo>
                  <a:lnTo>
                    <a:pt x="469" y="130"/>
                  </a:lnTo>
                  <a:lnTo>
                    <a:pt x="471" y="130"/>
                  </a:lnTo>
                  <a:lnTo>
                    <a:pt x="473" y="130"/>
                  </a:lnTo>
                  <a:lnTo>
                    <a:pt x="475" y="130"/>
                  </a:lnTo>
                  <a:lnTo>
                    <a:pt x="479" y="130"/>
                  </a:lnTo>
                  <a:lnTo>
                    <a:pt x="480" y="128"/>
                  </a:lnTo>
                  <a:lnTo>
                    <a:pt x="480" y="130"/>
                  </a:lnTo>
                  <a:lnTo>
                    <a:pt x="482" y="134"/>
                  </a:lnTo>
                  <a:lnTo>
                    <a:pt x="482" y="136"/>
                  </a:lnTo>
                  <a:lnTo>
                    <a:pt x="482" y="138"/>
                  </a:lnTo>
                  <a:lnTo>
                    <a:pt x="482" y="148"/>
                  </a:lnTo>
                  <a:lnTo>
                    <a:pt x="482" y="152"/>
                  </a:lnTo>
                  <a:lnTo>
                    <a:pt x="482" y="153"/>
                  </a:lnTo>
                  <a:lnTo>
                    <a:pt x="482" y="155"/>
                  </a:lnTo>
                  <a:lnTo>
                    <a:pt x="482" y="157"/>
                  </a:lnTo>
                  <a:lnTo>
                    <a:pt x="482" y="159"/>
                  </a:lnTo>
                  <a:lnTo>
                    <a:pt x="482" y="161"/>
                  </a:lnTo>
                  <a:lnTo>
                    <a:pt x="480" y="161"/>
                  </a:lnTo>
                  <a:lnTo>
                    <a:pt x="480" y="163"/>
                  </a:lnTo>
                  <a:lnTo>
                    <a:pt x="480" y="165"/>
                  </a:lnTo>
                  <a:lnTo>
                    <a:pt x="480" y="167"/>
                  </a:lnTo>
                  <a:lnTo>
                    <a:pt x="480" y="169"/>
                  </a:lnTo>
                  <a:lnTo>
                    <a:pt x="482" y="167"/>
                  </a:lnTo>
                  <a:lnTo>
                    <a:pt x="484" y="167"/>
                  </a:lnTo>
                  <a:lnTo>
                    <a:pt x="486" y="167"/>
                  </a:lnTo>
                  <a:lnTo>
                    <a:pt x="490" y="167"/>
                  </a:lnTo>
                  <a:lnTo>
                    <a:pt x="492" y="171"/>
                  </a:lnTo>
                  <a:lnTo>
                    <a:pt x="494" y="171"/>
                  </a:lnTo>
                  <a:lnTo>
                    <a:pt x="494" y="173"/>
                  </a:lnTo>
                  <a:lnTo>
                    <a:pt x="494" y="175"/>
                  </a:lnTo>
                  <a:lnTo>
                    <a:pt x="496" y="175"/>
                  </a:lnTo>
                  <a:lnTo>
                    <a:pt x="498" y="175"/>
                  </a:lnTo>
                  <a:lnTo>
                    <a:pt x="500" y="175"/>
                  </a:lnTo>
                  <a:lnTo>
                    <a:pt x="502" y="175"/>
                  </a:lnTo>
                  <a:lnTo>
                    <a:pt x="503" y="173"/>
                  </a:lnTo>
                  <a:lnTo>
                    <a:pt x="505" y="173"/>
                  </a:lnTo>
                  <a:lnTo>
                    <a:pt x="505" y="176"/>
                  </a:lnTo>
                  <a:lnTo>
                    <a:pt x="505" y="178"/>
                  </a:lnTo>
                  <a:lnTo>
                    <a:pt x="498" y="180"/>
                  </a:lnTo>
                  <a:lnTo>
                    <a:pt x="498" y="182"/>
                  </a:lnTo>
                  <a:lnTo>
                    <a:pt x="498" y="184"/>
                  </a:lnTo>
                  <a:lnTo>
                    <a:pt x="496" y="184"/>
                  </a:lnTo>
                  <a:lnTo>
                    <a:pt x="496" y="186"/>
                  </a:lnTo>
                  <a:lnTo>
                    <a:pt x="496" y="188"/>
                  </a:lnTo>
                  <a:lnTo>
                    <a:pt x="496" y="190"/>
                  </a:lnTo>
                  <a:lnTo>
                    <a:pt x="496" y="194"/>
                  </a:lnTo>
                  <a:lnTo>
                    <a:pt x="496" y="196"/>
                  </a:lnTo>
                  <a:lnTo>
                    <a:pt x="494" y="196"/>
                  </a:lnTo>
                  <a:lnTo>
                    <a:pt x="494" y="200"/>
                  </a:lnTo>
                  <a:lnTo>
                    <a:pt x="492" y="201"/>
                  </a:lnTo>
                  <a:lnTo>
                    <a:pt x="492" y="205"/>
                  </a:lnTo>
                  <a:lnTo>
                    <a:pt x="492" y="207"/>
                  </a:lnTo>
                  <a:lnTo>
                    <a:pt x="494" y="209"/>
                  </a:lnTo>
                  <a:lnTo>
                    <a:pt x="496" y="211"/>
                  </a:lnTo>
                  <a:lnTo>
                    <a:pt x="498" y="211"/>
                  </a:lnTo>
                  <a:lnTo>
                    <a:pt x="500" y="211"/>
                  </a:lnTo>
                  <a:lnTo>
                    <a:pt x="502" y="211"/>
                  </a:lnTo>
                  <a:lnTo>
                    <a:pt x="503" y="213"/>
                  </a:lnTo>
                  <a:lnTo>
                    <a:pt x="505" y="213"/>
                  </a:lnTo>
                  <a:lnTo>
                    <a:pt x="507" y="213"/>
                  </a:lnTo>
                  <a:lnTo>
                    <a:pt x="507" y="215"/>
                  </a:lnTo>
                  <a:lnTo>
                    <a:pt x="507" y="219"/>
                  </a:lnTo>
                  <a:lnTo>
                    <a:pt x="507" y="221"/>
                  </a:lnTo>
                  <a:lnTo>
                    <a:pt x="503" y="223"/>
                  </a:lnTo>
                  <a:lnTo>
                    <a:pt x="502" y="223"/>
                  </a:lnTo>
                  <a:lnTo>
                    <a:pt x="503" y="223"/>
                  </a:lnTo>
                  <a:lnTo>
                    <a:pt x="503" y="224"/>
                  </a:lnTo>
                  <a:lnTo>
                    <a:pt x="505" y="224"/>
                  </a:lnTo>
                  <a:lnTo>
                    <a:pt x="505" y="226"/>
                  </a:lnTo>
                  <a:lnTo>
                    <a:pt x="505" y="228"/>
                  </a:lnTo>
                  <a:lnTo>
                    <a:pt x="503" y="230"/>
                  </a:lnTo>
                  <a:lnTo>
                    <a:pt x="503" y="232"/>
                  </a:lnTo>
                  <a:lnTo>
                    <a:pt x="505" y="232"/>
                  </a:lnTo>
                  <a:lnTo>
                    <a:pt x="505" y="234"/>
                  </a:lnTo>
                  <a:lnTo>
                    <a:pt x="503" y="234"/>
                  </a:lnTo>
                  <a:lnTo>
                    <a:pt x="502" y="234"/>
                  </a:lnTo>
                  <a:lnTo>
                    <a:pt x="500" y="234"/>
                  </a:lnTo>
                  <a:lnTo>
                    <a:pt x="498" y="234"/>
                  </a:lnTo>
                  <a:lnTo>
                    <a:pt x="496" y="234"/>
                  </a:lnTo>
                  <a:lnTo>
                    <a:pt x="498" y="240"/>
                  </a:lnTo>
                  <a:lnTo>
                    <a:pt x="496" y="240"/>
                  </a:lnTo>
                  <a:lnTo>
                    <a:pt x="494" y="240"/>
                  </a:lnTo>
                  <a:lnTo>
                    <a:pt x="492" y="240"/>
                  </a:lnTo>
                  <a:lnTo>
                    <a:pt x="490" y="240"/>
                  </a:lnTo>
                  <a:lnTo>
                    <a:pt x="490" y="242"/>
                  </a:lnTo>
                  <a:lnTo>
                    <a:pt x="490" y="244"/>
                  </a:lnTo>
                  <a:lnTo>
                    <a:pt x="488" y="244"/>
                  </a:lnTo>
                  <a:lnTo>
                    <a:pt x="486" y="246"/>
                  </a:lnTo>
                  <a:lnTo>
                    <a:pt x="484" y="246"/>
                  </a:lnTo>
                  <a:lnTo>
                    <a:pt x="484" y="248"/>
                  </a:lnTo>
                  <a:lnTo>
                    <a:pt x="482" y="248"/>
                  </a:lnTo>
                  <a:lnTo>
                    <a:pt x="482" y="251"/>
                  </a:lnTo>
                  <a:lnTo>
                    <a:pt x="484" y="251"/>
                  </a:lnTo>
                  <a:lnTo>
                    <a:pt x="486" y="251"/>
                  </a:lnTo>
                  <a:lnTo>
                    <a:pt x="488" y="251"/>
                  </a:lnTo>
                  <a:lnTo>
                    <a:pt x="490" y="251"/>
                  </a:lnTo>
                  <a:lnTo>
                    <a:pt x="490" y="253"/>
                  </a:lnTo>
                  <a:lnTo>
                    <a:pt x="492" y="257"/>
                  </a:lnTo>
                  <a:lnTo>
                    <a:pt x="492" y="261"/>
                  </a:lnTo>
                  <a:lnTo>
                    <a:pt x="492" y="263"/>
                  </a:lnTo>
                  <a:lnTo>
                    <a:pt x="492" y="265"/>
                  </a:lnTo>
                  <a:lnTo>
                    <a:pt x="492" y="267"/>
                  </a:lnTo>
                  <a:lnTo>
                    <a:pt x="492" y="269"/>
                  </a:lnTo>
                  <a:lnTo>
                    <a:pt x="492" y="271"/>
                  </a:lnTo>
                  <a:lnTo>
                    <a:pt x="492" y="272"/>
                  </a:lnTo>
                  <a:lnTo>
                    <a:pt x="492" y="274"/>
                  </a:lnTo>
                  <a:lnTo>
                    <a:pt x="494" y="276"/>
                  </a:lnTo>
                  <a:lnTo>
                    <a:pt x="494" y="278"/>
                  </a:lnTo>
                  <a:lnTo>
                    <a:pt x="494" y="280"/>
                  </a:lnTo>
                  <a:lnTo>
                    <a:pt x="494" y="282"/>
                  </a:lnTo>
                  <a:lnTo>
                    <a:pt x="494" y="284"/>
                  </a:lnTo>
                  <a:lnTo>
                    <a:pt x="494" y="286"/>
                  </a:lnTo>
                  <a:lnTo>
                    <a:pt x="494" y="288"/>
                  </a:lnTo>
                  <a:lnTo>
                    <a:pt x="494" y="290"/>
                  </a:lnTo>
                  <a:lnTo>
                    <a:pt x="494" y="292"/>
                  </a:lnTo>
                  <a:lnTo>
                    <a:pt x="494" y="294"/>
                  </a:lnTo>
                  <a:lnTo>
                    <a:pt x="494" y="296"/>
                  </a:lnTo>
                  <a:lnTo>
                    <a:pt x="496" y="296"/>
                  </a:lnTo>
                  <a:lnTo>
                    <a:pt x="498" y="297"/>
                  </a:lnTo>
                  <a:lnTo>
                    <a:pt x="500" y="299"/>
                  </a:lnTo>
                  <a:lnTo>
                    <a:pt x="502" y="301"/>
                  </a:lnTo>
                  <a:lnTo>
                    <a:pt x="502" y="303"/>
                  </a:lnTo>
                  <a:lnTo>
                    <a:pt x="503" y="305"/>
                  </a:lnTo>
                  <a:lnTo>
                    <a:pt x="505" y="307"/>
                  </a:lnTo>
                  <a:lnTo>
                    <a:pt x="503" y="307"/>
                  </a:lnTo>
                  <a:lnTo>
                    <a:pt x="503" y="309"/>
                  </a:lnTo>
                  <a:lnTo>
                    <a:pt x="503" y="311"/>
                  </a:lnTo>
                  <a:lnTo>
                    <a:pt x="503" y="313"/>
                  </a:lnTo>
                  <a:lnTo>
                    <a:pt x="502" y="313"/>
                  </a:lnTo>
                  <a:lnTo>
                    <a:pt x="500" y="313"/>
                  </a:lnTo>
                  <a:lnTo>
                    <a:pt x="500" y="315"/>
                  </a:lnTo>
                  <a:lnTo>
                    <a:pt x="502" y="317"/>
                  </a:lnTo>
                  <a:lnTo>
                    <a:pt x="502" y="319"/>
                  </a:lnTo>
                  <a:lnTo>
                    <a:pt x="502" y="317"/>
                  </a:lnTo>
                  <a:lnTo>
                    <a:pt x="502" y="319"/>
                  </a:lnTo>
                  <a:lnTo>
                    <a:pt x="502" y="320"/>
                  </a:lnTo>
                  <a:lnTo>
                    <a:pt x="502" y="322"/>
                  </a:lnTo>
                  <a:lnTo>
                    <a:pt x="500" y="320"/>
                  </a:lnTo>
                  <a:lnTo>
                    <a:pt x="498" y="320"/>
                  </a:lnTo>
                  <a:lnTo>
                    <a:pt x="498" y="322"/>
                  </a:lnTo>
                  <a:lnTo>
                    <a:pt x="500" y="322"/>
                  </a:lnTo>
                  <a:lnTo>
                    <a:pt x="502" y="324"/>
                  </a:lnTo>
                  <a:lnTo>
                    <a:pt x="505" y="326"/>
                  </a:lnTo>
                  <a:lnTo>
                    <a:pt x="503" y="328"/>
                  </a:lnTo>
                  <a:lnTo>
                    <a:pt x="503" y="330"/>
                  </a:lnTo>
                  <a:lnTo>
                    <a:pt x="511" y="336"/>
                  </a:lnTo>
                  <a:lnTo>
                    <a:pt x="511" y="338"/>
                  </a:lnTo>
                  <a:lnTo>
                    <a:pt x="513" y="338"/>
                  </a:lnTo>
                  <a:lnTo>
                    <a:pt x="513" y="336"/>
                  </a:lnTo>
                  <a:lnTo>
                    <a:pt x="515" y="336"/>
                  </a:lnTo>
                  <a:lnTo>
                    <a:pt x="517" y="336"/>
                  </a:lnTo>
                  <a:lnTo>
                    <a:pt x="519" y="336"/>
                  </a:lnTo>
                  <a:lnTo>
                    <a:pt x="521" y="336"/>
                  </a:lnTo>
                  <a:lnTo>
                    <a:pt x="523" y="340"/>
                  </a:lnTo>
                  <a:lnTo>
                    <a:pt x="523" y="342"/>
                  </a:lnTo>
                  <a:lnTo>
                    <a:pt x="525" y="342"/>
                  </a:lnTo>
                  <a:lnTo>
                    <a:pt x="525" y="340"/>
                  </a:lnTo>
                  <a:lnTo>
                    <a:pt x="527" y="340"/>
                  </a:lnTo>
                  <a:lnTo>
                    <a:pt x="528" y="340"/>
                  </a:lnTo>
                  <a:lnTo>
                    <a:pt x="528" y="338"/>
                  </a:lnTo>
                  <a:lnTo>
                    <a:pt x="528" y="336"/>
                  </a:lnTo>
                  <a:lnTo>
                    <a:pt x="530" y="336"/>
                  </a:lnTo>
                  <a:lnTo>
                    <a:pt x="532" y="336"/>
                  </a:lnTo>
                  <a:lnTo>
                    <a:pt x="534" y="336"/>
                  </a:lnTo>
                  <a:lnTo>
                    <a:pt x="534" y="334"/>
                  </a:lnTo>
                  <a:lnTo>
                    <a:pt x="536" y="334"/>
                  </a:lnTo>
                  <a:lnTo>
                    <a:pt x="538" y="334"/>
                  </a:lnTo>
                  <a:lnTo>
                    <a:pt x="538" y="336"/>
                  </a:lnTo>
                  <a:lnTo>
                    <a:pt x="538" y="338"/>
                  </a:lnTo>
                  <a:lnTo>
                    <a:pt x="538" y="340"/>
                  </a:lnTo>
                  <a:lnTo>
                    <a:pt x="538" y="342"/>
                  </a:lnTo>
                  <a:lnTo>
                    <a:pt x="538" y="344"/>
                  </a:lnTo>
                  <a:lnTo>
                    <a:pt x="538" y="345"/>
                  </a:lnTo>
                  <a:lnTo>
                    <a:pt x="540" y="345"/>
                  </a:lnTo>
                  <a:lnTo>
                    <a:pt x="540" y="347"/>
                  </a:lnTo>
                  <a:lnTo>
                    <a:pt x="538" y="347"/>
                  </a:lnTo>
                  <a:lnTo>
                    <a:pt x="538" y="349"/>
                  </a:lnTo>
                  <a:lnTo>
                    <a:pt x="538" y="351"/>
                  </a:lnTo>
                  <a:lnTo>
                    <a:pt x="538" y="353"/>
                  </a:lnTo>
                  <a:lnTo>
                    <a:pt x="538" y="355"/>
                  </a:lnTo>
                  <a:lnTo>
                    <a:pt x="538" y="357"/>
                  </a:lnTo>
                  <a:lnTo>
                    <a:pt x="540" y="359"/>
                  </a:lnTo>
                  <a:lnTo>
                    <a:pt x="540" y="361"/>
                  </a:lnTo>
                  <a:lnTo>
                    <a:pt x="540" y="363"/>
                  </a:lnTo>
                  <a:lnTo>
                    <a:pt x="542" y="363"/>
                  </a:lnTo>
                  <a:lnTo>
                    <a:pt x="544" y="363"/>
                  </a:lnTo>
                  <a:lnTo>
                    <a:pt x="546" y="363"/>
                  </a:lnTo>
                  <a:lnTo>
                    <a:pt x="548" y="363"/>
                  </a:lnTo>
                  <a:lnTo>
                    <a:pt x="548" y="365"/>
                  </a:lnTo>
                  <a:lnTo>
                    <a:pt x="548" y="367"/>
                  </a:lnTo>
                  <a:lnTo>
                    <a:pt x="550" y="367"/>
                  </a:lnTo>
                  <a:lnTo>
                    <a:pt x="550" y="368"/>
                  </a:lnTo>
                  <a:lnTo>
                    <a:pt x="552" y="368"/>
                  </a:lnTo>
                  <a:lnTo>
                    <a:pt x="552" y="370"/>
                  </a:lnTo>
                  <a:lnTo>
                    <a:pt x="550" y="370"/>
                  </a:lnTo>
                  <a:lnTo>
                    <a:pt x="548" y="370"/>
                  </a:lnTo>
                  <a:lnTo>
                    <a:pt x="548" y="372"/>
                  </a:lnTo>
                  <a:lnTo>
                    <a:pt x="546" y="372"/>
                  </a:lnTo>
                  <a:lnTo>
                    <a:pt x="546" y="374"/>
                  </a:lnTo>
                  <a:lnTo>
                    <a:pt x="546" y="376"/>
                  </a:lnTo>
                  <a:lnTo>
                    <a:pt x="542" y="376"/>
                  </a:lnTo>
                  <a:lnTo>
                    <a:pt x="540" y="376"/>
                  </a:lnTo>
                  <a:lnTo>
                    <a:pt x="538" y="378"/>
                  </a:lnTo>
                  <a:lnTo>
                    <a:pt x="536" y="378"/>
                  </a:lnTo>
                  <a:lnTo>
                    <a:pt x="538" y="380"/>
                  </a:lnTo>
                  <a:lnTo>
                    <a:pt x="538" y="382"/>
                  </a:lnTo>
                  <a:lnTo>
                    <a:pt x="538" y="384"/>
                  </a:lnTo>
                  <a:lnTo>
                    <a:pt x="538" y="386"/>
                  </a:lnTo>
                  <a:lnTo>
                    <a:pt x="538" y="388"/>
                  </a:lnTo>
                  <a:lnTo>
                    <a:pt x="538" y="390"/>
                  </a:lnTo>
                  <a:lnTo>
                    <a:pt x="536" y="392"/>
                  </a:lnTo>
                  <a:lnTo>
                    <a:pt x="534" y="392"/>
                  </a:lnTo>
                  <a:lnTo>
                    <a:pt x="534" y="393"/>
                  </a:lnTo>
                  <a:lnTo>
                    <a:pt x="536" y="393"/>
                  </a:lnTo>
                  <a:lnTo>
                    <a:pt x="536" y="395"/>
                  </a:lnTo>
                  <a:lnTo>
                    <a:pt x="538" y="397"/>
                  </a:lnTo>
                  <a:lnTo>
                    <a:pt x="536" y="397"/>
                  </a:lnTo>
                  <a:lnTo>
                    <a:pt x="536" y="399"/>
                  </a:lnTo>
                  <a:lnTo>
                    <a:pt x="534" y="399"/>
                  </a:lnTo>
                  <a:lnTo>
                    <a:pt x="534" y="401"/>
                  </a:lnTo>
                  <a:lnTo>
                    <a:pt x="536" y="401"/>
                  </a:lnTo>
                  <a:lnTo>
                    <a:pt x="536" y="403"/>
                  </a:lnTo>
                  <a:lnTo>
                    <a:pt x="534" y="403"/>
                  </a:lnTo>
                  <a:lnTo>
                    <a:pt x="536" y="403"/>
                  </a:lnTo>
                  <a:lnTo>
                    <a:pt x="536" y="405"/>
                  </a:lnTo>
                  <a:lnTo>
                    <a:pt x="538" y="405"/>
                  </a:lnTo>
                  <a:lnTo>
                    <a:pt x="540" y="405"/>
                  </a:lnTo>
                  <a:lnTo>
                    <a:pt x="542" y="405"/>
                  </a:lnTo>
                  <a:lnTo>
                    <a:pt x="544" y="405"/>
                  </a:lnTo>
                  <a:lnTo>
                    <a:pt x="546" y="405"/>
                  </a:lnTo>
                  <a:lnTo>
                    <a:pt x="548" y="405"/>
                  </a:lnTo>
                  <a:lnTo>
                    <a:pt x="550" y="407"/>
                  </a:lnTo>
                  <a:lnTo>
                    <a:pt x="552" y="407"/>
                  </a:lnTo>
                  <a:lnTo>
                    <a:pt x="553" y="407"/>
                  </a:lnTo>
                  <a:lnTo>
                    <a:pt x="555" y="407"/>
                  </a:lnTo>
                  <a:lnTo>
                    <a:pt x="557" y="407"/>
                  </a:lnTo>
                  <a:lnTo>
                    <a:pt x="559" y="407"/>
                  </a:lnTo>
                  <a:lnTo>
                    <a:pt x="561" y="407"/>
                  </a:lnTo>
                  <a:lnTo>
                    <a:pt x="563" y="407"/>
                  </a:lnTo>
                  <a:lnTo>
                    <a:pt x="565" y="407"/>
                  </a:lnTo>
                  <a:lnTo>
                    <a:pt x="567" y="407"/>
                  </a:lnTo>
                  <a:lnTo>
                    <a:pt x="569" y="407"/>
                  </a:lnTo>
                  <a:lnTo>
                    <a:pt x="571" y="407"/>
                  </a:lnTo>
                  <a:lnTo>
                    <a:pt x="573" y="407"/>
                  </a:lnTo>
                  <a:lnTo>
                    <a:pt x="575" y="407"/>
                  </a:lnTo>
                  <a:lnTo>
                    <a:pt x="575" y="409"/>
                  </a:lnTo>
                  <a:lnTo>
                    <a:pt x="576" y="409"/>
                  </a:lnTo>
                  <a:lnTo>
                    <a:pt x="576" y="411"/>
                  </a:lnTo>
                  <a:lnTo>
                    <a:pt x="578" y="411"/>
                  </a:lnTo>
                  <a:lnTo>
                    <a:pt x="578" y="413"/>
                  </a:lnTo>
                  <a:lnTo>
                    <a:pt x="580" y="413"/>
                  </a:lnTo>
                  <a:lnTo>
                    <a:pt x="580" y="415"/>
                  </a:lnTo>
                  <a:lnTo>
                    <a:pt x="580" y="416"/>
                  </a:lnTo>
                  <a:lnTo>
                    <a:pt x="580" y="418"/>
                  </a:lnTo>
                  <a:lnTo>
                    <a:pt x="580" y="420"/>
                  </a:lnTo>
                  <a:lnTo>
                    <a:pt x="580" y="422"/>
                  </a:lnTo>
                  <a:lnTo>
                    <a:pt x="580" y="424"/>
                  </a:lnTo>
                  <a:lnTo>
                    <a:pt x="580" y="426"/>
                  </a:lnTo>
                  <a:lnTo>
                    <a:pt x="580" y="428"/>
                  </a:lnTo>
                  <a:lnTo>
                    <a:pt x="582" y="428"/>
                  </a:lnTo>
                  <a:lnTo>
                    <a:pt x="582" y="430"/>
                  </a:lnTo>
                  <a:lnTo>
                    <a:pt x="582" y="432"/>
                  </a:lnTo>
                  <a:lnTo>
                    <a:pt x="582" y="430"/>
                  </a:lnTo>
                  <a:lnTo>
                    <a:pt x="582" y="432"/>
                  </a:lnTo>
                  <a:lnTo>
                    <a:pt x="584" y="432"/>
                  </a:lnTo>
                  <a:lnTo>
                    <a:pt x="584" y="434"/>
                  </a:lnTo>
                  <a:lnTo>
                    <a:pt x="586" y="434"/>
                  </a:lnTo>
                  <a:lnTo>
                    <a:pt x="586" y="436"/>
                  </a:lnTo>
                  <a:lnTo>
                    <a:pt x="588" y="436"/>
                  </a:lnTo>
                  <a:lnTo>
                    <a:pt x="586" y="438"/>
                  </a:lnTo>
                  <a:lnTo>
                    <a:pt x="586" y="440"/>
                  </a:lnTo>
                  <a:lnTo>
                    <a:pt x="586" y="441"/>
                  </a:lnTo>
                  <a:lnTo>
                    <a:pt x="586" y="443"/>
                  </a:lnTo>
                  <a:lnTo>
                    <a:pt x="584" y="443"/>
                  </a:lnTo>
                  <a:lnTo>
                    <a:pt x="584" y="445"/>
                  </a:lnTo>
                  <a:lnTo>
                    <a:pt x="582" y="445"/>
                  </a:lnTo>
                  <a:lnTo>
                    <a:pt x="582" y="447"/>
                  </a:lnTo>
                  <a:lnTo>
                    <a:pt x="584" y="447"/>
                  </a:lnTo>
                  <a:lnTo>
                    <a:pt x="584" y="449"/>
                  </a:lnTo>
                  <a:lnTo>
                    <a:pt x="586" y="451"/>
                  </a:lnTo>
                  <a:lnTo>
                    <a:pt x="588" y="451"/>
                  </a:lnTo>
                  <a:lnTo>
                    <a:pt x="590" y="451"/>
                  </a:lnTo>
                  <a:lnTo>
                    <a:pt x="590" y="453"/>
                  </a:lnTo>
                  <a:lnTo>
                    <a:pt x="592" y="453"/>
                  </a:lnTo>
                  <a:lnTo>
                    <a:pt x="594" y="453"/>
                  </a:lnTo>
                  <a:lnTo>
                    <a:pt x="594" y="455"/>
                  </a:lnTo>
                  <a:lnTo>
                    <a:pt x="594" y="453"/>
                  </a:lnTo>
                  <a:lnTo>
                    <a:pt x="596" y="453"/>
                  </a:lnTo>
                  <a:lnTo>
                    <a:pt x="598" y="453"/>
                  </a:lnTo>
                  <a:lnTo>
                    <a:pt x="600" y="453"/>
                  </a:lnTo>
                  <a:lnTo>
                    <a:pt x="601" y="453"/>
                  </a:lnTo>
                  <a:lnTo>
                    <a:pt x="603" y="453"/>
                  </a:lnTo>
                  <a:lnTo>
                    <a:pt x="603" y="455"/>
                  </a:lnTo>
                  <a:lnTo>
                    <a:pt x="605" y="455"/>
                  </a:lnTo>
                  <a:lnTo>
                    <a:pt x="607" y="455"/>
                  </a:lnTo>
                  <a:lnTo>
                    <a:pt x="609" y="455"/>
                  </a:lnTo>
                  <a:lnTo>
                    <a:pt x="609" y="461"/>
                  </a:lnTo>
                  <a:lnTo>
                    <a:pt x="611" y="461"/>
                  </a:lnTo>
                  <a:lnTo>
                    <a:pt x="611" y="463"/>
                  </a:lnTo>
                  <a:lnTo>
                    <a:pt x="613" y="463"/>
                  </a:lnTo>
                  <a:lnTo>
                    <a:pt x="615" y="463"/>
                  </a:lnTo>
                  <a:lnTo>
                    <a:pt x="617" y="463"/>
                  </a:lnTo>
                  <a:lnTo>
                    <a:pt x="617" y="464"/>
                  </a:lnTo>
                  <a:lnTo>
                    <a:pt x="619" y="464"/>
                  </a:lnTo>
                  <a:lnTo>
                    <a:pt x="621" y="464"/>
                  </a:lnTo>
                  <a:lnTo>
                    <a:pt x="623" y="464"/>
                  </a:lnTo>
                  <a:lnTo>
                    <a:pt x="623" y="466"/>
                  </a:lnTo>
                  <a:lnTo>
                    <a:pt x="623" y="464"/>
                  </a:lnTo>
                  <a:lnTo>
                    <a:pt x="623" y="466"/>
                  </a:lnTo>
                  <a:lnTo>
                    <a:pt x="623" y="464"/>
                  </a:lnTo>
                  <a:lnTo>
                    <a:pt x="624" y="464"/>
                  </a:lnTo>
                  <a:lnTo>
                    <a:pt x="624" y="466"/>
                  </a:lnTo>
                  <a:lnTo>
                    <a:pt x="626" y="466"/>
                  </a:lnTo>
                  <a:lnTo>
                    <a:pt x="628" y="466"/>
                  </a:lnTo>
                  <a:lnTo>
                    <a:pt x="630" y="466"/>
                  </a:lnTo>
                  <a:lnTo>
                    <a:pt x="630" y="468"/>
                  </a:lnTo>
                  <a:lnTo>
                    <a:pt x="632" y="468"/>
                  </a:lnTo>
                  <a:lnTo>
                    <a:pt x="634" y="468"/>
                  </a:lnTo>
                  <a:lnTo>
                    <a:pt x="634" y="466"/>
                  </a:lnTo>
                  <a:lnTo>
                    <a:pt x="634" y="468"/>
                  </a:lnTo>
                  <a:lnTo>
                    <a:pt x="634" y="470"/>
                  </a:lnTo>
                  <a:lnTo>
                    <a:pt x="636" y="470"/>
                  </a:lnTo>
                  <a:lnTo>
                    <a:pt x="638" y="470"/>
                  </a:lnTo>
                  <a:lnTo>
                    <a:pt x="638" y="472"/>
                  </a:lnTo>
                  <a:lnTo>
                    <a:pt x="640" y="472"/>
                  </a:lnTo>
                  <a:lnTo>
                    <a:pt x="642" y="472"/>
                  </a:lnTo>
                  <a:lnTo>
                    <a:pt x="644" y="472"/>
                  </a:lnTo>
                  <a:lnTo>
                    <a:pt x="642" y="472"/>
                  </a:lnTo>
                  <a:lnTo>
                    <a:pt x="644" y="472"/>
                  </a:lnTo>
                  <a:lnTo>
                    <a:pt x="644" y="474"/>
                  </a:lnTo>
                  <a:lnTo>
                    <a:pt x="646" y="474"/>
                  </a:lnTo>
                  <a:lnTo>
                    <a:pt x="644" y="476"/>
                  </a:lnTo>
                  <a:lnTo>
                    <a:pt x="644" y="478"/>
                  </a:lnTo>
                  <a:lnTo>
                    <a:pt x="644" y="480"/>
                  </a:lnTo>
                  <a:lnTo>
                    <a:pt x="644" y="482"/>
                  </a:lnTo>
                  <a:lnTo>
                    <a:pt x="642" y="482"/>
                  </a:lnTo>
                  <a:lnTo>
                    <a:pt x="642" y="484"/>
                  </a:lnTo>
                  <a:lnTo>
                    <a:pt x="642" y="486"/>
                  </a:lnTo>
                  <a:lnTo>
                    <a:pt x="644" y="486"/>
                  </a:lnTo>
                  <a:lnTo>
                    <a:pt x="644" y="488"/>
                  </a:lnTo>
                  <a:lnTo>
                    <a:pt x="644" y="489"/>
                  </a:lnTo>
                  <a:lnTo>
                    <a:pt x="642" y="489"/>
                  </a:lnTo>
                  <a:lnTo>
                    <a:pt x="640" y="489"/>
                  </a:lnTo>
                  <a:lnTo>
                    <a:pt x="640" y="491"/>
                  </a:lnTo>
                  <a:lnTo>
                    <a:pt x="640" y="493"/>
                  </a:lnTo>
                  <a:lnTo>
                    <a:pt x="642" y="493"/>
                  </a:lnTo>
                  <a:lnTo>
                    <a:pt x="644" y="493"/>
                  </a:lnTo>
                  <a:lnTo>
                    <a:pt x="644" y="495"/>
                  </a:lnTo>
                  <a:lnTo>
                    <a:pt x="646" y="495"/>
                  </a:lnTo>
                  <a:lnTo>
                    <a:pt x="646" y="493"/>
                  </a:lnTo>
                  <a:lnTo>
                    <a:pt x="646" y="491"/>
                  </a:lnTo>
                  <a:lnTo>
                    <a:pt x="648" y="491"/>
                  </a:lnTo>
                  <a:lnTo>
                    <a:pt x="648" y="489"/>
                  </a:lnTo>
                  <a:lnTo>
                    <a:pt x="648" y="491"/>
                  </a:lnTo>
                  <a:lnTo>
                    <a:pt x="648" y="495"/>
                  </a:lnTo>
                  <a:lnTo>
                    <a:pt x="648" y="497"/>
                  </a:lnTo>
                  <a:lnTo>
                    <a:pt x="646" y="501"/>
                  </a:lnTo>
                  <a:lnTo>
                    <a:pt x="644" y="501"/>
                  </a:lnTo>
                  <a:lnTo>
                    <a:pt x="644" y="503"/>
                  </a:lnTo>
                  <a:lnTo>
                    <a:pt x="646" y="505"/>
                  </a:lnTo>
                  <a:lnTo>
                    <a:pt x="648" y="507"/>
                  </a:lnTo>
                  <a:lnTo>
                    <a:pt x="646" y="507"/>
                  </a:lnTo>
                  <a:lnTo>
                    <a:pt x="646" y="509"/>
                  </a:lnTo>
                  <a:lnTo>
                    <a:pt x="648" y="512"/>
                  </a:lnTo>
                  <a:lnTo>
                    <a:pt x="648" y="514"/>
                  </a:lnTo>
                  <a:lnTo>
                    <a:pt x="649" y="514"/>
                  </a:lnTo>
                  <a:lnTo>
                    <a:pt x="649" y="516"/>
                  </a:lnTo>
                  <a:lnTo>
                    <a:pt x="651" y="516"/>
                  </a:lnTo>
                  <a:lnTo>
                    <a:pt x="653" y="516"/>
                  </a:lnTo>
                  <a:lnTo>
                    <a:pt x="655" y="516"/>
                  </a:lnTo>
                  <a:lnTo>
                    <a:pt x="657" y="516"/>
                  </a:lnTo>
                  <a:lnTo>
                    <a:pt x="661" y="516"/>
                  </a:lnTo>
                  <a:lnTo>
                    <a:pt x="667" y="516"/>
                  </a:lnTo>
                  <a:lnTo>
                    <a:pt x="669" y="516"/>
                  </a:lnTo>
                  <a:lnTo>
                    <a:pt x="671" y="516"/>
                  </a:lnTo>
                  <a:lnTo>
                    <a:pt x="672" y="516"/>
                  </a:lnTo>
                  <a:lnTo>
                    <a:pt x="674" y="516"/>
                  </a:lnTo>
                  <a:lnTo>
                    <a:pt x="676" y="516"/>
                  </a:lnTo>
                  <a:lnTo>
                    <a:pt x="678" y="518"/>
                  </a:lnTo>
                  <a:lnTo>
                    <a:pt x="680" y="518"/>
                  </a:lnTo>
                  <a:lnTo>
                    <a:pt x="682" y="518"/>
                  </a:lnTo>
                  <a:lnTo>
                    <a:pt x="688" y="518"/>
                  </a:lnTo>
                  <a:lnTo>
                    <a:pt x="690" y="518"/>
                  </a:lnTo>
                  <a:lnTo>
                    <a:pt x="692" y="518"/>
                  </a:lnTo>
                  <a:lnTo>
                    <a:pt x="694" y="518"/>
                  </a:lnTo>
                  <a:lnTo>
                    <a:pt x="696" y="518"/>
                  </a:lnTo>
                  <a:lnTo>
                    <a:pt x="697" y="518"/>
                  </a:lnTo>
                  <a:lnTo>
                    <a:pt x="699" y="518"/>
                  </a:lnTo>
                  <a:lnTo>
                    <a:pt x="701" y="518"/>
                  </a:lnTo>
                  <a:lnTo>
                    <a:pt x="703" y="518"/>
                  </a:lnTo>
                  <a:lnTo>
                    <a:pt x="703" y="520"/>
                  </a:lnTo>
                  <a:lnTo>
                    <a:pt x="705" y="520"/>
                  </a:lnTo>
                  <a:lnTo>
                    <a:pt x="707" y="520"/>
                  </a:lnTo>
                  <a:lnTo>
                    <a:pt x="707" y="522"/>
                  </a:lnTo>
                  <a:lnTo>
                    <a:pt x="707" y="524"/>
                  </a:lnTo>
                  <a:lnTo>
                    <a:pt x="709" y="526"/>
                  </a:lnTo>
                  <a:lnTo>
                    <a:pt x="709" y="528"/>
                  </a:lnTo>
                  <a:lnTo>
                    <a:pt x="707" y="532"/>
                  </a:lnTo>
                  <a:lnTo>
                    <a:pt x="707" y="534"/>
                  </a:lnTo>
                  <a:lnTo>
                    <a:pt x="707" y="536"/>
                  </a:lnTo>
                  <a:lnTo>
                    <a:pt x="707" y="537"/>
                  </a:lnTo>
                  <a:lnTo>
                    <a:pt x="707" y="539"/>
                  </a:lnTo>
                  <a:lnTo>
                    <a:pt x="707" y="541"/>
                  </a:lnTo>
                  <a:lnTo>
                    <a:pt x="707" y="539"/>
                  </a:lnTo>
                  <a:lnTo>
                    <a:pt x="707" y="541"/>
                  </a:lnTo>
                  <a:lnTo>
                    <a:pt x="709" y="541"/>
                  </a:lnTo>
                  <a:lnTo>
                    <a:pt x="711" y="541"/>
                  </a:lnTo>
                  <a:lnTo>
                    <a:pt x="711" y="543"/>
                  </a:lnTo>
                  <a:lnTo>
                    <a:pt x="711" y="545"/>
                  </a:lnTo>
                  <a:lnTo>
                    <a:pt x="713" y="545"/>
                  </a:lnTo>
                  <a:lnTo>
                    <a:pt x="713" y="543"/>
                  </a:lnTo>
                  <a:lnTo>
                    <a:pt x="715" y="543"/>
                  </a:lnTo>
                  <a:lnTo>
                    <a:pt x="717" y="543"/>
                  </a:lnTo>
                  <a:lnTo>
                    <a:pt x="717" y="541"/>
                  </a:lnTo>
                  <a:lnTo>
                    <a:pt x="717" y="543"/>
                  </a:lnTo>
                  <a:lnTo>
                    <a:pt x="719" y="543"/>
                  </a:lnTo>
                  <a:lnTo>
                    <a:pt x="719" y="545"/>
                  </a:lnTo>
                  <a:lnTo>
                    <a:pt x="719" y="547"/>
                  </a:lnTo>
                  <a:lnTo>
                    <a:pt x="720" y="547"/>
                  </a:lnTo>
                  <a:lnTo>
                    <a:pt x="719" y="547"/>
                  </a:lnTo>
                  <a:lnTo>
                    <a:pt x="720" y="547"/>
                  </a:lnTo>
                  <a:lnTo>
                    <a:pt x="722" y="547"/>
                  </a:lnTo>
                  <a:lnTo>
                    <a:pt x="720" y="547"/>
                  </a:lnTo>
                  <a:lnTo>
                    <a:pt x="720" y="549"/>
                  </a:lnTo>
                  <a:lnTo>
                    <a:pt x="720" y="551"/>
                  </a:lnTo>
                  <a:lnTo>
                    <a:pt x="719" y="555"/>
                  </a:lnTo>
                  <a:lnTo>
                    <a:pt x="719" y="559"/>
                  </a:lnTo>
                  <a:lnTo>
                    <a:pt x="717" y="559"/>
                  </a:lnTo>
                  <a:lnTo>
                    <a:pt x="717" y="560"/>
                  </a:lnTo>
                  <a:lnTo>
                    <a:pt x="717" y="562"/>
                  </a:lnTo>
                  <a:lnTo>
                    <a:pt x="715" y="566"/>
                  </a:lnTo>
                  <a:lnTo>
                    <a:pt x="715" y="568"/>
                  </a:lnTo>
                  <a:lnTo>
                    <a:pt x="715" y="570"/>
                  </a:lnTo>
                  <a:lnTo>
                    <a:pt x="717" y="574"/>
                  </a:lnTo>
                  <a:lnTo>
                    <a:pt x="717" y="576"/>
                  </a:lnTo>
                  <a:lnTo>
                    <a:pt x="717" y="578"/>
                  </a:lnTo>
                  <a:lnTo>
                    <a:pt x="696" y="578"/>
                  </a:lnTo>
                  <a:lnTo>
                    <a:pt x="694" y="578"/>
                  </a:lnTo>
                  <a:lnTo>
                    <a:pt x="692" y="578"/>
                  </a:lnTo>
                  <a:lnTo>
                    <a:pt x="690" y="578"/>
                  </a:lnTo>
                  <a:lnTo>
                    <a:pt x="688" y="578"/>
                  </a:lnTo>
                  <a:lnTo>
                    <a:pt x="684" y="578"/>
                  </a:lnTo>
                  <a:lnTo>
                    <a:pt x="682" y="578"/>
                  </a:lnTo>
                  <a:lnTo>
                    <a:pt x="682" y="576"/>
                  </a:lnTo>
                  <a:lnTo>
                    <a:pt x="680" y="576"/>
                  </a:lnTo>
                  <a:lnTo>
                    <a:pt x="678" y="576"/>
                  </a:lnTo>
                  <a:lnTo>
                    <a:pt x="676" y="576"/>
                  </a:lnTo>
                  <a:lnTo>
                    <a:pt x="674" y="576"/>
                  </a:lnTo>
                  <a:lnTo>
                    <a:pt x="672" y="574"/>
                  </a:lnTo>
                  <a:lnTo>
                    <a:pt x="671" y="574"/>
                  </a:lnTo>
                  <a:lnTo>
                    <a:pt x="671" y="576"/>
                  </a:lnTo>
                  <a:lnTo>
                    <a:pt x="669" y="576"/>
                  </a:lnTo>
                  <a:lnTo>
                    <a:pt x="667" y="576"/>
                  </a:lnTo>
                  <a:lnTo>
                    <a:pt x="665" y="576"/>
                  </a:lnTo>
                  <a:lnTo>
                    <a:pt x="663" y="576"/>
                  </a:lnTo>
                  <a:lnTo>
                    <a:pt x="663" y="574"/>
                  </a:lnTo>
                  <a:lnTo>
                    <a:pt x="661" y="574"/>
                  </a:lnTo>
                  <a:lnTo>
                    <a:pt x="661" y="576"/>
                  </a:lnTo>
                  <a:lnTo>
                    <a:pt x="661" y="578"/>
                  </a:lnTo>
                  <a:lnTo>
                    <a:pt x="659" y="578"/>
                  </a:lnTo>
                  <a:lnTo>
                    <a:pt x="657" y="578"/>
                  </a:lnTo>
                  <a:lnTo>
                    <a:pt x="653" y="580"/>
                  </a:lnTo>
                  <a:lnTo>
                    <a:pt x="651" y="580"/>
                  </a:lnTo>
                  <a:lnTo>
                    <a:pt x="651" y="578"/>
                  </a:lnTo>
                  <a:lnTo>
                    <a:pt x="649" y="580"/>
                  </a:lnTo>
                  <a:lnTo>
                    <a:pt x="649" y="582"/>
                  </a:lnTo>
                  <a:lnTo>
                    <a:pt x="649" y="584"/>
                  </a:lnTo>
                  <a:lnTo>
                    <a:pt x="649" y="585"/>
                  </a:lnTo>
                  <a:lnTo>
                    <a:pt x="648" y="585"/>
                  </a:lnTo>
                  <a:lnTo>
                    <a:pt x="648" y="587"/>
                  </a:lnTo>
                  <a:lnTo>
                    <a:pt x="648" y="589"/>
                  </a:lnTo>
                  <a:lnTo>
                    <a:pt x="646" y="589"/>
                  </a:lnTo>
                  <a:lnTo>
                    <a:pt x="648" y="589"/>
                  </a:lnTo>
                  <a:lnTo>
                    <a:pt x="648" y="591"/>
                  </a:lnTo>
                  <a:lnTo>
                    <a:pt x="646" y="591"/>
                  </a:lnTo>
                  <a:lnTo>
                    <a:pt x="648" y="591"/>
                  </a:lnTo>
                  <a:lnTo>
                    <a:pt x="648" y="593"/>
                  </a:lnTo>
                  <a:lnTo>
                    <a:pt x="648" y="595"/>
                  </a:lnTo>
                  <a:lnTo>
                    <a:pt x="649" y="595"/>
                  </a:lnTo>
                  <a:lnTo>
                    <a:pt x="648" y="597"/>
                  </a:lnTo>
                  <a:lnTo>
                    <a:pt x="648" y="599"/>
                  </a:lnTo>
                  <a:lnTo>
                    <a:pt x="648" y="601"/>
                  </a:lnTo>
                  <a:lnTo>
                    <a:pt x="648" y="599"/>
                  </a:lnTo>
                  <a:lnTo>
                    <a:pt x="646" y="599"/>
                  </a:lnTo>
                  <a:lnTo>
                    <a:pt x="644" y="599"/>
                  </a:lnTo>
                  <a:lnTo>
                    <a:pt x="642" y="599"/>
                  </a:lnTo>
                  <a:lnTo>
                    <a:pt x="640" y="599"/>
                  </a:lnTo>
                  <a:lnTo>
                    <a:pt x="638" y="599"/>
                  </a:lnTo>
                  <a:lnTo>
                    <a:pt x="636" y="599"/>
                  </a:lnTo>
                  <a:lnTo>
                    <a:pt x="636" y="601"/>
                  </a:lnTo>
                  <a:lnTo>
                    <a:pt x="636" y="603"/>
                  </a:lnTo>
                  <a:lnTo>
                    <a:pt x="636" y="605"/>
                  </a:lnTo>
                  <a:lnTo>
                    <a:pt x="636" y="607"/>
                  </a:lnTo>
                  <a:lnTo>
                    <a:pt x="636" y="608"/>
                  </a:lnTo>
                  <a:lnTo>
                    <a:pt x="634" y="608"/>
                  </a:lnTo>
                  <a:lnTo>
                    <a:pt x="634" y="610"/>
                  </a:lnTo>
                  <a:lnTo>
                    <a:pt x="634" y="612"/>
                  </a:lnTo>
                  <a:lnTo>
                    <a:pt x="636" y="612"/>
                  </a:lnTo>
                  <a:lnTo>
                    <a:pt x="638" y="612"/>
                  </a:lnTo>
                  <a:lnTo>
                    <a:pt x="636" y="614"/>
                  </a:lnTo>
                  <a:lnTo>
                    <a:pt x="636" y="616"/>
                  </a:lnTo>
                  <a:lnTo>
                    <a:pt x="638" y="616"/>
                  </a:lnTo>
                  <a:lnTo>
                    <a:pt x="638" y="618"/>
                  </a:lnTo>
                  <a:lnTo>
                    <a:pt x="638" y="620"/>
                  </a:lnTo>
                  <a:lnTo>
                    <a:pt x="636" y="620"/>
                  </a:lnTo>
                  <a:lnTo>
                    <a:pt x="636" y="622"/>
                  </a:lnTo>
                  <a:lnTo>
                    <a:pt x="636" y="624"/>
                  </a:lnTo>
                  <a:lnTo>
                    <a:pt x="636" y="626"/>
                  </a:lnTo>
                  <a:lnTo>
                    <a:pt x="636" y="628"/>
                  </a:lnTo>
                  <a:lnTo>
                    <a:pt x="636" y="630"/>
                  </a:lnTo>
                  <a:lnTo>
                    <a:pt x="636" y="632"/>
                  </a:lnTo>
                  <a:lnTo>
                    <a:pt x="636" y="633"/>
                  </a:lnTo>
                  <a:lnTo>
                    <a:pt x="634" y="633"/>
                  </a:lnTo>
                  <a:lnTo>
                    <a:pt x="632" y="633"/>
                  </a:lnTo>
                  <a:lnTo>
                    <a:pt x="632" y="635"/>
                  </a:lnTo>
                  <a:lnTo>
                    <a:pt x="632" y="637"/>
                  </a:lnTo>
                  <a:lnTo>
                    <a:pt x="630" y="637"/>
                  </a:lnTo>
                  <a:lnTo>
                    <a:pt x="630" y="639"/>
                  </a:lnTo>
                  <a:lnTo>
                    <a:pt x="632" y="639"/>
                  </a:lnTo>
                  <a:lnTo>
                    <a:pt x="632" y="641"/>
                  </a:lnTo>
                  <a:lnTo>
                    <a:pt x="632" y="645"/>
                  </a:lnTo>
                  <a:lnTo>
                    <a:pt x="632" y="647"/>
                  </a:lnTo>
                  <a:lnTo>
                    <a:pt x="632" y="649"/>
                  </a:lnTo>
                  <a:lnTo>
                    <a:pt x="632" y="651"/>
                  </a:lnTo>
                  <a:lnTo>
                    <a:pt x="632" y="653"/>
                  </a:lnTo>
                  <a:lnTo>
                    <a:pt x="632" y="655"/>
                  </a:lnTo>
                  <a:lnTo>
                    <a:pt x="628" y="655"/>
                  </a:lnTo>
                  <a:lnTo>
                    <a:pt x="626" y="655"/>
                  </a:lnTo>
                  <a:lnTo>
                    <a:pt x="624" y="655"/>
                  </a:lnTo>
                  <a:lnTo>
                    <a:pt x="623" y="655"/>
                  </a:lnTo>
                  <a:lnTo>
                    <a:pt x="623" y="656"/>
                  </a:lnTo>
                  <a:lnTo>
                    <a:pt x="621" y="656"/>
                  </a:lnTo>
                  <a:lnTo>
                    <a:pt x="621" y="655"/>
                  </a:lnTo>
                  <a:lnTo>
                    <a:pt x="623" y="655"/>
                  </a:lnTo>
                  <a:lnTo>
                    <a:pt x="621" y="655"/>
                  </a:lnTo>
                  <a:lnTo>
                    <a:pt x="621" y="653"/>
                  </a:lnTo>
                  <a:lnTo>
                    <a:pt x="619" y="653"/>
                  </a:lnTo>
                  <a:lnTo>
                    <a:pt x="619" y="651"/>
                  </a:lnTo>
                  <a:lnTo>
                    <a:pt x="621" y="651"/>
                  </a:lnTo>
                  <a:lnTo>
                    <a:pt x="621" y="649"/>
                  </a:lnTo>
                  <a:lnTo>
                    <a:pt x="619" y="649"/>
                  </a:lnTo>
                  <a:lnTo>
                    <a:pt x="617" y="649"/>
                  </a:lnTo>
                  <a:lnTo>
                    <a:pt x="615" y="649"/>
                  </a:lnTo>
                  <a:lnTo>
                    <a:pt x="613" y="649"/>
                  </a:lnTo>
                  <a:lnTo>
                    <a:pt x="611" y="649"/>
                  </a:lnTo>
                  <a:lnTo>
                    <a:pt x="609" y="649"/>
                  </a:lnTo>
                  <a:lnTo>
                    <a:pt x="607" y="649"/>
                  </a:lnTo>
                  <a:lnTo>
                    <a:pt x="605" y="649"/>
                  </a:lnTo>
                  <a:lnTo>
                    <a:pt x="603" y="649"/>
                  </a:lnTo>
                  <a:lnTo>
                    <a:pt x="601" y="649"/>
                  </a:lnTo>
                  <a:lnTo>
                    <a:pt x="600" y="649"/>
                  </a:lnTo>
                  <a:lnTo>
                    <a:pt x="601" y="649"/>
                  </a:lnTo>
                  <a:lnTo>
                    <a:pt x="601" y="656"/>
                  </a:lnTo>
                  <a:lnTo>
                    <a:pt x="601" y="660"/>
                  </a:lnTo>
                  <a:lnTo>
                    <a:pt x="598" y="660"/>
                  </a:lnTo>
                  <a:lnTo>
                    <a:pt x="594" y="660"/>
                  </a:lnTo>
                  <a:lnTo>
                    <a:pt x="590" y="660"/>
                  </a:lnTo>
                  <a:lnTo>
                    <a:pt x="590" y="664"/>
                  </a:lnTo>
                  <a:lnTo>
                    <a:pt x="590" y="666"/>
                  </a:lnTo>
                  <a:lnTo>
                    <a:pt x="590" y="668"/>
                  </a:lnTo>
                  <a:lnTo>
                    <a:pt x="588" y="668"/>
                  </a:lnTo>
                  <a:lnTo>
                    <a:pt x="588" y="670"/>
                  </a:lnTo>
                  <a:lnTo>
                    <a:pt x="588" y="672"/>
                  </a:lnTo>
                  <a:lnTo>
                    <a:pt x="586" y="672"/>
                  </a:lnTo>
                  <a:lnTo>
                    <a:pt x="584" y="672"/>
                  </a:lnTo>
                  <a:lnTo>
                    <a:pt x="582" y="672"/>
                  </a:lnTo>
                  <a:lnTo>
                    <a:pt x="580" y="672"/>
                  </a:lnTo>
                  <a:lnTo>
                    <a:pt x="578" y="672"/>
                  </a:lnTo>
                  <a:lnTo>
                    <a:pt x="576" y="672"/>
                  </a:lnTo>
                  <a:lnTo>
                    <a:pt x="575" y="672"/>
                  </a:lnTo>
                  <a:lnTo>
                    <a:pt x="573" y="672"/>
                  </a:lnTo>
                  <a:lnTo>
                    <a:pt x="571" y="672"/>
                  </a:lnTo>
                  <a:lnTo>
                    <a:pt x="569" y="672"/>
                  </a:lnTo>
                  <a:lnTo>
                    <a:pt x="567" y="672"/>
                  </a:lnTo>
                  <a:lnTo>
                    <a:pt x="565" y="672"/>
                  </a:lnTo>
                  <a:lnTo>
                    <a:pt x="563" y="672"/>
                  </a:lnTo>
                  <a:lnTo>
                    <a:pt x="561" y="672"/>
                  </a:lnTo>
                  <a:lnTo>
                    <a:pt x="559" y="672"/>
                  </a:lnTo>
                  <a:lnTo>
                    <a:pt x="555" y="672"/>
                  </a:lnTo>
                  <a:lnTo>
                    <a:pt x="553" y="672"/>
                  </a:lnTo>
                  <a:lnTo>
                    <a:pt x="552" y="672"/>
                  </a:lnTo>
                  <a:lnTo>
                    <a:pt x="550" y="672"/>
                  </a:lnTo>
                  <a:lnTo>
                    <a:pt x="548" y="672"/>
                  </a:lnTo>
                  <a:lnTo>
                    <a:pt x="546" y="672"/>
                  </a:lnTo>
                  <a:lnTo>
                    <a:pt x="542" y="672"/>
                  </a:lnTo>
                  <a:lnTo>
                    <a:pt x="542" y="674"/>
                  </a:lnTo>
                  <a:lnTo>
                    <a:pt x="542" y="678"/>
                  </a:lnTo>
                  <a:lnTo>
                    <a:pt x="542" y="681"/>
                  </a:lnTo>
                  <a:lnTo>
                    <a:pt x="542" y="683"/>
                  </a:lnTo>
                  <a:lnTo>
                    <a:pt x="540" y="683"/>
                  </a:lnTo>
                  <a:lnTo>
                    <a:pt x="538" y="683"/>
                  </a:lnTo>
                  <a:lnTo>
                    <a:pt x="536" y="683"/>
                  </a:lnTo>
                  <a:lnTo>
                    <a:pt x="534" y="683"/>
                  </a:lnTo>
                  <a:lnTo>
                    <a:pt x="532" y="683"/>
                  </a:lnTo>
                  <a:lnTo>
                    <a:pt x="530" y="683"/>
                  </a:lnTo>
                  <a:lnTo>
                    <a:pt x="528" y="683"/>
                  </a:lnTo>
                  <a:lnTo>
                    <a:pt x="527" y="683"/>
                  </a:lnTo>
                  <a:lnTo>
                    <a:pt x="525" y="683"/>
                  </a:lnTo>
                  <a:lnTo>
                    <a:pt x="523" y="683"/>
                  </a:lnTo>
                  <a:lnTo>
                    <a:pt x="521" y="683"/>
                  </a:lnTo>
                  <a:lnTo>
                    <a:pt x="519" y="683"/>
                  </a:lnTo>
                  <a:lnTo>
                    <a:pt x="517" y="683"/>
                  </a:lnTo>
                  <a:lnTo>
                    <a:pt x="515" y="683"/>
                  </a:lnTo>
                  <a:lnTo>
                    <a:pt x="513" y="683"/>
                  </a:lnTo>
                  <a:lnTo>
                    <a:pt x="511" y="683"/>
                  </a:lnTo>
                  <a:lnTo>
                    <a:pt x="511" y="685"/>
                  </a:lnTo>
                  <a:lnTo>
                    <a:pt x="511" y="687"/>
                  </a:lnTo>
                  <a:lnTo>
                    <a:pt x="511" y="689"/>
                  </a:lnTo>
                  <a:lnTo>
                    <a:pt x="511" y="691"/>
                  </a:lnTo>
                  <a:lnTo>
                    <a:pt x="511" y="693"/>
                  </a:lnTo>
                  <a:lnTo>
                    <a:pt x="511" y="695"/>
                  </a:lnTo>
                  <a:lnTo>
                    <a:pt x="511" y="697"/>
                  </a:lnTo>
                  <a:lnTo>
                    <a:pt x="511" y="699"/>
                  </a:lnTo>
                  <a:lnTo>
                    <a:pt x="509" y="699"/>
                  </a:lnTo>
                  <a:lnTo>
                    <a:pt x="507" y="699"/>
                  </a:lnTo>
                  <a:lnTo>
                    <a:pt x="505" y="699"/>
                  </a:lnTo>
                  <a:lnTo>
                    <a:pt x="503" y="699"/>
                  </a:lnTo>
                  <a:lnTo>
                    <a:pt x="502" y="699"/>
                  </a:lnTo>
                  <a:lnTo>
                    <a:pt x="500" y="699"/>
                  </a:lnTo>
                  <a:lnTo>
                    <a:pt x="500" y="701"/>
                  </a:lnTo>
                  <a:lnTo>
                    <a:pt x="500" y="703"/>
                  </a:lnTo>
                  <a:lnTo>
                    <a:pt x="500" y="704"/>
                  </a:lnTo>
                  <a:lnTo>
                    <a:pt x="500" y="706"/>
                  </a:lnTo>
                  <a:lnTo>
                    <a:pt x="500" y="708"/>
                  </a:lnTo>
                  <a:lnTo>
                    <a:pt x="500" y="710"/>
                  </a:lnTo>
                  <a:lnTo>
                    <a:pt x="498" y="710"/>
                  </a:lnTo>
                  <a:lnTo>
                    <a:pt x="498" y="712"/>
                  </a:lnTo>
                  <a:lnTo>
                    <a:pt x="500" y="712"/>
                  </a:lnTo>
                  <a:lnTo>
                    <a:pt x="498" y="712"/>
                  </a:lnTo>
                  <a:lnTo>
                    <a:pt x="496" y="712"/>
                  </a:lnTo>
                  <a:lnTo>
                    <a:pt x="494" y="712"/>
                  </a:lnTo>
                  <a:lnTo>
                    <a:pt x="492" y="712"/>
                  </a:lnTo>
                  <a:lnTo>
                    <a:pt x="492" y="714"/>
                  </a:lnTo>
                  <a:lnTo>
                    <a:pt x="492" y="716"/>
                  </a:lnTo>
                  <a:lnTo>
                    <a:pt x="492" y="718"/>
                  </a:lnTo>
                  <a:lnTo>
                    <a:pt x="492" y="720"/>
                  </a:lnTo>
                  <a:lnTo>
                    <a:pt x="492" y="722"/>
                  </a:lnTo>
                  <a:lnTo>
                    <a:pt x="492" y="724"/>
                  </a:lnTo>
                  <a:lnTo>
                    <a:pt x="492" y="726"/>
                  </a:lnTo>
                  <a:lnTo>
                    <a:pt x="492" y="727"/>
                  </a:lnTo>
                  <a:lnTo>
                    <a:pt x="494" y="727"/>
                  </a:lnTo>
                  <a:lnTo>
                    <a:pt x="494" y="729"/>
                  </a:lnTo>
                  <a:lnTo>
                    <a:pt x="494" y="731"/>
                  </a:lnTo>
                  <a:lnTo>
                    <a:pt x="494" y="733"/>
                  </a:lnTo>
                  <a:lnTo>
                    <a:pt x="494" y="735"/>
                  </a:lnTo>
                  <a:lnTo>
                    <a:pt x="494" y="737"/>
                  </a:lnTo>
                  <a:lnTo>
                    <a:pt x="492" y="737"/>
                  </a:lnTo>
                  <a:lnTo>
                    <a:pt x="492" y="739"/>
                  </a:lnTo>
                  <a:lnTo>
                    <a:pt x="494" y="739"/>
                  </a:lnTo>
                  <a:lnTo>
                    <a:pt x="492" y="739"/>
                  </a:lnTo>
                  <a:lnTo>
                    <a:pt x="492" y="741"/>
                  </a:lnTo>
                  <a:lnTo>
                    <a:pt x="494" y="741"/>
                  </a:lnTo>
                  <a:lnTo>
                    <a:pt x="496" y="741"/>
                  </a:lnTo>
                  <a:lnTo>
                    <a:pt x="496" y="743"/>
                  </a:lnTo>
                  <a:lnTo>
                    <a:pt x="498" y="743"/>
                  </a:lnTo>
                  <a:lnTo>
                    <a:pt x="498" y="745"/>
                  </a:lnTo>
                  <a:lnTo>
                    <a:pt x="498" y="747"/>
                  </a:lnTo>
                  <a:lnTo>
                    <a:pt x="498" y="749"/>
                  </a:lnTo>
                  <a:lnTo>
                    <a:pt x="498" y="751"/>
                  </a:lnTo>
                  <a:lnTo>
                    <a:pt x="498" y="752"/>
                  </a:lnTo>
                  <a:lnTo>
                    <a:pt x="498" y="754"/>
                  </a:lnTo>
                  <a:lnTo>
                    <a:pt x="498" y="756"/>
                  </a:lnTo>
                  <a:lnTo>
                    <a:pt x="498" y="758"/>
                  </a:lnTo>
                  <a:lnTo>
                    <a:pt x="498" y="760"/>
                  </a:lnTo>
                  <a:lnTo>
                    <a:pt x="498" y="762"/>
                  </a:lnTo>
                  <a:lnTo>
                    <a:pt x="498" y="764"/>
                  </a:lnTo>
                  <a:lnTo>
                    <a:pt x="498" y="766"/>
                  </a:lnTo>
                  <a:lnTo>
                    <a:pt x="498" y="768"/>
                  </a:lnTo>
                  <a:lnTo>
                    <a:pt x="498" y="770"/>
                  </a:lnTo>
                  <a:lnTo>
                    <a:pt x="498" y="772"/>
                  </a:lnTo>
                  <a:lnTo>
                    <a:pt x="498" y="774"/>
                  </a:lnTo>
                  <a:lnTo>
                    <a:pt x="498" y="775"/>
                  </a:lnTo>
                  <a:lnTo>
                    <a:pt x="496" y="775"/>
                  </a:lnTo>
                  <a:lnTo>
                    <a:pt x="496" y="777"/>
                  </a:lnTo>
                  <a:lnTo>
                    <a:pt x="494" y="777"/>
                  </a:lnTo>
                  <a:lnTo>
                    <a:pt x="492" y="777"/>
                  </a:lnTo>
                  <a:lnTo>
                    <a:pt x="492" y="779"/>
                  </a:lnTo>
                  <a:lnTo>
                    <a:pt x="492" y="781"/>
                  </a:lnTo>
                  <a:lnTo>
                    <a:pt x="492" y="783"/>
                  </a:lnTo>
                  <a:lnTo>
                    <a:pt x="492" y="785"/>
                  </a:lnTo>
                  <a:lnTo>
                    <a:pt x="490" y="785"/>
                  </a:lnTo>
                  <a:lnTo>
                    <a:pt x="486" y="785"/>
                  </a:lnTo>
                  <a:lnTo>
                    <a:pt x="484" y="785"/>
                  </a:lnTo>
                  <a:lnTo>
                    <a:pt x="482" y="785"/>
                  </a:lnTo>
                  <a:lnTo>
                    <a:pt x="482" y="787"/>
                  </a:lnTo>
                  <a:lnTo>
                    <a:pt x="480" y="787"/>
                  </a:lnTo>
                  <a:lnTo>
                    <a:pt x="480" y="789"/>
                  </a:lnTo>
                  <a:lnTo>
                    <a:pt x="480" y="791"/>
                  </a:lnTo>
                  <a:lnTo>
                    <a:pt x="480" y="793"/>
                  </a:lnTo>
                  <a:lnTo>
                    <a:pt x="480" y="795"/>
                  </a:lnTo>
                  <a:lnTo>
                    <a:pt x="479" y="795"/>
                  </a:lnTo>
                  <a:lnTo>
                    <a:pt x="479" y="797"/>
                  </a:lnTo>
                  <a:lnTo>
                    <a:pt x="477" y="797"/>
                  </a:lnTo>
                  <a:lnTo>
                    <a:pt x="477" y="799"/>
                  </a:lnTo>
                  <a:lnTo>
                    <a:pt x="475" y="799"/>
                  </a:lnTo>
                  <a:lnTo>
                    <a:pt x="475" y="800"/>
                  </a:lnTo>
                  <a:lnTo>
                    <a:pt x="473" y="800"/>
                  </a:lnTo>
                  <a:lnTo>
                    <a:pt x="473" y="802"/>
                  </a:lnTo>
                  <a:lnTo>
                    <a:pt x="475" y="802"/>
                  </a:lnTo>
                  <a:lnTo>
                    <a:pt x="475" y="804"/>
                  </a:lnTo>
                  <a:lnTo>
                    <a:pt x="473" y="804"/>
                  </a:lnTo>
                  <a:lnTo>
                    <a:pt x="473" y="806"/>
                  </a:lnTo>
                  <a:lnTo>
                    <a:pt x="473" y="808"/>
                  </a:lnTo>
                  <a:lnTo>
                    <a:pt x="473" y="810"/>
                  </a:lnTo>
                  <a:lnTo>
                    <a:pt x="473" y="812"/>
                  </a:lnTo>
                  <a:lnTo>
                    <a:pt x="473" y="814"/>
                  </a:lnTo>
                  <a:lnTo>
                    <a:pt x="477" y="814"/>
                  </a:lnTo>
                  <a:lnTo>
                    <a:pt x="479" y="812"/>
                  </a:lnTo>
                  <a:lnTo>
                    <a:pt x="482" y="812"/>
                  </a:lnTo>
                  <a:lnTo>
                    <a:pt x="484" y="812"/>
                  </a:lnTo>
                  <a:lnTo>
                    <a:pt x="488" y="812"/>
                  </a:lnTo>
                  <a:lnTo>
                    <a:pt x="492" y="812"/>
                  </a:lnTo>
                  <a:lnTo>
                    <a:pt x="494" y="812"/>
                  </a:lnTo>
                  <a:lnTo>
                    <a:pt x="494" y="814"/>
                  </a:lnTo>
                  <a:lnTo>
                    <a:pt x="496" y="814"/>
                  </a:lnTo>
                  <a:lnTo>
                    <a:pt x="498" y="814"/>
                  </a:lnTo>
                  <a:lnTo>
                    <a:pt x="498" y="812"/>
                  </a:lnTo>
                  <a:lnTo>
                    <a:pt x="500" y="812"/>
                  </a:lnTo>
                  <a:lnTo>
                    <a:pt x="502" y="812"/>
                  </a:lnTo>
                  <a:lnTo>
                    <a:pt x="502" y="814"/>
                  </a:lnTo>
                  <a:lnTo>
                    <a:pt x="502" y="812"/>
                  </a:lnTo>
                  <a:lnTo>
                    <a:pt x="503" y="812"/>
                  </a:lnTo>
                  <a:lnTo>
                    <a:pt x="505" y="812"/>
                  </a:lnTo>
                  <a:lnTo>
                    <a:pt x="505" y="814"/>
                  </a:lnTo>
                  <a:lnTo>
                    <a:pt x="503" y="816"/>
                  </a:lnTo>
                  <a:lnTo>
                    <a:pt x="505" y="816"/>
                  </a:lnTo>
                  <a:lnTo>
                    <a:pt x="505" y="818"/>
                  </a:lnTo>
                  <a:lnTo>
                    <a:pt x="505" y="820"/>
                  </a:lnTo>
                  <a:lnTo>
                    <a:pt x="503" y="820"/>
                  </a:lnTo>
                  <a:lnTo>
                    <a:pt x="503" y="822"/>
                  </a:lnTo>
                  <a:lnTo>
                    <a:pt x="503" y="823"/>
                  </a:lnTo>
                  <a:lnTo>
                    <a:pt x="502" y="823"/>
                  </a:lnTo>
                  <a:lnTo>
                    <a:pt x="503" y="823"/>
                  </a:lnTo>
                  <a:lnTo>
                    <a:pt x="503" y="825"/>
                  </a:lnTo>
                  <a:lnTo>
                    <a:pt x="505" y="825"/>
                  </a:lnTo>
                  <a:lnTo>
                    <a:pt x="505" y="827"/>
                  </a:lnTo>
                  <a:lnTo>
                    <a:pt x="505" y="829"/>
                  </a:lnTo>
                  <a:lnTo>
                    <a:pt x="503" y="829"/>
                  </a:lnTo>
                  <a:lnTo>
                    <a:pt x="503" y="831"/>
                  </a:lnTo>
                  <a:lnTo>
                    <a:pt x="505" y="831"/>
                  </a:lnTo>
                  <a:lnTo>
                    <a:pt x="503" y="831"/>
                  </a:lnTo>
                  <a:lnTo>
                    <a:pt x="503" y="833"/>
                  </a:lnTo>
                  <a:lnTo>
                    <a:pt x="502" y="833"/>
                  </a:lnTo>
                  <a:lnTo>
                    <a:pt x="492" y="833"/>
                  </a:lnTo>
                  <a:lnTo>
                    <a:pt x="492" y="835"/>
                  </a:lnTo>
                  <a:lnTo>
                    <a:pt x="492" y="837"/>
                  </a:lnTo>
                  <a:lnTo>
                    <a:pt x="492" y="839"/>
                  </a:lnTo>
                  <a:lnTo>
                    <a:pt x="492" y="841"/>
                  </a:lnTo>
                  <a:lnTo>
                    <a:pt x="490" y="841"/>
                  </a:lnTo>
                  <a:lnTo>
                    <a:pt x="488" y="841"/>
                  </a:lnTo>
                  <a:lnTo>
                    <a:pt x="486" y="841"/>
                  </a:lnTo>
                  <a:lnTo>
                    <a:pt x="484" y="841"/>
                  </a:lnTo>
                  <a:lnTo>
                    <a:pt x="484" y="843"/>
                  </a:lnTo>
                  <a:lnTo>
                    <a:pt x="482" y="843"/>
                  </a:lnTo>
                  <a:lnTo>
                    <a:pt x="480" y="843"/>
                  </a:lnTo>
                  <a:lnTo>
                    <a:pt x="479" y="843"/>
                  </a:lnTo>
                  <a:lnTo>
                    <a:pt x="479" y="845"/>
                  </a:lnTo>
                  <a:lnTo>
                    <a:pt x="479" y="843"/>
                  </a:lnTo>
                  <a:lnTo>
                    <a:pt x="479" y="845"/>
                  </a:lnTo>
                  <a:lnTo>
                    <a:pt x="477" y="845"/>
                  </a:lnTo>
                  <a:lnTo>
                    <a:pt x="477" y="847"/>
                  </a:lnTo>
                  <a:lnTo>
                    <a:pt x="479" y="847"/>
                  </a:lnTo>
                  <a:lnTo>
                    <a:pt x="479" y="848"/>
                  </a:lnTo>
                  <a:lnTo>
                    <a:pt x="479" y="850"/>
                  </a:lnTo>
                  <a:lnTo>
                    <a:pt x="479" y="852"/>
                  </a:lnTo>
                  <a:lnTo>
                    <a:pt x="479" y="854"/>
                  </a:lnTo>
                  <a:lnTo>
                    <a:pt x="477" y="854"/>
                  </a:lnTo>
                  <a:lnTo>
                    <a:pt x="477" y="856"/>
                  </a:lnTo>
                  <a:lnTo>
                    <a:pt x="477" y="858"/>
                  </a:lnTo>
                  <a:lnTo>
                    <a:pt x="477" y="862"/>
                  </a:lnTo>
                  <a:lnTo>
                    <a:pt x="477" y="866"/>
                  </a:lnTo>
                  <a:lnTo>
                    <a:pt x="477" y="868"/>
                  </a:lnTo>
                  <a:lnTo>
                    <a:pt x="477" y="871"/>
                  </a:lnTo>
                  <a:lnTo>
                    <a:pt x="477" y="873"/>
                  </a:lnTo>
                  <a:lnTo>
                    <a:pt x="477" y="877"/>
                  </a:lnTo>
                  <a:lnTo>
                    <a:pt x="477" y="879"/>
                  </a:lnTo>
                  <a:lnTo>
                    <a:pt x="477" y="883"/>
                  </a:lnTo>
                  <a:lnTo>
                    <a:pt x="477" y="885"/>
                  </a:lnTo>
                  <a:lnTo>
                    <a:pt x="477" y="887"/>
                  </a:lnTo>
                  <a:lnTo>
                    <a:pt x="475" y="887"/>
                  </a:lnTo>
                  <a:lnTo>
                    <a:pt x="475" y="889"/>
                  </a:lnTo>
                  <a:lnTo>
                    <a:pt x="475" y="891"/>
                  </a:lnTo>
                  <a:lnTo>
                    <a:pt x="475" y="893"/>
                  </a:lnTo>
                  <a:lnTo>
                    <a:pt x="473" y="893"/>
                  </a:lnTo>
                  <a:lnTo>
                    <a:pt x="471" y="893"/>
                  </a:lnTo>
                  <a:lnTo>
                    <a:pt x="471" y="895"/>
                  </a:lnTo>
                  <a:lnTo>
                    <a:pt x="471" y="896"/>
                  </a:lnTo>
                  <a:lnTo>
                    <a:pt x="469" y="896"/>
                  </a:lnTo>
                  <a:lnTo>
                    <a:pt x="467" y="896"/>
                  </a:lnTo>
                  <a:lnTo>
                    <a:pt x="467" y="898"/>
                  </a:lnTo>
                  <a:lnTo>
                    <a:pt x="465" y="898"/>
                  </a:lnTo>
                  <a:lnTo>
                    <a:pt x="465" y="900"/>
                  </a:lnTo>
                  <a:lnTo>
                    <a:pt x="463" y="900"/>
                  </a:lnTo>
                  <a:lnTo>
                    <a:pt x="463" y="902"/>
                  </a:lnTo>
                  <a:lnTo>
                    <a:pt x="461" y="902"/>
                  </a:lnTo>
                  <a:lnTo>
                    <a:pt x="461" y="904"/>
                  </a:lnTo>
                  <a:lnTo>
                    <a:pt x="459" y="904"/>
                  </a:lnTo>
                  <a:lnTo>
                    <a:pt x="459" y="906"/>
                  </a:lnTo>
                  <a:lnTo>
                    <a:pt x="459" y="908"/>
                  </a:lnTo>
                  <a:lnTo>
                    <a:pt x="457" y="908"/>
                  </a:lnTo>
                  <a:lnTo>
                    <a:pt x="457" y="910"/>
                  </a:lnTo>
                  <a:lnTo>
                    <a:pt x="457" y="912"/>
                  </a:lnTo>
                  <a:lnTo>
                    <a:pt x="455" y="912"/>
                  </a:lnTo>
                  <a:lnTo>
                    <a:pt x="455" y="914"/>
                  </a:lnTo>
                  <a:lnTo>
                    <a:pt x="454" y="914"/>
                  </a:lnTo>
                  <a:lnTo>
                    <a:pt x="454" y="916"/>
                  </a:lnTo>
                  <a:lnTo>
                    <a:pt x="452" y="916"/>
                  </a:lnTo>
                  <a:lnTo>
                    <a:pt x="452" y="918"/>
                  </a:lnTo>
                  <a:lnTo>
                    <a:pt x="450" y="918"/>
                  </a:lnTo>
                  <a:lnTo>
                    <a:pt x="450" y="919"/>
                  </a:lnTo>
                  <a:lnTo>
                    <a:pt x="448" y="919"/>
                  </a:lnTo>
                  <a:lnTo>
                    <a:pt x="448" y="921"/>
                  </a:lnTo>
                  <a:lnTo>
                    <a:pt x="446" y="921"/>
                  </a:lnTo>
                  <a:lnTo>
                    <a:pt x="444" y="921"/>
                  </a:lnTo>
                  <a:lnTo>
                    <a:pt x="444" y="923"/>
                  </a:lnTo>
                  <a:lnTo>
                    <a:pt x="442" y="923"/>
                  </a:lnTo>
                  <a:lnTo>
                    <a:pt x="440" y="923"/>
                  </a:lnTo>
                  <a:lnTo>
                    <a:pt x="440" y="925"/>
                  </a:lnTo>
                  <a:lnTo>
                    <a:pt x="438" y="925"/>
                  </a:lnTo>
                  <a:lnTo>
                    <a:pt x="438" y="927"/>
                  </a:lnTo>
                  <a:lnTo>
                    <a:pt x="436" y="929"/>
                  </a:lnTo>
                  <a:lnTo>
                    <a:pt x="434" y="929"/>
                  </a:lnTo>
                  <a:lnTo>
                    <a:pt x="434" y="931"/>
                  </a:lnTo>
                  <a:lnTo>
                    <a:pt x="432" y="931"/>
                  </a:lnTo>
                  <a:lnTo>
                    <a:pt x="432" y="929"/>
                  </a:lnTo>
                  <a:lnTo>
                    <a:pt x="434" y="929"/>
                  </a:lnTo>
                  <a:lnTo>
                    <a:pt x="436" y="929"/>
                  </a:lnTo>
                  <a:lnTo>
                    <a:pt x="436" y="927"/>
                  </a:lnTo>
                  <a:lnTo>
                    <a:pt x="438" y="927"/>
                  </a:lnTo>
                  <a:lnTo>
                    <a:pt x="438" y="925"/>
                  </a:lnTo>
                  <a:lnTo>
                    <a:pt x="438" y="923"/>
                  </a:lnTo>
                  <a:lnTo>
                    <a:pt x="440" y="923"/>
                  </a:lnTo>
                  <a:lnTo>
                    <a:pt x="442" y="923"/>
                  </a:lnTo>
                  <a:lnTo>
                    <a:pt x="442" y="921"/>
                  </a:lnTo>
                  <a:lnTo>
                    <a:pt x="444" y="921"/>
                  </a:lnTo>
                  <a:lnTo>
                    <a:pt x="444" y="919"/>
                  </a:lnTo>
                  <a:lnTo>
                    <a:pt x="446" y="919"/>
                  </a:lnTo>
                  <a:lnTo>
                    <a:pt x="448" y="919"/>
                  </a:lnTo>
                  <a:lnTo>
                    <a:pt x="448" y="918"/>
                  </a:lnTo>
                  <a:lnTo>
                    <a:pt x="448" y="916"/>
                  </a:lnTo>
                  <a:lnTo>
                    <a:pt x="448" y="914"/>
                  </a:lnTo>
                  <a:lnTo>
                    <a:pt x="448" y="912"/>
                  </a:lnTo>
                  <a:lnTo>
                    <a:pt x="446" y="912"/>
                  </a:lnTo>
                  <a:lnTo>
                    <a:pt x="446" y="910"/>
                  </a:lnTo>
                  <a:lnTo>
                    <a:pt x="446" y="908"/>
                  </a:lnTo>
                  <a:lnTo>
                    <a:pt x="444" y="908"/>
                  </a:lnTo>
                  <a:lnTo>
                    <a:pt x="444" y="906"/>
                  </a:lnTo>
                  <a:lnTo>
                    <a:pt x="444" y="904"/>
                  </a:lnTo>
                  <a:lnTo>
                    <a:pt x="442" y="904"/>
                  </a:lnTo>
                  <a:lnTo>
                    <a:pt x="442" y="902"/>
                  </a:lnTo>
                  <a:lnTo>
                    <a:pt x="440" y="902"/>
                  </a:lnTo>
                  <a:lnTo>
                    <a:pt x="440" y="900"/>
                  </a:lnTo>
                  <a:lnTo>
                    <a:pt x="438" y="900"/>
                  </a:lnTo>
                  <a:lnTo>
                    <a:pt x="438" y="898"/>
                  </a:lnTo>
                  <a:lnTo>
                    <a:pt x="436" y="898"/>
                  </a:lnTo>
                  <a:lnTo>
                    <a:pt x="436" y="896"/>
                  </a:lnTo>
                  <a:lnTo>
                    <a:pt x="434" y="896"/>
                  </a:lnTo>
                  <a:lnTo>
                    <a:pt x="434" y="895"/>
                  </a:lnTo>
                  <a:lnTo>
                    <a:pt x="432" y="895"/>
                  </a:lnTo>
                  <a:lnTo>
                    <a:pt x="431" y="895"/>
                  </a:lnTo>
                  <a:lnTo>
                    <a:pt x="429" y="895"/>
                  </a:lnTo>
                  <a:lnTo>
                    <a:pt x="427" y="895"/>
                  </a:lnTo>
                  <a:lnTo>
                    <a:pt x="425" y="895"/>
                  </a:lnTo>
                  <a:lnTo>
                    <a:pt x="425" y="896"/>
                  </a:lnTo>
                  <a:lnTo>
                    <a:pt x="423" y="896"/>
                  </a:lnTo>
                  <a:lnTo>
                    <a:pt x="423" y="898"/>
                  </a:lnTo>
                  <a:lnTo>
                    <a:pt x="421" y="898"/>
                  </a:lnTo>
                  <a:lnTo>
                    <a:pt x="421" y="900"/>
                  </a:lnTo>
                  <a:lnTo>
                    <a:pt x="419" y="900"/>
                  </a:lnTo>
                  <a:lnTo>
                    <a:pt x="421" y="900"/>
                  </a:lnTo>
                  <a:lnTo>
                    <a:pt x="421" y="902"/>
                  </a:lnTo>
                  <a:lnTo>
                    <a:pt x="419" y="902"/>
                  </a:lnTo>
                  <a:lnTo>
                    <a:pt x="417" y="902"/>
                  </a:lnTo>
                  <a:lnTo>
                    <a:pt x="415" y="902"/>
                  </a:lnTo>
                  <a:lnTo>
                    <a:pt x="413" y="902"/>
                  </a:lnTo>
                  <a:lnTo>
                    <a:pt x="413" y="900"/>
                  </a:lnTo>
                  <a:lnTo>
                    <a:pt x="411" y="900"/>
                  </a:lnTo>
                  <a:lnTo>
                    <a:pt x="409" y="900"/>
                  </a:lnTo>
                  <a:lnTo>
                    <a:pt x="409" y="898"/>
                  </a:lnTo>
                  <a:lnTo>
                    <a:pt x="407" y="898"/>
                  </a:lnTo>
                  <a:lnTo>
                    <a:pt x="406" y="898"/>
                  </a:lnTo>
                  <a:lnTo>
                    <a:pt x="404" y="898"/>
                  </a:lnTo>
                  <a:lnTo>
                    <a:pt x="404" y="900"/>
                  </a:lnTo>
                  <a:lnTo>
                    <a:pt x="402" y="900"/>
                  </a:lnTo>
                  <a:lnTo>
                    <a:pt x="400" y="900"/>
                  </a:lnTo>
                  <a:lnTo>
                    <a:pt x="402" y="900"/>
                  </a:lnTo>
                  <a:lnTo>
                    <a:pt x="402" y="902"/>
                  </a:lnTo>
                  <a:lnTo>
                    <a:pt x="404" y="902"/>
                  </a:lnTo>
                  <a:lnTo>
                    <a:pt x="404" y="904"/>
                  </a:lnTo>
                  <a:lnTo>
                    <a:pt x="402" y="904"/>
                  </a:lnTo>
                  <a:lnTo>
                    <a:pt x="400" y="902"/>
                  </a:lnTo>
                  <a:lnTo>
                    <a:pt x="398" y="902"/>
                  </a:lnTo>
                  <a:lnTo>
                    <a:pt x="396" y="900"/>
                  </a:lnTo>
                  <a:lnTo>
                    <a:pt x="394" y="900"/>
                  </a:lnTo>
                  <a:lnTo>
                    <a:pt x="392" y="900"/>
                  </a:lnTo>
                  <a:lnTo>
                    <a:pt x="392" y="898"/>
                  </a:lnTo>
                  <a:lnTo>
                    <a:pt x="390" y="898"/>
                  </a:lnTo>
                  <a:lnTo>
                    <a:pt x="388" y="896"/>
                  </a:lnTo>
                  <a:lnTo>
                    <a:pt x="386" y="896"/>
                  </a:lnTo>
                  <a:lnTo>
                    <a:pt x="384" y="895"/>
                  </a:lnTo>
                  <a:lnTo>
                    <a:pt x="383" y="895"/>
                  </a:lnTo>
                  <a:lnTo>
                    <a:pt x="381" y="895"/>
                  </a:lnTo>
                  <a:lnTo>
                    <a:pt x="381" y="893"/>
                  </a:lnTo>
                  <a:lnTo>
                    <a:pt x="379" y="893"/>
                  </a:lnTo>
                  <a:lnTo>
                    <a:pt x="377" y="893"/>
                  </a:lnTo>
                  <a:lnTo>
                    <a:pt x="377" y="895"/>
                  </a:lnTo>
                  <a:lnTo>
                    <a:pt x="375" y="895"/>
                  </a:lnTo>
                  <a:lnTo>
                    <a:pt x="373" y="895"/>
                  </a:lnTo>
                  <a:lnTo>
                    <a:pt x="371" y="895"/>
                  </a:lnTo>
                  <a:lnTo>
                    <a:pt x="369" y="895"/>
                  </a:lnTo>
                  <a:lnTo>
                    <a:pt x="369" y="896"/>
                  </a:lnTo>
                  <a:lnTo>
                    <a:pt x="367" y="896"/>
                  </a:lnTo>
                  <a:lnTo>
                    <a:pt x="365" y="896"/>
                  </a:lnTo>
                  <a:lnTo>
                    <a:pt x="363" y="896"/>
                  </a:lnTo>
                  <a:lnTo>
                    <a:pt x="363" y="898"/>
                  </a:lnTo>
                  <a:lnTo>
                    <a:pt x="361" y="898"/>
                  </a:lnTo>
                  <a:lnTo>
                    <a:pt x="359" y="898"/>
                  </a:lnTo>
                  <a:lnTo>
                    <a:pt x="359" y="900"/>
                  </a:lnTo>
                  <a:lnTo>
                    <a:pt x="358" y="900"/>
                  </a:lnTo>
                  <a:lnTo>
                    <a:pt x="358" y="902"/>
                  </a:lnTo>
                  <a:lnTo>
                    <a:pt x="356" y="902"/>
                  </a:lnTo>
                  <a:lnTo>
                    <a:pt x="354" y="902"/>
                  </a:lnTo>
                  <a:lnTo>
                    <a:pt x="352" y="902"/>
                  </a:lnTo>
                  <a:lnTo>
                    <a:pt x="352" y="904"/>
                  </a:lnTo>
                  <a:lnTo>
                    <a:pt x="350" y="904"/>
                  </a:lnTo>
                  <a:lnTo>
                    <a:pt x="348" y="904"/>
                  </a:lnTo>
                  <a:lnTo>
                    <a:pt x="348" y="902"/>
                  </a:lnTo>
                  <a:lnTo>
                    <a:pt x="346" y="902"/>
                  </a:lnTo>
                  <a:lnTo>
                    <a:pt x="344" y="902"/>
                  </a:lnTo>
                  <a:lnTo>
                    <a:pt x="342" y="902"/>
                  </a:lnTo>
                  <a:lnTo>
                    <a:pt x="340" y="902"/>
                  </a:lnTo>
                  <a:lnTo>
                    <a:pt x="338" y="902"/>
                  </a:lnTo>
                  <a:lnTo>
                    <a:pt x="338" y="904"/>
                  </a:lnTo>
                  <a:lnTo>
                    <a:pt x="336" y="904"/>
                  </a:lnTo>
                  <a:lnTo>
                    <a:pt x="335" y="904"/>
                  </a:lnTo>
                  <a:lnTo>
                    <a:pt x="333" y="904"/>
                  </a:lnTo>
                  <a:lnTo>
                    <a:pt x="331" y="904"/>
                  </a:lnTo>
                  <a:lnTo>
                    <a:pt x="331" y="906"/>
                  </a:lnTo>
                  <a:lnTo>
                    <a:pt x="329" y="906"/>
                  </a:lnTo>
                  <a:lnTo>
                    <a:pt x="327" y="906"/>
                  </a:lnTo>
                  <a:lnTo>
                    <a:pt x="325" y="906"/>
                  </a:lnTo>
                  <a:lnTo>
                    <a:pt x="323" y="906"/>
                  </a:lnTo>
                  <a:lnTo>
                    <a:pt x="321" y="906"/>
                  </a:lnTo>
                  <a:lnTo>
                    <a:pt x="319" y="906"/>
                  </a:lnTo>
                  <a:lnTo>
                    <a:pt x="319" y="904"/>
                  </a:lnTo>
                  <a:lnTo>
                    <a:pt x="319" y="906"/>
                  </a:lnTo>
                  <a:lnTo>
                    <a:pt x="317" y="906"/>
                  </a:lnTo>
                  <a:lnTo>
                    <a:pt x="317" y="904"/>
                  </a:lnTo>
                  <a:lnTo>
                    <a:pt x="315" y="904"/>
                  </a:lnTo>
                  <a:lnTo>
                    <a:pt x="313" y="904"/>
                  </a:lnTo>
                  <a:lnTo>
                    <a:pt x="313" y="902"/>
                  </a:lnTo>
                  <a:lnTo>
                    <a:pt x="311" y="902"/>
                  </a:lnTo>
                  <a:lnTo>
                    <a:pt x="310" y="902"/>
                  </a:lnTo>
                  <a:lnTo>
                    <a:pt x="310" y="900"/>
                  </a:lnTo>
                  <a:lnTo>
                    <a:pt x="308" y="900"/>
                  </a:lnTo>
                  <a:lnTo>
                    <a:pt x="306" y="900"/>
                  </a:lnTo>
                  <a:lnTo>
                    <a:pt x="304" y="900"/>
                  </a:lnTo>
                  <a:lnTo>
                    <a:pt x="304" y="898"/>
                  </a:lnTo>
                  <a:lnTo>
                    <a:pt x="302" y="898"/>
                  </a:lnTo>
                  <a:lnTo>
                    <a:pt x="302" y="900"/>
                  </a:lnTo>
                  <a:lnTo>
                    <a:pt x="300" y="900"/>
                  </a:lnTo>
                  <a:lnTo>
                    <a:pt x="300" y="902"/>
                  </a:lnTo>
                  <a:lnTo>
                    <a:pt x="298" y="902"/>
                  </a:lnTo>
                  <a:lnTo>
                    <a:pt x="298" y="904"/>
                  </a:lnTo>
                  <a:lnTo>
                    <a:pt x="296" y="904"/>
                  </a:lnTo>
                  <a:lnTo>
                    <a:pt x="296" y="902"/>
                  </a:lnTo>
                  <a:lnTo>
                    <a:pt x="294" y="902"/>
                  </a:lnTo>
                  <a:lnTo>
                    <a:pt x="292" y="902"/>
                  </a:lnTo>
                  <a:lnTo>
                    <a:pt x="292" y="904"/>
                  </a:lnTo>
                  <a:lnTo>
                    <a:pt x="292" y="906"/>
                  </a:lnTo>
                  <a:lnTo>
                    <a:pt x="290" y="906"/>
                  </a:lnTo>
                  <a:lnTo>
                    <a:pt x="288" y="904"/>
                  </a:lnTo>
                  <a:lnTo>
                    <a:pt x="288" y="902"/>
                  </a:lnTo>
                  <a:lnTo>
                    <a:pt x="290" y="902"/>
                  </a:lnTo>
                  <a:lnTo>
                    <a:pt x="288" y="902"/>
                  </a:lnTo>
                  <a:lnTo>
                    <a:pt x="288" y="900"/>
                  </a:lnTo>
                  <a:lnTo>
                    <a:pt x="288" y="898"/>
                  </a:lnTo>
                  <a:lnTo>
                    <a:pt x="287" y="898"/>
                  </a:lnTo>
                  <a:lnTo>
                    <a:pt x="287" y="896"/>
                  </a:lnTo>
                  <a:lnTo>
                    <a:pt x="287" y="898"/>
                  </a:lnTo>
                  <a:lnTo>
                    <a:pt x="287" y="900"/>
                  </a:lnTo>
                  <a:lnTo>
                    <a:pt x="288" y="900"/>
                  </a:lnTo>
                  <a:lnTo>
                    <a:pt x="288" y="902"/>
                  </a:lnTo>
                  <a:lnTo>
                    <a:pt x="287" y="902"/>
                  </a:lnTo>
                  <a:lnTo>
                    <a:pt x="287" y="900"/>
                  </a:lnTo>
                  <a:lnTo>
                    <a:pt x="287" y="898"/>
                  </a:lnTo>
                  <a:lnTo>
                    <a:pt x="285" y="898"/>
                  </a:lnTo>
                  <a:lnTo>
                    <a:pt x="287" y="898"/>
                  </a:lnTo>
                  <a:lnTo>
                    <a:pt x="287" y="900"/>
                  </a:lnTo>
                  <a:lnTo>
                    <a:pt x="287" y="902"/>
                  </a:lnTo>
                  <a:lnTo>
                    <a:pt x="285" y="902"/>
                  </a:lnTo>
                  <a:lnTo>
                    <a:pt x="283" y="902"/>
                  </a:lnTo>
                  <a:lnTo>
                    <a:pt x="283" y="904"/>
                  </a:lnTo>
                  <a:lnTo>
                    <a:pt x="281" y="904"/>
                  </a:lnTo>
                  <a:lnTo>
                    <a:pt x="279" y="904"/>
                  </a:lnTo>
                  <a:lnTo>
                    <a:pt x="277" y="904"/>
                  </a:lnTo>
                  <a:lnTo>
                    <a:pt x="275" y="904"/>
                  </a:lnTo>
                  <a:lnTo>
                    <a:pt x="275" y="906"/>
                  </a:lnTo>
                  <a:lnTo>
                    <a:pt x="273" y="906"/>
                  </a:lnTo>
                  <a:lnTo>
                    <a:pt x="271" y="908"/>
                  </a:lnTo>
                  <a:lnTo>
                    <a:pt x="271" y="910"/>
                  </a:lnTo>
                  <a:lnTo>
                    <a:pt x="271" y="912"/>
                  </a:lnTo>
                  <a:lnTo>
                    <a:pt x="269" y="912"/>
                  </a:lnTo>
                  <a:lnTo>
                    <a:pt x="271" y="912"/>
                  </a:lnTo>
                  <a:lnTo>
                    <a:pt x="271" y="914"/>
                  </a:lnTo>
                  <a:lnTo>
                    <a:pt x="269" y="914"/>
                  </a:lnTo>
                  <a:lnTo>
                    <a:pt x="269" y="912"/>
                  </a:lnTo>
                  <a:lnTo>
                    <a:pt x="267" y="914"/>
                  </a:lnTo>
                  <a:lnTo>
                    <a:pt x="267" y="916"/>
                  </a:lnTo>
                  <a:lnTo>
                    <a:pt x="265" y="916"/>
                  </a:lnTo>
                  <a:lnTo>
                    <a:pt x="265" y="918"/>
                  </a:lnTo>
                  <a:lnTo>
                    <a:pt x="265" y="919"/>
                  </a:lnTo>
                  <a:lnTo>
                    <a:pt x="263" y="919"/>
                  </a:lnTo>
                  <a:lnTo>
                    <a:pt x="265" y="921"/>
                  </a:lnTo>
                  <a:lnTo>
                    <a:pt x="263" y="921"/>
                  </a:lnTo>
                  <a:lnTo>
                    <a:pt x="263" y="919"/>
                  </a:lnTo>
                  <a:lnTo>
                    <a:pt x="262" y="919"/>
                  </a:lnTo>
                  <a:lnTo>
                    <a:pt x="262" y="921"/>
                  </a:lnTo>
                  <a:lnTo>
                    <a:pt x="262" y="923"/>
                  </a:lnTo>
                  <a:lnTo>
                    <a:pt x="260" y="923"/>
                  </a:lnTo>
                  <a:lnTo>
                    <a:pt x="260" y="925"/>
                  </a:lnTo>
                  <a:lnTo>
                    <a:pt x="258" y="925"/>
                  </a:lnTo>
                  <a:lnTo>
                    <a:pt x="258" y="927"/>
                  </a:lnTo>
                  <a:lnTo>
                    <a:pt x="256" y="927"/>
                  </a:lnTo>
                  <a:lnTo>
                    <a:pt x="256" y="929"/>
                  </a:lnTo>
                  <a:lnTo>
                    <a:pt x="256" y="931"/>
                  </a:lnTo>
                  <a:lnTo>
                    <a:pt x="254" y="931"/>
                  </a:lnTo>
                  <a:lnTo>
                    <a:pt x="254" y="933"/>
                  </a:lnTo>
                  <a:lnTo>
                    <a:pt x="252" y="935"/>
                  </a:lnTo>
                  <a:lnTo>
                    <a:pt x="252" y="937"/>
                  </a:lnTo>
                  <a:lnTo>
                    <a:pt x="250" y="937"/>
                  </a:lnTo>
                  <a:lnTo>
                    <a:pt x="250" y="939"/>
                  </a:lnTo>
                  <a:lnTo>
                    <a:pt x="250" y="941"/>
                  </a:lnTo>
                  <a:lnTo>
                    <a:pt x="248" y="941"/>
                  </a:lnTo>
                  <a:lnTo>
                    <a:pt x="248" y="943"/>
                  </a:lnTo>
                  <a:lnTo>
                    <a:pt x="246" y="943"/>
                  </a:lnTo>
                  <a:lnTo>
                    <a:pt x="246" y="944"/>
                  </a:lnTo>
                  <a:lnTo>
                    <a:pt x="246" y="946"/>
                  </a:lnTo>
                  <a:lnTo>
                    <a:pt x="244" y="946"/>
                  </a:lnTo>
                  <a:lnTo>
                    <a:pt x="244" y="948"/>
                  </a:lnTo>
                  <a:lnTo>
                    <a:pt x="242" y="948"/>
                  </a:lnTo>
                  <a:lnTo>
                    <a:pt x="242" y="950"/>
                  </a:lnTo>
                  <a:lnTo>
                    <a:pt x="240" y="950"/>
                  </a:lnTo>
                  <a:lnTo>
                    <a:pt x="240" y="952"/>
                  </a:lnTo>
                  <a:lnTo>
                    <a:pt x="238" y="952"/>
                  </a:lnTo>
                  <a:lnTo>
                    <a:pt x="238" y="954"/>
                  </a:lnTo>
                  <a:lnTo>
                    <a:pt x="237" y="954"/>
                  </a:lnTo>
                  <a:lnTo>
                    <a:pt x="237" y="956"/>
                  </a:lnTo>
                  <a:lnTo>
                    <a:pt x="235" y="956"/>
                  </a:lnTo>
                  <a:lnTo>
                    <a:pt x="235" y="958"/>
                  </a:lnTo>
                  <a:lnTo>
                    <a:pt x="233" y="958"/>
                  </a:lnTo>
                  <a:lnTo>
                    <a:pt x="233" y="960"/>
                  </a:lnTo>
                  <a:lnTo>
                    <a:pt x="233" y="962"/>
                  </a:lnTo>
                  <a:lnTo>
                    <a:pt x="231" y="962"/>
                  </a:lnTo>
                  <a:lnTo>
                    <a:pt x="231" y="964"/>
                  </a:lnTo>
                  <a:lnTo>
                    <a:pt x="229" y="964"/>
                  </a:lnTo>
                  <a:lnTo>
                    <a:pt x="229" y="966"/>
                  </a:lnTo>
                  <a:lnTo>
                    <a:pt x="227" y="967"/>
                  </a:lnTo>
                  <a:lnTo>
                    <a:pt x="227" y="969"/>
                  </a:lnTo>
                  <a:lnTo>
                    <a:pt x="225" y="969"/>
                  </a:lnTo>
                  <a:lnTo>
                    <a:pt x="225" y="971"/>
                  </a:lnTo>
                  <a:lnTo>
                    <a:pt x="223" y="973"/>
                  </a:lnTo>
                  <a:lnTo>
                    <a:pt x="223" y="975"/>
                  </a:lnTo>
                  <a:lnTo>
                    <a:pt x="221" y="975"/>
                  </a:lnTo>
                  <a:lnTo>
                    <a:pt x="221" y="977"/>
                  </a:lnTo>
                  <a:lnTo>
                    <a:pt x="221" y="979"/>
                  </a:lnTo>
                  <a:lnTo>
                    <a:pt x="219" y="979"/>
                  </a:lnTo>
                  <a:lnTo>
                    <a:pt x="219" y="981"/>
                  </a:lnTo>
                  <a:lnTo>
                    <a:pt x="217" y="981"/>
                  </a:lnTo>
                  <a:lnTo>
                    <a:pt x="217" y="983"/>
                  </a:lnTo>
                  <a:lnTo>
                    <a:pt x="215" y="983"/>
                  </a:lnTo>
                  <a:lnTo>
                    <a:pt x="215" y="985"/>
                  </a:lnTo>
                  <a:lnTo>
                    <a:pt x="214" y="987"/>
                  </a:lnTo>
                  <a:lnTo>
                    <a:pt x="214" y="989"/>
                  </a:lnTo>
                  <a:lnTo>
                    <a:pt x="212" y="989"/>
                  </a:lnTo>
                  <a:lnTo>
                    <a:pt x="212" y="991"/>
                  </a:lnTo>
                  <a:lnTo>
                    <a:pt x="210" y="991"/>
                  </a:lnTo>
                  <a:lnTo>
                    <a:pt x="208" y="991"/>
                  </a:lnTo>
                  <a:lnTo>
                    <a:pt x="208" y="992"/>
                  </a:lnTo>
                  <a:lnTo>
                    <a:pt x="206" y="992"/>
                  </a:lnTo>
                  <a:lnTo>
                    <a:pt x="204" y="992"/>
                  </a:lnTo>
                  <a:lnTo>
                    <a:pt x="202" y="992"/>
                  </a:lnTo>
                  <a:lnTo>
                    <a:pt x="202" y="991"/>
                  </a:lnTo>
                  <a:lnTo>
                    <a:pt x="202" y="992"/>
                  </a:lnTo>
                  <a:lnTo>
                    <a:pt x="204" y="992"/>
                  </a:lnTo>
                  <a:lnTo>
                    <a:pt x="206" y="992"/>
                  </a:lnTo>
                  <a:lnTo>
                    <a:pt x="206" y="991"/>
                  </a:lnTo>
                  <a:lnTo>
                    <a:pt x="208" y="991"/>
                  </a:lnTo>
                  <a:lnTo>
                    <a:pt x="206" y="991"/>
                  </a:lnTo>
                  <a:lnTo>
                    <a:pt x="208" y="991"/>
                  </a:lnTo>
                  <a:lnTo>
                    <a:pt x="208" y="989"/>
                  </a:lnTo>
                  <a:lnTo>
                    <a:pt x="210" y="989"/>
                  </a:lnTo>
                  <a:lnTo>
                    <a:pt x="210" y="987"/>
                  </a:lnTo>
                  <a:lnTo>
                    <a:pt x="212" y="987"/>
                  </a:lnTo>
                  <a:lnTo>
                    <a:pt x="210" y="987"/>
                  </a:lnTo>
                  <a:lnTo>
                    <a:pt x="212" y="987"/>
                  </a:lnTo>
                  <a:lnTo>
                    <a:pt x="210" y="987"/>
                  </a:lnTo>
                  <a:lnTo>
                    <a:pt x="210" y="989"/>
                  </a:lnTo>
                  <a:lnTo>
                    <a:pt x="212" y="989"/>
                  </a:lnTo>
                  <a:lnTo>
                    <a:pt x="212" y="987"/>
                  </a:lnTo>
                  <a:lnTo>
                    <a:pt x="214" y="985"/>
                  </a:lnTo>
                  <a:lnTo>
                    <a:pt x="214" y="987"/>
                  </a:lnTo>
                  <a:lnTo>
                    <a:pt x="214" y="985"/>
                  </a:lnTo>
                  <a:lnTo>
                    <a:pt x="215" y="985"/>
                  </a:lnTo>
                  <a:lnTo>
                    <a:pt x="214" y="985"/>
                  </a:lnTo>
                  <a:lnTo>
                    <a:pt x="214" y="983"/>
                  </a:lnTo>
                  <a:lnTo>
                    <a:pt x="214" y="981"/>
                  </a:lnTo>
                  <a:lnTo>
                    <a:pt x="214" y="979"/>
                  </a:lnTo>
                  <a:lnTo>
                    <a:pt x="212" y="977"/>
                  </a:lnTo>
                  <a:lnTo>
                    <a:pt x="212" y="975"/>
                  </a:lnTo>
                  <a:lnTo>
                    <a:pt x="212" y="977"/>
                  </a:lnTo>
                  <a:lnTo>
                    <a:pt x="214" y="977"/>
                  </a:lnTo>
                  <a:lnTo>
                    <a:pt x="214" y="975"/>
                  </a:lnTo>
                  <a:lnTo>
                    <a:pt x="212" y="975"/>
                  </a:lnTo>
                  <a:lnTo>
                    <a:pt x="212" y="973"/>
                  </a:lnTo>
                  <a:lnTo>
                    <a:pt x="210" y="973"/>
                  </a:lnTo>
                  <a:lnTo>
                    <a:pt x="210" y="971"/>
                  </a:lnTo>
                  <a:lnTo>
                    <a:pt x="210" y="969"/>
                  </a:lnTo>
                  <a:lnTo>
                    <a:pt x="208" y="969"/>
                  </a:lnTo>
                  <a:lnTo>
                    <a:pt x="208" y="967"/>
                  </a:lnTo>
                  <a:lnTo>
                    <a:pt x="206" y="967"/>
                  </a:lnTo>
                  <a:lnTo>
                    <a:pt x="206" y="966"/>
                  </a:lnTo>
                  <a:lnTo>
                    <a:pt x="204" y="966"/>
                  </a:lnTo>
                  <a:lnTo>
                    <a:pt x="204" y="964"/>
                  </a:lnTo>
                  <a:lnTo>
                    <a:pt x="202" y="964"/>
                  </a:lnTo>
                  <a:lnTo>
                    <a:pt x="200" y="964"/>
                  </a:lnTo>
                  <a:lnTo>
                    <a:pt x="200" y="962"/>
                  </a:lnTo>
                  <a:lnTo>
                    <a:pt x="198" y="962"/>
                  </a:lnTo>
                  <a:lnTo>
                    <a:pt x="198" y="960"/>
                  </a:lnTo>
                  <a:lnTo>
                    <a:pt x="196" y="960"/>
                  </a:lnTo>
                  <a:lnTo>
                    <a:pt x="194" y="960"/>
                  </a:lnTo>
                  <a:lnTo>
                    <a:pt x="194" y="958"/>
                  </a:lnTo>
                  <a:lnTo>
                    <a:pt x="192" y="958"/>
                  </a:lnTo>
                  <a:lnTo>
                    <a:pt x="190" y="958"/>
                  </a:lnTo>
                  <a:lnTo>
                    <a:pt x="189" y="958"/>
                  </a:lnTo>
                  <a:lnTo>
                    <a:pt x="187" y="958"/>
                  </a:lnTo>
                  <a:lnTo>
                    <a:pt x="185" y="958"/>
                  </a:lnTo>
                  <a:lnTo>
                    <a:pt x="185" y="960"/>
                  </a:lnTo>
                  <a:lnTo>
                    <a:pt x="183" y="960"/>
                  </a:lnTo>
                  <a:lnTo>
                    <a:pt x="183" y="962"/>
                  </a:lnTo>
                  <a:lnTo>
                    <a:pt x="183" y="964"/>
                  </a:lnTo>
                  <a:lnTo>
                    <a:pt x="181" y="964"/>
                  </a:lnTo>
                  <a:lnTo>
                    <a:pt x="179" y="964"/>
                  </a:lnTo>
                  <a:lnTo>
                    <a:pt x="177" y="964"/>
                  </a:lnTo>
                  <a:lnTo>
                    <a:pt x="175" y="964"/>
                  </a:lnTo>
                  <a:lnTo>
                    <a:pt x="175" y="966"/>
                  </a:lnTo>
                  <a:lnTo>
                    <a:pt x="173" y="966"/>
                  </a:lnTo>
                  <a:lnTo>
                    <a:pt x="173" y="967"/>
                  </a:lnTo>
                  <a:lnTo>
                    <a:pt x="171" y="967"/>
                  </a:lnTo>
                  <a:lnTo>
                    <a:pt x="171" y="969"/>
                  </a:lnTo>
                  <a:lnTo>
                    <a:pt x="169" y="969"/>
                  </a:lnTo>
                  <a:lnTo>
                    <a:pt x="169" y="971"/>
                  </a:lnTo>
                  <a:lnTo>
                    <a:pt x="167" y="971"/>
                  </a:lnTo>
                  <a:lnTo>
                    <a:pt x="167" y="973"/>
                  </a:lnTo>
                  <a:lnTo>
                    <a:pt x="166" y="973"/>
                  </a:lnTo>
                  <a:lnTo>
                    <a:pt x="164" y="973"/>
                  </a:lnTo>
                  <a:lnTo>
                    <a:pt x="162" y="973"/>
                  </a:lnTo>
                  <a:lnTo>
                    <a:pt x="160" y="973"/>
                  </a:lnTo>
                  <a:lnTo>
                    <a:pt x="158" y="973"/>
                  </a:lnTo>
                  <a:lnTo>
                    <a:pt x="158" y="975"/>
                  </a:lnTo>
                  <a:lnTo>
                    <a:pt x="156" y="975"/>
                  </a:lnTo>
                  <a:lnTo>
                    <a:pt x="154" y="975"/>
                  </a:lnTo>
                  <a:lnTo>
                    <a:pt x="152" y="977"/>
                  </a:lnTo>
                  <a:lnTo>
                    <a:pt x="150" y="977"/>
                  </a:lnTo>
                  <a:lnTo>
                    <a:pt x="150" y="979"/>
                  </a:lnTo>
                  <a:lnTo>
                    <a:pt x="148" y="979"/>
                  </a:lnTo>
                  <a:lnTo>
                    <a:pt x="146" y="979"/>
                  </a:lnTo>
                  <a:lnTo>
                    <a:pt x="146" y="981"/>
                  </a:lnTo>
                  <a:lnTo>
                    <a:pt x="144" y="981"/>
                  </a:lnTo>
                  <a:lnTo>
                    <a:pt x="142" y="981"/>
                  </a:lnTo>
                  <a:lnTo>
                    <a:pt x="142" y="983"/>
                  </a:lnTo>
                  <a:lnTo>
                    <a:pt x="141" y="983"/>
                  </a:lnTo>
                  <a:lnTo>
                    <a:pt x="139" y="983"/>
                  </a:lnTo>
                  <a:lnTo>
                    <a:pt x="139" y="985"/>
                  </a:lnTo>
                  <a:lnTo>
                    <a:pt x="137" y="985"/>
                  </a:lnTo>
                  <a:lnTo>
                    <a:pt x="137" y="983"/>
                  </a:lnTo>
                  <a:lnTo>
                    <a:pt x="135" y="979"/>
                  </a:lnTo>
                  <a:lnTo>
                    <a:pt x="135" y="977"/>
                  </a:lnTo>
                  <a:lnTo>
                    <a:pt x="133" y="975"/>
                  </a:lnTo>
                  <a:lnTo>
                    <a:pt x="131" y="973"/>
                  </a:lnTo>
                  <a:lnTo>
                    <a:pt x="131" y="971"/>
                  </a:lnTo>
                  <a:lnTo>
                    <a:pt x="129" y="969"/>
                  </a:lnTo>
                  <a:lnTo>
                    <a:pt x="127" y="966"/>
                  </a:lnTo>
                  <a:lnTo>
                    <a:pt x="129" y="964"/>
                  </a:lnTo>
                  <a:lnTo>
                    <a:pt x="131" y="962"/>
                  </a:lnTo>
                  <a:lnTo>
                    <a:pt x="133" y="960"/>
                  </a:lnTo>
                  <a:lnTo>
                    <a:pt x="135" y="960"/>
                  </a:lnTo>
                  <a:lnTo>
                    <a:pt x="137" y="956"/>
                  </a:lnTo>
                  <a:lnTo>
                    <a:pt x="139" y="956"/>
                  </a:lnTo>
                  <a:lnTo>
                    <a:pt x="142" y="952"/>
                  </a:lnTo>
                  <a:lnTo>
                    <a:pt x="144" y="952"/>
                  </a:lnTo>
                  <a:lnTo>
                    <a:pt x="146" y="948"/>
                  </a:lnTo>
                  <a:lnTo>
                    <a:pt x="148" y="950"/>
                  </a:lnTo>
                  <a:lnTo>
                    <a:pt x="150" y="952"/>
                  </a:lnTo>
                  <a:lnTo>
                    <a:pt x="154" y="950"/>
                  </a:lnTo>
                  <a:lnTo>
                    <a:pt x="156" y="948"/>
                  </a:lnTo>
                  <a:lnTo>
                    <a:pt x="158" y="946"/>
                  </a:lnTo>
                  <a:lnTo>
                    <a:pt x="160" y="944"/>
                  </a:lnTo>
                  <a:lnTo>
                    <a:pt x="162" y="944"/>
                  </a:lnTo>
                  <a:lnTo>
                    <a:pt x="160" y="943"/>
                  </a:lnTo>
                  <a:lnTo>
                    <a:pt x="156" y="941"/>
                  </a:lnTo>
                  <a:lnTo>
                    <a:pt x="154" y="939"/>
                  </a:lnTo>
                  <a:lnTo>
                    <a:pt x="152" y="937"/>
                  </a:lnTo>
                  <a:lnTo>
                    <a:pt x="150" y="935"/>
                  </a:lnTo>
                  <a:lnTo>
                    <a:pt x="148" y="933"/>
                  </a:lnTo>
                  <a:lnTo>
                    <a:pt x="146" y="933"/>
                  </a:lnTo>
                  <a:lnTo>
                    <a:pt x="146" y="931"/>
                  </a:lnTo>
                  <a:lnTo>
                    <a:pt x="148" y="929"/>
                  </a:lnTo>
                  <a:lnTo>
                    <a:pt x="150" y="927"/>
                  </a:lnTo>
                  <a:lnTo>
                    <a:pt x="154" y="923"/>
                  </a:lnTo>
                  <a:lnTo>
                    <a:pt x="156" y="921"/>
                  </a:lnTo>
                  <a:lnTo>
                    <a:pt x="158" y="919"/>
                  </a:lnTo>
                  <a:lnTo>
                    <a:pt x="156" y="919"/>
                  </a:lnTo>
                  <a:lnTo>
                    <a:pt x="156" y="918"/>
                  </a:lnTo>
                  <a:lnTo>
                    <a:pt x="154" y="916"/>
                  </a:lnTo>
                  <a:lnTo>
                    <a:pt x="150" y="912"/>
                  </a:lnTo>
                  <a:lnTo>
                    <a:pt x="150" y="910"/>
                  </a:lnTo>
                  <a:lnTo>
                    <a:pt x="150" y="912"/>
                  </a:lnTo>
                  <a:lnTo>
                    <a:pt x="146" y="914"/>
                  </a:lnTo>
                  <a:lnTo>
                    <a:pt x="144" y="916"/>
                  </a:lnTo>
                  <a:lnTo>
                    <a:pt x="142" y="914"/>
                  </a:lnTo>
                  <a:lnTo>
                    <a:pt x="141" y="914"/>
                  </a:lnTo>
                  <a:lnTo>
                    <a:pt x="137" y="912"/>
                  </a:lnTo>
                  <a:lnTo>
                    <a:pt x="135" y="910"/>
                  </a:lnTo>
                  <a:lnTo>
                    <a:pt x="133" y="910"/>
                  </a:lnTo>
                  <a:lnTo>
                    <a:pt x="129" y="906"/>
                  </a:lnTo>
                  <a:lnTo>
                    <a:pt x="127" y="906"/>
                  </a:lnTo>
                  <a:lnTo>
                    <a:pt x="125" y="906"/>
                  </a:lnTo>
                  <a:lnTo>
                    <a:pt x="125" y="904"/>
                  </a:lnTo>
                  <a:lnTo>
                    <a:pt x="123" y="904"/>
                  </a:lnTo>
                  <a:lnTo>
                    <a:pt x="121" y="904"/>
                  </a:lnTo>
                  <a:lnTo>
                    <a:pt x="119" y="902"/>
                  </a:lnTo>
                  <a:lnTo>
                    <a:pt x="118" y="902"/>
                  </a:lnTo>
                  <a:lnTo>
                    <a:pt x="118" y="900"/>
                  </a:lnTo>
                  <a:lnTo>
                    <a:pt x="119" y="900"/>
                  </a:lnTo>
                  <a:lnTo>
                    <a:pt x="121" y="900"/>
                  </a:lnTo>
                  <a:lnTo>
                    <a:pt x="123" y="900"/>
                  </a:lnTo>
                  <a:lnTo>
                    <a:pt x="125" y="900"/>
                  </a:lnTo>
                  <a:lnTo>
                    <a:pt x="125" y="898"/>
                  </a:lnTo>
                  <a:lnTo>
                    <a:pt x="125" y="896"/>
                  </a:lnTo>
                  <a:lnTo>
                    <a:pt x="125" y="895"/>
                  </a:lnTo>
                  <a:lnTo>
                    <a:pt x="125" y="893"/>
                  </a:lnTo>
                  <a:lnTo>
                    <a:pt x="125" y="895"/>
                  </a:lnTo>
                  <a:lnTo>
                    <a:pt x="123" y="895"/>
                  </a:lnTo>
                  <a:lnTo>
                    <a:pt x="123" y="893"/>
                  </a:lnTo>
                  <a:lnTo>
                    <a:pt x="123" y="891"/>
                  </a:lnTo>
                  <a:lnTo>
                    <a:pt x="125" y="891"/>
                  </a:lnTo>
                  <a:lnTo>
                    <a:pt x="125" y="889"/>
                  </a:lnTo>
                  <a:lnTo>
                    <a:pt x="125" y="887"/>
                  </a:lnTo>
                  <a:lnTo>
                    <a:pt x="123" y="887"/>
                  </a:lnTo>
                  <a:lnTo>
                    <a:pt x="121" y="887"/>
                  </a:lnTo>
                  <a:lnTo>
                    <a:pt x="121" y="885"/>
                  </a:lnTo>
                  <a:lnTo>
                    <a:pt x="123" y="885"/>
                  </a:lnTo>
                  <a:lnTo>
                    <a:pt x="123" y="883"/>
                  </a:lnTo>
                  <a:lnTo>
                    <a:pt x="123" y="881"/>
                  </a:lnTo>
                  <a:lnTo>
                    <a:pt x="121" y="881"/>
                  </a:lnTo>
                  <a:lnTo>
                    <a:pt x="121" y="883"/>
                  </a:lnTo>
                  <a:lnTo>
                    <a:pt x="119" y="883"/>
                  </a:lnTo>
                  <a:lnTo>
                    <a:pt x="118" y="883"/>
                  </a:lnTo>
                  <a:lnTo>
                    <a:pt x="118" y="881"/>
                  </a:lnTo>
                  <a:lnTo>
                    <a:pt x="116" y="881"/>
                  </a:lnTo>
                  <a:lnTo>
                    <a:pt x="118" y="881"/>
                  </a:lnTo>
                  <a:lnTo>
                    <a:pt x="116" y="881"/>
                  </a:lnTo>
                  <a:lnTo>
                    <a:pt x="116" y="879"/>
                  </a:lnTo>
                  <a:lnTo>
                    <a:pt x="114" y="879"/>
                  </a:lnTo>
                  <a:lnTo>
                    <a:pt x="114" y="877"/>
                  </a:lnTo>
                  <a:lnTo>
                    <a:pt x="116" y="877"/>
                  </a:lnTo>
                  <a:lnTo>
                    <a:pt x="116" y="875"/>
                  </a:lnTo>
                  <a:lnTo>
                    <a:pt x="114" y="875"/>
                  </a:lnTo>
                  <a:lnTo>
                    <a:pt x="112" y="873"/>
                  </a:lnTo>
                  <a:lnTo>
                    <a:pt x="112" y="871"/>
                  </a:lnTo>
                  <a:lnTo>
                    <a:pt x="110" y="871"/>
                  </a:lnTo>
                  <a:lnTo>
                    <a:pt x="110" y="870"/>
                  </a:lnTo>
                  <a:lnTo>
                    <a:pt x="108" y="870"/>
                  </a:lnTo>
                  <a:lnTo>
                    <a:pt x="108" y="868"/>
                  </a:lnTo>
                  <a:lnTo>
                    <a:pt x="106" y="868"/>
                  </a:lnTo>
                  <a:lnTo>
                    <a:pt x="104" y="868"/>
                  </a:lnTo>
                  <a:lnTo>
                    <a:pt x="104" y="866"/>
                  </a:lnTo>
                  <a:lnTo>
                    <a:pt x="102" y="866"/>
                  </a:lnTo>
                  <a:lnTo>
                    <a:pt x="102" y="868"/>
                  </a:lnTo>
                  <a:lnTo>
                    <a:pt x="100" y="868"/>
                  </a:lnTo>
                  <a:lnTo>
                    <a:pt x="100" y="866"/>
                  </a:lnTo>
                  <a:lnTo>
                    <a:pt x="100" y="864"/>
                  </a:lnTo>
                  <a:lnTo>
                    <a:pt x="100" y="862"/>
                  </a:lnTo>
                  <a:lnTo>
                    <a:pt x="98" y="862"/>
                  </a:lnTo>
                  <a:lnTo>
                    <a:pt x="98" y="864"/>
                  </a:lnTo>
                  <a:lnTo>
                    <a:pt x="98" y="866"/>
                  </a:lnTo>
                  <a:lnTo>
                    <a:pt x="98" y="864"/>
                  </a:lnTo>
                  <a:lnTo>
                    <a:pt x="96" y="864"/>
                  </a:lnTo>
                  <a:lnTo>
                    <a:pt x="96" y="866"/>
                  </a:lnTo>
                  <a:lnTo>
                    <a:pt x="96" y="864"/>
                  </a:lnTo>
                  <a:lnTo>
                    <a:pt x="94" y="864"/>
                  </a:lnTo>
                  <a:lnTo>
                    <a:pt x="96" y="864"/>
                  </a:lnTo>
                  <a:lnTo>
                    <a:pt x="94" y="864"/>
                  </a:lnTo>
                  <a:lnTo>
                    <a:pt x="94" y="862"/>
                  </a:lnTo>
                  <a:lnTo>
                    <a:pt x="93" y="862"/>
                  </a:lnTo>
                  <a:lnTo>
                    <a:pt x="91" y="862"/>
                  </a:lnTo>
                  <a:lnTo>
                    <a:pt x="91" y="860"/>
                  </a:lnTo>
                  <a:lnTo>
                    <a:pt x="89" y="860"/>
                  </a:lnTo>
                  <a:lnTo>
                    <a:pt x="87" y="860"/>
                  </a:lnTo>
                  <a:lnTo>
                    <a:pt x="87" y="858"/>
                  </a:lnTo>
                  <a:lnTo>
                    <a:pt x="87" y="856"/>
                  </a:lnTo>
                  <a:lnTo>
                    <a:pt x="85" y="856"/>
                  </a:lnTo>
                  <a:lnTo>
                    <a:pt x="83" y="856"/>
                  </a:lnTo>
                  <a:lnTo>
                    <a:pt x="83" y="854"/>
                  </a:lnTo>
                  <a:lnTo>
                    <a:pt x="83" y="852"/>
                  </a:lnTo>
                  <a:lnTo>
                    <a:pt x="81" y="852"/>
                  </a:lnTo>
                  <a:lnTo>
                    <a:pt x="81" y="850"/>
                  </a:lnTo>
                  <a:lnTo>
                    <a:pt x="83" y="850"/>
                  </a:lnTo>
                  <a:lnTo>
                    <a:pt x="81" y="850"/>
                  </a:lnTo>
                  <a:lnTo>
                    <a:pt x="83" y="850"/>
                  </a:lnTo>
                  <a:lnTo>
                    <a:pt x="85" y="850"/>
                  </a:lnTo>
                  <a:lnTo>
                    <a:pt x="89" y="850"/>
                  </a:lnTo>
                  <a:lnTo>
                    <a:pt x="91" y="850"/>
                  </a:lnTo>
                  <a:lnTo>
                    <a:pt x="91" y="848"/>
                  </a:lnTo>
                  <a:lnTo>
                    <a:pt x="89" y="848"/>
                  </a:lnTo>
                  <a:lnTo>
                    <a:pt x="94" y="848"/>
                  </a:lnTo>
                  <a:lnTo>
                    <a:pt x="96" y="848"/>
                  </a:lnTo>
                  <a:lnTo>
                    <a:pt x="104" y="848"/>
                  </a:lnTo>
                  <a:lnTo>
                    <a:pt x="104" y="850"/>
                  </a:lnTo>
                  <a:lnTo>
                    <a:pt x="112" y="850"/>
                  </a:lnTo>
                  <a:lnTo>
                    <a:pt x="112" y="848"/>
                  </a:lnTo>
                  <a:lnTo>
                    <a:pt x="112" y="847"/>
                  </a:lnTo>
                  <a:lnTo>
                    <a:pt x="112" y="845"/>
                  </a:lnTo>
                  <a:lnTo>
                    <a:pt x="112" y="843"/>
                  </a:lnTo>
                  <a:lnTo>
                    <a:pt x="112" y="841"/>
                  </a:lnTo>
                  <a:lnTo>
                    <a:pt x="110" y="841"/>
                  </a:lnTo>
                  <a:lnTo>
                    <a:pt x="110" y="839"/>
                  </a:lnTo>
                  <a:lnTo>
                    <a:pt x="108" y="839"/>
                  </a:lnTo>
                  <a:lnTo>
                    <a:pt x="108" y="837"/>
                  </a:lnTo>
                  <a:lnTo>
                    <a:pt x="108" y="833"/>
                  </a:lnTo>
                  <a:lnTo>
                    <a:pt x="108" y="827"/>
                  </a:lnTo>
                  <a:lnTo>
                    <a:pt x="106" y="825"/>
                  </a:lnTo>
                  <a:lnTo>
                    <a:pt x="106" y="823"/>
                  </a:lnTo>
                  <a:lnTo>
                    <a:pt x="106" y="820"/>
                  </a:lnTo>
                  <a:lnTo>
                    <a:pt x="106" y="818"/>
                  </a:lnTo>
                  <a:lnTo>
                    <a:pt x="106" y="814"/>
                  </a:lnTo>
                  <a:lnTo>
                    <a:pt x="106" y="812"/>
                  </a:lnTo>
                  <a:lnTo>
                    <a:pt x="106" y="810"/>
                  </a:lnTo>
                  <a:lnTo>
                    <a:pt x="104" y="806"/>
                  </a:lnTo>
                  <a:lnTo>
                    <a:pt x="104" y="804"/>
                  </a:lnTo>
                  <a:lnTo>
                    <a:pt x="104" y="800"/>
                  </a:lnTo>
                  <a:lnTo>
                    <a:pt x="108" y="800"/>
                  </a:lnTo>
                  <a:lnTo>
                    <a:pt x="110" y="804"/>
                  </a:lnTo>
                  <a:lnTo>
                    <a:pt x="112" y="804"/>
                  </a:lnTo>
                  <a:lnTo>
                    <a:pt x="114" y="804"/>
                  </a:lnTo>
                  <a:lnTo>
                    <a:pt x="116" y="804"/>
                  </a:lnTo>
                  <a:lnTo>
                    <a:pt x="119" y="804"/>
                  </a:lnTo>
                  <a:lnTo>
                    <a:pt x="123" y="804"/>
                  </a:lnTo>
                  <a:lnTo>
                    <a:pt x="123" y="802"/>
                  </a:lnTo>
                  <a:lnTo>
                    <a:pt x="127" y="802"/>
                  </a:lnTo>
                  <a:lnTo>
                    <a:pt x="131" y="802"/>
                  </a:lnTo>
                  <a:lnTo>
                    <a:pt x="133" y="802"/>
                  </a:lnTo>
                  <a:lnTo>
                    <a:pt x="133" y="804"/>
                  </a:lnTo>
                  <a:lnTo>
                    <a:pt x="133" y="806"/>
                  </a:lnTo>
                  <a:lnTo>
                    <a:pt x="135" y="806"/>
                  </a:lnTo>
                  <a:lnTo>
                    <a:pt x="133" y="806"/>
                  </a:lnTo>
                  <a:lnTo>
                    <a:pt x="135" y="806"/>
                  </a:lnTo>
                  <a:lnTo>
                    <a:pt x="135" y="808"/>
                  </a:lnTo>
                  <a:lnTo>
                    <a:pt x="135" y="810"/>
                  </a:lnTo>
                  <a:lnTo>
                    <a:pt x="141" y="806"/>
                  </a:lnTo>
                  <a:lnTo>
                    <a:pt x="142" y="806"/>
                  </a:lnTo>
                  <a:lnTo>
                    <a:pt x="148" y="802"/>
                  </a:lnTo>
                  <a:lnTo>
                    <a:pt x="146" y="802"/>
                  </a:lnTo>
                  <a:lnTo>
                    <a:pt x="148" y="800"/>
                  </a:lnTo>
                  <a:lnTo>
                    <a:pt x="152" y="799"/>
                  </a:lnTo>
                  <a:lnTo>
                    <a:pt x="150" y="797"/>
                  </a:lnTo>
                  <a:lnTo>
                    <a:pt x="154" y="795"/>
                  </a:lnTo>
                  <a:lnTo>
                    <a:pt x="156" y="795"/>
                  </a:lnTo>
                  <a:lnTo>
                    <a:pt x="160" y="793"/>
                  </a:lnTo>
                  <a:lnTo>
                    <a:pt x="158" y="789"/>
                  </a:lnTo>
                  <a:lnTo>
                    <a:pt x="158" y="785"/>
                  </a:lnTo>
                  <a:lnTo>
                    <a:pt x="156" y="781"/>
                  </a:lnTo>
                  <a:lnTo>
                    <a:pt x="156" y="777"/>
                  </a:lnTo>
                  <a:lnTo>
                    <a:pt x="160" y="777"/>
                  </a:lnTo>
                  <a:lnTo>
                    <a:pt x="162" y="777"/>
                  </a:lnTo>
                  <a:lnTo>
                    <a:pt x="164" y="775"/>
                  </a:lnTo>
                  <a:lnTo>
                    <a:pt x="166" y="775"/>
                  </a:lnTo>
                  <a:lnTo>
                    <a:pt x="166" y="777"/>
                  </a:lnTo>
                  <a:lnTo>
                    <a:pt x="167" y="779"/>
                  </a:lnTo>
                  <a:lnTo>
                    <a:pt x="167" y="781"/>
                  </a:lnTo>
                  <a:lnTo>
                    <a:pt x="167" y="783"/>
                  </a:lnTo>
                  <a:lnTo>
                    <a:pt x="169" y="789"/>
                  </a:lnTo>
                  <a:lnTo>
                    <a:pt x="171" y="793"/>
                  </a:lnTo>
                  <a:lnTo>
                    <a:pt x="173" y="791"/>
                  </a:lnTo>
                  <a:lnTo>
                    <a:pt x="177" y="789"/>
                  </a:lnTo>
                  <a:lnTo>
                    <a:pt x="183" y="787"/>
                  </a:lnTo>
                  <a:lnTo>
                    <a:pt x="183" y="785"/>
                  </a:lnTo>
                  <a:lnTo>
                    <a:pt x="181" y="783"/>
                  </a:lnTo>
                  <a:lnTo>
                    <a:pt x="181" y="779"/>
                  </a:lnTo>
                  <a:lnTo>
                    <a:pt x="183" y="774"/>
                  </a:lnTo>
                  <a:lnTo>
                    <a:pt x="183" y="772"/>
                  </a:lnTo>
                  <a:lnTo>
                    <a:pt x="185" y="770"/>
                  </a:lnTo>
                  <a:lnTo>
                    <a:pt x="185" y="768"/>
                  </a:lnTo>
                  <a:lnTo>
                    <a:pt x="187" y="764"/>
                  </a:lnTo>
                  <a:lnTo>
                    <a:pt x="187" y="762"/>
                  </a:lnTo>
                  <a:lnTo>
                    <a:pt x="189" y="762"/>
                  </a:lnTo>
                  <a:lnTo>
                    <a:pt x="190" y="758"/>
                  </a:lnTo>
                  <a:lnTo>
                    <a:pt x="190" y="756"/>
                  </a:lnTo>
                  <a:lnTo>
                    <a:pt x="190" y="754"/>
                  </a:lnTo>
                  <a:lnTo>
                    <a:pt x="192" y="752"/>
                  </a:lnTo>
                  <a:lnTo>
                    <a:pt x="194" y="751"/>
                  </a:lnTo>
                  <a:lnTo>
                    <a:pt x="194" y="749"/>
                  </a:lnTo>
                  <a:lnTo>
                    <a:pt x="196" y="747"/>
                  </a:lnTo>
                  <a:lnTo>
                    <a:pt x="194" y="745"/>
                  </a:lnTo>
                  <a:lnTo>
                    <a:pt x="194" y="743"/>
                  </a:lnTo>
                  <a:lnTo>
                    <a:pt x="196" y="741"/>
                  </a:lnTo>
                  <a:lnTo>
                    <a:pt x="196" y="739"/>
                  </a:lnTo>
                  <a:lnTo>
                    <a:pt x="189" y="739"/>
                  </a:lnTo>
                  <a:lnTo>
                    <a:pt x="187" y="739"/>
                  </a:lnTo>
                  <a:lnTo>
                    <a:pt x="187" y="741"/>
                  </a:lnTo>
                  <a:lnTo>
                    <a:pt x="185" y="741"/>
                  </a:lnTo>
                  <a:lnTo>
                    <a:pt x="185" y="739"/>
                  </a:lnTo>
                  <a:lnTo>
                    <a:pt x="183" y="739"/>
                  </a:lnTo>
                  <a:lnTo>
                    <a:pt x="181" y="739"/>
                  </a:lnTo>
                  <a:lnTo>
                    <a:pt x="179" y="739"/>
                  </a:lnTo>
                  <a:lnTo>
                    <a:pt x="181" y="737"/>
                  </a:lnTo>
                  <a:lnTo>
                    <a:pt x="183" y="735"/>
                  </a:lnTo>
                  <a:lnTo>
                    <a:pt x="181" y="735"/>
                  </a:lnTo>
                  <a:lnTo>
                    <a:pt x="179" y="735"/>
                  </a:lnTo>
                  <a:lnTo>
                    <a:pt x="177" y="733"/>
                  </a:lnTo>
                  <a:lnTo>
                    <a:pt x="175" y="737"/>
                  </a:lnTo>
                  <a:lnTo>
                    <a:pt x="171" y="743"/>
                  </a:lnTo>
                  <a:lnTo>
                    <a:pt x="171" y="745"/>
                  </a:lnTo>
                  <a:lnTo>
                    <a:pt x="169" y="745"/>
                  </a:lnTo>
                  <a:lnTo>
                    <a:pt x="167" y="743"/>
                  </a:lnTo>
                  <a:lnTo>
                    <a:pt x="164" y="739"/>
                  </a:lnTo>
                  <a:lnTo>
                    <a:pt x="162" y="739"/>
                  </a:lnTo>
                  <a:lnTo>
                    <a:pt x="160" y="737"/>
                  </a:lnTo>
                  <a:lnTo>
                    <a:pt x="154" y="729"/>
                  </a:lnTo>
                  <a:lnTo>
                    <a:pt x="150" y="727"/>
                  </a:lnTo>
                  <a:lnTo>
                    <a:pt x="148" y="729"/>
                  </a:lnTo>
                  <a:lnTo>
                    <a:pt x="148" y="727"/>
                  </a:lnTo>
                  <a:lnTo>
                    <a:pt x="146" y="727"/>
                  </a:lnTo>
                  <a:lnTo>
                    <a:pt x="146" y="726"/>
                  </a:lnTo>
                  <a:lnTo>
                    <a:pt x="142" y="720"/>
                  </a:lnTo>
                  <a:lnTo>
                    <a:pt x="141" y="718"/>
                  </a:lnTo>
                  <a:lnTo>
                    <a:pt x="139" y="712"/>
                  </a:lnTo>
                  <a:lnTo>
                    <a:pt x="137" y="710"/>
                  </a:lnTo>
                  <a:lnTo>
                    <a:pt x="137" y="708"/>
                  </a:lnTo>
                  <a:lnTo>
                    <a:pt x="135" y="706"/>
                  </a:lnTo>
                  <a:lnTo>
                    <a:pt x="135" y="704"/>
                  </a:lnTo>
                  <a:lnTo>
                    <a:pt x="133" y="703"/>
                  </a:lnTo>
                  <a:lnTo>
                    <a:pt x="131" y="704"/>
                  </a:lnTo>
                  <a:lnTo>
                    <a:pt x="127" y="708"/>
                  </a:lnTo>
                  <a:lnTo>
                    <a:pt x="123" y="704"/>
                  </a:lnTo>
                  <a:lnTo>
                    <a:pt x="123" y="703"/>
                  </a:lnTo>
                  <a:lnTo>
                    <a:pt x="121" y="699"/>
                  </a:lnTo>
                  <a:lnTo>
                    <a:pt x="118" y="703"/>
                  </a:lnTo>
                  <a:lnTo>
                    <a:pt x="112" y="693"/>
                  </a:lnTo>
                  <a:lnTo>
                    <a:pt x="106" y="697"/>
                  </a:lnTo>
                  <a:lnTo>
                    <a:pt x="102" y="701"/>
                  </a:lnTo>
                  <a:lnTo>
                    <a:pt x="100" y="703"/>
                  </a:lnTo>
                  <a:lnTo>
                    <a:pt x="96" y="704"/>
                  </a:lnTo>
                  <a:lnTo>
                    <a:pt x="94" y="703"/>
                  </a:lnTo>
                  <a:lnTo>
                    <a:pt x="93" y="699"/>
                  </a:lnTo>
                  <a:lnTo>
                    <a:pt x="93" y="697"/>
                  </a:lnTo>
                  <a:lnTo>
                    <a:pt x="91" y="693"/>
                  </a:lnTo>
                  <a:lnTo>
                    <a:pt x="89" y="691"/>
                  </a:lnTo>
                  <a:lnTo>
                    <a:pt x="89" y="689"/>
                  </a:lnTo>
                  <a:lnTo>
                    <a:pt x="87" y="687"/>
                  </a:lnTo>
                  <a:lnTo>
                    <a:pt x="87" y="685"/>
                  </a:lnTo>
                  <a:lnTo>
                    <a:pt x="85" y="683"/>
                  </a:lnTo>
                  <a:lnTo>
                    <a:pt x="85" y="681"/>
                  </a:lnTo>
                  <a:lnTo>
                    <a:pt x="83" y="679"/>
                  </a:lnTo>
                  <a:lnTo>
                    <a:pt x="83" y="678"/>
                  </a:lnTo>
                  <a:lnTo>
                    <a:pt x="81" y="676"/>
                  </a:lnTo>
                  <a:lnTo>
                    <a:pt x="79" y="674"/>
                  </a:lnTo>
                  <a:lnTo>
                    <a:pt x="79" y="672"/>
                  </a:lnTo>
                  <a:lnTo>
                    <a:pt x="77" y="672"/>
                  </a:lnTo>
                  <a:lnTo>
                    <a:pt x="75" y="674"/>
                  </a:lnTo>
                  <a:lnTo>
                    <a:pt x="73" y="674"/>
                  </a:lnTo>
                  <a:lnTo>
                    <a:pt x="71" y="676"/>
                  </a:lnTo>
                  <a:lnTo>
                    <a:pt x="70" y="676"/>
                  </a:lnTo>
                  <a:lnTo>
                    <a:pt x="68" y="678"/>
                  </a:lnTo>
                  <a:lnTo>
                    <a:pt x="64" y="679"/>
                  </a:lnTo>
                  <a:lnTo>
                    <a:pt x="62" y="679"/>
                  </a:lnTo>
                  <a:lnTo>
                    <a:pt x="60" y="681"/>
                  </a:lnTo>
                  <a:lnTo>
                    <a:pt x="60" y="679"/>
                  </a:lnTo>
                  <a:lnTo>
                    <a:pt x="60" y="678"/>
                  </a:lnTo>
                  <a:lnTo>
                    <a:pt x="58" y="678"/>
                  </a:lnTo>
                  <a:lnTo>
                    <a:pt x="56" y="678"/>
                  </a:lnTo>
                  <a:lnTo>
                    <a:pt x="56" y="676"/>
                  </a:lnTo>
                  <a:lnTo>
                    <a:pt x="56" y="672"/>
                  </a:lnTo>
                  <a:lnTo>
                    <a:pt x="58" y="672"/>
                  </a:lnTo>
                  <a:lnTo>
                    <a:pt x="60" y="672"/>
                  </a:lnTo>
                  <a:lnTo>
                    <a:pt x="62" y="672"/>
                  </a:lnTo>
                  <a:lnTo>
                    <a:pt x="62" y="670"/>
                  </a:lnTo>
                  <a:lnTo>
                    <a:pt x="60" y="668"/>
                  </a:lnTo>
                  <a:lnTo>
                    <a:pt x="62" y="668"/>
                  </a:lnTo>
                  <a:lnTo>
                    <a:pt x="62" y="666"/>
                  </a:lnTo>
                  <a:lnTo>
                    <a:pt x="60" y="666"/>
                  </a:lnTo>
                  <a:lnTo>
                    <a:pt x="54" y="668"/>
                  </a:lnTo>
                  <a:lnTo>
                    <a:pt x="50" y="668"/>
                  </a:lnTo>
                  <a:lnTo>
                    <a:pt x="48" y="666"/>
                  </a:lnTo>
                  <a:lnTo>
                    <a:pt x="48" y="664"/>
                  </a:lnTo>
                  <a:lnTo>
                    <a:pt x="48" y="662"/>
                  </a:lnTo>
                  <a:lnTo>
                    <a:pt x="48" y="658"/>
                  </a:lnTo>
                  <a:lnTo>
                    <a:pt x="48" y="656"/>
                  </a:lnTo>
                  <a:lnTo>
                    <a:pt x="52" y="655"/>
                  </a:lnTo>
                  <a:lnTo>
                    <a:pt x="58" y="655"/>
                  </a:lnTo>
                  <a:lnTo>
                    <a:pt x="58" y="653"/>
                  </a:lnTo>
                  <a:lnTo>
                    <a:pt x="60" y="653"/>
                  </a:lnTo>
                  <a:lnTo>
                    <a:pt x="62" y="653"/>
                  </a:lnTo>
                  <a:lnTo>
                    <a:pt x="64" y="655"/>
                  </a:lnTo>
                  <a:lnTo>
                    <a:pt x="64" y="653"/>
                  </a:lnTo>
                  <a:lnTo>
                    <a:pt x="66" y="653"/>
                  </a:lnTo>
                  <a:lnTo>
                    <a:pt x="66" y="651"/>
                  </a:lnTo>
                  <a:lnTo>
                    <a:pt x="66" y="653"/>
                  </a:lnTo>
                  <a:lnTo>
                    <a:pt x="66" y="651"/>
                  </a:lnTo>
                  <a:lnTo>
                    <a:pt x="68" y="651"/>
                  </a:lnTo>
                  <a:lnTo>
                    <a:pt x="66" y="651"/>
                  </a:lnTo>
                  <a:lnTo>
                    <a:pt x="66" y="649"/>
                  </a:lnTo>
                  <a:lnTo>
                    <a:pt x="68" y="647"/>
                  </a:lnTo>
                  <a:lnTo>
                    <a:pt x="70" y="647"/>
                  </a:lnTo>
                  <a:lnTo>
                    <a:pt x="70" y="645"/>
                  </a:lnTo>
                  <a:lnTo>
                    <a:pt x="68" y="645"/>
                  </a:lnTo>
                  <a:lnTo>
                    <a:pt x="68" y="647"/>
                  </a:lnTo>
                  <a:lnTo>
                    <a:pt x="66" y="647"/>
                  </a:lnTo>
                  <a:lnTo>
                    <a:pt x="64" y="647"/>
                  </a:lnTo>
                  <a:lnTo>
                    <a:pt x="60" y="647"/>
                  </a:lnTo>
                  <a:lnTo>
                    <a:pt x="56" y="647"/>
                  </a:lnTo>
                  <a:lnTo>
                    <a:pt x="54" y="647"/>
                  </a:lnTo>
                  <a:lnTo>
                    <a:pt x="52" y="647"/>
                  </a:lnTo>
                  <a:lnTo>
                    <a:pt x="50" y="647"/>
                  </a:lnTo>
                  <a:lnTo>
                    <a:pt x="46" y="647"/>
                  </a:lnTo>
                  <a:lnTo>
                    <a:pt x="46" y="643"/>
                  </a:lnTo>
                  <a:lnTo>
                    <a:pt x="46" y="641"/>
                  </a:lnTo>
                  <a:lnTo>
                    <a:pt x="46" y="639"/>
                  </a:lnTo>
                  <a:lnTo>
                    <a:pt x="45" y="635"/>
                  </a:lnTo>
                  <a:lnTo>
                    <a:pt x="45" y="633"/>
                  </a:lnTo>
                  <a:lnTo>
                    <a:pt x="45" y="630"/>
                  </a:lnTo>
                  <a:lnTo>
                    <a:pt x="45" y="626"/>
                  </a:lnTo>
                  <a:lnTo>
                    <a:pt x="41" y="626"/>
                  </a:lnTo>
                  <a:lnTo>
                    <a:pt x="39" y="626"/>
                  </a:lnTo>
                  <a:lnTo>
                    <a:pt x="39" y="622"/>
                  </a:lnTo>
                  <a:lnTo>
                    <a:pt x="39" y="620"/>
                  </a:lnTo>
                  <a:lnTo>
                    <a:pt x="39" y="618"/>
                  </a:lnTo>
                  <a:lnTo>
                    <a:pt x="39" y="616"/>
                  </a:lnTo>
                  <a:lnTo>
                    <a:pt x="39" y="614"/>
                  </a:lnTo>
                  <a:lnTo>
                    <a:pt x="39" y="612"/>
                  </a:lnTo>
                  <a:lnTo>
                    <a:pt x="37" y="608"/>
                  </a:lnTo>
                  <a:lnTo>
                    <a:pt x="37" y="607"/>
                  </a:lnTo>
                  <a:lnTo>
                    <a:pt x="37" y="605"/>
                  </a:lnTo>
                  <a:lnTo>
                    <a:pt x="37" y="601"/>
                  </a:lnTo>
                  <a:lnTo>
                    <a:pt x="37" y="599"/>
                  </a:lnTo>
                  <a:lnTo>
                    <a:pt x="35" y="599"/>
                  </a:lnTo>
                  <a:lnTo>
                    <a:pt x="31" y="599"/>
                  </a:lnTo>
                  <a:lnTo>
                    <a:pt x="25" y="601"/>
                  </a:lnTo>
                  <a:lnTo>
                    <a:pt x="23" y="601"/>
                  </a:lnTo>
                  <a:lnTo>
                    <a:pt x="18" y="603"/>
                  </a:lnTo>
                  <a:lnTo>
                    <a:pt x="16" y="603"/>
                  </a:lnTo>
                  <a:lnTo>
                    <a:pt x="14" y="603"/>
                  </a:lnTo>
                  <a:lnTo>
                    <a:pt x="12" y="601"/>
                  </a:lnTo>
                  <a:lnTo>
                    <a:pt x="12" y="597"/>
                  </a:lnTo>
                  <a:lnTo>
                    <a:pt x="12" y="595"/>
                  </a:lnTo>
                  <a:lnTo>
                    <a:pt x="14" y="591"/>
                  </a:lnTo>
                  <a:lnTo>
                    <a:pt x="14" y="589"/>
                  </a:lnTo>
                  <a:lnTo>
                    <a:pt x="16" y="589"/>
                  </a:lnTo>
                  <a:lnTo>
                    <a:pt x="16" y="587"/>
                  </a:lnTo>
                  <a:lnTo>
                    <a:pt x="18" y="585"/>
                  </a:lnTo>
                  <a:lnTo>
                    <a:pt x="18" y="582"/>
                  </a:lnTo>
                  <a:lnTo>
                    <a:pt x="20" y="580"/>
                  </a:lnTo>
                  <a:lnTo>
                    <a:pt x="20" y="578"/>
                  </a:lnTo>
                  <a:lnTo>
                    <a:pt x="18" y="574"/>
                  </a:lnTo>
                  <a:lnTo>
                    <a:pt x="16" y="576"/>
                  </a:lnTo>
                  <a:lnTo>
                    <a:pt x="14" y="576"/>
                  </a:lnTo>
                  <a:lnTo>
                    <a:pt x="12" y="576"/>
                  </a:lnTo>
                  <a:lnTo>
                    <a:pt x="12" y="574"/>
                  </a:lnTo>
                  <a:lnTo>
                    <a:pt x="12" y="570"/>
                  </a:lnTo>
                  <a:lnTo>
                    <a:pt x="12" y="568"/>
                  </a:lnTo>
                  <a:lnTo>
                    <a:pt x="12" y="566"/>
                  </a:lnTo>
                  <a:lnTo>
                    <a:pt x="10" y="562"/>
                  </a:lnTo>
                  <a:lnTo>
                    <a:pt x="2" y="562"/>
                  </a:lnTo>
                  <a:lnTo>
                    <a:pt x="2" y="559"/>
                  </a:lnTo>
                  <a:lnTo>
                    <a:pt x="2" y="557"/>
                  </a:lnTo>
                  <a:lnTo>
                    <a:pt x="2" y="555"/>
                  </a:lnTo>
                  <a:lnTo>
                    <a:pt x="2" y="553"/>
                  </a:lnTo>
                  <a:lnTo>
                    <a:pt x="0" y="551"/>
                  </a:lnTo>
                  <a:lnTo>
                    <a:pt x="2" y="551"/>
                  </a:lnTo>
                  <a:lnTo>
                    <a:pt x="6" y="551"/>
                  </a:lnTo>
                  <a:lnTo>
                    <a:pt x="8" y="551"/>
                  </a:lnTo>
                  <a:lnTo>
                    <a:pt x="8" y="549"/>
                  </a:lnTo>
                  <a:lnTo>
                    <a:pt x="10" y="549"/>
                  </a:lnTo>
                  <a:lnTo>
                    <a:pt x="12" y="549"/>
                  </a:lnTo>
                  <a:lnTo>
                    <a:pt x="14" y="549"/>
                  </a:lnTo>
                  <a:lnTo>
                    <a:pt x="16" y="549"/>
                  </a:lnTo>
                  <a:lnTo>
                    <a:pt x="16" y="545"/>
                  </a:lnTo>
                  <a:lnTo>
                    <a:pt x="18" y="545"/>
                  </a:lnTo>
                  <a:lnTo>
                    <a:pt x="20" y="545"/>
                  </a:lnTo>
                  <a:lnTo>
                    <a:pt x="21" y="545"/>
                  </a:lnTo>
                  <a:lnTo>
                    <a:pt x="23" y="547"/>
                  </a:lnTo>
                  <a:lnTo>
                    <a:pt x="25" y="547"/>
                  </a:lnTo>
                  <a:lnTo>
                    <a:pt x="29" y="545"/>
                  </a:lnTo>
                  <a:lnTo>
                    <a:pt x="29" y="539"/>
                  </a:lnTo>
                  <a:lnTo>
                    <a:pt x="27" y="539"/>
                  </a:lnTo>
                  <a:lnTo>
                    <a:pt x="27" y="537"/>
                  </a:lnTo>
                  <a:lnTo>
                    <a:pt x="27" y="536"/>
                  </a:lnTo>
                  <a:lnTo>
                    <a:pt x="27" y="534"/>
                  </a:lnTo>
                  <a:lnTo>
                    <a:pt x="27" y="532"/>
                  </a:lnTo>
                  <a:lnTo>
                    <a:pt x="27" y="528"/>
                  </a:lnTo>
                  <a:lnTo>
                    <a:pt x="25" y="528"/>
                  </a:lnTo>
                  <a:lnTo>
                    <a:pt x="23" y="528"/>
                  </a:lnTo>
                  <a:lnTo>
                    <a:pt x="21" y="528"/>
                  </a:lnTo>
                  <a:lnTo>
                    <a:pt x="18" y="530"/>
                  </a:lnTo>
                  <a:lnTo>
                    <a:pt x="16" y="530"/>
                  </a:lnTo>
                  <a:lnTo>
                    <a:pt x="14" y="530"/>
                  </a:lnTo>
                  <a:lnTo>
                    <a:pt x="14" y="526"/>
                  </a:lnTo>
                  <a:lnTo>
                    <a:pt x="14" y="524"/>
                  </a:lnTo>
                  <a:lnTo>
                    <a:pt x="14" y="520"/>
                  </a:lnTo>
                  <a:lnTo>
                    <a:pt x="12" y="516"/>
                  </a:lnTo>
                  <a:lnTo>
                    <a:pt x="12" y="514"/>
                  </a:lnTo>
                  <a:lnTo>
                    <a:pt x="12" y="512"/>
                  </a:lnTo>
                  <a:lnTo>
                    <a:pt x="12" y="511"/>
                  </a:lnTo>
                  <a:lnTo>
                    <a:pt x="14" y="511"/>
                  </a:lnTo>
                  <a:lnTo>
                    <a:pt x="14" y="512"/>
                  </a:lnTo>
                  <a:lnTo>
                    <a:pt x="16" y="512"/>
                  </a:lnTo>
                  <a:lnTo>
                    <a:pt x="16" y="511"/>
                  </a:lnTo>
                  <a:lnTo>
                    <a:pt x="14" y="511"/>
                  </a:lnTo>
                  <a:lnTo>
                    <a:pt x="14" y="509"/>
                  </a:lnTo>
                  <a:lnTo>
                    <a:pt x="12" y="507"/>
                  </a:lnTo>
                  <a:lnTo>
                    <a:pt x="10" y="507"/>
                  </a:lnTo>
                  <a:lnTo>
                    <a:pt x="10" y="505"/>
                  </a:lnTo>
                  <a:lnTo>
                    <a:pt x="12" y="505"/>
                  </a:lnTo>
                  <a:lnTo>
                    <a:pt x="14" y="505"/>
                  </a:lnTo>
                  <a:lnTo>
                    <a:pt x="16" y="505"/>
                  </a:lnTo>
                  <a:lnTo>
                    <a:pt x="16" y="503"/>
                  </a:lnTo>
                  <a:lnTo>
                    <a:pt x="16" y="501"/>
                  </a:lnTo>
                  <a:lnTo>
                    <a:pt x="16" y="499"/>
                  </a:lnTo>
                  <a:lnTo>
                    <a:pt x="14" y="497"/>
                  </a:lnTo>
                  <a:lnTo>
                    <a:pt x="14" y="495"/>
                  </a:lnTo>
                  <a:lnTo>
                    <a:pt x="12" y="495"/>
                  </a:lnTo>
                  <a:lnTo>
                    <a:pt x="12" y="493"/>
                  </a:lnTo>
                  <a:lnTo>
                    <a:pt x="14" y="493"/>
                  </a:lnTo>
                  <a:lnTo>
                    <a:pt x="14" y="491"/>
                  </a:lnTo>
                  <a:lnTo>
                    <a:pt x="16" y="489"/>
                  </a:lnTo>
                  <a:lnTo>
                    <a:pt x="16" y="488"/>
                  </a:lnTo>
                  <a:lnTo>
                    <a:pt x="16" y="486"/>
                  </a:lnTo>
                  <a:lnTo>
                    <a:pt x="14" y="486"/>
                  </a:lnTo>
                  <a:lnTo>
                    <a:pt x="16" y="486"/>
                  </a:lnTo>
                  <a:lnTo>
                    <a:pt x="16" y="484"/>
                  </a:lnTo>
                  <a:lnTo>
                    <a:pt x="16" y="482"/>
                  </a:lnTo>
                  <a:lnTo>
                    <a:pt x="16" y="480"/>
                  </a:lnTo>
                  <a:lnTo>
                    <a:pt x="14" y="480"/>
                  </a:lnTo>
                  <a:lnTo>
                    <a:pt x="14" y="478"/>
                  </a:lnTo>
                  <a:lnTo>
                    <a:pt x="16" y="478"/>
                  </a:lnTo>
                  <a:lnTo>
                    <a:pt x="16" y="476"/>
                  </a:lnTo>
                  <a:lnTo>
                    <a:pt x="18" y="476"/>
                  </a:lnTo>
                  <a:lnTo>
                    <a:pt x="18" y="478"/>
                  </a:lnTo>
                  <a:lnTo>
                    <a:pt x="18" y="476"/>
                  </a:lnTo>
                  <a:lnTo>
                    <a:pt x="18" y="478"/>
                  </a:lnTo>
                  <a:lnTo>
                    <a:pt x="18" y="476"/>
                  </a:lnTo>
                  <a:lnTo>
                    <a:pt x="20" y="476"/>
                  </a:lnTo>
                  <a:lnTo>
                    <a:pt x="21" y="476"/>
                  </a:lnTo>
                  <a:lnTo>
                    <a:pt x="21" y="474"/>
                  </a:lnTo>
                  <a:lnTo>
                    <a:pt x="20" y="474"/>
                  </a:lnTo>
                  <a:lnTo>
                    <a:pt x="21" y="474"/>
                  </a:lnTo>
                  <a:lnTo>
                    <a:pt x="23" y="474"/>
                  </a:lnTo>
                  <a:lnTo>
                    <a:pt x="23" y="476"/>
                  </a:lnTo>
                  <a:lnTo>
                    <a:pt x="25" y="476"/>
                  </a:lnTo>
                  <a:lnTo>
                    <a:pt x="25" y="478"/>
                  </a:lnTo>
                  <a:lnTo>
                    <a:pt x="27" y="478"/>
                  </a:lnTo>
                  <a:lnTo>
                    <a:pt x="27" y="476"/>
                  </a:lnTo>
                  <a:lnTo>
                    <a:pt x="29" y="476"/>
                  </a:lnTo>
                  <a:lnTo>
                    <a:pt x="27" y="476"/>
                  </a:lnTo>
                  <a:lnTo>
                    <a:pt x="27" y="474"/>
                  </a:lnTo>
                  <a:lnTo>
                    <a:pt x="29" y="474"/>
                  </a:lnTo>
                  <a:lnTo>
                    <a:pt x="29" y="476"/>
                  </a:lnTo>
                  <a:lnTo>
                    <a:pt x="31" y="476"/>
                  </a:lnTo>
                  <a:lnTo>
                    <a:pt x="31" y="474"/>
                  </a:lnTo>
                  <a:lnTo>
                    <a:pt x="31" y="476"/>
                  </a:lnTo>
                  <a:lnTo>
                    <a:pt x="33" y="476"/>
                  </a:lnTo>
                  <a:lnTo>
                    <a:pt x="33" y="474"/>
                  </a:lnTo>
                  <a:lnTo>
                    <a:pt x="33" y="476"/>
                  </a:lnTo>
                  <a:lnTo>
                    <a:pt x="35" y="476"/>
                  </a:lnTo>
                  <a:lnTo>
                    <a:pt x="35" y="474"/>
                  </a:lnTo>
                  <a:lnTo>
                    <a:pt x="33" y="472"/>
                  </a:lnTo>
                  <a:lnTo>
                    <a:pt x="31" y="472"/>
                  </a:lnTo>
                  <a:lnTo>
                    <a:pt x="31" y="474"/>
                  </a:lnTo>
                  <a:lnTo>
                    <a:pt x="31" y="472"/>
                  </a:lnTo>
                  <a:lnTo>
                    <a:pt x="33" y="472"/>
                  </a:lnTo>
                  <a:lnTo>
                    <a:pt x="35" y="472"/>
                  </a:lnTo>
                  <a:lnTo>
                    <a:pt x="35" y="470"/>
                  </a:lnTo>
                  <a:lnTo>
                    <a:pt x="37" y="470"/>
                  </a:lnTo>
                  <a:lnTo>
                    <a:pt x="37" y="472"/>
                  </a:lnTo>
                  <a:lnTo>
                    <a:pt x="35" y="472"/>
                  </a:lnTo>
                  <a:lnTo>
                    <a:pt x="37" y="472"/>
                  </a:lnTo>
                  <a:lnTo>
                    <a:pt x="37" y="474"/>
                  </a:lnTo>
                  <a:lnTo>
                    <a:pt x="37" y="476"/>
                  </a:lnTo>
                  <a:lnTo>
                    <a:pt x="39" y="476"/>
                  </a:lnTo>
                  <a:lnTo>
                    <a:pt x="39" y="474"/>
                  </a:lnTo>
                  <a:lnTo>
                    <a:pt x="41" y="474"/>
                  </a:lnTo>
                  <a:lnTo>
                    <a:pt x="43" y="474"/>
                  </a:lnTo>
                  <a:lnTo>
                    <a:pt x="43" y="476"/>
                  </a:lnTo>
                  <a:lnTo>
                    <a:pt x="45" y="476"/>
                  </a:lnTo>
                  <a:lnTo>
                    <a:pt x="46" y="476"/>
                  </a:lnTo>
                  <a:lnTo>
                    <a:pt x="48" y="478"/>
                  </a:lnTo>
                  <a:lnTo>
                    <a:pt x="50" y="478"/>
                  </a:lnTo>
                  <a:lnTo>
                    <a:pt x="50" y="480"/>
                  </a:lnTo>
                  <a:lnTo>
                    <a:pt x="52" y="480"/>
                  </a:lnTo>
                  <a:lnTo>
                    <a:pt x="52" y="478"/>
                  </a:lnTo>
                  <a:lnTo>
                    <a:pt x="52" y="476"/>
                  </a:lnTo>
                  <a:lnTo>
                    <a:pt x="52" y="478"/>
                  </a:lnTo>
                  <a:lnTo>
                    <a:pt x="52" y="476"/>
                  </a:lnTo>
                  <a:lnTo>
                    <a:pt x="52" y="478"/>
                  </a:lnTo>
                  <a:lnTo>
                    <a:pt x="54" y="478"/>
                  </a:lnTo>
                  <a:lnTo>
                    <a:pt x="54" y="480"/>
                  </a:lnTo>
                  <a:lnTo>
                    <a:pt x="56" y="480"/>
                  </a:lnTo>
                  <a:lnTo>
                    <a:pt x="54" y="480"/>
                  </a:lnTo>
                  <a:lnTo>
                    <a:pt x="56" y="482"/>
                  </a:lnTo>
                  <a:lnTo>
                    <a:pt x="54" y="482"/>
                  </a:lnTo>
                  <a:lnTo>
                    <a:pt x="56" y="482"/>
                  </a:lnTo>
                  <a:lnTo>
                    <a:pt x="56" y="484"/>
                  </a:lnTo>
                  <a:lnTo>
                    <a:pt x="58" y="484"/>
                  </a:lnTo>
                  <a:lnTo>
                    <a:pt x="60" y="484"/>
                  </a:lnTo>
                  <a:lnTo>
                    <a:pt x="58" y="484"/>
                  </a:lnTo>
                  <a:lnTo>
                    <a:pt x="58" y="486"/>
                  </a:lnTo>
                  <a:lnTo>
                    <a:pt x="60" y="486"/>
                  </a:lnTo>
                  <a:lnTo>
                    <a:pt x="62" y="486"/>
                  </a:lnTo>
                  <a:lnTo>
                    <a:pt x="62" y="488"/>
                  </a:lnTo>
                  <a:lnTo>
                    <a:pt x="60" y="488"/>
                  </a:lnTo>
                  <a:lnTo>
                    <a:pt x="60" y="489"/>
                  </a:lnTo>
                  <a:lnTo>
                    <a:pt x="60" y="491"/>
                  </a:lnTo>
                  <a:lnTo>
                    <a:pt x="62" y="491"/>
                  </a:lnTo>
                  <a:lnTo>
                    <a:pt x="64" y="491"/>
                  </a:lnTo>
                  <a:lnTo>
                    <a:pt x="66" y="491"/>
                  </a:lnTo>
                  <a:lnTo>
                    <a:pt x="66" y="489"/>
                  </a:lnTo>
                  <a:lnTo>
                    <a:pt x="66" y="491"/>
                  </a:lnTo>
                  <a:lnTo>
                    <a:pt x="68" y="491"/>
                  </a:lnTo>
                  <a:lnTo>
                    <a:pt x="68" y="493"/>
                  </a:lnTo>
                  <a:lnTo>
                    <a:pt x="70" y="493"/>
                  </a:lnTo>
                  <a:lnTo>
                    <a:pt x="71" y="493"/>
                  </a:lnTo>
                  <a:lnTo>
                    <a:pt x="71" y="491"/>
                  </a:lnTo>
                  <a:lnTo>
                    <a:pt x="73" y="491"/>
                  </a:lnTo>
                  <a:lnTo>
                    <a:pt x="73" y="493"/>
                  </a:lnTo>
                  <a:lnTo>
                    <a:pt x="75" y="493"/>
                  </a:lnTo>
                  <a:lnTo>
                    <a:pt x="75" y="491"/>
                  </a:lnTo>
                  <a:lnTo>
                    <a:pt x="77" y="491"/>
                  </a:lnTo>
                  <a:lnTo>
                    <a:pt x="77" y="493"/>
                  </a:lnTo>
                  <a:lnTo>
                    <a:pt x="77" y="495"/>
                  </a:lnTo>
                  <a:lnTo>
                    <a:pt x="79" y="495"/>
                  </a:lnTo>
                  <a:lnTo>
                    <a:pt x="79" y="497"/>
                  </a:lnTo>
                  <a:lnTo>
                    <a:pt x="81" y="497"/>
                  </a:lnTo>
                  <a:lnTo>
                    <a:pt x="83" y="497"/>
                  </a:lnTo>
                  <a:lnTo>
                    <a:pt x="83" y="499"/>
                  </a:lnTo>
                  <a:lnTo>
                    <a:pt x="85" y="499"/>
                  </a:lnTo>
                  <a:lnTo>
                    <a:pt x="87" y="499"/>
                  </a:lnTo>
                  <a:lnTo>
                    <a:pt x="87" y="497"/>
                  </a:lnTo>
                  <a:lnTo>
                    <a:pt x="89" y="497"/>
                  </a:lnTo>
                  <a:lnTo>
                    <a:pt x="89" y="499"/>
                  </a:lnTo>
                  <a:lnTo>
                    <a:pt x="91" y="499"/>
                  </a:lnTo>
                  <a:lnTo>
                    <a:pt x="91" y="501"/>
                  </a:lnTo>
                  <a:lnTo>
                    <a:pt x="91" y="499"/>
                  </a:lnTo>
                  <a:lnTo>
                    <a:pt x="91" y="497"/>
                  </a:lnTo>
                  <a:lnTo>
                    <a:pt x="93" y="495"/>
                  </a:lnTo>
                  <a:lnTo>
                    <a:pt x="93" y="491"/>
                  </a:lnTo>
                  <a:lnTo>
                    <a:pt x="94" y="491"/>
                  </a:lnTo>
                  <a:lnTo>
                    <a:pt x="98" y="493"/>
                  </a:lnTo>
                  <a:lnTo>
                    <a:pt x="98" y="491"/>
                  </a:lnTo>
                  <a:lnTo>
                    <a:pt x="98" y="489"/>
                  </a:lnTo>
                  <a:lnTo>
                    <a:pt x="98" y="488"/>
                  </a:lnTo>
                  <a:lnTo>
                    <a:pt x="100" y="486"/>
                  </a:lnTo>
                  <a:lnTo>
                    <a:pt x="100" y="484"/>
                  </a:lnTo>
                  <a:lnTo>
                    <a:pt x="104" y="482"/>
                  </a:lnTo>
                  <a:lnTo>
                    <a:pt x="102" y="478"/>
                  </a:lnTo>
                  <a:lnTo>
                    <a:pt x="102" y="474"/>
                  </a:lnTo>
                  <a:lnTo>
                    <a:pt x="102" y="472"/>
                  </a:lnTo>
                  <a:lnTo>
                    <a:pt x="102" y="470"/>
                  </a:lnTo>
                  <a:lnTo>
                    <a:pt x="102" y="468"/>
                  </a:lnTo>
                  <a:lnTo>
                    <a:pt x="102" y="466"/>
                  </a:lnTo>
                  <a:lnTo>
                    <a:pt x="102" y="464"/>
                  </a:lnTo>
                  <a:lnTo>
                    <a:pt x="100" y="463"/>
                  </a:lnTo>
                  <a:lnTo>
                    <a:pt x="100" y="461"/>
                  </a:lnTo>
                  <a:lnTo>
                    <a:pt x="100" y="459"/>
                  </a:lnTo>
                  <a:lnTo>
                    <a:pt x="100" y="457"/>
                  </a:lnTo>
                  <a:lnTo>
                    <a:pt x="100" y="455"/>
                  </a:lnTo>
                  <a:lnTo>
                    <a:pt x="100" y="453"/>
                  </a:lnTo>
                  <a:lnTo>
                    <a:pt x="100" y="451"/>
                  </a:lnTo>
                  <a:lnTo>
                    <a:pt x="98" y="447"/>
                  </a:lnTo>
                  <a:lnTo>
                    <a:pt x="98" y="443"/>
                  </a:lnTo>
                  <a:lnTo>
                    <a:pt x="98" y="441"/>
                  </a:lnTo>
                  <a:lnTo>
                    <a:pt x="98" y="440"/>
                  </a:lnTo>
                  <a:lnTo>
                    <a:pt x="98" y="436"/>
                  </a:lnTo>
                  <a:lnTo>
                    <a:pt x="98" y="438"/>
                  </a:lnTo>
                  <a:lnTo>
                    <a:pt x="100" y="438"/>
                  </a:lnTo>
                  <a:lnTo>
                    <a:pt x="102" y="438"/>
                  </a:lnTo>
                  <a:lnTo>
                    <a:pt x="100" y="438"/>
                  </a:lnTo>
                  <a:lnTo>
                    <a:pt x="100" y="440"/>
                  </a:lnTo>
                  <a:lnTo>
                    <a:pt x="102" y="440"/>
                  </a:lnTo>
                  <a:lnTo>
                    <a:pt x="104" y="440"/>
                  </a:lnTo>
                  <a:lnTo>
                    <a:pt x="104" y="438"/>
                  </a:lnTo>
                  <a:lnTo>
                    <a:pt x="104" y="436"/>
                  </a:lnTo>
                  <a:lnTo>
                    <a:pt x="104" y="434"/>
                  </a:lnTo>
                  <a:lnTo>
                    <a:pt x="104" y="436"/>
                  </a:lnTo>
                  <a:lnTo>
                    <a:pt x="106" y="436"/>
                  </a:lnTo>
                  <a:lnTo>
                    <a:pt x="106" y="434"/>
                  </a:lnTo>
                  <a:lnTo>
                    <a:pt x="106" y="436"/>
                  </a:lnTo>
                  <a:lnTo>
                    <a:pt x="108" y="436"/>
                  </a:lnTo>
                  <a:lnTo>
                    <a:pt x="108" y="434"/>
                  </a:lnTo>
                  <a:lnTo>
                    <a:pt x="106" y="434"/>
                  </a:lnTo>
                  <a:lnTo>
                    <a:pt x="108" y="434"/>
                  </a:lnTo>
                  <a:lnTo>
                    <a:pt x="110" y="434"/>
                  </a:lnTo>
                  <a:lnTo>
                    <a:pt x="110" y="432"/>
                  </a:lnTo>
                  <a:lnTo>
                    <a:pt x="112" y="432"/>
                  </a:lnTo>
                  <a:lnTo>
                    <a:pt x="114" y="432"/>
                  </a:lnTo>
                  <a:lnTo>
                    <a:pt x="116" y="432"/>
                  </a:lnTo>
                  <a:lnTo>
                    <a:pt x="114" y="420"/>
                  </a:lnTo>
                  <a:lnTo>
                    <a:pt x="114" y="416"/>
                  </a:lnTo>
                  <a:lnTo>
                    <a:pt x="114" y="415"/>
                  </a:lnTo>
                  <a:lnTo>
                    <a:pt x="114" y="413"/>
                  </a:lnTo>
                  <a:lnTo>
                    <a:pt x="114" y="411"/>
                  </a:lnTo>
                  <a:lnTo>
                    <a:pt x="114" y="409"/>
                  </a:lnTo>
                  <a:lnTo>
                    <a:pt x="114" y="407"/>
                  </a:lnTo>
                  <a:lnTo>
                    <a:pt x="114" y="405"/>
                  </a:lnTo>
                  <a:lnTo>
                    <a:pt x="112" y="401"/>
                  </a:lnTo>
                  <a:lnTo>
                    <a:pt x="112" y="399"/>
                  </a:lnTo>
                  <a:lnTo>
                    <a:pt x="112" y="393"/>
                  </a:lnTo>
                  <a:lnTo>
                    <a:pt x="112" y="388"/>
                  </a:lnTo>
                  <a:lnTo>
                    <a:pt x="110" y="384"/>
                  </a:lnTo>
                  <a:lnTo>
                    <a:pt x="108" y="384"/>
                  </a:lnTo>
                  <a:lnTo>
                    <a:pt x="100" y="386"/>
                  </a:lnTo>
                  <a:lnTo>
                    <a:pt x="98" y="380"/>
                  </a:lnTo>
                  <a:lnTo>
                    <a:pt x="96" y="382"/>
                  </a:lnTo>
                  <a:lnTo>
                    <a:pt x="93" y="382"/>
                  </a:lnTo>
                  <a:lnTo>
                    <a:pt x="87" y="382"/>
                  </a:lnTo>
                  <a:lnTo>
                    <a:pt x="85" y="382"/>
                  </a:lnTo>
                  <a:lnTo>
                    <a:pt x="83" y="382"/>
                  </a:lnTo>
                  <a:lnTo>
                    <a:pt x="83" y="378"/>
                  </a:lnTo>
                  <a:lnTo>
                    <a:pt x="83" y="374"/>
                  </a:lnTo>
                  <a:lnTo>
                    <a:pt x="83" y="370"/>
                  </a:lnTo>
                  <a:lnTo>
                    <a:pt x="81" y="367"/>
                  </a:lnTo>
                  <a:lnTo>
                    <a:pt x="83" y="367"/>
                  </a:lnTo>
                  <a:lnTo>
                    <a:pt x="85" y="367"/>
                  </a:lnTo>
                  <a:lnTo>
                    <a:pt x="83" y="365"/>
                  </a:lnTo>
                  <a:lnTo>
                    <a:pt x="83" y="363"/>
                  </a:lnTo>
                  <a:lnTo>
                    <a:pt x="83" y="361"/>
                  </a:lnTo>
                  <a:lnTo>
                    <a:pt x="83" y="359"/>
                  </a:lnTo>
                  <a:lnTo>
                    <a:pt x="85" y="359"/>
                  </a:lnTo>
                  <a:lnTo>
                    <a:pt x="87" y="359"/>
                  </a:lnTo>
                  <a:lnTo>
                    <a:pt x="87" y="357"/>
                  </a:lnTo>
                  <a:lnTo>
                    <a:pt x="87" y="355"/>
                  </a:lnTo>
                  <a:lnTo>
                    <a:pt x="87" y="351"/>
                  </a:lnTo>
                  <a:lnTo>
                    <a:pt x="87" y="349"/>
                  </a:lnTo>
                  <a:lnTo>
                    <a:pt x="87" y="347"/>
                  </a:lnTo>
                  <a:lnTo>
                    <a:pt x="87" y="345"/>
                  </a:lnTo>
                  <a:lnTo>
                    <a:pt x="85" y="344"/>
                  </a:lnTo>
                  <a:lnTo>
                    <a:pt x="87" y="344"/>
                  </a:lnTo>
                  <a:lnTo>
                    <a:pt x="89" y="342"/>
                  </a:lnTo>
                  <a:lnTo>
                    <a:pt x="91" y="342"/>
                  </a:lnTo>
                  <a:lnTo>
                    <a:pt x="89" y="342"/>
                  </a:lnTo>
                  <a:lnTo>
                    <a:pt x="89" y="340"/>
                  </a:lnTo>
                  <a:lnTo>
                    <a:pt x="87" y="340"/>
                  </a:lnTo>
                  <a:lnTo>
                    <a:pt x="89" y="340"/>
                  </a:lnTo>
                  <a:lnTo>
                    <a:pt x="89" y="338"/>
                  </a:lnTo>
                  <a:lnTo>
                    <a:pt x="91" y="338"/>
                  </a:lnTo>
                  <a:lnTo>
                    <a:pt x="93" y="338"/>
                  </a:lnTo>
                  <a:lnTo>
                    <a:pt x="93" y="336"/>
                  </a:lnTo>
                  <a:lnTo>
                    <a:pt x="93" y="338"/>
                  </a:lnTo>
                  <a:lnTo>
                    <a:pt x="94" y="338"/>
                  </a:lnTo>
                  <a:lnTo>
                    <a:pt x="94" y="340"/>
                  </a:lnTo>
                  <a:lnTo>
                    <a:pt x="94" y="338"/>
                  </a:lnTo>
                  <a:lnTo>
                    <a:pt x="94" y="336"/>
                  </a:lnTo>
                  <a:lnTo>
                    <a:pt x="94" y="334"/>
                  </a:lnTo>
                  <a:lnTo>
                    <a:pt x="94" y="332"/>
                  </a:lnTo>
                  <a:lnTo>
                    <a:pt x="93" y="330"/>
                  </a:lnTo>
                  <a:lnTo>
                    <a:pt x="93" y="328"/>
                  </a:lnTo>
                  <a:lnTo>
                    <a:pt x="91" y="328"/>
                  </a:lnTo>
                  <a:lnTo>
                    <a:pt x="91" y="324"/>
                  </a:lnTo>
                  <a:lnTo>
                    <a:pt x="91" y="320"/>
                  </a:lnTo>
                  <a:lnTo>
                    <a:pt x="91" y="319"/>
                  </a:lnTo>
                  <a:lnTo>
                    <a:pt x="91" y="315"/>
                  </a:lnTo>
                  <a:lnTo>
                    <a:pt x="89" y="311"/>
                  </a:lnTo>
                  <a:lnTo>
                    <a:pt x="91" y="309"/>
                  </a:lnTo>
                  <a:lnTo>
                    <a:pt x="94" y="309"/>
                  </a:lnTo>
                  <a:lnTo>
                    <a:pt x="96" y="309"/>
                  </a:lnTo>
                  <a:lnTo>
                    <a:pt x="96" y="307"/>
                  </a:lnTo>
                  <a:lnTo>
                    <a:pt x="96" y="305"/>
                  </a:lnTo>
                  <a:lnTo>
                    <a:pt x="96" y="299"/>
                  </a:lnTo>
                  <a:lnTo>
                    <a:pt x="96" y="297"/>
                  </a:lnTo>
                  <a:lnTo>
                    <a:pt x="96" y="296"/>
                  </a:lnTo>
                  <a:lnTo>
                    <a:pt x="104" y="296"/>
                  </a:lnTo>
                  <a:lnTo>
                    <a:pt x="110" y="296"/>
                  </a:lnTo>
                  <a:lnTo>
                    <a:pt x="110" y="294"/>
                  </a:lnTo>
                  <a:lnTo>
                    <a:pt x="112" y="294"/>
                  </a:lnTo>
                  <a:lnTo>
                    <a:pt x="112" y="292"/>
                  </a:lnTo>
                  <a:lnTo>
                    <a:pt x="110" y="292"/>
                  </a:lnTo>
                  <a:lnTo>
                    <a:pt x="110" y="288"/>
                  </a:lnTo>
                  <a:lnTo>
                    <a:pt x="110" y="286"/>
                  </a:lnTo>
                  <a:lnTo>
                    <a:pt x="106" y="286"/>
                  </a:lnTo>
                  <a:lnTo>
                    <a:pt x="106" y="282"/>
                  </a:lnTo>
                  <a:lnTo>
                    <a:pt x="104" y="282"/>
                  </a:lnTo>
                  <a:lnTo>
                    <a:pt x="102" y="282"/>
                  </a:lnTo>
                  <a:lnTo>
                    <a:pt x="98" y="274"/>
                  </a:lnTo>
                  <a:lnTo>
                    <a:pt x="96" y="274"/>
                  </a:lnTo>
                  <a:lnTo>
                    <a:pt x="94" y="274"/>
                  </a:lnTo>
                  <a:lnTo>
                    <a:pt x="91" y="274"/>
                  </a:lnTo>
                  <a:lnTo>
                    <a:pt x="89" y="276"/>
                  </a:lnTo>
                  <a:lnTo>
                    <a:pt x="89" y="274"/>
                  </a:lnTo>
                  <a:lnTo>
                    <a:pt x="87" y="274"/>
                  </a:lnTo>
                  <a:lnTo>
                    <a:pt x="85" y="274"/>
                  </a:lnTo>
                  <a:lnTo>
                    <a:pt x="85" y="267"/>
                  </a:lnTo>
                  <a:lnTo>
                    <a:pt x="85" y="265"/>
                  </a:lnTo>
                  <a:lnTo>
                    <a:pt x="85" y="263"/>
                  </a:lnTo>
                  <a:lnTo>
                    <a:pt x="83" y="263"/>
                  </a:lnTo>
                  <a:lnTo>
                    <a:pt x="81" y="263"/>
                  </a:lnTo>
                  <a:lnTo>
                    <a:pt x="79" y="263"/>
                  </a:lnTo>
                  <a:lnTo>
                    <a:pt x="77" y="263"/>
                  </a:lnTo>
                  <a:lnTo>
                    <a:pt x="77" y="261"/>
                  </a:lnTo>
                  <a:lnTo>
                    <a:pt x="75" y="261"/>
                  </a:lnTo>
                  <a:lnTo>
                    <a:pt x="68" y="263"/>
                  </a:lnTo>
                  <a:lnTo>
                    <a:pt x="68" y="259"/>
                  </a:lnTo>
                  <a:lnTo>
                    <a:pt x="66" y="251"/>
                  </a:lnTo>
                  <a:lnTo>
                    <a:pt x="66" y="249"/>
                  </a:lnTo>
                  <a:lnTo>
                    <a:pt x="66" y="248"/>
                  </a:lnTo>
                  <a:lnTo>
                    <a:pt x="66" y="246"/>
                  </a:lnTo>
                  <a:lnTo>
                    <a:pt x="66" y="244"/>
                  </a:lnTo>
                  <a:lnTo>
                    <a:pt x="66" y="242"/>
                  </a:lnTo>
                  <a:lnTo>
                    <a:pt x="64" y="242"/>
                  </a:lnTo>
                  <a:lnTo>
                    <a:pt x="64" y="240"/>
                  </a:lnTo>
                  <a:lnTo>
                    <a:pt x="64" y="238"/>
                  </a:lnTo>
                  <a:lnTo>
                    <a:pt x="62" y="238"/>
                  </a:lnTo>
                  <a:lnTo>
                    <a:pt x="62" y="236"/>
                  </a:lnTo>
                  <a:lnTo>
                    <a:pt x="64" y="236"/>
                  </a:lnTo>
                  <a:lnTo>
                    <a:pt x="62" y="236"/>
                  </a:lnTo>
                  <a:lnTo>
                    <a:pt x="62" y="234"/>
                  </a:lnTo>
                  <a:lnTo>
                    <a:pt x="62" y="232"/>
                  </a:lnTo>
                  <a:lnTo>
                    <a:pt x="64" y="232"/>
                  </a:lnTo>
                  <a:lnTo>
                    <a:pt x="62" y="232"/>
                  </a:lnTo>
                  <a:lnTo>
                    <a:pt x="62" y="230"/>
                  </a:lnTo>
                  <a:lnTo>
                    <a:pt x="60" y="230"/>
                  </a:lnTo>
                  <a:lnTo>
                    <a:pt x="60" y="228"/>
                  </a:lnTo>
                  <a:lnTo>
                    <a:pt x="60" y="226"/>
                  </a:lnTo>
                  <a:lnTo>
                    <a:pt x="62" y="226"/>
                  </a:lnTo>
                  <a:lnTo>
                    <a:pt x="62" y="224"/>
                  </a:lnTo>
                  <a:lnTo>
                    <a:pt x="62" y="223"/>
                  </a:lnTo>
                  <a:lnTo>
                    <a:pt x="60" y="223"/>
                  </a:lnTo>
                  <a:lnTo>
                    <a:pt x="60" y="221"/>
                  </a:lnTo>
                  <a:lnTo>
                    <a:pt x="62" y="221"/>
                  </a:lnTo>
                  <a:lnTo>
                    <a:pt x="64" y="221"/>
                  </a:lnTo>
                  <a:lnTo>
                    <a:pt x="64" y="219"/>
                  </a:lnTo>
                  <a:lnTo>
                    <a:pt x="66" y="219"/>
                  </a:lnTo>
                  <a:lnTo>
                    <a:pt x="66" y="217"/>
                  </a:lnTo>
                  <a:lnTo>
                    <a:pt x="66" y="215"/>
                  </a:lnTo>
                  <a:lnTo>
                    <a:pt x="64" y="215"/>
                  </a:lnTo>
                  <a:lnTo>
                    <a:pt x="64" y="213"/>
                  </a:lnTo>
                  <a:lnTo>
                    <a:pt x="62" y="209"/>
                  </a:lnTo>
                  <a:lnTo>
                    <a:pt x="62" y="205"/>
                  </a:lnTo>
                  <a:lnTo>
                    <a:pt x="60" y="200"/>
                  </a:lnTo>
                  <a:lnTo>
                    <a:pt x="62" y="200"/>
                  </a:lnTo>
                  <a:lnTo>
                    <a:pt x="62" y="198"/>
                  </a:lnTo>
                  <a:lnTo>
                    <a:pt x="60" y="198"/>
                  </a:lnTo>
                  <a:lnTo>
                    <a:pt x="60" y="196"/>
                  </a:lnTo>
                  <a:lnTo>
                    <a:pt x="60" y="192"/>
                  </a:lnTo>
                  <a:lnTo>
                    <a:pt x="60" y="190"/>
                  </a:lnTo>
                  <a:lnTo>
                    <a:pt x="58" y="190"/>
                  </a:lnTo>
                  <a:lnTo>
                    <a:pt x="56" y="190"/>
                  </a:lnTo>
                  <a:lnTo>
                    <a:pt x="54" y="190"/>
                  </a:lnTo>
                  <a:lnTo>
                    <a:pt x="54" y="188"/>
                  </a:lnTo>
                  <a:lnTo>
                    <a:pt x="54" y="186"/>
                  </a:lnTo>
                  <a:lnTo>
                    <a:pt x="56" y="184"/>
                  </a:lnTo>
                  <a:lnTo>
                    <a:pt x="58" y="184"/>
                  </a:lnTo>
                  <a:lnTo>
                    <a:pt x="58" y="182"/>
                  </a:lnTo>
                  <a:lnTo>
                    <a:pt x="60" y="180"/>
                  </a:lnTo>
                  <a:lnTo>
                    <a:pt x="60" y="178"/>
                  </a:lnTo>
                  <a:lnTo>
                    <a:pt x="62" y="176"/>
                  </a:lnTo>
                  <a:lnTo>
                    <a:pt x="64" y="175"/>
                  </a:lnTo>
                  <a:lnTo>
                    <a:pt x="66" y="175"/>
                  </a:lnTo>
                  <a:lnTo>
                    <a:pt x="68" y="175"/>
                  </a:lnTo>
                  <a:lnTo>
                    <a:pt x="70" y="176"/>
                  </a:lnTo>
                  <a:lnTo>
                    <a:pt x="71" y="176"/>
                  </a:lnTo>
                  <a:lnTo>
                    <a:pt x="73" y="176"/>
                  </a:lnTo>
                  <a:lnTo>
                    <a:pt x="73" y="178"/>
                  </a:lnTo>
                  <a:lnTo>
                    <a:pt x="75" y="178"/>
                  </a:lnTo>
                  <a:lnTo>
                    <a:pt x="77" y="178"/>
                  </a:lnTo>
                  <a:lnTo>
                    <a:pt x="79" y="176"/>
                  </a:lnTo>
                  <a:lnTo>
                    <a:pt x="81" y="176"/>
                  </a:lnTo>
                  <a:lnTo>
                    <a:pt x="83" y="176"/>
                  </a:lnTo>
                  <a:lnTo>
                    <a:pt x="81" y="180"/>
                  </a:lnTo>
                  <a:lnTo>
                    <a:pt x="83" y="182"/>
                  </a:lnTo>
                  <a:lnTo>
                    <a:pt x="83" y="184"/>
                  </a:lnTo>
                  <a:lnTo>
                    <a:pt x="81" y="186"/>
                  </a:lnTo>
                  <a:lnTo>
                    <a:pt x="83" y="186"/>
                  </a:lnTo>
                  <a:lnTo>
                    <a:pt x="85" y="186"/>
                  </a:lnTo>
                  <a:lnTo>
                    <a:pt x="87" y="186"/>
                  </a:lnTo>
                  <a:lnTo>
                    <a:pt x="89" y="186"/>
                  </a:lnTo>
                  <a:lnTo>
                    <a:pt x="91" y="188"/>
                  </a:lnTo>
                  <a:lnTo>
                    <a:pt x="91" y="190"/>
                  </a:lnTo>
                  <a:lnTo>
                    <a:pt x="93" y="190"/>
                  </a:lnTo>
                  <a:lnTo>
                    <a:pt x="94" y="188"/>
                  </a:lnTo>
                  <a:lnTo>
                    <a:pt x="96" y="188"/>
                  </a:lnTo>
                  <a:lnTo>
                    <a:pt x="96" y="186"/>
                  </a:lnTo>
                  <a:lnTo>
                    <a:pt x="96" y="184"/>
                  </a:lnTo>
                  <a:lnTo>
                    <a:pt x="98" y="182"/>
                  </a:lnTo>
                  <a:lnTo>
                    <a:pt x="98" y="180"/>
                  </a:lnTo>
                  <a:lnTo>
                    <a:pt x="100" y="176"/>
                  </a:lnTo>
                  <a:lnTo>
                    <a:pt x="104" y="178"/>
                  </a:lnTo>
                  <a:lnTo>
                    <a:pt x="106" y="178"/>
                  </a:lnTo>
                  <a:lnTo>
                    <a:pt x="108" y="178"/>
                  </a:lnTo>
                  <a:lnTo>
                    <a:pt x="112" y="178"/>
                  </a:lnTo>
                  <a:lnTo>
                    <a:pt x="118" y="178"/>
                  </a:lnTo>
                  <a:lnTo>
                    <a:pt x="119" y="178"/>
                  </a:lnTo>
                  <a:lnTo>
                    <a:pt x="119" y="180"/>
                  </a:lnTo>
                  <a:lnTo>
                    <a:pt x="121" y="182"/>
                  </a:lnTo>
                  <a:lnTo>
                    <a:pt x="125" y="182"/>
                  </a:lnTo>
                  <a:lnTo>
                    <a:pt x="125" y="180"/>
                  </a:lnTo>
                  <a:lnTo>
                    <a:pt x="127" y="180"/>
                  </a:lnTo>
                  <a:lnTo>
                    <a:pt x="131" y="180"/>
                  </a:lnTo>
                  <a:lnTo>
                    <a:pt x="133" y="182"/>
                  </a:lnTo>
                  <a:lnTo>
                    <a:pt x="133" y="184"/>
                  </a:lnTo>
                  <a:lnTo>
                    <a:pt x="135" y="184"/>
                  </a:lnTo>
                  <a:lnTo>
                    <a:pt x="135" y="186"/>
                  </a:lnTo>
                  <a:lnTo>
                    <a:pt x="137" y="186"/>
                  </a:lnTo>
                  <a:lnTo>
                    <a:pt x="137" y="188"/>
                  </a:lnTo>
                  <a:lnTo>
                    <a:pt x="137" y="190"/>
                  </a:lnTo>
                  <a:lnTo>
                    <a:pt x="139" y="190"/>
                  </a:lnTo>
                  <a:lnTo>
                    <a:pt x="139" y="192"/>
                  </a:lnTo>
                  <a:lnTo>
                    <a:pt x="141" y="192"/>
                  </a:lnTo>
                  <a:lnTo>
                    <a:pt x="141" y="194"/>
                  </a:lnTo>
                  <a:lnTo>
                    <a:pt x="142" y="194"/>
                  </a:lnTo>
                  <a:lnTo>
                    <a:pt x="144" y="194"/>
                  </a:lnTo>
                  <a:lnTo>
                    <a:pt x="144" y="196"/>
                  </a:lnTo>
                  <a:lnTo>
                    <a:pt x="144" y="198"/>
                  </a:lnTo>
                  <a:lnTo>
                    <a:pt x="146" y="198"/>
                  </a:lnTo>
                  <a:lnTo>
                    <a:pt x="146" y="200"/>
                  </a:lnTo>
                  <a:lnTo>
                    <a:pt x="148" y="200"/>
                  </a:lnTo>
                  <a:lnTo>
                    <a:pt x="150" y="200"/>
                  </a:lnTo>
                  <a:lnTo>
                    <a:pt x="150" y="198"/>
                  </a:lnTo>
                  <a:lnTo>
                    <a:pt x="152" y="196"/>
                  </a:lnTo>
                  <a:lnTo>
                    <a:pt x="152" y="194"/>
                  </a:lnTo>
                  <a:lnTo>
                    <a:pt x="150" y="192"/>
                  </a:lnTo>
                  <a:lnTo>
                    <a:pt x="146" y="192"/>
                  </a:lnTo>
                  <a:lnTo>
                    <a:pt x="146" y="190"/>
                  </a:lnTo>
                  <a:lnTo>
                    <a:pt x="146" y="188"/>
                  </a:lnTo>
                  <a:lnTo>
                    <a:pt x="144" y="188"/>
                  </a:lnTo>
                  <a:lnTo>
                    <a:pt x="142" y="186"/>
                  </a:lnTo>
                  <a:lnTo>
                    <a:pt x="141" y="184"/>
                  </a:lnTo>
                  <a:lnTo>
                    <a:pt x="139" y="184"/>
                  </a:lnTo>
                  <a:lnTo>
                    <a:pt x="141" y="182"/>
                  </a:lnTo>
                  <a:lnTo>
                    <a:pt x="142" y="180"/>
                  </a:lnTo>
                  <a:lnTo>
                    <a:pt x="142" y="178"/>
                  </a:lnTo>
                  <a:lnTo>
                    <a:pt x="144" y="178"/>
                  </a:lnTo>
                  <a:lnTo>
                    <a:pt x="146" y="178"/>
                  </a:lnTo>
                  <a:lnTo>
                    <a:pt x="146" y="176"/>
                  </a:lnTo>
                  <a:lnTo>
                    <a:pt x="146" y="175"/>
                  </a:lnTo>
                  <a:lnTo>
                    <a:pt x="146" y="171"/>
                  </a:lnTo>
                  <a:lnTo>
                    <a:pt x="148" y="171"/>
                  </a:lnTo>
                  <a:lnTo>
                    <a:pt x="148" y="173"/>
                  </a:lnTo>
                  <a:lnTo>
                    <a:pt x="150" y="173"/>
                  </a:lnTo>
                  <a:lnTo>
                    <a:pt x="152" y="173"/>
                  </a:lnTo>
                  <a:lnTo>
                    <a:pt x="154" y="173"/>
                  </a:lnTo>
                  <a:lnTo>
                    <a:pt x="158" y="173"/>
                  </a:lnTo>
                  <a:lnTo>
                    <a:pt x="160" y="173"/>
                  </a:lnTo>
                  <a:lnTo>
                    <a:pt x="162" y="173"/>
                  </a:lnTo>
                  <a:lnTo>
                    <a:pt x="164" y="167"/>
                  </a:lnTo>
                  <a:lnTo>
                    <a:pt x="167" y="157"/>
                  </a:lnTo>
                  <a:lnTo>
                    <a:pt x="171" y="159"/>
                  </a:lnTo>
                  <a:lnTo>
                    <a:pt x="173" y="159"/>
                  </a:lnTo>
                  <a:lnTo>
                    <a:pt x="177" y="161"/>
                  </a:lnTo>
                  <a:lnTo>
                    <a:pt x="179" y="161"/>
                  </a:lnTo>
                  <a:lnTo>
                    <a:pt x="183" y="163"/>
                  </a:lnTo>
                  <a:lnTo>
                    <a:pt x="181" y="163"/>
                  </a:lnTo>
                  <a:lnTo>
                    <a:pt x="181" y="165"/>
                  </a:lnTo>
                  <a:lnTo>
                    <a:pt x="179" y="165"/>
                  </a:lnTo>
                  <a:lnTo>
                    <a:pt x="183" y="167"/>
                  </a:lnTo>
                  <a:lnTo>
                    <a:pt x="185" y="169"/>
                  </a:lnTo>
                  <a:lnTo>
                    <a:pt x="187" y="171"/>
                  </a:lnTo>
                  <a:lnTo>
                    <a:pt x="189" y="171"/>
                  </a:lnTo>
                  <a:lnTo>
                    <a:pt x="190" y="173"/>
                  </a:lnTo>
                  <a:lnTo>
                    <a:pt x="194" y="175"/>
                  </a:lnTo>
                  <a:lnTo>
                    <a:pt x="194" y="173"/>
                  </a:lnTo>
                  <a:lnTo>
                    <a:pt x="194" y="159"/>
                  </a:lnTo>
                  <a:lnTo>
                    <a:pt x="194" y="157"/>
                  </a:lnTo>
                  <a:lnTo>
                    <a:pt x="194" y="155"/>
                  </a:lnTo>
                  <a:lnTo>
                    <a:pt x="194" y="153"/>
                  </a:lnTo>
                  <a:lnTo>
                    <a:pt x="194" y="152"/>
                  </a:lnTo>
                  <a:lnTo>
                    <a:pt x="194" y="150"/>
                  </a:lnTo>
                  <a:lnTo>
                    <a:pt x="194" y="148"/>
                  </a:lnTo>
                  <a:lnTo>
                    <a:pt x="194" y="146"/>
                  </a:lnTo>
                  <a:lnTo>
                    <a:pt x="196" y="146"/>
                  </a:lnTo>
                  <a:lnTo>
                    <a:pt x="196" y="144"/>
                  </a:lnTo>
                  <a:lnTo>
                    <a:pt x="198" y="144"/>
                  </a:lnTo>
                  <a:lnTo>
                    <a:pt x="200" y="144"/>
                  </a:lnTo>
                  <a:lnTo>
                    <a:pt x="200" y="142"/>
                  </a:lnTo>
                  <a:lnTo>
                    <a:pt x="202" y="142"/>
                  </a:lnTo>
                  <a:lnTo>
                    <a:pt x="202" y="140"/>
                  </a:lnTo>
                  <a:lnTo>
                    <a:pt x="202" y="138"/>
                  </a:lnTo>
                  <a:lnTo>
                    <a:pt x="204" y="138"/>
                  </a:lnTo>
                  <a:lnTo>
                    <a:pt x="204" y="136"/>
                  </a:lnTo>
                  <a:lnTo>
                    <a:pt x="204" y="134"/>
                  </a:lnTo>
                  <a:lnTo>
                    <a:pt x="206" y="134"/>
                  </a:lnTo>
                  <a:lnTo>
                    <a:pt x="210" y="136"/>
                  </a:lnTo>
                  <a:lnTo>
                    <a:pt x="210" y="134"/>
                  </a:lnTo>
                  <a:lnTo>
                    <a:pt x="215" y="136"/>
                  </a:lnTo>
                  <a:lnTo>
                    <a:pt x="215" y="134"/>
                  </a:lnTo>
                  <a:lnTo>
                    <a:pt x="215" y="128"/>
                  </a:lnTo>
                  <a:lnTo>
                    <a:pt x="221" y="128"/>
                  </a:lnTo>
                  <a:lnTo>
                    <a:pt x="223" y="128"/>
                  </a:lnTo>
                  <a:lnTo>
                    <a:pt x="225" y="128"/>
                  </a:lnTo>
                  <a:lnTo>
                    <a:pt x="225" y="130"/>
                  </a:lnTo>
                  <a:lnTo>
                    <a:pt x="227" y="130"/>
                  </a:lnTo>
                  <a:lnTo>
                    <a:pt x="229" y="128"/>
                  </a:lnTo>
                  <a:lnTo>
                    <a:pt x="231" y="130"/>
                  </a:lnTo>
                  <a:lnTo>
                    <a:pt x="233" y="130"/>
                  </a:lnTo>
                  <a:lnTo>
                    <a:pt x="233" y="128"/>
                  </a:lnTo>
                  <a:lnTo>
                    <a:pt x="233" y="127"/>
                  </a:lnTo>
                  <a:lnTo>
                    <a:pt x="235" y="125"/>
                  </a:lnTo>
                  <a:lnTo>
                    <a:pt x="233" y="125"/>
                  </a:lnTo>
                  <a:lnTo>
                    <a:pt x="233" y="123"/>
                  </a:lnTo>
                  <a:lnTo>
                    <a:pt x="235" y="123"/>
                  </a:lnTo>
                  <a:lnTo>
                    <a:pt x="235" y="121"/>
                  </a:lnTo>
                  <a:lnTo>
                    <a:pt x="233" y="121"/>
                  </a:lnTo>
                  <a:lnTo>
                    <a:pt x="233" y="123"/>
                  </a:lnTo>
                  <a:lnTo>
                    <a:pt x="231" y="123"/>
                  </a:lnTo>
                  <a:lnTo>
                    <a:pt x="229" y="123"/>
                  </a:lnTo>
                  <a:lnTo>
                    <a:pt x="229" y="121"/>
                  </a:lnTo>
                  <a:lnTo>
                    <a:pt x="227" y="121"/>
                  </a:lnTo>
                  <a:lnTo>
                    <a:pt x="227" y="119"/>
                  </a:lnTo>
                  <a:lnTo>
                    <a:pt x="227" y="117"/>
                  </a:lnTo>
                  <a:lnTo>
                    <a:pt x="229" y="117"/>
                  </a:lnTo>
                  <a:lnTo>
                    <a:pt x="231" y="117"/>
                  </a:lnTo>
                  <a:lnTo>
                    <a:pt x="231" y="115"/>
                  </a:lnTo>
                  <a:lnTo>
                    <a:pt x="229" y="115"/>
                  </a:lnTo>
                  <a:lnTo>
                    <a:pt x="229" y="113"/>
                  </a:lnTo>
                  <a:lnTo>
                    <a:pt x="227" y="113"/>
                  </a:lnTo>
                  <a:lnTo>
                    <a:pt x="227" y="111"/>
                  </a:lnTo>
                  <a:lnTo>
                    <a:pt x="229" y="111"/>
                  </a:lnTo>
                  <a:lnTo>
                    <a:pt x="227" y="109"/>
                  </a:lnTo>
                  <a:lnTo>
                    <a:pt x="227" y="111"/>
                  </a:lnTo>
                  <a:lnTo>
                    <a:pt x="225" y="111"/>
                  </a:lnTo>
                  <a:lnTo>
                    <a:pt x="225" y="109"/>
                  </a:lnTo>
                  <a:lnTo>
                    <a:pt x="223" y="109"/>
                  </a:lnTo>
                  <a:lnTo>
                    <a:pt x="225" y="109"/>
                  </a:lnTo>
                  <a:lnTo>
                    <a:pt x="225" y="107"/>
                  </a:lnTo>
                  <a:lnTo>
                    <a:pt x="225" y="109"/>
                  </a:lnTo>
                  <a:lnTo>
                    <a:pt x="225" y="107"/>
                  </a:lnTo>
                  <a:lnTo>
                    <a:pt x="227" y="107"/>
                  </a:lnTo>
                  <a:lnTo>
                    <a:pt x="227" y="105"/>
                  </a:lnTo>
                  <a:lnTo>
                    <a:pt x="229" y="105"/>
                  </a:lnTo>
                  <a:lnTo>
                    <a:pt x="231" y="105"/>
                  </a:lnTo>
                  <a:lnTo>
                    <a:pt x="231" y="104"/>
                  </a:lnTo>
                  <a:lnTo>
                    <a:pt x="233" y="104"/>
                  </a:lnTo>
                  <a:lnTo>
                    <a:pt x="231" y="104"/>
                  </a:lnTo>
                  <a:lnTo>
                    <a:pt x="229" y="104"/>
                  </a:lnTo>
                  <a:lnTo>
                    <a:pt x="229" y="102"/>
                  </a:lnTo>
                  <a:lnTo>
                    <a:pt x="231" y="102"/>
                  </a:lnTo>
                  <a:lnTo>
                    <a:pt x="233" y="102"/>
                  </a:lnTo>
                  <a:lnTo>
                    <a:pt x="233" y="100"/>
                  </a:lnTo>
                  <a:lnTo>
                    <a:pt x="235" y="100"/>
                  </a:lnTo>
                  <a:lnTo>
                    <a:pt x="237" y="100"/>
                  </a:lnTo>
                  <a:lnTo>
                    <a:pt x="237" y="98"/>
                  </a:lnTo>
                  <a:lnTo>
                    <a:pt x="237" y="96"/>
                  </a:lnTo>
                  <a:lnTo>
                    <a:pt x="238" y="96"/>
                  </a:lnTo>
                  <a:lnTo>
                    <a:pt x="240" y="96"/>
                  </a:lnTo>
                  <a:lnTo>
                    <a:pt x="242" y="98"/>
                  </a:lnTo>
                  <a:lnTo>
                    <a:pt x="242" y="100"/>
                  </a:lnTo>
                  <a:lnTo>
                    <a:pt x="244" y="100"/>
                  </a:lnTo>
                  <a:lnTo>
                    <a:pt x="246" y="100"/>
                  </a:lnTo>
                  <a:lnTo>
                    <a:pt x="246" y="98"/>
                  </a:lnTo>
                  <a:lnTo>
                    <a:pt x="246" y="96"/>
                  </a:lnTo>
                  <a:lnTo>
                    <a:pt x="246" y="92"/>
                  </a:lnTo>
                  <a:lnTo>
                    <a:pt x="246" y="90"/>
                  </a:lnTo>
                  <a:lnTo>
                    <a:pt x="246" y="88"/>
                  </a:lnTo>
                  <a:lnTo>
                    <a:pt x="246" y="86"/>
                  </a:lnTo>
                  <a:lnTo>
                    <a:pt x="250" y="86"/>
                  </a:lnTo>
                  <a:lnTo>
                    <a:pt x="252" y="86"/>
                  </a:lnTo>
                  <a:lnTo>
                    <a:pt x="250" y="84"/>
                  </a:lnTo>
                  <a:lnTo>
                    <a:pt x="250" y="82"/>
                  </a:lnTo>
                  <a:lnTo>
                    <a:pt x="250" y="81"/>
                  </a:lnTo>
                  <a:lnTo>
                    <a:pt x="250" y="79"/>
                  </a:lnTo>
                  <a:lnTo>
                    <a:pt x="250" y="77"/>
                  </a:lnTo>
                  <a:lnTo>
                    <a:pt x="252" y="77"/>
                  </a:lnTo>
                  <a:lnTo>
                    <a:pt x="254" y="77"/>
                  </a:lnTo>
                  <a:lnTo>
                    <a:pt x="254" y="75"/>
                  </a:lnTo>
                  <a:lnTo>
                    <a:pt x="256" y="75"/>
                  </a:lnTo>
                  <a:lnTo>
                    <a:pt x="258" y="75"/>
                  </a:lnTo>
                  <a:lnTo>
                    <a:pt x="258" y="73"/>
                  </a:lnTo>
                  <a:lnTo>
                    <a:pt x="258" y="71"/>
                  </a:lnTo>
                  <a:lnTo>
                    <a:pt x="260" y="71"/>
                  </a:lnTo>
                  <a:lnTo>
                    <a:pt x="262" y="73"/>
                  </a:lnTo>
                  <a:lnTo>
                    <a:pt x="263" y="73"/>
                  </a:lnTo>
                  <a:lnTo>
                    <a:pt x="265" y="71"/>
                  </a:lnTo>
                  <a:lnTo>
                    <a:pt x="265" y="73"/>
                  </a:lnTo>
                  <a:lnTo>
                    <a:pt x="267" y="73"/>
                  </a:lnTo>
                  <a:lnTo>
                    <a:pt x="267" y="71"/>
                  </a:lnTo>
                  <a:lnTo>
                    <a:pt x="267" y="73"/>
                  </a:lnTo>
                  <a:lnTo>
                    <a:pt x="267" y="75"/>
                  </a:lnTo>
                  <a:lnTo>
                    <a:pt x="269" y="75"/>
                  </a:lnTo>
                  <a:lnTo>
                    <a:pt x="269" y="73"/>
                  </a:lnTo>
                  <a:lnTo>
                    <a:pt x="269" y="75"/>
                  </a:lnTo>
                  <a:lnTo>
                    <a:pt x="271" y="73"/>
                  </a:lnTo>
                  <a:lnTo>
                    <a:pt x="271" y="71"/>
                  </a:lnTo>
                  <a:lnTo>
                    <a:pt x="273" y="73"/>
                  </a:lnTo>
                  <a:lnTo>
                    <a:pt x="273" y="75"/>
                  </a:lnTo>
                  <a:lnTo>
                    <a:pt x="275" y="73"/>
                  </a:lnTo>
                  <a:lnTo>
                    <a:pt x="275" y="71"/>
                  </a:lnTo>
                  <a:lnTo>
                    <a:pt x="277" y="71"/>
                  </a:lnTo>
                  <a:lnTo>
                    <a:pt x="279" y="71"/>
                  </a:lnTo>
                  <a:lnTo>
                    <a:pt x="281" y="71"/>
                  </a:lnTo>
                  <a:lnTo>
                    <a:pt x="281" y="69"/>
                  </a:lnTo>
                  <a:lnTo>
                    <a:pt x="283" y="69"/>
                  </a:lnTo>
                  <a:lnTo>
                    <a:pt x="283" y="67"/>
                  </a:lnTo>
                  <a:lnTo>
                    <a:pt x="283" y="65"/>
                  </a:lnTo>
                  <a:lnTo>
                    <a:pt x="285" y="65"/>
                  </a:lnTo>
                  <a:lnTo>
                    <a:pt x="283" y="65"/>
                  </a:lnTo>
                  <a:lnTo>
                    <a:pt x="283" y="63"/>
                  </a:lnTo>
                  <a:lnTo>
                    <a:pt x="283" y="61"/>
                  </a:lnTo>
                  <a:lnTo>
                    <a:pt x="281" y="61"/>
                  </a:lnTo>
                  <a:lnTo>
                    <a:pt x="283" y="59"/>
                  </a:lnTo>
                  <a:lnTo>
                    <a:pt x="281" y="59"/>
                  </a:lnTo>
                  <a:lnTo>
                    <a:pt x="281" y="57"/>
                  </a:lnTo>
                  <a:lnTo>
                    <a:pt x="279" y="57"/>
                  </a:lnTo>
                  <a:lnTo>
                    <a:pt x="279" y="56"/>
                  </a:lnTo>
                  <a:lnTo>
                    <a:pt x="281" y="54"/>
                  </a:lnTo>
                  <a:lnTo>
                    <a:pt x="283" y="54"/>
                  </a:lnTo>
                  <a:lnTo>
                    <a:pt x="290" y="52"/>
                  </a:lnTo>
                  <a:lnTo>
                    <a:pt x="294" y="52"/>
                  </a:lnTo>
                  <a:lnTo>
                    <a:pt x="302" y="46"/>
                  </a:lnTo>
                  <a:lnTo>
                    <a:pt x="306" y="46"/>
                  </a:lnTo>
                  <a:lnTo>
                    <a:pt x="304" y="44"/>
                  </a:lnTo>
                  <a:lnTo>
                    <a:pt x="302" y="42"/>
                  </a:lnTo>
                  <a:lnTo>
                    <a:pt x="302" y="40"/>
                  </a:lnTo>
                  <a:lnTo>
                    <a:pt x="300" y="40"/>
                  </a:lnTo>
                  <a:lnTo>
                    <a:pt x="300" y="42"/>
                  </a:lnTo>
                  <a:lnTo>
                    <a:pt x="298" y="40"/>
                  </a:lnTo>
                  <a:lnTo>
                    <a:pt x="298" y="38"/>
                  </a:lnTo>
                  <a:lnTo>
                    <a:pt x="296" y="38"/>
                  </a:lnTo>
                  <a:lnTo>
                    <a:pt x="294" y="38"/>
                  </a:lnTo>
                  <a:lnTo>
                    <a:pt x="294" y="36"/>
                  </a:lnTo>
                  <a:lnTo>
                    <a:pt x="296" y="36"/>
                  </a:lnTo>
                  <a:lnTo>
                    <a:pt x="298" y="36"/>
                  </a:lnTo>
                  <a:lnTo>
                    <a:pt x="298" y="38"/>
                  </a:lnTo>
                  <a:lnTo>
                    <a:pt x="300" y="38"/>
                  </a:lnTo>
                  <a:lnTo>
                    <a:pt x="300" y="36"/>
                  </a:lnTo>
                  <a:lnTo>
                    <a:pt x="300" y="34"/>
                  </a:lnTo>
                  <a:lnTo>
                    <a:pt x="298" y="33"/>
                  </a:lnTo>
                  <a:lnTo>
                    <a:pt x="298" y="31"/>
                  </a:lnTo>
                  <a:lnTo>
                    <a:pt x="298" y="29"/>
                  </a:lnTo>
                  <a:lnTo>
                    <a:pt x="296" y="29"/>
                  </a:lnTo>
                  <a:lnTo>
                    <a:pt x="294" y="27"/>
                  </a:lnTo>
                  <a:lnTo>
                    <a:pt x="292" y="25"/>
                  </a:lnTo>
                  <a:lnTo>
                    <a:pt x="290" y="25"/>
                  </a:lnTo>
                  <a:lnTo>
                    <a:pt x="288" y="25"/>
                  </a:lnTo>
                  <a:lnTo>
                    <a:pt x="288" y="23"/>
                  </a:lnTo>
                  <a:lnTo>
                    <a:pt x="287" y="23"/>
                  </a:lnTo>
                  <a:lnTo>
                    <a:pt x="285" y="23"/>
                  </a:lnTo>
                  <a:lnTo>
                    <a:pt x="283" y="23"/>
                  </a:lnTo>
                  <a:lnTo>
                    <a:pt x="283" y="21"/>
                  </a:lnTo>
                  <a:lnTo>
                    <a:pt x="283" y="19"/>
                  </a:lnTo>
                  <a:lnTo>
                    <a:pt x="285" y="17"/>
                  </a:lnTo>
                  <a:lnTo>
                    <a:pt x="285" y="15"/>
                  </a:lnTo>
                  <a:lnTo>
                    <a:pt x="287" y="15"/>
                  </a:lnTo>
                  <a:lnTo>
                    <a:pt x="292" y="11"/>
                  </a:lnTo>
                  <a:lnTo>
                    <a:pt x="294" y="9"/>
                  </a:lnTo>
                  <a:lnTo>
                    <a:pt x="296" y="8"/>
                  </a:lnTo>
                  <a:lnTo>
                    <a:pt x="298" y="6"/>
                  </a:lnTo>
                  <a:lnTo>
                    <a:pt x="300" y="2"/>
                  </a:lnTo>
                  <a:lnTo>
                    <a:pt x="302" y="2"/>
                  </a:lnTo>
                  <a:lnTo>
                    <a:pt x="304" y="2"/>
                  </a:lnTo>
                  <a:lnTo>
                    <a:pt x="306" y="2"/>
                  </a:lnTo>
                  <a:lnTo>
                    <a:pt x="308" y="2"/>
                  </a:lnTo>
                  <a:lnTo>
                    <a:pt x="310" y="2"/>
                  </a:lnTo>
                  <a:lnTo>
                    <a:pt x="311" y="2"/>
                  </a:lnTo>
                  <a:lnTo>
                    <a:pt x="313" y="0"/>
                  </a:lnTo>
                  <a:lnTo>
                    <a:pt x="315" y="0"/>
                  </a:lnTo>
                  <a:lnTo>
                    <a:pt x="319" y="2"/>
                  </a:lnTo>
                  <a:lnTo>
                    <a:pt x="323" y="2"/>
                  </a:lnTo>
                  <a:lnTo>
                    <a:pt x="329" y="4"/>
                  </a:lnTo>
                  <a:lnTo>
                    <a:pt x="331" y="4"/>
                  </a:lnTo>
                  <a:lnTo>
                    <a:pt x="335" y="6"/>
                  </a:lnTo>
                  <a:lnTo>
                    <a:pt x="338" y="6"/>
                  </a:lnTo>
                  <a:lnTo>
                    <a:pt x="340" y="6"/>
                  </a:lnTo>
                  <a:lnTo>
                    <a:pt x="342" y="6"/>
                  </a:lnTo>
                  <a:lnTo>
                    <a:pt x="344" y="8"/>
                  </a:lnTo>
                  <a:lnTo>
                    <a:pt x="350" y="9"/>
                  </a:lnTo>
                  <a:lnTo>
                    <a:pt x="356" y="11"/>
                  </a:lnTo>
                  <a:lnTo>
                    <a:pt x="359" y="13"/>
                  </a:lnTo>
                  <a:lnTo>
                    <a:pt x="361" y="13"/>
                  </a:lnTo>
                  <a:lnTo>
                    <a:pt x="365" y="15"/>
                  </a:lnTo>
                  <a:lnTo>
                    <a:pt x="365" y="13"/>
                  </a:lnTo>
                  <a:lnTo>
                    <a:pt x="365" y="11"/>
                  </a:lnTo>
                  <a:lnTo>
                    <a:pt x="367" y="11"/>
                  </a:lnTo>
                  <a:lnTo>
                    <a:pt x="367" y="13"/>
                  </a:lnTo>
                  <a:lnTo>
                    <a:pt x="369" y="13"/>
                  </a:lnTo>
                  <a:lnTo>
                    <a:pt x="371" y="13"/>
                  </a:lnTo>
                  <a:lnTo>
                    <a:pt x="373" y="13"/>
                  </a:lnTo>
                  <a:lnTo>
                    <a:pt x="375" y="15"/>
                  </a:lnTo>
                  <a:lnTo>
                    <a:pt x="377" y="15"/>
                  </a:lnTo>
                  <a:lnTo>
                    <a:pt x="377" y="13"/>
                  </a:lnTo>
                  <a:lnTo>
                    <a:pt x="379" y="13"/>
                  </a:lnTo>
                  <a:lnTo>
                    <a:pt x="379" y="8"/>
                  </a:lnTo>
                  <a:lnTo>
                    <a:pt x="379" y="6"/>
                  </a:lnTo>
                  <a:lnTo>
                    <a:pt x="381" y="6"/>
                  </a:lnTo>
                  <a:lnTo>
                    <a:pt x="381" y="4"/>
                  </a:lnTo>
                  <a:lnTo>
                    <a:pt x="383" y="2"/>
                  </a:lnTo>
                  <a:lnTo>
                    <a:pt x="383" y="0"/>
                  </a:lnTo>
                  <a:lnTo>
                    <a:pt x="384" y="0"/>
                  </a:lnTo>
                  <a:close/>
                </a:path>
              </a:pathLst>
            </a:custGeom>
            <a:solidFill>
              <a:srgbClr val="2EA657"/>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53" name="Freeform 144">
              <a:extLst>
                <a:ext uri="{FF2B5EF4-FFF2-40B4-BE49-F238E27FC236}">
                  <a16:creationId xmlns:a16="http://schemas.microsoft.com/office/drawing/2014/main" id="{9601E1FB-33F7-4115-9560-5BDEF850809E}"/>
                </a:ext>
              </a:extLst>
            </p:cNvPr>
            <p:cNvSpPr>
              <a:spLocks noEditPoints="1"/>
            </p:cNvSpPr>
            <p:nvPr/>
          </p:nvSpPr>
          <p:spPr bwMode="auto">
            <a:xfrm>
              <a:off x="5623153" y="1884649"/>
              <a:ext cx="1139724" cy="1467692"/>
            </a:xfrm>
            <a:custGeom>
              <a:avLst/>
              <a:gdLst>
                <a:gd name="T0" fmla="*/ 188 w 768"/>
                <a:gd name="T1" fmla="*/ 37 h 989"/>
                <a:gd name="T2" fmla="*/ 240 w 768"/>
                <a:gd name="T3" fmla="*/ 27 h 989"/>
                <a:gd name="T4" fmla="*/ 299 w 768"/>
                <a:gd name="T5" fmla="*/ 29 h 989"/>
                <a:gd name="T6" fmla="*/ 334 w 768"/>
                <a:gd name="T7" fmla="*/ 102 h 989"/>
                <a:gd name="T8" fmla="*/ 378 w 768"/>
                <a:gd name="T9" fmla="*/ 150 h 989"/>
                <a:gd name="T10" fmla="*/ 361 w 768"/>
                <a:gd name="T11" fmla="*/ 202 h 989"/>
                <a:gd name="T12" fmla="*/ 395 w 768"/>
                <a:gd name="T13" fmla="*/ 292 h 989"/>
                <a:gd name="T14" fmla="*/ 405 w 768"/>
                <a:gd name="T15" fmla="*/ 344 h 989"/>
                <a:gd name="T16" fmla="*/ 437 w 768"/>
                <a:gd name="T17" fmla="*/ 365 h 989"/>
                <a:gd name="T18" fmla="*/ 507 w 768"/>
                <a:gd name="T19" fmla="*/ 367 h 989"/>
                <a:gd name="T20" fmla="*/ 522 w 768"/>
                <a:gd name="T21" fmla="*/ 448 h 989"/>
                <a:gd name="T22" fmla="*/ 582 w 768"/>
                <a:gd name="T23" fmla="*/ 482 h 989"/>
                <a:gd name="T24" fmla="*/ 674 w 768"/>
                <a:gd name="T25" fmla="*/ 463 h 989"/>
                <a:gd name="T26" fmla="*/ 747 w 768"/>
                <a:gd name="T27" fmla="*/ 496 h 989"/>
                <a:gd name="T28" fmla="*/ 747 w 768"/>
                <a:gd name="T29" fmla="*/ 544 h 989"/>
                <a:gd name="T30" fmla="*/ 741 w 768"/>
                <a:gd name="T31" fmla="*/ 619 h 989"/>
                <a:gd name="T32" fmla="*/ 704 w 768"/>
                <a:gd name="T33" fmla="*/ 657 h 989"/>
                <a:gd name="T34" fmla="*/ 685 w 768"/>
                <a:gd name="T35" fmla="*/ 705 h 989"/>
                <a:gd name="T36" fmla="*/ 628 w 768"/>
                <a:gd name="T37" fmla="*/ 763 h 989"/>
                <a:gd name="T38" fmla="*/ 572 w 768"/>
                <a:gd name="T39" fmla="*/ 757 h 989"/>
                <a:gd name="T40" fmla="*/ 528 w 768"/>
                <a:gd name="T41" fmla="*/ 693 h 989"/>
                <a:gd name="T42" fmla="*/ 489 w 768"/>
                <a:gd name="T43" fmla="*/ 751 h 989"/>
                <a:gd name="T44" fmla="*/ 478 w 768"/>
                <a:gd name="T45" fmla="*/ 822 h 989"/>
                <a:gd name="T46" fmla="*/ 447 w 768"/>
                <a:gd name="T47" fmla="*/ 872 h 989"/>
                <a:gd name="T48" fmla="*/ 413 w 768"/>
                <a:gd name="T49" fmla="*/ 924 h 989"/>
                <a:gd name="T50" fmla="*/ 347 w 768"/>
                <a:gd name="T51" fmla="*/ 951 h 989"/>
                <a:gd name="T52" fmla="*/ 274 w 768"/>
                <a:gd name="T53" fmla="*/ 947 h 989"/>
                <a:gd name="T54" fmla="*/ 232 w 768"/>
                <a:gd name="T55" fmla="*/ 974 h 989"/>
                <a:gd name="T56" fmla="*/ 165 w 768"/>
                <a:gd name="T57" fmla="*/ 943 h 989"/>
                <a:gd name="T58" fmla="*/ 123 w 768"/>
                <a:gd name="T59" fmla="*/ 939 h 989"/>
                <a:gd name="T60" fmla="*/ 75 w 768"/>
                <a:gd name="T61" fmla="*/ 985 h 989"/>
                <a:gd name="T62" fmla="*/ 32 w 768"/>
                <a:gd name="T63" fmla="*/ 955 h 989"/>
                <a:gd name="T64" fmla="*/ 0 w 768"/>
                <a:gd name="T65" fmla="*/ 897 h 989"/>
                <a:gd name="T66" fmla="*/ 25 w 768"/>
                <a:gd name="T67" fmla="*/ 843 h 989"/>
                <a:gd name="T68" fmla="*/ 19 w 768"/>
                <a:gd name="T69" fmla="*/ 776 h 989"/>
                <a:gd name="T70" fmla="*/ 25 w 768"/>
                <a:gd name="T71" fmla="*/ 705 h 989"/>
                <a:gd name="T72" fmla="*/ 61 w 768"/>
                <a:gd name="T73" fmla="*/ 686 h 989"/>
                <a:gd name="T74" fmla="*/ 82 w 768"/>
                <a:gd name="T75" fmla="*/ 626 h 989"/>
                <a:gd name="T76" fmla="*/ 82 w 768"/>
                <a:gd name="T77" fmla="*/ 563 h 989"/>
                <a:gd name="T78" fmla="*/ 98 w 768"/>
                <a:gd name="T79" fmla="*/ 511 h 989"/>
                <a:gd name="T80" fmla="*/ 76 w 768"/>
                <a:gd name="T81" fmla="*/ 465 h 989"/>
                <a:gd name="T82" fmla="*/ 52 w 768"/>
                <a:gd name="T83" fmla="*/ 438 h 989"/>
                <a:gd name="T84" fmla="*/ 63 w 768"/>
                <a:gd name="T85" fmla="*/ 390 h 989"/>
                <a:gd name="T86" fmla="*/ 80 w 768"/>
                <a:gd name="T87" fmla="*/ 348 h 989"/>
                <a:gd name="T88" fmla="*/ 92 w 768"/>
                <a:gd name="T89" fmla="*/ 311 h 989"/>
                <a:gd name="T90" fmla="*/ 90 w 768"/>
                <a:gd name="T91" fmla="*/ 288 h 989"/>
                <a:gd name="T92" fmla="*/ 78 w 768"/>
                <a:gd name="T93" fmla="*/ 221 h 989"/>
                <a:gd name="T94" fmla="*/ 57 w 768"/>
                <a:gd name="T95" fmla="*/ 142 h 989"/>
                <a:gd name="T96" fmla="*/ 63 w 768"/>
                <a:gd name="T97" fmla="*/ 95 h 989"/>
                <a:gd name="T98" fmla="*/ 113 w 768"/>
                <a:gd name="T99" fmla="*/ 37 h 989"/>
                <a:gd name="T100" fmla="*/ 159 w 768"/>
                <a:gd name="T101" fmla="*/ 10 h 989"/>
                <a:gd name="T102" fmla="*/ 349 w 768"/>
                <a:gd name="T103" fmla="*/ 440 h 989"/>
                <a:gd name="T104" fmla="*/ 297 w 768"/>
                <a:gd name="T105" fmla="*/ 419 h 989"/>
                <a:gd name="T106" fmla="*/ 265 w 768"/>
                <a:gd name="T107" fmla="*/ 446 h 989"/>
                <a:gd name="T108" fmla="*/ 280 w 768"/>
                <a:gd name="T109" fmla="*/ 475 h 989"/>
                <a:gd name="T110" fmla="*/ 311 w 768"/>
                <a:gd name="T111" fmla="*/ 513 h 989"/>
                <a:gd name="T112" fmla="*/ 340 w 768"/>
                <a:gd name="T113" fmla="*/ 569 h 989"/>
                <a:gd name="T114" fmla="*/ 357 w 768"/>
                <a:gd name="T115" fmla="*/ 544 h 989"/>
                <a:gd name="T116" fmla="*/ 384 w 768"/>
                <a:gd name="T117" fmla="*/ 515 h 989"/>
                <a:gd name="T118" fmla="*/ 393 w 768"/>
                <a:gd name="T119" fmla="*/ 480 h 989"/>
                <a:gd name="T120" fmla="*/ 414 w 768"/>
                <a:gd name="T121" fmla="*/ 448 h 989"/>
                <a:gd name="T122" fmla="*/ 436 w 768"/>
                <a:gd name="T123" fmla="*/ 35 h 989"/>
                <a:gd name="T124" fmla="*/ 434 w 768"/>
                <a:gd name="T125" fmla="*/ 22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8" h="989">
                  <a:moveTo>
                    <a:pt x="286" y="454"/>
                  </a:moveTo>
                  <a:lnTo>
                    <a:pt x="286" y="455"/>
                  </a:lnTo>
                  <a:lnTo>
                    <a:pt x="288" y="455"/>
                  </a:lnTo>
                  <a:lnTo>
                    <a:pt x="288" y="457"/>
                  </a:lnTo>
                  <a:lnTo>
                    <a:pt x="288" y="459"/>
                  </a:lnTo>
                  <a:lnTo>
                    <a:pt x="286" y="459"/>
                  </a:lnTo>
                  <a:lnTo>
                    <a:pt x="284" y="459"/>
                  </a:lnTo>
                  <a:lnTo>
                    <a:pt x="284" y="457"/>
                  </a:lnTo>
                  <a:lnTo>
                    <a:pt x="284" y="459"/>
                  </a:lnTo>
                  <a:lnTo>
                    <a:pt x="282" y="459"/>
                  </a:lnTo>
                  <a:lnTo>
                    <a:pt x="282" y="457"/>
                  </a:lnTo>
                  <a:lnTo>
                    <a:pt x="280" y="457"/>
                  </a:lnTo>
                  <a:lnTo>
                    <a:pt x="278" y="457"/>
                  </a:lnTo>
                  <a:lnTo>
                    <a:pt x="278" y="455"/>
                  </a:lnTo>
                  <a:lnTo>
                    <a:pt x="278" y="454"/>
                  </a:lnTo>
                  <a:lnTo>
                    <a:pt x="280" y="454"/>
                  </a:lnTo>
                  <a:lnTo>
                    <a:pt x="282" y="454"/>
                  </a:lnTo>
                  <a:lnTo>
                    <a:pt x="284" y="454"/>
                  </a:lnTo>
                  <a:lnTo>
                    <a:pt x="284" y="452"/>
                  </a:lnTo>
                  <a:lnTo>
                    <a:pt x="286" y="452"/>
                  </a:lnTo>
                  <a:lnTo>
                    <a:pt x="286" y="454"/>
                  </a:lnTo>
                  <a:close/>
                  <a:moveTo>
                    <a:pt x="443" y="39"/>
                  </a:moveTo>
                  <a:lnTo>
                    <a:pt x="441" y="39"/>
                  </a:lnTo>
                  <a:lnTo>
                    <a:pt x="443" y="39"/>
                  </a:lnTo>
                  <a:close/>
                  <a:moveTo>
                    <a:pt x="178" y="4"/>
                  </a:moveTo>
                  <a:lnTo>
                    <a:pt x="178" y="6"/>
                  </a:lnTo>
                  <a:lnTo>
                    <a:pt x="178" y="8"/>
                  </a:lnTo>
                  <a:lnTo>
                    <a:pt x="176" y="8"/>
                  </a:lnTo>
                  <a:lnTo>
                    <a:pt x="178" y="10"/>
                  </a:lnTo>
                  <a:lnTo>
                    <a:pt x="178" y="12"/>
                  </a:lnTo>
                  <a:lnTo>
                    <a:pt x="178" y="14"/>
                  </a:lnTo>
                  <a:lnTo>
                    <a:pt x="178" y="16"/>
                  </a:lnTo>
                  <a:lnTo>
                    <a:pt x="176" y="16"/>
                  </a:lnTo>
                  <a:lnTo>
                    <a:pt x="172" y="16"/>
                  </a:lnTo>
                  <a:lnTo>
                    <a:pt x="172" y="18"/>
                  </a:lnTo>
                  <a:lnTo>
                    <a:pt x="174" y="18"/>
                  </a:lnTo>
                  <a:lnTo>
                    <a:pt x="174" y="20"/>
                  </a:lnTo>
                  <a:lnTo>
                    <a:pt x="174" y="22"/>
                  </a:lnTo>
                  <a:lnTo>
                    <a:pt x="174" y="23"/>
                  </a:lnTo>
                  <a:lnTo>
                    <a:pt x="174" y="25"/>
                  </a:lnTo>
                  <a:lnTo>
                    <a:pt x="174" y="27"/>
                  </a:lnTo>
                  <a:lnTo>
                    <a:pt x="176" y="27"/>
                  </a:lnTo>
                  <a:lnTo>
                    <a:pt x="176" y="29"/>
                  </a:lnTo>
                  <a:lnTo>
                    <a:pt x="174" y="29"/>
                  </a:lnTo>
                  <a:lnTo>
                    <a:pt x="176" y="31"/>
                  </a:lnTo>
                  <a:lnTo>
                    <a:pt x="178" y="31"/>
                  </a:lnTo>
                  <a:lnTo>
                    <a:pt x="178" y="33"/>
                  </a:lnTo>
                  <a:lnTo>
                    <a:pt x="182" y="35"/>
                  </a:lnTo>
                  <a:lnTo>
                    <a:pt x="186" y="37"/>
                  </a:lnTo>
                  <a:lnTo>
                    <a:pt x="188" y="39"/>
                  </a:lnTo>
                  <a:lnTo>
                    <a:pt x="188" y="37"/>
                  </a:lnTo>
                  <a:lnTo>
                    <a:pt x="188" y="35"/>
                  </a:lnTo>
                  <a:lnTo>
                    <a:pt x="188" y="33"/>
                  </a:lnTo>
                  <a:lnTo>
                    <a:pt x="188" y="31"/>
                  </a:lnTo>
                  <a:lnTo>
                    <a:pt x="192" y="31"/>
                  </a:lnTo>
                  <a:lnTo>
                    <a:pt x="194" y="33"/>
                  </a:lnTo>
                  <a:lnTo>
                    <a:pt x="194" y="37"/>
                  </a:lnTo>
                  <a:lnTo>
                    <a:pt x="196" y="37"/>
                  </a:lnTo>
                  <a:lnTo>
                    <a:pt x="196" y="35"/>
                  </a:lnTo>
                  <a:lnTo>
                    <a:pt x="197" y="35"/>
                  </a:lnTo>
                  <a:lnTo>
                    <a:pt x="199" y="35"/>
                  </a:lnTo>
                  <a:lnTo>
                    <a:pt x="201" y="35"/>
                  </a:lnTo>
                  <a:lnTo>
                    <a:pt x="201" y="33"/>
                  </a:lnTo>
                  <a:lnTo>
                    <a:pt x="203" y="35"/>
                  </a:lnTo>
                  <a:lnTo>
                    <a:pt x="203" y="37"/>
                  </a:lnTo>
                  <a:lnTo>
                    <a:pt x="205" y="37"/>
                  </a:lnTo>
                  <a:lnTo>
                    <a:pt x="205" y="39"/>
                  </a:lnTo>
                  <a:lnTo>
                    <a:pt x="207" y="39"/>
                  </a:lnTo>
                  <a:lnTo>
                    <a:pt x="209" y="41"/>
                  </a:lnTo>
                  <a:lnTo>
                    <a:pt x="211" y="41"/>
                  </a:lnTo>
                  <a:lnTo>
                    <a:pt x="211" y="39"/>
                  </a:lnTo>
                  <a:lnTo>
                    <a:pt x="211" y="37"/>
                  </a:lnTo>
                  <a:lnTo>
                    <a:pt x="211" y="35"/>
                  </a:lnTo>
                  <a:lnTo>
                    <a:pt x="213" y="33"/>
                  </a:lnTo>
                  <a:lnTo>
                    <a:pt x="213" y="31"/>
                  </a:lnTo>
                  <a:lnTo>
                    <a:pt x="215" y="31"/>
                  </a:lnTo>
                  <a:lnTo>
                    <a:pt x="215" y="29"/>
                  </a:lnTo>
                  <a:lnTo>
                    <a:pt x="215" y="27"/>
                  </a:lnTo>
                  <a:lnTo>
                    <a:pt x="213" y="27"/>
                  </a:lnTo>
                  <a:lnTo>
                    <a:pt x="215" y="27"/>
                  </a:lnTo>
                  <a:lnTo>
                    <a:pt x="215" y="25"/>
                  </a:lnTo>
                  <a:lnTo>
                    <a:pt x="217" y="23"/>
                  </a:lnTo>
                  <a:lnTo>
                    <a:pt x="219" y="23"/>
                  </a:lnTo>
                  <a:lnTo>
                    <a:pt x="221" y="23"/>
                  </a:lnTo>
                  <a:lnTo>
                    <a:pt x="222" y="23"/>
                  </a:lnTo>
                  <a:lnTo>
                    <a:pt x="224" y="23"/>
                  </a:lnTo>
                  <a:lnTo>
                    <a:pt x="222" y="23"/>
                  </a:lnTo>
                  <a:lnTo>
                    <a:pt x="224" y="23"/>
                  </a:lnTo>
                  <a:lnTo>
                    <a:pt x="226" y="23"/>
                  </a:lnTo>
                  <a:lnTo>
                    <a:pt x="228" y="23"/>
                  </a:lnTo>
                  <a:lnTo>
                    <a:pt x="228" y="25"/>
                  </a:lnTo>
                  <a:lnTo>
                    <a:pt x="230" y="25"/>
                  </a:lnTo>
                  <a:lnTo>
                    <a:pt x="230" y="27"/>
                  </a:lnTo>
                  <a:lnTo>
                    <a:pt x="230" y="29"/>
                  </a:lnTo>
                  <a:lnTo>
                    <a:pt x="230" y="31"/>
                  </a:lnTo>
                  <a:lnTo>
                    <a:pt x="232" y="31"/>
                  </a:lnTo>
                  <a:lnTo>
                    <a:pt x="234" y="31"/>
                  </a:lnTo>
                  <a:lnTo>
                    <a:pt x="236" y="31"/>
                  </a:lnTo>
                  <a:lnTo>
                    <a:pt x="238" y="29"/>
                  </a:lnTo>
                  <a:lnTo>
                    <a:pt x="238" y="27"/>
                  </a:lnTo>
                  <a:lnTo>
                    <a:pt x="240" y="25"/>
                  </a:lnTo>
                  <a:lnTo>
                    <a:pt x="240" y="27"/>
                  </a:lnTo>
                  <a:lnTo>
                    <a:pt x="242" y="27"/>
                  </a:lnTo>
                  <a:lnTo>
                    <a:pt x="242" y="29"/>
                  </a:lnTo>
                  <a:lnTo>
                    <a:pt x="244" y="27"/>
                  </a:lnTo>
                  <a:lnTo>
                    <a:pt x="245" y="27"/>
                  </a:lnTo>
                  <a:lnTo>
                    <a:pt x="245" y="25"/>
                  </a:lnTo>
                  <a:lnTo>
                    <a:pt x="247" y="25"/>
                  </a:lnTo>
                  <a:lnTo>
                    <a:pt x="247" y="23"/>
                  </a:lnTo>
                  <a:lnTo>
                    <a:pt x="249" y="23"/>
                  </a:lnTo>
                  <a:lnTo>
                    <a:pt x="249" y="22"/>
                  </a:lnTo>
                  <a:lnTo>
                    <a:pt x="249" y="20"/>
                  </a:lnTo>
                  <a:lnTo>
                    <a:pt x="251" y="20"/>
                  </a:lnTo>
                  <a:lnTo>
                    <a:pt x="253" y="22"/>
                  </a:lnTo>
                  <a:lnTo>
                    <a:pt x="255" y="22"/>
                  </a:lnTo>
                  <a:lnTo>
                    <a:pt x="257" y="22"/>
                  </a:lnTo>
                  <a:lnTo>
                    <a:pt x="257" y="23"/>
                  </a:lnTo>
                  <a:lnTo>
                    <a:pt x="259" y="23"/>
                  </a:lnTo>
                  <a:lnTo>
                    <a:pt x="261" y="23"/>
                  </a:lnTo>
                  <a:lnTo>
                    <a:pt x="263" y="23"/>
                  </a:lnTo>
                  <a:lnTo>
                    <a:pt x="265" y="25"/>
                  </a:lnTo>
                  <a:lnTo>
                    <a:pt x="267" y="25"/>
                  </a:lnTo>
                  <a:lnTo>
                    <a:pt x="269" y="25"/>
                  </a:lnTo>
                  <a:lnTo>
                    <a:pt x="269" y="27"/>
                  </a:lnTo>
                  <a:lnTo>
                    <a:pt x="270" y="27"/>
                  </a:lnTo>
                  <a:lnTo>
                    <a:pt x="272" y="27"/>
                  </a:lnTo>
                  <a:lnTo>
                    <a:pt x="272" y="29"/>
                  </a:lnTo>
                  <a:lnTo>
                    <a:pt x="274" y="29"/>
                  </a:lnTo>
                  <a:lnTo>
                    <a:pt x="276" y="31"/>
                  </a:lnTo>
                  <a:lnTo>
                    <a:pt x="276" y="29"/>
                  </a:lnTo>
                  <a:lnTo>
                    <a:pt x="278" y="29"/>
                  </a:lnTo>
                  <a:lnTo>
                    <a:pt x="278" y="27"/>
                  </a:lnTo>
                  <a:lnTo>
                    <a:pt x="278" y="25"/>
                  </a:lnTo>
                  <a:lnTo>
                    <a:pt x="278" y="23"/>
                  </a:lnTo>
                  <a:lnTo>
                    <a:pt x="280" y="23"/>
                  </a:lnTo>
                  <a:lnTo>
                    <a:pt x="280" y="25"/>
                  </a:lnTo>
                  <a:lnTo>
                    <a:pt x="282" y="25"/>
                  </a:lnTo>
                  <a:lnTo>
                    <a:pt x="282" y="27"/>
                  </a:lnTo>
                  <a:lnTo>
                    <a:pt x="284" y="27"/>
                  </a:lnTo>
                  <a:lnTo>
                    <a:pt x="284" y="29"/>
                  </a:lnTo>
                  <a:lnTo>
                    <a:pt x="286" y="29"/>
                  </a:lnTo>
                  <a:lnTo>
                    <a:pt x="286" y="31"/>
                  </a:lnTo>
                  <a:lnTo>
                    <a:pt x="288" y="31"/>
                  </a:lnTo>
                  <a:lnTo>
                    <a:pt x="288" y="29"/>
                  </a:lnTo>
                  <a:lnTo>
                    <a:pt x="288" y="27"/>
                  </a:lnTo>
                  <a:lnTo>
                    <a:pt x="290" y="23"/>
                  </a:lnTo>
                  <a:lnTo>
                    <a:pt x="292" y="22"/>
                  </a:lnTo>
                  <a:lnTo>
                    <a:pt x="293" y="22"/>
                  </a:lnTo>
                  <a:lnTo>
                    <a:pt x="295" y="23"/>
                  </a:lnTo>
                  <a:lnTo>
                    <a:pt x="295" y="25"/>
                  </a:lnTo>
                  <a:lnTo>
                    <a:pt x="297" y="25"/>
                  </a:lnTo>
                  <a:lnTo>
                    <a:pt x="297" y="27"/>
                  </a:lnTo>
                  <a:lnTo>
                    <a:pt x="299" y="29"/>
                  </a:lnTo>
                  <a:lnTo>
                    <a:pt x="301" y="31"/>
                  </a:lnTo>
                  <a:lnTo>
                    <a:pt x="303" y="31"/>
                  </a:lnTo>
                  <a:lnTo>
                    <a:pt x="305" y="33"/>
                  </a:lnTo>
                  <a:lnTo>
                    <a:pt x="307" y="33"/>
                  </a:lnTo>
                  <a:lnTo>
                    <a:pt x="307" y="35"/>
                  </a:lnTo>
                  <a:lnTo>
                    <a:pt x="309" y="35"/>
                  </a:lnTo>
                  <a:lnTo>
                    <a:pt x="311" y="37"/>
                  </a:lnTo>
                  <a:lnTo>
                    <a:pt x="313" y="39"/>
                  </a:lnTo>
                  <a:lnTo>
                    <a:pt x="313" y="41"/>
                  </a:lnTo>
                  <a:lnTo>
                    <a:pt x="315" y="43"/>
                  </a:lnTo>
                  <a:lnTo>
                    <a:pt x="318" y="45"/>
                  </a:lnTo>
                  <a:lnTo>
                    <a:pt x="318" y="47"/>
                  </a:lnTo>
                  <a:lnTo>
                    <a:pt x="320" y="47"/>
                  </a:lnTo>
                  <a:lnTo>
                    <a:pt x="320" y="48"/>
                  </a:lnTo>
                  <a:lnTo>
                    <a:pt x="322" y="48"/>
                  </a:lnTo>
                  <a:lnTo>
                    <a:pt x="322" y="50"/>
                  </a:lnTo>
                  <a:lnTo>
                    <a:pt x="322" y="52"/>
                  </a:lnTo>
                  <a:lnTo>
                    <a:pt x="324" y="52"/>
                  </a:lnTo>
                  <a:lnTo>
                    <a:pt x="324" y="54"/>
                  </a:lnTo>
                  <a:lnTo>
                    <a:pt x="324" y="56"/>
                  </a:lnTo>
                  <a:lnTo>
                    <a:pt x="326" y="56"/>
                  </a:lnTo>
                  <a:lnTo>
                    <a:pt x="326" y="58"/>
                  </a:lnTo>
                  <a:lnTo>
                    <a:pt x="326" y="60"/>
                  </a:lnTo>
                  <a:lnTo>
                    <a:pt x="328" y="60"/>
                  </a:lnTo>
                  <a:lnTo>
                    <a:pt x="328" y="62"/>
                  </a:lnTo>
                  <a:lnTo>
                    <a:pt x="330" y="62"/>
                  </a:lnTo>
                  <a:lnTo>
                    <a:pt x="330" y="64"/>
                  </a:lnTo>
                  <a:lnTo>
                    <a:pt x="332" y="64"/>
                  </a:lnTo>
                  <a:lnTo>
                    <a:pt x="332" y="66"/>
                  </a:lnTo>
                  <a:lnTo>
                    <a:pt x="332" y="68"/>
                  </a:lnTo>
                  <a:lnTo>
                    <a:pt x="332" y="70"/>
                  </a:lnTo>
                  <a:lnTo>
                    <a:pt x="332" y="71"/>
                  </a:lnTo>
                  <a:lnTo>
                    <a:pt x="332" y="75"/>
                  </a:lnTo>
                  <a:lnTo>
                    <a:pt x="332" y="79"/>
                  </a:lnTo>
                  <a:lnTo>
                    <a:pt x="332" y="81"/>
                  </a:lnTo>
                  <a:lnTo>
                    <a:pt x="334" y="81"/>
                  </a:lnTo>
                  <a:lnTo>
                    <a:pt x="334" y="83"/>
                  </a:lnTo>
                  <a:lnTo>
                    <a:pt x="332" y="83"/>
                  </a:lnTo>
                  <a:lnTo>
                    <a:pt x="332" y="85"/>
                  </a:lnTo>
                  <a:lnTo>
                    <a:pt x="330" y="87"/>
                  </a:lnTo>
                  <a:lnTo>
                    <a:pt x="326" y="87"/>
                  </a:lnTo>
                  <a:lnTo>
                    <a:pt x="326" y="89"/>
                  </a:lnTo>
                  <a:lnTo>
                    <a:pt x="324" y="89"/>
                  </a:lnTo>
                  <a:lnTo>
                    <a:pt x="324" y="93"/>
                  </a:lnTo>
                  <a:lnTo>
                    <a:pt x="326" y="93"/>
                  </a:lnTo>
                  <a:lnTo>
                    <a:pt x="326" y="95"/>
                  </a:lnTo>
                  <a:lnTo>
                    <a:pt x="328" y="95"/>
                  </a:lnTo>
                  <a:lnTo>
                    <a:pt x="328" y="96"/>
                  </a:lnTo>
                  <a:lnTo>
                    <a:pt x="330" y="96"/>
                  </a:lnTo>
                  <a:lnTo>
                    <a:pt x="332" y="100"/>
                  </a:lnTo>
                  <a:lnTo>
                    <a:pt x="334" y="102"/>
                  </a:lnTo>
                  <a:lnTo>
                    <a:pt x="334" y="104"/>
                  </a:lnTo>
                  <a:lnTo>
                    <a:pt x="336" y="106"/>
                  </a:lnTo>
                  <a:lnTo>
                    <a:pt x="338" y="106"/>
                  </a:lnTo>
                  <a:lnTo>
                    <a:pt x="340" y="108"/>
                  </a:lnTo>
                  <a:lnTo>
                    <a:pt x="340" y="110"/>
                  </a:lnTo>
                  <a:lnTo>
                    <a:pt x="340" y="112"/>
                  </a:lnTo>
                  <a:lnTo>
                    <a:pt x="341" y="114"/>
                  </a:lnTo>
                  <a:lnTo>
                    <a:pt x="343" y="114"/>
                  </a:lnTo>
                  <a:lnTo>
                    <a:pt x="345" y="116"/>
                  </a:lnTo>
                  <a:lnTo>
                    <a:pt x="347" y="116"/>
                  </a:lnTo>
                  <a:lnTo>
                    <a:pt x="349" y="116"/>
                  </a:lnTo>
                  <a:lnTo>
                    <a:pt x="351" y="116"/>
                  </a:lnTo>
                  <a:lnTo>
                    <a:pt x="353" y="116"/>
                  </a:lnTo>
                  <a:lnTo>
                    <a:pt x="355" y="116"/>
                  </a:lnTo>
                  <a:lnTo>
                    <a:pt x="357" y="118"/>
                  </a:lnTo>
                  <a:lnTo>
                    <a:pt x="357" y="119"/>
                  </a:lnTo>
                  <a:lnTo>
                    <a:pt x="355" y="119"/>
                  </a:lnTo>
                  <a:lnTo>
                    <a:pt x="355" y="121"/>
                  </a:lnTo>
                  <a:lnTo>
                    <a:pt x="357" y="121"/>
                  </a:lnTo>
                  <a:lnTo>
                    <a:pt x="357" y="123"/>
                  </a:lnTo>
                  <a:lnTo>
                    <a:pt x="357" y="125"/>
                  </a:lnTo>
                  <a:lnTo>
                    <a:pt x="355" y="125"/>
                  </a:lnTo>
                  <a:lnTo>
                    <a:pt x="353" y="125"/>
                  </a:lnTo>
                  <a:lnTo>
                    <a:pt x="353" y="127"/>
                  </a:lnTo>
                  <a:lnTo>
                    <a:pt x="353" y="129"/>
                  </a:lnTo>
                  <a:lnTo>
                    <a:pt x="353" y="131"/>
                  </a:lnTo>
                  <a:lnTo>
                    <a:pt x="355" y="131"/>
                  </a:lnTo>
                  <a:lnTo>
                    <a:pt x="359" y="131"/>
                  </a:lnTo>
                  <a:lnTo>
                    <a:pt x="359" y="129"/>
                  </a:lnTo>
                  <a:lnTo>
                    <a:pt x="361" y="129"/>
                  </a:lnTo>
                  <a:lnTo>
                    <a:pt x="365" y="129"/>
                  </a:lnTo>
                  <a:lnTo>
                    <a:pt x="366" y="129"/>
                  </a:lnTo>
                  <a:lnTo>
                    <a:pt x="368" y="131"/>
                  </a:lnTo>
                  <a:lnTo>
                    <a:pt x="368" y="133"/>
                  </a:lnTo>
                  <a:lnTo>
                    <a:pt x="370" y="133"/>
                  </a:lnTo>
                  <a:lnTo>
                    <a:pt x="370" y="135"/>
                  </a:lnTo>
                  <a:lnTo>
                    <a:pt x="372" y="135"/>
                  </a:lnTo>
                  <a:lnTo>
                    <a:pt x="372" y="137"/>
                  </a:lnTo>
                  <a:lnTo>
                    <a:pt x="374" y="137"/>
                  </a:lnTo>
                  <a:lnTo>
                    <a:pt x="374" y="139"/>
                  </a:lnTo>
                  <a:lnTo>
                    <a:pt x="376" y="139"/>
                  </a:lnTo>
                  <a:lnTo>
                    <a:pt x="374" y="139"/>
                  </a:lnTo>
                  <a:lnTo>
                    <a:pt x="374" y="141"/>
                  </a:lnTo>
                  <a:lnTo>
                    <a:pt x="376" y="141"/>
                  </a:lnTo>
                  <a:lnTo>
                    <a:pt x="378" y="142"/>
                  </a:lnTo>
                  <a:lnTo>
                    <a:pt x="378" y="144"/>
                  </a:lnTo>
                  <a:lnTo>
                    <a:pt x="378" y="146"/>
                  </a:lnTo>
                  <a:lnTo>
                    <a:pt x="378" y="148"/>
                  </a:lnTo>
                  <a:lnTo>
                    <a:pt x="380" y="148"/>
                  </a:lnTo>
                  <a:lnTo>
                    <a:pt x="380" y="150"/>
                  </a:lnTo>
                  <a:lnTo>
                    <a:pt x="378" y="150"/>
                  </a:lnTo>
                  <a:lnTo>
                    <a:pt x="378" y="152"/>
                  </a:lnTo>
                  <a:lnTo>
                    <a:pt x="376" y="152"/>
                  </a:lnTo>
                  <a:lnTo>
                    <a:pt x="374" y="152"/>
                  </a:lnTo>
                  <a:lnTo>
                    <a:pt x="374" y="150"/>
                  </a:lnTo>
                  <a:lnTo>
                    <a:pt x="372" y="150"/>
                  </a:lnTo>
                  <a:lnTo>
                    <a:pt x="372" y="148"/>
                  </a:lnTo>
                  <a:lnTo>
                    <a:pt x="370" y="148"/>
                  </a:lnTo>
                  <a:lnTo>
                    <a:pt x="368" y="148"/>
                  </a:lnTo>
                  <a:lnTo>
                    <a:pt x="366" y="148"/>
                  </a:lnTo>
                  <a:lnTo>
                    <a:pt x="366" y="150"/>
                  </a:lnTo>
                  <a:lnTo>
                    <a:pt x="365" y="150"/>
                  </a:lnTo>
                  <a:lnTo>
                    <a:pt x="365" y="152"/>
                  </a:lnTo>
                  <a:lnTo>
                    <a:pt x="365" y="154"/>
                  </a:lnTo>
                  <a:lnTo>
                    <a:pt x="365" y="156"/>
                  </a:lnTo>
                  <a:lnTo>
                    <a:pt x="366" y="156"/>
                  </a:lnTo>
                  <a:lnTo>
                    <a:pt x="366" y="158"/>
                  </a:lnTo>
                  <a:lnTo>
                    <a:pt x="368" y="158"/>
                  </a:lnTo>
                  <a:lnTo>
                    <a:pt x="368" y="160"/>
                  </a:lnTo>
                  <a:lnTo>
                    <a:pt x="368" y="162"/>
                  </a:lnTo>
                  <a:lnTo>
                    <a:pt x="370" y="162"/>
                  </a:lnTo>
                  <a:lnTo>
                    <a:pt x="370" y="164"/>
                  </a:lnTo>
                  <a:lnTo>
                    <a:pt x="368" y="166"/>
                  </a:lnTo>
                  <a:lnTo>
                    <a:pt x="366" y="166"/>
                  </a:lnTo>
                  <a:lnTo>
                    <a:pt x="366" y="167"/>
                  </a:lnTo>
                  <a:lnTo>
                    <a:pt x="365" y="167"/>
                  </a:lnTo>
                  <a:lnTo>
                    <a:pt x="365" y="169"/>
                  </a:lnTo>
                  <a:lnTo>
                    <a:pt x="366" y="169"/>
                  </a:lnTo>
                  <a:lnTo>
                    <a:pt x="366" y="171"/>
                  </a:lnTo>
                  <a:lnTo>
                    <a:pt x="368" y="171"/>
                  </a:lnTo>
                  <a:lnTo>
                    <a:pt x="370" y="171"/>
                  </a:lnTo>
                  <a:lnTo>
                    <a:pt x="370" y="173"/>
                  </a:lnTo>
                  <a:lnTo>
                    <a:pt x="370" y="175"/>
                  </a:lnTo>
                  <a:lnTo>
                    <a:pt x="368" y="175"/>
                  </a:lnTo>
                  <a:lnTo>
                    <a:pt x="366" y="175"/>
                  </a:lnTo>
                  <a:lnTo>
                    <a:pt x="365" y="175"/>
                  </a:lnTo>
                  <a:lnTo>
                    <a:pt x="365" y="173"/>
                  </a:lnTo>
                  <a:lnTo>
                    <a:pt x="363" y="173"/>
                  </a:lnTo>
                  <a:lnTo>
                    <a:pt x="361" y="173"/>
                  </a:lnTo>
                  <a:lnTo>
                    <a:pt x="359" y="175"/>
                  </a:lnTo>
                  <a:lnTo>
                    <a:pt x="357" y="177"/>
                  </a:lnTo>
                  <a:lnTo>
                    <a:pt x="357" y="183"/>
                  </a:lnTo>
                  <a:lnTo>
                    <a:pt x="357" y="185"/>
                  </a:lnTo>
                  <a:lnTo>
                    <a:pt x="357" y="187"/>
                  </a:lnTo>
                  <a:lnTo>
                    <a:pt x="357" y="189"/>
                  </a:lnTo>
                  <a:lnTo>
                    <a:pt x="357" y="190"/>
                  </a:lnTo>
                  <a:lnTo>
                    <a:pt x="359" y="192"/>
                  </a:lnTo>
                  <a:lnTo>
                    <a:pt x="359" y="194"/>
                  </a:lnTo>
                  <a:lnTo>
                    <a:pt x="361" y="196"/>
                  </a:lnTo>
                  <a:lnTo>
                    <a:pt x="361" y="198"/>
                  </a:lnTo>
                  <a:lnTo>
                    <a:pt x="363" y="200"/>
                  </a:lnTo>
                  <a:lnTo>
                    <a:pt x="361" y="202"/>
                  </a:lnTo>
                  <a:lnTo>
                    <a:pt x="361" y="204"/>
                  </a:lnTo>
                  <a:lnTo>
                    <a:pt x="359" y="204"/>
                  </a:lnTo>
                  <a:lnTo>
                    <a:pt x="357" y="204"/>
                  </a:lnTo>
                  <a:lnTo>
                    <a:pt x="355" y="206"/>
                  </a:lnTo>
                  <a:lnTo>
                    <a:pt x="353" y="208"/>
                  </a:lnTo>
                  <a:lnTo>
                    <a:pt x="353" y="210"/>
                  </a:lnTo>
                  <a:lnTo>
                    <a:pt x="355" y="212"/>
                  </a:lnTo>
                  <a:lnTo>
                    <a:pt x="355" y="214"/>
                  </a:lnTo>
                  <a:lnTo>
                    <a:pt x="357" y="215"/>
                  </a:lnTo>
                  <a:lnTo>
                    <a:pt x="359" y="215"/>
                  </a:lnTo>
                  <a:lnTo>
                    <a:pt x="359" y="217"/>
                  </a:lnTo>
                  <a:lnTo>
                    <a:pt x="357" y="219"/>
                  </a:lnTo>
                  <a:lnTo>
                    <a:pt x="357" y="221"/>
                  </a:lnTo>
                  <a:lnTo>
                    <a:pt x="355" y="223"/>
                  </a:lnTo>
                  <a:lnTo>
                    <a:pt x="353" y="225"/>
                  </a:lnTo>
                  <a:lnTo>
                    <a:pt x="353" y="227"/>
                  </a:lnTo>
                  <a:lnTo>
                    <a:pt x="353" y="229"/>
                  </a:lnTo>
                  <a:lnTo>
                    <a:pt x="353" y="231"/>
                  </a:lnTo>
                  <a:lnTo>
                    <a:pt x="353" y="233"/>
                  </a:lnTo>
                  <a:lnTo>
                    <a:pt x="353" y="235"/>
                  </a:lnTo>
                  <a:lnTo>
                    <a:pt x="353" y="237"/>
                  </a:lnTo>
                  <a:lnTo>
                    <a:pt x="370" y="238"/>
                  </a:lnTo>
                  <a:lnTo>
                    <a:pt x="380" y="238"/>
                  </a:lnTo>
                  <a:lnTo>
                    <a:pt x="380" y="242"/>
                  </a:lnTo>
                  <a:lnTo>
                    <a:pt x="380" y="244"/>
                  </a:lnTo>
                  <a:lnTo>
                    <a:pt x="380" y="246"/>
                  </a:lnTo>
                  <a:lnTo>
                    <a:pt x="382" y="246"/>
                  </a:lnTo>
                  <a:lnTo>
                    <a:pt x="384" y="246"/>
                  </a:lnTo>
                  <a:lnTo>
                    <a:pt x="386" y="246"/>
                  </a:lnTo>
                  <a:lnTo>
                    <a:pt x="389" y="250"/>
                  </a:lnTo>
                  <a:lnTo>
                    <a:pt x="389" y="252"/>
                  </a:lnTo>
                  <a:lnTo>
                    <a:pt x="389" y="254"/>
                  </a:lnTo>
                  <a:lnTo>
                    <a:pt x="391" y="256"/>
                  </a:lnTo>
                  <a:lnTo>
                    <a:pt x="391" y="258"/>
                  </a:lnTo>
                  <a:lnTo>
                    <a:pt x="391" y="260"/>
                  </a:lnTo>
                  <a:lnTo>
                    <a:pt x="389" y="260"/>
                  </a:lnTo>
                  <a:lnTo>
                    <a:pt x="389" y="262"/>
                  </a:lnTo>
                  <a:lnTo>
                    <a:pt x="389" y="263"/>
                  </a:lnTo>
                  <a:lnTo>
                    <a:pt x="388" y="267"/>
                  </a:lnTo>
                  <a:lnTo>
                    <a:pt x="391" y="271"/>
                  </a:lnTo>
                  <a:lnTo>
                    <a:pt x="391" y="275"/>
                  </a:lnTo>
                  <a:lnTo>
                    <a:pt x="393" y="277"/>
                  </a:lnTo>
                  <a:lnTo>
                    <a:pt x="393" y="279"/>
                  </a:lnTo>
                  <a:lnTo>
                    <a:pt x="393" y="281"/>
                  </a:lnTo>
                  <a:lnTo>
                    <a:pt x="393" y="283"/>
                  </a:lnTo>
                  <a:lnTo>
                    <a:pt x="393" y="285"/>
                  </a:lnTo>
                  <a:lnTo>
                    <a:pt x="393" y="286"/>
                  </a:lnTo>
                  <a:lnTo>
                    <a:pt x="395" y="286"/>
                  </a:lnTo>
                  <a:lnTo>
                    <a:pt x="395" y="288"/>
                  </a:lnTo>
                  <a:lnTo>
                    <a:pt x="395" y="290"/>
                  </a:lnTo>
                  <a:lnTo>
                    <a:pt x="395" y="292"/>
                  </a:lnTo>
                  <a:lnTo>
                    <a:pt x="399" y="292"/>
                  </a:lnTo>
                  <a:lnTo>
                    <a:pt x="399" y="294"/>
                  </a:lnTo>
                  <a:lnTo>
                    <a:pt x="403" y="296"/>
                  </a:lnTo>
                  <a:lnTo>
                    <a:pt x="405" y="296"/>
                  </a:lnTo>
                  <a:lnTo>
                    <a:pt x="405" y="298"/>
                  </a:lnTo>
                  <a:lnTo>
                    <a:pt x="407" y="298"/>
                  </a:lnTo>
                  <a:lnTo>
                    <a:pt x="409" y="298"/>
                  </a:lnTo>
                  <a:lnTo>
                    <a:pt x="409" y="300"/>
                  </a:lnTo>
                  <a:lnTo>
                    <a:pt x="409" y="302"/>
                  </a:lnTo>
                  <a:lnTo>
                    <a:pt x="411" y="302"/>
                  </a:lnTo>
                  <a:lnTo>
                    <a:pt x="413" y="304"/>
                  </a:lnTo>
                  <a:lnTo>
                    <a:pt x="414" y="304"/>
                  </a:lnTo>
                  <a:lnTo>
                    <a:pt x="414" y="306"/>
                  </a:lnTo>
                  <a:lnTo>
                    <a:pt x="416" y="306"/>
                  </a:lnTo>
                  <a:lnTo>
                    <a:pt x="416" y="308"/>
                  </a:lnTo>
                  <a:lnTo>
                    <a:pt x="418" y="308"/>
                  </a:lnTo>
                  <a:lnTo>
                    <a:pt x="416" y="310"/>
                  </a:lnTo>
                  <a:lnTo>
                    <a:pt x="418" y="310"/>
                  </a:lnTo>
                  <a:lnTo>
                    <a:pt x="418" y="311"/>
                  </a:lnTo>
                  <a:lnTo>
                    <a:pt x="418" y="315"/>
                  </a:lnTo>
                  <a:lnTo>
                    <a:pt x="418" y="317"/>
                  </a:lnTo>
                  <a:lnTo>
                    <a:pt x="416" y="317"/>
                  </a:lnTo>
                  <a:lnTo>
                    <a:pt x="416" y="319"/>
                  </a:lnTo>
                  <a:lnTo>
                    <a:pt x="416" y="321"/>
                  </a:lnTo>
                  <a:lnTo>
                    <a:pt x="416" y="323"/>
                  </a:lnTo>
                  <a:lnTo>
                    <a:pt x="416" y="325"/>
                  </a:lnTo>
                  <a:lnTo>
                    <a:pt x="418" y="325"/>
                  </a:lnTo>
                  <a:lnTo>
                    <a:pt x="418" y="327"/>
                  </a:lnTo>
                  <a:lnTo>
                    <a:pt x="416" y="327"/>
                  </a:lnTo>
                  <a:lnTo>
                    <a:pt x="414" y="327"/>
                  </a:lnTo>
                  <a:lnTo>
                    <a:pt x="414" y="329"/>
                  </a:lnTo>
                  <a:lnTo>
                    <a:pt x="414" y="331"/>
                  </a:lnTo>
                  <a:lnTo>
                    <a:pt x="414" y="333"/>
                  </a:lnTo>
                  <a:lnTo>
                    <a:pt x="413" y="334"/>
                  </a:lnTo>
                  <a:lnTo>
                    <a:pt x="411" y="334"/>
                  </a:lnTo>
                  <a:lnTo>
                    <a:pt x="411" y="333"/>
                  </a:lnTo>
                  <a:lnTo>
                    <a:pt x="409" y="333"/>
                  </a:lnTo>
                  <a:lnTo>
                    <a:pt x="409" y="331"/>
                  </a:lnTo>
                  <a:lnTo>
                    <a:pt x="407" y="331"/>
                  </a:lnTo>
                  <a:lnTo>
                    <a:pt x="405" y="331"/>
                  </a:lnTo>
                  <a:lnTo>
                    <a:pt x="405" y="333"/>
                  </a:lnTo>
                  <a:lnTo>
                    <a:pt x="405" y="334"/>
                  </a:lnTo>
                  <a:lnTo>
                    <a:pt x="407" y="334"/>
                  </a:lnTo>
                  <a:lnTo>
                    <a:pt x="407" y="336"/>
                  </a:lnTo>
                  <a:lnTo>
                    <a:pt x="407" y="338"/>
                  </a:lnTo>
                  <a:lnTo>
                    <a:pt x="407" y="340"/>
                  </a:lnTo>
                  <a:lnTo>
                    <a:pt x="407" y="342"/>
                  </a:lnTo>
                  <a:lnTo>
                    <a:pt x="409" y="342"/>
                  </a:lnTo>
                  <a:lnTo>
                    <a:pt x="407" y="342"/>
                  </a:lnTo>
                  <a:lnTo>
                    <a:pt x="407" y="344"/>
                  </a:lnTo>
                  <a:lnTo>
                    <a:pt x="405" y="344"/>
                  </a:lnTo>
                  <a:lnTo>
                    <a:pt x="405" y="346"/>
                  </a:lnTo>
                  <a:lnTo>
                    <a:pt x="405" y="344"/>
                  </a:lnTo>
                  <a:lnTo>
                    <a:pt x="405" y="346"/>
                  </a:lnTo>
                  <a:lnTo>
                    <a:pt x="405" y="348"/>
                  </a:lnTo>
                  <a:lnTo>
                    <a:pt x="405" y="350"/>
                  </a:lnTo>
                  <a:lnTo>
                    <a:pt x="407" y="350"/>
                  </a:lnTo>
                  <a:lnTo>
                    <a:pt x="409" y="348"/>
                  </a:lnTo>
                  <a:lnTo>
                    <a:pt x="409" y="350"/>
                  </a:lnTo>
                  <a:lnTo>
                    <a:pt x="411" y="350"/>
                  </a:lnTo>
                  <a:lnTo>
                    <a:pt x="413" y="352"/>
                  </a:lnTo>
                  <a:lnTo>
                    <a:pt x="413" y="350"/>
                  </a:lnTo>
                  <a:lnTo>
                    <a:pt x="413" y="348"/>
                  </a:lnTo>
                  <a:lnTo>
                    <a:pt x="414" y="348"/>
                  </a:lnTo>
                  <a:lnTo>
                    <a:pt x="414" y="350"/>
                  </a:lnTo>
                  <a:lnTo>
                    <a:pt x="416" y="350"/>
                  </a:lnTo>
                  <a:lnTo>
                    <a:pt x="418" y="350"/>
                  </a:lnTo>
                  <a:lnTo>
                    <a:pt x="418" y="352"/>
                  </a:lnTo>
                  <a:lnTo>
                    <a:pt x="420" y="352"/>
                  </a:lnTo>
                  <a:lnTo>
                    <a:pt x="422" y="354"/>
                  </a:lnTo>
                  <a:lnTo>
                    <a:pt x="422" y="352"/>
                  </a:lnTo>
                  <a:lnTo>
                    <a:pt x="424" y="354"/>
                  </a:lnTo>
                  <a:lnTo>
                    <a:pt x="426" y="354"/>
                  </a:lnTo>
                  <a:lnTo>
                    <a:pt x="426" y="356"/>
                  </a:lnTo>
                  <a:lnTo>
                    <a:pt x="428" y="356"/>
                  </a:lnTo>
                  <a:lnTo>
                    <a:pt x="430" y="356"/>
                  </a:lnTo>
                  <a:lnTo>
                    <a:pt x="430" y="358"/>
                  </a:lnTo>
                  <a:lnTo>
                    <a:pt x="430" y="356"/>
                  </a:lnTo>
                  <a:lnTo>
                    <a:pt x="430" y="354"/>
                  </a:lnTo>
                  <a:lnTo>
                    <a:pt x="432" y="354"/>
                  </a:lnTo>
                  <a:lnTo>
                    <a:pt x="432" y="356"/>
                  </a:lnTo>
                  <a:lnTo>
                    <a:pt x="432" y="354"/>
                  </a:lnTo>
                  <a:lnTo>
                    <a:pt x="432" y="352"/>
                  </a:lnTo>
                  <a:lnTo>
                    <a:pt x="434" y="352"/>
                  </a:lnTo>
                  <a:lnTo>
                    <a:pt x="436" y="352"/>
                  </a:lnTo>
                  <a:lnTo>
                    <a:pt x="437" y="350"/>
                  </a:lnTo>
                  <a:lnTo>
                    <a:pt x="439" y="350"/>
                  </a:lnTo>
                  <a:lnTo>
                    <a:pt x="441" y="352"/>
                  </a:lnTo>
                  <a:lnTo>
                    <a:pt x="436" y="354"/>
                  </a:lnTo>
                  <a:lnTo>
                    <a:pt x="434" y="354"/>
                  </a:lnTo>
                  <a:lnTo>
                    <a:pt x="434" y="356"/>
                  </a:lnTo>
                  <a:lnTo>
                    <a:pt x="432" y="356"/>
                  </a:lnTo>
                  <a:lnTo>
                    <a:pt x="432" y="358"/>
                  </a:lnTo>
                  <a:lnTo>
                    <a:pt x="430" y="358"/>
                  </a:lnTo>
                  <a:lnTo>
                    <a:pt x="430" y="359"/>
                  </a:lnTo>
                  <a:lnTo>
                    <a:pt x="432" y="359"/>
                  </a:lnTo>
                  <a:lnTo>
                    <a:pt x="428" y="359"/>
                  </a:lnTo>
                  <a:lnTo>
                    <a:pt x="426" y="361"/>
                  </a:lnTo>
                  <a:lnTo>
                    <a:pt x="428" y="361"/>
                  </a:lnTo>
                  <a:lnTo>
                    <a:pt x="428" y="363"/>
                  </a:lnTo>
                  <a:lnTo>
                    <a:pt x="430" y="363"/>
                  </a:lnTo>
                  <a:lnTo>
                    <a:pt x="437" y="365"/>
                  </a:lnTo>
                  <a:lnTo>
                    <a:pt x="439" y="363"/>
                  </a:lnTo>
                  <a:lnTo>
                    <a:pt x="439" y="361"/>
                  </a:lnTo>
                  <a:lnTo>
                    <a:pt x="439" y="359"/>
                  </a:lnTo>
                  <a:lnTo>
                    <a:pt x="441" y="358"/>
                  </a:lnTo>
                  <a:lnTo>
                    <a:pt x="441" y="356"/>
                  </a:lnTo>
                  <a:lnTo>
                    <a:pt x="441" y="354"/>
                  </a:lnTo>
                  <a:lnTo>
                    <a:pt x="445" y="354"/>
                  </a:lnTo>
                  <a:lnTo>
                    <a:pt x="445" y="356"/>
                  </a:lnTo>
                  <a:lnTo>
                    <a:pt x="445" y="358"/>
                  </a:lnTo>
                  <a:lnTo>
                    <a:pt x="447" y="358"/>
                  </a:lnTo>
                  <a:lnTo>
                    <a:pt x="449" y="358"/>
                  </a:lnTo>
                  <a:lnTo>
                    <a:pt x="451" y="358"/>
                  </a:lnTo>
                  <a:lnTo>
                    <a:pt x="453" y="358"/>
                  </a:lnTo>
                  <a:lnTo>
                    <a:pt x="455" y="359"/>
                  </a:lnTo>
                  <a:lnTo>
                    <a:pt x="457" y="359"/>
                  </a:lnTo>
                  <a:lnTo>
                    <a:pt x="455" y="359"/>
                  </a:lnTo>
                  <a:lnTo>
                    <a:pt x="455" y="361"/>
                  </a:lnTo>
                  <a:lnTo>
                    <a:pt x="457" y="361"/>
                  </a:lnTo>
                  <a:lnTo>
                    <a:pt x="459" y="361"/>
                  </a:lnTo>
                  <a:lnTo>
                    <a:pt x="461" y="361"/>
                  </a:lnTo>
                  <a:lnTo>
                    <a:pt x="461" y="359"/>
                  </a:lnTo>
                  <a:lnTo>
                    <a:pt x="464" y="359"/>
                  </a:lnTo>
                  <a:lnTo>
                    <a:pt x="466" y="361"/>
                  </a:lnTo>
                  <a:lnTo>
                    <a:pt x="468" y="361"/>
                  </a:lnTo>
                  <a:lnTo>
                    <a:pt x="470" y="361"/>
                  </a:lnTo>
                  <a:lnTo>
                    <a:pt x="472" y="361"/>
                  </a:lnTo>
                  <a:lnTo>
                    <a:pt x="478" y="361"/>
                  </a:lnTo>
                  <a:lnTo>
                    <a:pt x="480" y="361"/>
                  </a:lnTo>
                  <a:lnTo>
                    <a:pt x="482" y="361"/>
                  </a:lnTo>
                  <a:lnTo>
                    <a:pt x="482" y="363"/>
                  </a:lnTo>
                  <a:lnTo>
                    <a:pt x="482" y="361"/>
                  </a:lnTo>
                  <a:lnTo>
                    <a:pt x="484" y="361"/>
                  </a:lnTo>
                  <a:lnTo>
                    <a:pt x="486" y="361"/>
                  </a:lnTo>
                  <a:lnTo>
                    <a:pt x="487" y="361"/>
                  </a:lnTo>
                  <a:lnTo>
                    <a:pt x="489" y="361"/>
                  </a:lnTo>
                  <a:lnTo>
                    <a:pt x="491" y="361"/>
                  </a:lnTo>
                  <a:lnTo>
                    <a:pt x="491" y="363"/>
                  </a:lnTo>
                  <a:lnTo>
                    <a:pt x="493" y="361"/>
                  </a:lnTo>
                  <a:lnTo>
                    <a:pt x="493" y="359"/>
                  </a:lnTo>
                  <a:lnTo>
                    <a:pt x="495" y="356"/>
                  </a:lnTo>
                  <a:lnTo>
                    <a:pt x="497" y="356"/>
                  </a:lnTo>
                  <a:lnTo>
                    <a:pt x="499" y="356"/>
                  </a:lnTo>
                  <a:lnTo>
                    <a:pt x="499" y="358"/>
                  </a:lnTo>
                  <a:lnTo>
                    <a:pt x="501" y="358"/>
                  </a:lnTo>
                  <a:lnTo>
                    <a:pt x="503" y="358"/>
                  </a:lnTo>
                  <a:lnTo>
                    <a:pt x="505" y="359"/>
                  </a:lnTo>
                  <a:lnTo>
                    <a:pt x="509" y="359"/>
                  </a:lnTo>
                  <a:lnTo>
                    <a:pt x="507" y="359"/>
                  </a:lnTo>
                  <a:lnTo>
                    <a:pt x="507" y="361"/>
                  </a:lnTo>
                  <a:lnTo>
                    <a:pt x="507" y="365"/>
                  </a:lnTo>
                  <a:lnTo>
                    <a:pt x="507" y="367"/>
                  </a:lnTo>
                  <a:lnTo>
                    <a:pt x="505" y="371"/>
                  </a:lnTo>
                  <a:lnTo>
                    <a:pt x="507" y="371"/>
                  </a:lnTo>
                  <a:lnTo>
                    <a:pt x="509" y="371"/>
                  </a:lnTo>
                  <a:lnTo>
                    <a:pt x="510" y="371"/>
                  </a:lnTo>
                  <a:lnTo>
                    <a:pt x="512" y="373"/>
                  </a:lnTo>
                  <a:lnTo>
                    <a:pt x="512" y="375"/>
                  </a:lnTo>
                  <a:lnTo>
                    <a:pt x="512" y="377"/>
                  </a:lnTo>
                  <a:lnTo>
                    <a:pt x="514" y="377"/>
                  </a:lnTo>
                  <a:lnTo>
                    <a:pt x="516" y="379"/>
                  </a:lnTo>
                  <a:lnTo>
                    <a:pt x="516" y="381"/>
                  </a:lnTo>
                  <a:lnTo>
                    <a:pt x="516" y="382"/>
                  </a:lnTo>
                  <a:lnTo>
                    <a:pt x="522" y="382"/>
                  </a:lnTo>
                  <a:lnTo>
                    <a:pt x="522" y="388"/>
                  </a:lnTo>
                  <a:lnTo>
                    <a:pt x="522" y="392"/>
                  </a:lnTo>
                  <a:lnTo>
                    <a:pt x="524" y="390"/>
                  </a:lnTo>
                  <a:lnTo>
                    <a:pt x="526" y="390"/>
                  </a:lnTo>
                  <a:lnTo>
                    <a:pt x="526" y="392"/>
                  </a:lnTo>
                  <a:lnTo>
                    <a:pt x="526" y="394"/>
                  </a:lnTo>
                  <a:lnTo>
                    <a:pt x="528" y="394"/>
                  </a:lnTo>
                  <a:lnTo>
                    <a:pt x="528" y="396"/>
                  </a:lnTo>
                  <a:lnTo>
                    <a:pt x="528" y="398"/>
                  </a:lnTo>
                  <a:lnTo>
                    <a:pt x="528" y="400"/>
                  </a:lnTo>
                  <a:lnTo>
                    <a:pt x="528" y="404"/>
                  </a:lnTo>
                  <a:lnTo>
                    <a:pt x="528" y="406"/>
                  </a:lnTo>
                  <a:lnTo>
                    <a:pt x="528" y="407"/>
                  </a:lnTo>
                  <a:lnTo>
                    <a:pt x="526" y="409"/>
                  </a:lnTo>
                  <a:lnTo>
                    <a:pt x="522" y="411"/>
                  </a:lnTo>
                  <a:lnTo>
                    <a:pt x="522" y="413"/>
                  </a:lnTo>
                  <a:lnTo>
                    <a:pt x="522" y="417"/>
                  </a:lnTo>
                  <a:lnTo>
                    <a:pt x="522" y="419"/>
                  </a:lnTo>
                  <a:lnTo>
                    <a:pt x="524" y="421"/>
                  </a:lnTo>
                  <a:lnTo>
                    <a:pt x="526" y="423"/>
                  </a:lnTo>
                  <a:lnTo>
                    <a:pt x="528" y="425"/>
                  </a:lnTo>
                  <a:lnTo>
                    <a:pt x="526" y="427"/>
                  </a:lnTo>
                  <a:lnTo>
                    <a:pt x="526" y="429"/>
                  </a:lnTo>
                  <a:lnTo>
                    <a:pt x="528" y="430"/>
                  </a:lnTo>
                  <a:lnTo>
                    <a:pt x="526" y="432"/>
                  </a:lnTo>
                  <a:lnTo>
                    <a:pt x="522" y="432"/>
                  </a:lnTo>
                  <a:lnTo>
                    <a:pt x="520" y="432"/>
                  </a:lnTo>
                  <a:lnTo>
                    <a:pt x="516" y="432"/>
                  </a:lnTo>
                  <a:lnTo>
                    <a:pt x="514" y="432"/>
                  </a:lnTo>
                  <a:lnTo>
                    <a:pt x="510" y="430"/>
                  </a:lnTo>
                  <a:lnTo>
                    <a:pt x="510" y="436"/>
                  </a:lnTo>
                  <a:lnTo>
                    <a:pt x="510" y="438"/>
                  </a:lnTo>
                  <a:lnTo>
                    <a:pt x="512" y="438"/>
                  </a:lnTo>
                  <a:lnTo>
                    <a:pt x="516" y="440"/>
                  </a:lnTo>
                  <a:lnTo>
                    <a:pt x="514" y="446"/>
                  </a:lnTo>
                  <a:lnTo>
                    <a:pt x="518" y="446"/>
                  </a:lnTo>
                  <a:lnTo>
                    <a:pt x="520" y="446"/>
                  </a:lnTo>
                  <a:lnTo>
                    <a:pt x="522" y="446"/>
                  </a:lnTo>
                  <a:lnTo>
                    <a:pt x="522" y="448"/>
                  </a:lnTo>
                  <a:lnTo>
                    <a:pt x="526" y="450"/>
                  </a:lnTo>
                  <a:lnTo>
                    <a:pt x="528" y="450"/>
                  </a:lnTo>
                  <a:lnTo>
                    <a:pt x="530" y="450"/>
                  </a:lnTo>
                  <a:lnTo>
                    <a:pt x="530" y="452"/>
                  </a:lnTo>
                  <a:lnTo>
                    <a:pt x="530" y="454"/>
                  </a:lnTo>
                  <a:lnTo>
                    <a:pt x="532" y="455"/>
                  </a:lnTo>
                  <a:lnTo>
                    <a:pt x="534" y="455"/>
                  </a:lnTo>
                  <a:lnTo>
                    <a:pt x="534" y="457"/>
                  </a:lnTo>
                  <a:lnTo>
                    <a:pt x="534" y="459"/>
                  </a:lnTo>
                  <a:lnTo>
                    <a:pt x="532" y="459"/>
                  </a:lnTo>
                  <a:lnTo>
                    <a:pt x="532" y="461"/>
                  </a:lnTo>
                  <a:lnTo>
                    <a:pt x="534" y="461"/>
                  </a:lnTo>
                  <a:lnTo>
                    <a:pt x="534" y="463"/>
                  </a:lnTo>
                  <a:lnTo>
                    <a:pt x="535" y="463"/>
                  </a:lnTo>
                  <a:lnTo>
                    <a:pt x="537" y="463"/>
                  </a:lnTo>
                  <a:lnTo>
                    <a:pt x="537" y="465"/>
                  </a:lnTo>
                  <a:lnTo>
                    <a:pt x="539" y="465"/>
                  </a:lnTo>
                  <a:lnTo>
                    <a:pt x="541" y="465"/>
                  </a:lnTo>
                  <a:lnTo>
                    <a:pt x="541" y="467"/>
                  </a:lnTo>
                  <a:lnTo>
                    <a:pt x="543" y="467"/>
                  </a:lnTo>
                  <a:lnTo>
                    <a:pt x="545" y="467"/>
                  </a:lnTo>
                  <a:lnTo>
                    <a:pt x="547" y="469"/>
                  </a:lnTo>
                  <a:lnTo>
                    <a:pt x="549" y="469"/>
                  </a:lnTo>
                  <a:lnTo>
                    <a:pt x="549" y="471"/>
                  </a:lnTo>
                  <a:lnTo>
                    <a:pt x="549" y="473"/>
                  </a:lnTo>
                  <a:lnTo>
                    <a:pt x="549" y="475"/>
                  </a:lnTo>
                  <a:lnTo>
                    <a:pt x="549" y="478"/>
                  </a:lnTo>
                  <a:lnTo>
                    <a:pt x="549" y="480"/>
                  </a:lnTo>
                  <a:lnTo>
                    <a:pt x="551" y="480"/>
                  </a:lnTo>
                  <a:lnTo>
                    <a:pt x="553" y="477"/>
                  </a:lnTo>
                  <a:lnTo>
                    <a:pt x="555" y="477"/>
                  </a:lnTo>
                  <a:lnTo>
                    <a:pt x="555" y="475"/>
                  </a:lnTo>
                  <a:lnTo>
                    <a:pt x="557" y="473"/>
                  </a:lnTo>
                  <a:lnTo>
                    <a:pt x="558" y="471"/>
                  </a:lnTo>
                  <a:lnTo>
                    <a:pt x="558" y="469"/>
                  </a:lnTo>
                  <a:lnTo>
                    <a:pt x="560" y="469"/>
                  </a:lnTo>
                  <a:lnTo>
                    <a:pt x="562" y="469"/>
                  </a:lnTo>
                  <a:lnTo>
                    <a:pt x="562" y="471"/>
                  </a:lnTo>
                  <a:lnTo>
                    <a:pt x="564" y="471"/>
                  </a:lnTo>
                  <a:lnTo>
                    <a:pt x="566" y="471"/>
                  </a:lnTo>
                  <a:lnTo>
                    <a:pt x="566" y="473"/>
                  </a:lnTo>
                  <a:lnTo>
                    <a:pt x="568" y="473"/>
                  </a:lnTo>
                  <a:lnTo>
                    <a:pt x="570" y="473"/>
                  </a:lnTo>
                  <a:lnTo>
                    <a:pt x="572" y="475"/>
                  </a:lnTo>
                  <a:lnTo>
                    <a:pt x="574" y="477"/>
                  </a:lnTo>
                  <a:lnTo>
                    <a:pt x="574" y="478"/>
                  </a:lnTo>
                  <a:lnTo>
                    <a:pt x="574" y="480"/>
                  </a:lnTo>
                  <a:lnTo>
                    <a:pt x="574" y="482"/>
                  </a:lnTo>
                  <a:lnTo>
                    <a:pt x="578" y="482"/>
                  </a:lnTo>
                  <a:lnTo>
                    <a:pt x="580" y="484"/>
                  </a:lnTo>
                  <a:lnTo>
                    <a:pt x="582" y="482"/>
                  </a:lnTo>
                  <a:lnTo>
                    <a:pt x="583" y="482"/>
                  </a:lnTo>
                  <a:lnTo>
                    <a:pt x="583" y="480"/>
                  </a:lnTo>
                  <a:lnTo>
                    <a:pt x="587" y="478"/>
                  </a:lnTo>
                  <a:lnTo>
                    <a:pt x="591" y="478"/>
                  </a:lnTo>
                  <a:lnTo>
                    <a:pt x="595" y="477"/>
                  </a:lnTo>
                  <a:lnTo>
                    <a:pt x="597" y="477"/>
                  </a:lnTo>
                  <a:lnTo>
                    <a:pt x="599" y="477"/>
                  </a:lnTo>
                  <a:lnTo>
                    <a:pt x="601" y="477"/>
                  </a:lnTo>
                  <a:lnTo>
                    <a:pt x="603" y="473"/>
                  </a:lnTo>
                  <a:lnTo>
                    <a:pt x="605" y="475"/>
                  </a:lnTo>
                  <a:lnTo>
                    <a:pt x="606" y="475"/>
                  </a:lnTo>
                  <a:lnTo>
                    <a:pt x="608" y="477"/>
                  </a:lnTo>
                  <a:lnTo>
                    <a:pt x="608" y="478"/>
                  </a:lnTo>
                  <a:lnTo>
                    <a:pt x="610" y="478"/>
                  </a:lnTo>
                  <a:lnTo>
                    <a:pt x="612" y="478"/>
                  </a:lnTo>
                  <a:lnTo>
                    <a:pt x="612" y="480"/>
                  </a:lnTo>
                  <a:lnTo>
                    <a:pt x="612" y="478"/>
                  </a:lnTo>
                  <a:lnTo>
                    <a:pt x="614" y="478"/>
                  </a:lnTo>
                  <a:lnTo>
                    <a:pt x="614" y="477"/>
                  </a:lnTo>
                  <a:lnTo>
                    <a:pt x="616" y="477"/>
                  </a:lnTo>
                  <a:lnTo>
                    <a:pt x="618" y="477"/>
                  </a:lnTo>
                  <a:lnTo>
                    <a:pt x="620" y="477"/>
                  </a:lnTo>
                  <a:lnTo>
                    <a:pt x="622" y="478"/>
                  </a:lnTo>
                  <a:lnTo>
                    <a:pt x="624" y="478"/>
                  </a:lnTo>
                  <a:lnTo>
                    <a:pt x="626" y="478"/>
                  </a:lnTo>
                  <a:lnTo>
                    <a:pt x="628" y="478"/>
                  </a:lnTo>
                  <a:lnTo>
                    <a:pt x="628" y="480"/>
                  </a:lnTo>
                  <a:lnTo>
                    <a:pt x="630" y="480"/>
                  </a:lnTo>
                  <a:lnTo>
                    <a:pt x="631" y="480"/>
                  </a:lnTo>
                  <a:lnTo>
                    <a:pt x="633" y="478"/>
                  </a:lnTo>
                  <a:lnTo>
                    <a:pt x="635" y="478"/>
                  </a:lnTo>
                  <a:lnTo>
                    <a:pt x="635" y="477"/>
                  </a:lnTo>
                  <a:lnTo>
                    <a:pt x="635" y="475"/>
                  </a:lnTo>
                  <a:lnTo>
                    <a:pt x="637" y="467"/>
                  </a:lnTo>
                  <a:lnTo>
                    <a:pt x="641" y="467"/>
                  </a:lnTo>
                  <a:lnTo>
                    <a:pt x="641" y="469"/>
                  </a:lnTo>
                  <a:lnTo>
                    <a:pt x="643" y="469"/>
                  </a:lnTo>
                  <a:lnTo>
                    <a:pt x="645" y="467"/>
                  </a:lnTo>
                  <a:lnTo>
                    <a:pt x="647" y="465"/>
                  </a:lnTo>
                  <a:lnTo>
                    <a:pt x="649" y="465"/>
                  </a:lnTo>
                  <a:lnTo>
                    <a:pt x="653" y="465"/>
                  </a:lnTo>
                  <a:lnTo>
                    <a:pt x="656" y="465"/>
                  </a:lnTo>
                  <a:lnTo>
                    <a:pt x="658" y="467"/>
                  </a:lnTo>
                  <a:lnTo>
                    <a:pt x="662" y="467"/>
                  </a:lnTo>
                  <a:lnTo>
                    <a:pt x="666" y="467"/>
                  </a:lnTo>
                  <a:lnTo>
                    <a:pt x="670" y="467"/>
                  </a:lnTo>
                  <a:lnTo>
                    <a:pt x="672" y="467"/>
                  </a:lnTo>
                  <a:lnTo>
                    <a:pt x="672" y="469"/>
                  </a:lnTo>
                  <a:lnTo>
                    <a:pt x="674" y="469"/>
                  </a:lnTo>
                  <a:lnTo>
                    <a:pt x="674" y="465"/>
                  </a:lnTo>
                  <a:lnTo>
                    <a:pt x="674" y="463"/>
                  </a:lnTo>
                  <a:lnTo>
                    <a:pt x="672" y="461"/>
                  </a:lnTo>
                  <a:lnTo>
                    <a:pt x="674" y="461"/>
                  </a:lnTo>
                  <a:lnTo>
                    <a:pt x="674" y="459"/>
                  </a:lnTo>
                  <a:lnTo>
                    <a:pt x="676" y="459"/>
                  </a:lnTo>
                  <a:lnTo>
                    <a:pt x="676" y="457"/>
                  </a:lnTo>
                  <a:lnTo>
                    <a:pt x="676" y="455"/>
                  </a:lnTo>
                  <a:lnTo>
                    <a:pt x="676" y="454"/>
                  </a:lnTo>
                  <a:lnTo>
                    <a:pt x="676" y="452"/>
                  </a:lnTo>
                  <a:lnTo>
                    <a:pt x="676" y="448"/>
                  </a:lnTo>
                  <a:lnTo>
                    <a:pt x="678" y="448"/>
                  </a:lnTo>
                  <a:lnTo>
                    <a:pt x="679" y="448"/>
                  </a:lnTo>
                  <a:lnTo>
                    <a:pt x="679" y="450"/>
                  </a:lnTo>
                  <a:lnTo>
                    <a:pt x="681" y="450"/>
                  </a:lnTo>
                  <a:lnTo>
                    <a:pt x="683" y="450"/>
                  </a:lnTo>
                  <a:lnTo>
                    <a:pt x="683" y="446"/>
                  </a:lnTo>
                  <a:lnTo>
                    <a:pt x="683" y="442"/>
                  </a:lnTo>
                  <a:lnTo>
                    <a:pt x="693" y="440"/>
                  </a:lnTo>
                  <a:lnTo>
                    <a:pt x="697" y="440"/>
                  </a:lnTo>
                  <a:lnTo>
                    <a:pt x="699" y="446"/>
                  </a:lnTo>
                  <a:lnTo>
                    <a:pt x="701" y="446"/>
                  </a:lnTo>
                  <a:lnTo>
                    <a:pt x="703" y="450"/>
                  </a:lnTo>
                  <a:lnTo>
                    <a:pt x="704" y="450"/>
                  </a:lnTo>
                  <a:lnTo>
                    <a:pt x="706" y="452"/>
                  </a:lnTo>
                  <a:lnTo>
                    <a:pt x="708" y="454"/>
                  </a:lnTo>
                  <a:lnTo>
                    <a:pt x="710" y="455"/>
                  </a:lnTo>
                  <a:lnTo>
                    <a:pt x="712" y="457"/>
                  </a:lnTo>
                  <a:lnTo>
                    <a:pt x="712" y="459"/>
                  </a:lnTo>
                  <a:lnTo>
                    <a:pt x="712" y="461"/>
                  </a:lnTo>
                  <a:lnTo>
                    <a:pt x="712" y="463"/>
                  </a:lnTo>
                  <a:lnTo>
                    <a:pt x="714" y="463"/>
                  </a:lnTo>
                  <a:lnTo>
                    <a:pt x="714" y="465"/>
                  </a:lnTo>
                  <a:lnTo>
                    <a:pt x="716" y="465"/>
                  </a:lnTo>
                  <a:lnTo>
                    <a:pt x="716" y="467"/>
                  </a:lnTo>
                  <a:lnTo>
                    <a:pt x="716" y="469"/>
                  </a:lnTo>
                  <a:lnTo>
                    <a:pt x="716" y="471"/>
                  </a:lnTo>
                  <a:lnTo>
                    <a:pt x="718" y="471"/>
                  </a:lnTo>
                  <a:lnTo>
                    <a:pt x="718" y="473"/>
                  </a:lnTo>
                  <a:lnTo>
                    <a:pt x="718" y="475"/>
                  </a:lnTo>
                  <a:lnTo>
                    <a:pt x="718" y="477"/>
                  </a:lnTo>
                  <a:lnTo>
                    <a:pt x="720" y="478"/>
                  </a:lnTo>
                  <a:lnTo>
                    <a:pt x="724" y="480"/>
                  </a:lnTo>
                  <a:lnTo>
                    <a:pt x="729" y="482"/>
                  </a:lnTo>
                  <a:lnTo>
                    <a:pt x="733" y="482"/>
                  </a:lnTo>
                  <a:lnTo>
                    <a:pt x="743" y="482"/>
                  </a:lnTo>
                  <a:lnTo>
                    <a:pt x="747" y="482"/>
                  </a:lnTo>
                  <a:lnTo>
                    <a:pt x="749" y="482"/>
                  </a:lnTo>
                  <a:lnTo>
                    <a:pt x="747" y="484"/>
                  </a:lnTo>
                  <a:lnTo>
                    <a:pt x="747" y="486"/>
                  </a:lnTo>
                  <a:lnTo>
                    <a:pt x="747" y="488"/>
                  </a:lnTo>
                  <a:lnTo>
                    <a:pt x="745" y="490"/>
                  </a:lnTo>
                  <a:lnTo>
                    <a:pt x="747" y="496"/>
                  </a:lnTo>
                  <a:lnTo>
                    <a:pt x="741" y="502"/>
                  </a:lnTo>
                  <a:lnTo>
                    <a:pt x="731" y="503"/>
                  </a:lnTo>
                  <a:lnTo>
                    <a:pt x="729" y="503"/>
                  </a:lnTo>
                  <a:lnTo>
                    <a:pt x="729" y="502"/>
                  </a:lnTo>
                  <a:lnTo>
                    <a:pt x="729" y="500"/>
                  </a:lnTo>
                  <a:lnTo>
                    <a:pt x="727" y="500"/>
                  </a:lnTo>
                  <a:lnTo>
                    <a:pt x="727" y="502"/>
                  </a:lnTo>
                  <a:lnTo>
                    <a:pt x="726" y="500"/>
                  </a:lnTo>
                  <a:lnTo>
                    <a:pt x="726" y="502"/>
                  </a:lnTo>
                  <a:lnTo>
                    <a:pt x="726" y="503"/>
                  </a:lnTo>
                  <a:lnTo>
                    <a:pt x="724" y="505"/>
                  </a:lnTo>
                  <a:lnTo>
                    <a:pt x="724" y="503"/>
                  </a:lnTo>
                  <a:lnTo>
                    <a:pt x="722" y="503"/>
                  </a:lnTo>
                  <a:lnTo>
                    <a:pt x="722" y="502"/>
                  </a:lnTo>
                  <a:lnTo>
                    <a:pt x="722" y="503"/>
                  </a:lnTo>
                  <a:lnTo>
                    <a:pt x="720" y="503"/>
                  </a:lnTo>
                  <a:lnTo>
                    <a:pt x="720" y="505"/>
                  </a:lnTo>
                  <a:lnTo>
                    <a:pt x="722" y="505"/>
                  </a:lnTo>
                  <a:lnTo>
                    <a:pt x="720" y="505"/>
                  </a:lnTo>
                  <a:lnTo>
                    <a:pt x="722" y="505"/>
                  </a:lnTo>
                  <a:lnTo>
                    <a:pt x="724" y="505"/>
                  </a:lnTo>
                  <a:lnTo>
                    <a:pt x="724" y="507"/>
                  </a:lnTo>
                  <a:lnTo>
                    <a:pt x="722" y="507"/>
                  </a:lnTo>
                  <a:lnTo>
                    <a:pt x="722" y="509"/>
                  </a:lnTo>
                  <a:lnTo>
                    <a:pt x="720" y="509"/>
                  </a:lnTo>
                  <a:lnTo>
                    <a:pt x="720" y="511"/>
                  </a:lnTo>
                  <a:lnTo>
                    <a:pt x="722" y="513"/>
                  </a:lnTo>
                  <a:lnTo>
                    <a:pt x="727" y="515"/>
                  </a:lnTo>
                  <a:lnTo>
                    <a:pt x="731" y="515"/>
                  </a:lnTo>
                  <a:lnTo>
                    <a:pt x="733" y="517"/>
                  </a:lnTo>
                  <a:lnTo>
                    <a:pt x="733" y="519"/>
                  </a:lnTo>
                  <a:lnTo>
                    <a:pt x="733" y="521"/>
                  </a:lnTo>
                  <a:lnTo>
                    <a:pt x="733" y="523"/>
                  </a:lnTo>
                  <a:lnTo>
                    <a:pt x="733" y="525"/>
                  </a:lnTo>
                  <a:lnTo>
                    <a:pt x="733" y="526"/>
                  </a:lnTo>
                  <a:lnTo>
                    <a:pt x="735" y="526"/>
                  </a:lnTo>
                  <a:lnTo>
                    <a:pt x="737" y="528"/>
                  </a:lnTo>
                  <a:lnTo>
                    <a:pt x="737" y="530"/>
                  </a:lnTo>
                  <a:lnTo>
                    <a:pt x="737" y="532"/>
                  </a:lnTo>
                  <a:lnTo>
                    <a:pt x="737" y="536"/>
                  </a:lnTo>
                  <a:lnTo>
                    <a:pt x="737" y="538"/>
                  </a:lnTo>
                  <a:lnTo>
                    <a:pt x="737" y="542"/>
                  </a:lnTo>
                  <a:lnTo>
                    <a:pt x="739" y="542"/>
                  </a:lnTo>
                  <a:lnTo>
                    <a:pt x="741" y="544"/>
                  </a:lnTo>
                  <a:lnTo>
                    <a:pt x="743" y="542"/>
                  </a:lnTo>
                  <a:lnTo>
                    <a:pt x="745" y="542"/>
                  </a:lnTo>
                  <a:lnTo>
                    <a:pt x="747" y="540"/>
                  </a:lnTo>
                  <a:lnTo>
                    <a:pt x="749" y="538"/>
                  </a:lnTo>
                  <a:lnTo>
                    <a:pt x="752" y="536"/>
                  </a:lnTo>
                  <a:lnTo>
                    <a:pt x="752" y="538"/>
                  </a:lnTo>
                  <a:lnTo>
                    <a:pt x="747" y="544"/>
                  </a:lnTo>
                  <a:lnTo>
                    <a:pt x="745" y="546"/>
                  </a:lnTo>
                  <a:lnTo>
                    <a:pt x="747" y="550"/>
                  </a:lnTo>
                  <a:lnTo>
                    <a:pt x="747" y="551"/>
                  </a:lnTo>
                  <a:lnTo>
                    <a:pt x="745" y="553"/>
                  </a:lnTo>
                  <a:lnTo>
                    <a:pt x="747" y="555"/>
                  </a:lnTo>
                  <a:lnTo>
                    <a:pt x="749" y="555"/>
                  </a:lnTo>
                  <a:lnTo>
                    <a:pt x="751" y="555"/>
                  </a:lnTo>
                  <a:lnTo>
                    <a:pt x="752" y="553"/>
                  </a:lnTo>
                  <a:lnTo>
                    <a:pt x="756" y="551"/>
                  </a:lnTo>
                  <a:lnTo>
                    <a:pt x="758" y="553"/>
                  </a:lnTo>
                  <a:lnTo>
                    <a:pt x="760" y="553"/>
                  </a:lnTo>
                  <a:lnTo>
                    <a:pt x="762" y="553"/>
                  </a:lnTo>
                  <a:lnTo>
                    <a:pt x="766" y="553"/>
                  </a:lnTo>
                  <a:lnTo>
                    <a:pt x="766" y="555"/>
                  </a:lnTo>
                  <a:lnTo>
                    <a:pt x="768" y="557"/>
                  </a:lnTo>
                  <a:lnTo>
                    <a:pt x="764" y="561"/>
                  </a:lnTo>
                  <a:lnTo>
                    <a:pt x="762" y="563"/>
                  </a:lnTo>
                  <a:lnTo>
                    <a:pt x="762" y="565"/>
                  </a:lnTo>
                  <a:lnTo>
                    <a:pt x="762" y="567"/>
                  </a:lnTo>
                  <a:lnTo>
                    <a:pt x="762" y="569"/>
                  </a:lnTo>
                  <a:lnTo>
                    <a:pt x="764" y="571"/>
                  </a:lnTo>
                  <a:lnTo>
                    <a:pt x="762" y="574"/>
                  </a:lnTo>
                  <a:lnTo>
                    <a:pt x="760" y="576"/>
                  </a:lnTo>
                  <a:lnTo>
                    <a:pt x="758" y="578"/>
                  </a:lnTo>
                  <a:lnTo>
                    <a:pt x="756" y="578"/>
                  </a:lnTo>
                  <a:lnTo>
                    <a:pt x="756" y="580"/>
                  </a:lnTo>
                  <a:lnTo>
                    <a:pt x="758" y="580"/>
                  </a:lnTo>
                  <a:lnTo>
                    <a:pt x="758" y="584"/>
                  </a:lnTo>
                  <a:lnTo>
                    <a:pt x="756" y="586"/>
                  </a:lnTo>
                  <a:lnTo>
                    <a:pt x="754" y="586"/>
                  </a:lnTo>
                  <a:lnTo>
                    <a:pt x="752" y="588"/>
                  </a:lnTo>
                  <a:lnTo>
                    <a:pt x="751" y="588"/>
                  </a:lnTo>
                  <a:lnTo>
                    <a:pt x="747" y="590"/>
                  </a:lnTo>
                  <a:lnTo>
                    <a:pt x="745" y="590"/>
                  </a:lnTo>
                  <a:lnTo>
                    <a:pt x="745" y="592"/>
                  </a:lnTo>
                  <a:lnTo>
                    <a:pt x="747" y="594"/>
                  </a:lnTo>
                  <a:lnTo>
                    <a:pt x="747" y="596"/>
                  </a:lnTo>
                  <a:lnTo>
                    <a:pt x="747" y="598"/>
                  </a:lnTo>
                  <a:lnTo>
                    <a:pt x="745" y="599"/>
                  </a:lnTo>
                  <a:lnTo>
                    <a:pt x="745" y="601"/>
                  </a:lnTo>
                  <a:lnTo>
                    <a:pt x="743" y="607"/>
                  </a:lnTo>
                  <a:lnTo>
                    <a:pt x="745" y="607"/>
                  </a:lnTo>
                  <a:lnTo>
                    <a:pt x="745" y="609"/>
                  </a:lnTo>
                  <a:lnTo>
                    <a:pt x="747" y="609"/>
                  </a:lnTo>
                  <a:lnTo>
                    <a:pt x="745" y="611"/>
                  </a:lnTo>
                  <a:lnTo>
                    <a:pt x="747" y="613"/>
                  </a:lnTo>
                  <a:lnTo>
                    <a:pt x="751" y="615"/>
                  </a:lnTo>
                  <a:lnTo>
                    <a:pt x="747" y="619"/>
                  </a:lnTo>
                  <a:lnTo>
                    <a:pt x="745" y="619"/>
                  </a:lnTo>
                  <a:lnTo>
                    <a:pt x="743" y="619"/>
                  </a:lnTo>
                  <a:lnTo>
                    <a:pt x="741" y="619"/>
                  </a:lnTo>
                  <a:lnTo>
                    <a:pt x="739" y="621"/>
                  </a:lnTo>
                  <a:lnTo>
                    <a:pt x="739" y="622"/>
                  </a:lnTo>
                  <a:lnTo>
                    <a:pt x="737" y="624"/>
                  </a:lnTo>
                  <a:lnTo>
                    <a:pt x="735" y="624"/>
                  </a:lnTo>
                  <a:lnTo>
                    <a:pt x="735" y="626"/>
                  </a:lnTo>
                  <a:lnTo>
                    <a:pt x="735" y="628"/>
                  </a:lnTo>
                  <a:lnTo>
                    <a:pt x="733" y="628"/>
                  </a:lnTo>
                  <a:lnTo>
                    <a:pt x="733" y="630"/>
                  </a:lnTo>
                  <a:lnTo>
                    <a:pt x="731" y="632"/>
                  </a:lnTo>
                  <a:lnTo>
                    <a:pt x="729" y="630"/>
                  </a:lnTo>
                  <a:lnTo>
                    <a:pt x="727" y="630"/>
                  </a:lnTo>
                  <a:lnTo>
                    <a:pt x="726" y="628"/>
                  </a:lnTo>
                  <a:lnTo>
                    <a:pt x="724" y="626"/>
                  </a:lnTo>
                  <a:lnTo>
                    <a:pt x="724" y="624"/>
                  </a:lnTo>
                  <a:lnTo>
                    <a:pt x="722" y="624"/>
                  </a:lnTo>
                  <a:lnTo>
                    <a:pt x="722" y="622"/>
                  </a:lnTo>
                  <a:lnTo>
                    <a:pt x="720" y="622"/>
                  </a:lnTo>
                  <a:lnTo>
                    <a:pt x="718" y="622"/>
                  </a:lnTo>
                  <a:lnTo>
                    <a:pt x="716" y="624"/>
                  </a:lnTo>
                  <a:lnTo>
                    <a:pt x="714" y="626"/>
                  </a:lnTo>
                  <a:lnTo>
                    <a:pt x="716" y="626"/>
                  </a:lnTo>
                  <a:lnTo>
                    <a:pt x="718" y="626"/>
                  </a:lnTo>
                  <a:lnTo>
                    <a:pt x="716" y="628"/>
                  </a:lnTo>
                  <a:lnTo>
                    <a:pt x="714" y="630"/>
                  </a:lnTo>
                  <a:lnTo>
                    <a:pt x="714" y="632"/>
                  </a:lnTo>
                  <a:lnTo>
                    <a:pt x="712" y="632"/>
                  </a:lnTo>
                  <a:lnTo>
                    <a:pt x="712" y="634"/>
                  </a:lnTo>
                  <a:lnTo>
                    <a:pt x="710" y="634"/>
                  </a:lnTo>
                  <a:lnTo>
                    <a:pt x="710" y="636"/>
                  </a:lnTo>
                  <a:lnTo>
                    <a:pt x="710" y="638"/>
                  </a:lnTo>
                  <a:lnTo>
                    <a:pt x="708" y="638"/>
                  </a:lnTo>
                  <a:lnTo>
                    <a:pt x="708" y="640"/>
                  </a:lnTo>
                  <a:lnTo>
                    <a:pt x="706" y="644"/>
                  </a:lnTo>
                  <a:lnTo>
                    <a:pt x="703" y="644"/>
                  </a:lnTo>
                  <a:lnTo>
                    <a:pt x="703" y="642"/>
                  </a:lnTo>
                  <a:lnTo>
                    <a:pt x="701" y="642"/>
                  </a:lnTo>
                  <a:lnTo>
                    <a:pt x="699" y="640"/>
                  </a:lnTo>
                  <a:lnTo>
                    <a:pt x="699" y="642"/>
                  </a:lnTo>
                  <a:lnTo>
                    <a:pt x="699" y="644"/>
                  </a:lnTo>
                  <a:lnTo>
                    <a:pt x="699" y="646"/>
                  </a:lnTo>
                  <a:lnTo>
                    <a:pt x="701" y="649"/>
                  </a:lnTo>
                  <a:lnTo>
                    <a:pt x="703" y="649"/>
                  </a:lnTo>
                  <a:lnTo>
                    <a:pt x="704" y="647"/>
                  </a:lnTo>
                  <a:lnTo>
                    <a:pt x="704" y="649"/>
                  </a:lnTo>
                  <a:lnTo>
                    <a:pt x="704" y="651"/>
                  </a:lnTo>
                  <a:lnTo>
                    <a:pt x="706" y="651"/>
                  </a:lnTo>
                  <a:lnTo>
                    <a:pt x="706" y="653"/>
                  </a:lnTo>
                  <a:lnTo>
                    <a:pt x="708" y="655"/>
                  </a:lnTo>
                  <a:lnTo>
                    <a:pt x="706" y="655"/>
                  </a:lnTo>
                  <a:lnTo>
                    <a:pt x="706" y="657"/>
                  </a:lnTo>
                  <a:lnTo>
                    <a:pt x="704" y="657"/>
                  </a:lnTo>
                  <a:lnTo>
                    <a:pt x="703" y="657"/>
                  </a:lnTo>
                  <a:lnTo>
                    <a:pt x="701" y="659"/>
                  </a:lnTo>
                  <a:lnTo>
                    <a:pt x="699" y="659"/>
                  </a:lnTo>
                  <a:lnTo>
                    <a:pt x="697" y="661"/>
                  </a:lnTo>
                  <a:lnTo>
                    <a:pt x="695" y="661"/>
                  </a:lnTo>
                  <a:lnTo>
                    <a:pt x="695" y="663"/>
                  </a:lnTo>
                  <a:lnTo>
                    <a:pt x="691" y="663"/>
                  </a:lnTo>
                  <a:lnTo>
                    <a:pt x="689" y="665"/>
                  </a:lnTo>
                  <a:lnTo>
                    <a:pt x="689" y="669"/>
                  </a:lnTo>
                  <a:lnTo>
                    <a:pt x="689" y="670"/>
                  </a:lnTo>
                  <a:lnTo>
                    <a:pt x="689" y="672"/>
                  </a:lnTo>
                  <a:lnTo>
                    <a:pt x="687" y="674"/>
                  </a:lnTo>
                  <a:lnTo>
                    <a:pt x="687" y="676"/>
                  </a:lnTo>
                  <a:lnTo>
                    <a:pt x="687" y="678"/>
                  </a:lnTo>
                  <a:lnTo>
                    <a:pt x="687" y="680"/>
                  </a:lnTo>
                  <a:lnTo>
                    <a:pt x="687" y="682"/>
                  </a:lnTo>
                  <a:lnTo>
                    <a:pt x="685" y="682"/>
                  </a:lnTo>
                  <a:lnTo>
                    <a:pt x="687" y="682"/>
                  </a:lnTo>
                  <a:lnTo>
                    <a:pt x="689" y="682"/>
                  </a:lnTo>
                  <a:lnTo>
                    <a:pt x="691" y="682"/>
                  </a:lnTo>
                  <a:lnTo>
                    <a:pt x="693" y="682"/>
                  </a:lnTo>
                  <a:lnTo>
                    <a:pt x="695" y="682"/>
                  </a:lnTo>
                  <a:lnTo>
                    <a:pt x="697" y="682"/>
                  </a:lnTo>
                  <a:lnTo>
                    <a:pt x="697" y="684"/>
                  </a:lnTo>
                  <a:lnTo>
                    <a:pt x="699" y="684"/>
                  </a:lnTo>
                  <a:lnTo>
                    <a:pt x="701" y="684"/>
                  </a:lnTo>
                  <a:lnTo>
                    <a:pt x="703" y="684"/>
                  </a:lnTo>
                  <a:lnTo>
                    <a:pt x="704" y="686"/>
                  </a:lnTo>
                  <a:lnTo>
                    <a:pt x="706" y="686"/>
                  </a:lnTo>
                  <a:lnTo>
                    <a:pt x="708" y="686"/>
                  </a:lnTo>
                  <a:lnTo>
                    <a:pt x="708" y="688"/>
                  </a:lnTo>
                  <a:lnTo>
                    <a:pt x="706" y="688"/>
                  </a:lnTo>
                  <a:lnTo>
                    <a:pt x="706" y="692"/>
                  </a:lnTo>
                  <a:lnTo>
                    <a:pt x="704" y="690"/>
                  </a:lnTo>
                  <a:lnTo>
                    <a:pt x="703" y="690"/>
                  </a:lnTo>
                  <a:lnTo>
                    <a:pt x="701" y="690"/>
                  </a:lnTo>
                  <a:lnTo>
                    <a:pt x="699" y="692"/>
                  </a:lnTo>
                  <a:lnTo>
                    <a:pt x="697" y="692"/>
                  </a:lnTo>
                  <a:lnTo>
                    <a:pt x="695" y="693"/>
                  </a:lnTo>
                  <a:lnTo>
                    <a:pt x="693" y="693"/>
                  </a:lnTo>
                  <a:lnTo>
                    <a:pt x="691" y="693"/>
                  </a:lnTo>
                  <a:lnTo>
                    <a:pt x="689" y="693"/>
                  </a:lnTo>
                  <a:lnTo>
                    <a:pt x="687" y="695"/>
                  </a:lnTo>
                  <a:lnTo>
                    <a:pt x="685" y="695"/>
                  </a:lnTo>
                  <a:lnTo>
                    <a:pt x="685" y="697"/>
                  </a:lnTo>
                  <a:lnTo>
                    <a:pt x="683" y="697"/>
                  </a:lnTo>
                  <a:lnTo>
                    <a:pt x="683" y="699"/>
                  </a:lnTo>
                  <a:lnTo>
                    <a:pt x="685" y="699"/>
                  </a:lnTo>
                  <a:lnTo>
                    <a:pt x="685" y="701"/>
                  </a:lnTo>
                  <a:lnTo>
                    <a:pt x="685" y="703"/>
                  </a:lnTo>
                  <a:lnTo>
                    <a:pt x="685" y="705"/>
                  </a:lnTo>
                  <a:lnTo>
                    <a:pt x="685" y="709"/>
                  </a:lnTo>
                  <a:lnTo>
                    <a:pt x="685" y="711"/>
                  </a:lnTo>
                  <a:lnTo>
                    <a:pt x="685" y="713"/>
                  </a:lnTo>
                  <a:lnTo>
                    <a:pt x="685" y="715"/>
                  </a:lnTo>
                  <a:lnTo>
                    <a:pt x="685" y="717"/>
                  </a:lnTo>
                  <a:lnTo>
                    <a:pt x="685" y="718"/>
                  </a:lnTo>
                  <a:lnTo>
                    <a:pt x="685" y="720"/>
                  </a:lnTo>
                  <a:lnTo>
                    <a:pt x="685" y="722"/>
                  </a:lnTo>
                  <a:lnTo>
                    <a:pt x="685" y="724"/>
                  </a:lnTo>
                  <a:lnTo>
                    <a:pt x="683" y="724"/>
                  </a:lnTo>
                  <a:lnTo>
                    <a:pt x="683" y="726"/>
                  </a:lnTo>
                  <a:lnTo>
                    <a:pt x="681" y="728"/>
                  </a:lnTo>
                  <a:lnTo>
                    <a:pt x="681" y="730"/>
                  </a:lnTo>
                  <a:lnTo>
                    <a:pt x="679" y="728"/>
                  </a:lnTo>
                  <a:lnTo>
                    <a:pt x="679" y="726"/>
                  </a:lnTo>
                  <a:lnTo>
                    <a:pt x="678" y="726"/>
                  </a:lnTo>
                  <a:lnTo>
                    <a:pt x="678" y="724"/>
                  </a:lnTo>
                  <a:lnTo>
                    <a:pt x="678" y="722"/>
                  </a:lnTo>
                  <a:lnTo>
                    <a:pt x="676" y="720"/>
                  </a:lnTo>
                  <a:lnTo>
                    <a:pt x="674" y="720"/>
                  </a:lnTo>
                  <a:lnTo>
                    <a:pt x="670" y="720"/>
                  </a:lnTo>
                  <a:lnTo>
                    <a:pt x="668" y="720"/>
                  </a:lnTo>
                  <a:lnTo>
                    <a:pt x="664" y="718"/>
                  </a:lnTo>
                  <a:lnTo>
                    <a:pt x="660" y="718"/>
                  </a:lnTo>
                  <a:lnTo>
                    <a:pt x="658" y="718"/>
                  </a:lnTo>
                  <a:lnTo>
                    <a:pt x="658" y="720"/>
                  </a:lnTo>
                  <a:lnTo>
                    <a:pt x="656" y="720"/>
                  </a:lnTo>
                  <a:lnTo>
                    <a:pt x="656" y="722"/>
                  </a:lnTo>
                  <a:lnTo>
                    <a:pt x="656" y="724"/>
                  </a:lnTo>
                  <a:lnTo>
                    <a:pt x="654" y="726"/>
                  </a:lnTo>
                  <a:lnTo>
                    <a:pt x="653" y="730"/>
                  </a:lnTo>
                  <a:lnTo>
                    <a:pt x="651" y="732"/>
                  </a:lnTo>
                  <a:lnTo>
                    <a:pt x="649" y="734"/>
                  </a:lnTo>
                  <a:lnTo>
                    <a:pt x="647" y="734"/>
                  </a:lnTo>
                  <a:lnTo>
                    <a:pt x="645" y="736"/>
                  </a:lnTo>
                  <a:lnTo>
                    <a:pt x="643" y="736"/>
                  </a:lnTo>
                  <a:lnTo>
                    <a:pt x="643" y="738"/>
                  </a:lnTo>
                  <a:lnTo>
                    <a:pt x="643" y="740"/>
                  </a:lnTo>
                  <a:lnTo>
                    <a:pt x="643" y="741"/>
                  </a:lnTo>
                  <a:lnTo>
                    <a:pt x="645" y="743"/>
                  </a:lnTo>
                  <a:lnTo>
                    <a:pt x="645" y="745"/>
                  </a:lnTo>
                  <a:lnTo>
                    <a:pt x="643" y="747"/>
                  </a:lnTo>
                  <a:lnTo>
                    <a:pt x="641" y="747"/>
                  </a:lnTo>
                  <a:lnTo>
                    <a:pt x="637" y="747"/>
                  </a:lnTo>
                  <a:lnTo>
                    <a:pt x="637" y="749"/>
                  </a:lnTo>
                  <a:lnTo>
                    <a:pt x="635" y="751"/>
                  </a:lnTo>
                  <a:lnTo>
                    <a:pt x="631" y="757"/>
                  </a:lnTo>
                  <a:lnTo>
                    <a:pt x="630" y="757"/>
                  </a:lnTo>
                  <a:lnTo>
                    <a:pt x="630" y="759"/>
                  </a:lnTo>
                  <a:lnTo>
                    <a:pt x="628" y="761"/>
                  </a:lnTo>
                  <a:lnTo>
                    <a:pt x="628" y="763"/>
                  </a:lnTo>
                  <a:lnTo>
                    <a:pt x="626" y="763"/>
                  </a:lnTo>
                  <a:lnTo>
                    <a:pt x="628" y="763"/>
                  </a:lnTo>
                  <a:lnTo>
                    <a:pt x="626" y="765"/>
                  </a:lnTo>
                  <a:lnTo>
                    <a:pt x="624" y="763"/>
                  </a:lnTo>
                  <a:lnTo>
                    <a:pt x="622" y="763"/>
                  </a:lnTo>
                  <a:lnTo>
                    <a:pt x="620" y="763"/>
                  </a:lnTo>
                  <a:lnTo>
                    <a:pt x="616" y="761"/>
                  </a:lnTo>
                  <a:lnTo>
                    <a:pt x="614" y="761"/>
                  </a:lnTo>
                  <a:lnTo>
                    <a:pt x="614" y="759"/>
                  </a:lnTo>
                  <a:lnTo>
                    <a:pt x="612" y="759"/>
                  </a:lnTo>
                  <a:lnTo>
                    <a:pt x="610" y="759"/>
                  </a:lnTo>
                  <a:lnTo>
                    <a:pt x="608" y="759"/>
                  </a:lnTo>
                  <a:lnTo>
                    <a:pt x="606" y="759"/>
                  </a:lnTo>
                  <a:lnTo>
                    <a:pt x="603" y="759"/>
                  </a:lnTo>
                  <a:lnTo>
                    <a:pt x="601" y="759"/>
                  </a:lnTo>
                  <a:lnTo>
                    <a:pt x="599" y="759"/>
                  </a:lnTo>
                  <a:lnTo>
                    <a:pt x="601" y="755"/>
                  </a:lnTo>
                  <a:lnTo>
                    <a:pt x="601" y="751"/>
                  </a:lnTo>
                  <a:lnTo>
                    <a:pt x="601" y="749"/>
                  </a:lnTo>
                  <a:lnTo>
                    <a:pt x="601" y="747"/>
                  </a:lnTo>
                  <a:lnTo>
                    <a:pt x="601" y="745"/>
                  </a:lnTo>
                  <a:lnTo>
                    <a:pt x="599" y="745"/>
                  </a:lnTo>
                  <a:lnTo>
                    <a:pt x="599" y="743"/>
                  </a:lnTo>
                  <a:lnTo>
                    <a:pt x="601" y="743"/>
                  </a:lnTo>
                  <a:lnTo>
                    <a:pt x="601" y="741"/>
                  </a:lnTo>
                  <a:lnTo>
                    <a:pt x="601" y="740"/>
                  </a:lnTo>
                  <a:lnTo>
                    <a:pt x="601" y="738"/>
                  </a:lnTo>
                  <a:lnTo>
                    <a:pt x="599" y="738"/>
                  </a:lnTo>
                  <a:lnTo>
                    <a:pt x="597" y="738"/>
                  </a:lnTo>
                  <a:lnTo>
                    <a:pt x="595" y="738"/>
                  </a:lnTo>
                  <a:lnTo>
                    <a:pt x="593" y="736"/>
                  </a:lnTo>
                  <a:lnTo>
                    <a:pt x="593" y="738"/>
                  </a:lnTo>
                  <a:lnTo>
                    <a:pt x="593" y="740"/>
                  </a:lnTo>
                  <a:lnTo>
                    <a:pt x="591" y="740"/>
                  </a:lnTo>
                  <a:lnTo>
                    <a:pt x="591" y="741"/>
                  </a:lnTo>
                  <a:lnTo>
                    <a:pt x="589" y="741"/>
                  </a:lnTo>
                  <a:lnTo>
                    <a:pt x="587" y="743"/>
                  </a:lnTo>
                  <a:lnTo>
                    <a:pt x="587" y="745"/>
                  </a:lnTo>
                  <a:lnTo>
                    <a:pt x="585" y="747"/>
                  </a:lnTo>
                  <a:lnTo>
                    <a:pt x="583" y="749"/>
                  </a:lnTo>
                  <a:lnTo>
                    <a:pt x="582" y="749"/>
                  </a:lnTo>
                  <a:lnTo>
                    <a:pt x="580" y="747"/>
                  </a:lnTo>
                  <a:lnTo>
                    <a:pt x="580" y="749"/>
                  </a:lnTo>
                  <a:lnTo>
                    <a:pt x="578" y="749"/>
                  </a:lnTo>
                  <a:lnTo>
                    <a:pt x="576" y="749"/>
                  </a:lnTo>
                  <a:lnTo>
                    <a:pt x="574" y="749"/>
                  </a:lnTo>
                  <a:lnTo>
                    <a:pt x="572" y="751"/>
                  </a:lnTo>
                  <a:lnTo>
                    <a:pt x="574" y="751"/>
                  </a:lnTo>
                  <a:lnTo>
                    <a:pt x="574" y="753"/>
                  </a:lnTo>
                  <a:lnTo>
                    <a:pt x="572" y="755"/>
                  </a:lnTo>
                  <a:lnTo>
                    <a:pt x="572" y="757"/>
                  </a:lnTo>
                  <a:lnTo>
                    <a:pt x="570" y="757"/>
                  </a:lnTo>
                  <a:lnTo>
                    <a:pt x="572" y="759"/>
                  </a:lnTo>
                  <a:lnTo>
                    <a:pt x="572" y="761"/>
                  </a:lnTo>
                  <a:lnTo>
                    <a:pt x="570" y="761"/>
                  </a:lnTo>
                  <a:lnTo>
                    <a:pt x="568" y="761"/>
                  </a:lnTo>
                  <a:lnTo>
                    <a:pt x="568" y="759"/>
                  </a:lnTo>
                  <a:lnTo>
                    <a:pt x="566" y="759"/>
                  </a:lnTo>
                  <a:lnTo>
                    <a:pt x="566" y="755"/>
                  </a:lnTo>
                  <a:lnTo>
                    <a:pt x="566" y="753"/>
                  </a:lnTo>
                  <a:lnTo>
                    <a:pt x="564" y="755"/>
                  </a:lnTo>
                  <a:lnTo>
                    <a:pt x="562" y="755"/>
                  </a:lnTo>
                  <a:lnTo>
                    <a:pt x="562" y="753"/>
                  </a:lnTo>
                  <a:lnTo>
                    <a:pt x="560" y="753"/>
                  </a:lnTo>
                  <a:lnTo>
                    <a:pt x="560" y="747"/>
                  </a:lnTo>
                  <a:lnTo>
                    <a:pt x="558" y="747"/>
                  </a:lnTo>
                  <a:lnTo>
                    <a:pt x="558" y="745"/>
                  </a:lnTo>
                  <a:lnTo>
                    <a:pt x="553" y="745"/>
                  </a:lnTo>
                  <a:lnTo>
                    <a:pt x="553" y="741"/>
                  </a:lnTo>
                  <a:lnTo>
                    <a:pt x="551" y="736"/>
                  </a:lnTo>
                  <a:lnTo>
                    <a:pt x="549" y="736"/>
                  </a:lnTo>
                  <a:lnTo>
                    <a:pt x="549" y="732"/>
                  </a:lnTo>
                  <a:lnTo>
                    <a:pt x="549" y="730"/>
                  </a:lnTo>
                  <a:lnTo>
                    <a:pt x="549" y="728"/>
                  </a:lnTo>
                  <a:lnTo>
                    <a:pt x="551" y="726"/>
                  </a:lnTo>
                  <a:lnTo>
                    <a:pt x="551" y="724"/>
                  </a:lnTo>
                  <a:lnTo>
                    <a:pt x="551" y="722"/>
                  </a:lnTo>
                  <a:lnTo>
                    <a:pt x="551" y="720"/>
                  </a:lnTo>
                  <a:lnTo>
                    <a:pt x="553" y="718"/>
                  </a:lnTo>
                  <a:lnTo>
                    <a:pt x="553" y="717"/>
                  </a:lnTo>
                  <a:lnTo>
                    <a:pt x="553" y="715"/>
                  </a:lnTo>
                  <a:lnTo>
                    <a:pt x="555" y="713"/>
                  </a:lnTo>
                  <a:lnTo>
                    <a:pt x="555" y="711"/>
                  </a:lnTo>
                  <a:lnTo>
                    <a:pt x="555" y="709"/>
                  </a:lnTo>
                  <a:lnTo>
                    <a:pt x="557" y="707"/>
                  </a:lnTo>
                  <a:lnTo>
                    <a:pt x="557" y="705"/>
                  </a:lnTo>
                  <a:lnTo>
                    <a:pt x="558" y="705"/>
                  </a:lnTo>
                  <a:lnTo>
                    <a:pt x="558" y="703"/>
                  </a:lnTo>
                  <a:lnTo>
                    <a:pt x="557" y="703"/>
                  </a:lnTo>
                  <a:lnTo>
                    <a:pt x="557" y="699"/>
                  </a:lnTo>
                  <a:lnTo>
                    <a:pt x="555" y="699"/>
                  </a:lnTo>
                  <a:lnTo>
                    <a:pt x="553" y="697"/>
                  </a:lnTo>
                  <a:lnTo>
                    <a:pt x="551" y="697"/>
                  </a:lnTo>
                  <a:lnTo>
                    <a:pt x="547" y="695"/>
                  </a:lnTo>
                  <a:lnTo>
                    <a:pt x="543" y="695"/>
                  </a:lnTo>
                  <a:lnTo>
                    <a:pt x="543" y="693"/>
                  </a:lnTo>
                  <a:lnTo>
                    <a:pt x="537" y="695"/>
                  </a:lnTo>
                  <a:lnTo>
                    <a:pt x="535" y="695"/>
                  </a:lnTo>
                  <a:lnTo>
                    <a:pt x="534" y="695"/>
                  </a:lnTo>
                  <a:lnTo>
                    <a:pt x="532" y="695"/>
                  </a:lnTo>
                  <a:lnTo>
                    <a:pt x="530" y="693"/>
                  </a:lnTo>
                  <a:lnTo>
                    <a:pt x="528" y="693"/>
                  </a:lnTo>
                  <a:lnTo>
                    <a:pt x="526" y="693"/>
                  </a:lnTo>
                  <a:lnTo>
                    <a:pt x="522" y="693"/>
                  </a:lnTo>
                  <a:lnTo>
                    <a:pt x="520" y="695"/>
                  </a:lnTo>
                  <a:lnTo>
                    <a:pt x="518" y="697"/>
                  </a:lnTo>
                  <a:lnTo>
                    <a:pt x="518" y="699"/>
                  </a:lnTo>
                  <a:lnTo>
                    <a:pt x="522" y="697"/>
                  </a:lnTo>
                  <a:lnTo>
                    <a:pt x="524" y="701"/>
                  </a:lnTo>
                  <a:lnTo>
                    <a:pt x="520" y="703"/>
                  </a:lnTo>
                  <a:lnTo>
                    <a:pt x="518" y="705"/>
                  </a:lnTo>
                  <a:lnTo>
                    <a:pt x="516" y="705"/>
                  </a:lnTo>
                  <a:lnTo>
                    <a:pt x="516" y="707"/>
                  </a:lnTo>
                  <a:lnTo>
                    <a:pt x="514" y="709"/>
                  </a:lnTo>
                  <a:lnTo>
                    <a:pt x="516" y="707"/>
                  </a:lnTo>
                  <a:lnTo>
                    <a:pt x="518" y="707"/>
                  </a:lnTo>
                  <a:lnTo>
                    <a:pt x="522" y="705"/>
                  </a:lnTo>
                  <a:lnTo>
                    <a:pt x="526" y="709"/>
                  </a:lnTo>
                  <a:lnTo>
                    <a:pt x="530" y="711"/>
                  </a:lnTo>
                  <a:lnTo>
                    <a:pt x="532" y="713"/>
                  </a:lnTo>
                  <a:lnTo>
                    <a:pt x="530" y="713"/>
                  </a:lnTo>
                  <a:lnTo>
                    <a:pt x="528" y="715"/>
                  </a:lnTo>
                  <a:lnTo>
                    <a:pt x="526" y="717"/>
                  </a:lnTo>
                  <a:lnTo>
                    <a:pt x="530" y="717"/>
                  </a:lnTo>
                  <a:lnTo>
                    <a:pt x="532" y="722"/>
                  </a:lnTo>
                  <a:lnTo>
                    <a:pt x="537" y="728"/>
                  </a:lnTo>
                  <a:lnTo>
                    <a:pt x="537" y="730"/>
                  </a:lnTo>
                  <a:lnTo>
                    <a:pt x="537" y="732"/>
                  </a:lnTo>
                  <a:lnTo>
                    <a:pt x="535" y="734"/>
                  </a:lnTo>
                  <a:lnTo>
                    <a:pt x="534" y="734"/>
                  </a:lnTo>
                  <a:lnTo>
                    <a:pt x="534" y="736"/>
                  </a:lnTo>
                  <a:lnTo>
                    <a:pt x="532" y="736"/>
                  </a:lnTo>
                  <a:lnTo>
                    <a:pt x="530" y="736"/>
                  </a:lnTo>
                  <a:lnTo>
                    <a:pt x="528" y="734"/>
                  </a:lnTo>
                  <a:lnTo>
                    <a:pt x="526" y="736"/>
                  </a:lnTo>
                  <a:lnTo>
                    <a:pt x="524" y="736"/>
                  </a:lnTo>
                  <a:lnTo>
                    <a:pt x="520" y="736"/>
                  </a:lnTo>
                  <a:lnTo>
                    <a:pt x="518" y="736"/>
                  </a:lnTo>
                  <a:lnTo>
                    <a:pt x="518" y="738"/>
                  </a:lnTo>
                  <a:lnTo>
                    <a:pt x="514" y="738"/>
                  </a:lnTo>
                  <a:lnTo>
                    <a:pt x="512" y="740"/>
                  </a:lnTo>
                  <a:lnTo>
                    <a:pt x="509" y="741"/>
                  </a:lnTo>
                  <a:lnTo>
                    <a:pt x="509" y="743"/>
                  </a:lnTo>
                  <a:lnTo>
                    <a:pt x="507" y="743"/>
                  </a:lnTo>
                  <a:lnTo>
                    <a:pt x="505" y="747"/>
                  </a:lnTo>
                  <a:lnTo>
                    <a:pt x="503" y="747"/>
                  </a:lnTo>
                  <a:lnTo>
                    <a:pt x="503" y="749"/>
                  </a:lnTo>
                  <a:lnTo>
                    <a:pt x="503" y="747"/>
                  </a:lnTo>
                  <a:lnTo>
                    <a:pt x="501" y="745"/>
                  </a:lnTo>
                  <a:lnTo>
                    <a:pt x="499" y="743"/>
                  </a:lnTo>
                  <a:lnTo>
                    <a:pt x="491" y="749"/>
                  </a:lnTo>
                  <a:lnTo>
                    <a:pt x="489" y="749"/>
                  </a:lnTo>
                  <a:lnTo>
                    <a:pt x="489" y="751"/>
                  </a:lnTo>
                  <a:lnTo>
                    <a:pt x="487" y="751"/>
                  </a:lnTo>
                  <a:lnTo>
                    <a:pt x="489" y="751"/>
                  </a:lnTo>
                  <a:lnTo>
                    <a:pt x="489" y="753"/>
                  </a:lnTo>
                  <a:lnTo>
                    <a:pt x="489" y="755"/>
                  </a:lnTo>
                  <a:lnTo>
                    <a:pt x="491" y="755"/>
                  </a:lnTo>
                  <a:lnTo>
                    <a:pt x="491" y="759"/>
                  </a:lnTo>
                  <a:lnTo>
                    <a:pt x="489" y="761"/>
                  </a:lnTo>
                  <a:lnTo>
                    <a:pt x="487" y="763"/>
                  </a:lnTo>
                  <a:lnTo>
                    <a:pt x="487" y="765"/>
                  </a:lnTo>
                  <a:lnTo>
                    <a:pt x="486" y="766"/>
                  </a:lnTo>
                  <a:lnTo>
                    <a:pt x="486" y="765"/>
                  </a:lnTo>
                  <a:lnTo>
                    <a:pt x="486" y="766"/>
                  </a:lnTo>
                  <a:lnTo>
                    <a:pt x="486" y="768"/>
                  </a:lnTo>
                  <a:lnTo>
                    <a:pt x="484" y="768"/>
                  </a:lnTo>
                  <a:lnTo>
                    <a:pt x="484" y="770"/>
                  </a:lnTo>
                  <a:lnTo>
                    <a:pt x="482" y="772"/>
                  </a:lnTo>
                  <a:lnTo>
                    <a:pt x="482" y="774"/>
                  </a:lnTo>
                  <a:lnTo>
                    <a:pt x="482" y="776"/>
                  </a:lnTo>
                  <a:lnTo>
                    <a:pt x="486" y="780"/>
                  </a:lnTo>
                  <a:lnTo>
                    <a:pt x="487" y="782"/>
                  </a:lnTo>
                  <a:lnTo>
                    <a:pt x="486" y="784"/>
                  </a:lnTo>
                  <a:lnTo>
                    <a:pt x="486" y="788"/>
                  </a:lnTo>
                  <a:lnTo>
                    <a:pt x="484" y="788"/>
                  </a:lnTo>
                  <a:lnTo>
                    <a:pt x="486" y="788"/>
                  </a:lnTo>
                  <a:lnTo>
                    <a:pt x="486" y="789"/>
                  </a:lnTo>
                  <a:lnTo>
                    <a:pt x="484" y="789"/>
                  </a:lnTo>
                  <a:lnTo>
                    <a:pt x="484" y="791"/>
                  </a:lnTo>
                  <a:lnTo>
                    <a:pt x="486" y="791"/>
                  </a:lnTo>
                  <a:lnTo>
                    <a:pt x="486" y="793"/>
                  </a:lnTo>
                  <a:lnTo>
                    <a:pt x="486" y="795"/>
                  </a:lnTo>
                  <a:lnTo>
                    <a:pt x="486" y="797"/>
                  </a:lnTo>
                  <a:lnTo>
                    <a:pt x="486" y="799"/>
                  </a:lnTo>
                  <a:lnTo>
                    <a:pt x="487" y="799"/>
                  </a:lnTo>
                  <a:lnTo>
                    <a:pt x="486" y="801"/>
                  </a:lnTo>
                  <a:lnTo>
                    <a:pt x="484" y="801"/>
                  </a:lnTo>
                  <a:lnTo>
                    <a:pt x="482" y="805"/>
                  </a:lnTo>
                  <a:lnTo>
                    <a:pt x="482" y="807"/>
                  </a:lnTo>
                  <a:lnTo>
                    <a:pt x="480" y="809"/>
                  </a:lnTo>
                  <a:lnTo>
                    <a:pt x="478" y="813"/>
                  </a:lnTo>
                  <a:lnTo>
                    <a:pt x="480" y="813"/>
                  </a:lnTo>
                  <a:lnTo>
                    <a:pt x="482" y="813"/>
                  </a:lnTo>
                  <a:lnTo>
                    <a:pt x="482" y="814"/>
                  </a:lnTo>
                  <a:lnTo>
                    <a:pt x="484" y="814"/>
                  </a:lnTo>
                  <a:lnTo>
                    <a:pt x="484" y="816"/>
                  </a:lnTo>
                  <a:lnTo>
                    <a:pt x="484" y="818"/>
                  </a:lnTo>
                  <a:lnTo>
                    <a:pt x="482" y="818"/>
                  </a:lnTo>
                  <a:lnTo>
                    <a:pt x="480" y="816"/>
                  </a:lnTo>
                  <a:lnTo>
                    <a:pt x="480" y="818"/>
                  </a:lnTo>
                  <a:lnTo>
                    <a:pt x="478" y="818"/>
                  </a:lnTo>
                  <a:lnTo>
                    <a:pt x="478" y="820"/>
                  </a:lnTo>
                  <a:lnTo>
                    <a:pt x="478" y="822"/>
                  </a:lnTo>
                  <a:lnTo>
                    <a:pt x="480" y="822"/>
                  </a:lnTo>
                  <a:lnTo>
                    <a:pt x="480" y="824"/>
                  </a:lnTo>
                  <a:lnTo>
                    <a:pt x="478" y="826"/>
                  </a:lnTo>
                  <a:lnTo>
                    <a:pt x="476" y="828"/>
                  </a:lnTo>
                  <a:lnTo>
                    <a:pt x="474" y="830"/>
                  </a:lnTo>
                  <a:lnTo>
                    <a:pt x="472" y="832"/>
                  </a:lnTo>
                  <a:lnTo>
                    <a:pt x="470" y="834"/>
                  </a:lnTo>
                  <a:lnTo>
                    <a:pt x="468" y="836"/>
                  </a:lnTo>
                  <a:lnTo>
                    <a:pt x="468" y="837"/>
                  </a:lnTo>
                  <a:lnTo>
                    <a:pt x="466" y="837"/>
                  </a:lnTo>
                  <a:lnTo>
                    <a:pt x="466" y="839"/>
                  </a:lnTo>
                  <a:lnTo>
                    <a:pt x="464" y="839"/>
                  </a:lnTo>
                  <a:lnTo>
                    <a:pt x="464" y="841"/>
                  </a:lnTo>
                  <a:lnTo>
                    <a:pt x="462" y="843"/>
                  </a:lnTo>
                  <a:lnTo>
                    <a:pt x="462" y="845"/>
                  </a:lnTo>
                  <a:lnTo>
                    <a:pt x="461" y="847"/>
                  </a:lnTo>
                  <a:lnTo>
                    <a:pt x="461" y="849"/>
                  </a:lnTo>
                  <a:lnTo>
                    <a:pt x="459" y="849"/>
                  </a:lnTo>
                  <a:lnTo>
                    <a:pt x="459" y="851"/>
                  </a:lnTo>
                  <a:lnTo>
                    <a:pt x="459" y="853"/>
                  </a:lnTo>
                  <a:lnTo>
                    <a:pt x="457" y="853"/>
                  </a:lnTo>
                  <a:lnTo>
                    <a:pt x="457" y="855"/>
                  </a:lnTo>
                  <a:lnTo>
                    <a:pt x="457" y="857"/>
                  </a:lnTo>
                  <a:lnTo>
                    <a:pt x="457" y="859"/>
                  </a:lnTo>
                  <a:lnTo>
                    <a:pt x="455" y="859"/>
                  </a:lnTo>
                  <a:lnTo>
                    <a:pt x="455" y="861"/>
                  </a:lnTo>
                  <a:lnTo>
                    <a:pt x="457" y="861"/>
                  </a:lnTo>
                  <a:lnTo>
                    <a:pt x="459" y="861"/>
                  </a:lnTo>
                  <a:lnTo>
                    <a:pt x="461" y="861"/>
                  </a:lnTo>
                  <a:lnTo>
                    <a:pt x="461" y="862"/>
                  </a:lnTo>
                  <a:lnTo>
                    <a:pt x="459" y="864"/>
                  </a:lnTo>
                  <a:lnTo>
                    <a:pt x="457" y="864"/>
                  </a:lnTo>
                  <a:lnTo>
                    <a:pt x="459" y="864"/>
                  </a:lnTo>
                  <a:lnTo>
                    <a:pt x="459" y="866"/>
                  </a:lnTo>
                  <a:lnTo>
                    <a:pt x="461" y="866"/>
                  </a:lnTo>
                  <a:lnTo>
                    <a:pt x="461" y="868"/>
                  </a:lnTo>
                  <a:lnTo>
                    <a:pt x="461" y="870"/>
                  </a:lnTo>
                  <a:lnTo>
                    <a:pt x="461" y="872"/>
                  </a:lnTo>
                  <a:lnTo>
                    <a:pt x="459" y="872"/>
                  </a:lnTo>
                  <a:lnTo>
                    <a:pt x="459" y="870"/>
                  </a:lnTo>
                  <a:lnTo>
                    <a:pt x="457" y="872"/>
                  </a:lnTo>
                  <a:lnTo>
                    <a:pt x="457" y="874"/>
                  </a:lnTo>
                  <a:lnTo>
                    <a:pt x="457" y="872"/>
                  </a:lnTo>
                  <a:lnTo>
                    <a:pt x="455" y="872"/>
                  </a:lnTo>
                  <a:lnTo>
                    <a:pt x="453" y="870"/>
                  </a:lnTo>
                  <a:lnTo>
                    <a:pt x="453" y="868"/>
                  </a:lnTo>
                  <a:lnTo>
                    <a:pt x="451" y="868"/>
                  </a:lnTo>
                  <a:lnTo>
                    <a:pt x="451" y="870"/>
                  </a:lnTo>
                  <a:lnTo>
                    <a:pt x="449" y="870"/>
                  </a:lnTo>
                  <a:lnTo>
                    <a:pt x="449" y="872"/>
                  </a:lnTo>
                  <a:lnTo>
                    <a:pt x="447" y="872"/>
                  </a:lnTo>
                  <a:lnTo>
                    <a:pt x="447" y="874"/>
                  </a:lnTo>
                  <a:lnTo>
                    <a:pt x="445" y="874"/>
                  </a:lnTo>
                  <a:lnTo>
                    <a:pt x="445" y="876"/>
                  </a:lnTo>
                  <a:lnTo>
                    <a:pt x="445" y="878"/>
                  </a:lnTo>
                  <a:lnTo>
                    <a:pt x="445" y="880"/>
                  </a:lnTo>
                  <a:lnTo>
                    <a:pt x="445" y="882"/>
                  </a:lnTo>
                  <a:lnTo>
                    <a:pt x="445" y="884"/>
                  </a:lnTo>
                  <a:lnTo>
                    <a:pt x="445" y="885"/>
                  </a:lnTo>
                  <a:lnTo>
                    <a:pt x="443" y="885"/>
                  </a:lnTo>
                  <a:lnTo>
                    <a:pt x="443" y="887"/>
                  </a:lnTo>
                  <a:lnTo>
                    <a:pt x="443" y="889"/>
                  </a:lnTo>
                  <a:lnTo>
                    <a:pt x="441" y="889"/>
                  </a:lnTo>
                  <a:lnTo>
                    <a:pt x="443" y="889"/>
                  </a:lnTo>
                  <a:lnTo>
                    <a:pt x="443" y="891"/>
                  </a:lnTo>
                  <a:lnTo>
                    <a:pt x="441" y="891"/>
                  </a:lnTo>
                  <a:lnTo>
                    <a:pt x="443" y="891"/>
                  </a:lnTo>
                  <a:lnTo>
                    <a:pt x="443" y="893"/>
                  </a:lnTo>
                  <a:lnTo>
                    <a:pt x="441" y="893"/>
                  </a:lnTo>
                  <a:lnTo>
                    <a:pt x="441" y="895"/>
                  </a:lnTo>
                  <a:lnTo>
                    <a:pt x="439" y="895"/>
                  </a:lnTo>
                  <a:lnTo>
                    <a:pt x="439" y="897"/>
                  </a:lnTo>
                  <a:lnTo>
                    <a:pt x="439" y="899"/>
                  </a:lnTo>
                  <a:lnTo>
                    <a:pt x="437" y="899"/>
                  </a:lnTo>
                  <a:lnTo>
                    <a:pt x="436" y="899"/>
                  </a:lnTo>
                  <a:lnTo>
                    <a:pt x="434" y="899"/>
                  </a:lnTo>
                  <a:lnTo>
                    <a:pt x="432" y="899"/>
                  </a:lnTo>
                  <a:lnTo>
                    <a:pt x="432" y="901"/>
                  </a:lnTo>
                  <a:lnTo>
                    <a:pt x="432" y="903"/>
                  </a:lnTo>
                  <a:lnTo>
                    <a:pt x="430" y="903"/>
                  </a:lnTo>
                  <a:lnTo>
                    <a:pt x="428" y="901"/>
                  </a:lnTo>
                  <a:lnTo>
                    <a:pt x="428" y="903"/>
                  </a:lnTo>
                  <a:lnTo>
                    <a:pt x="426" y="903"/>
                  </a:lnTo>
                  <a:lnTo>
                    <a:pt x="426" y="905"/>
                  </a:lnTo>
                  <a:lnTo>
                    <a:pt x="426" y="909"/>
                  </a:lnTo>
                  <a:lnTo>
                    <a:pt x="426" y="910"/>
                  </a:lnTo>
                  <a:lnTo>
                    <a:pt x="424" y="910"/>
                  </a:lnTo>
                  <a:lnTo>
                    <a:pt x="424" y="909"/>
                  </a:lnTo>
                  <a:lnTo>
                    <a:pt x="424" y="907"/>
                  </a:lnTo>
                  <a:lnTo>
                    <a:pt x="424" y="905"/>
                  </a:lnTo>
                  <a:lnTo>
                    <a:pt x="422" y="905"/>
                  </a:lnTo>
                  <a:lnTo>
                    <a:pt x="420" y="907"/>
                  </a:lnTo>
                  <a:lnTo>
                    <a:pt x="416" y="910"/>
                  </a:lnTo>
                  <a:lnTo>
                    <a:pt x="416" y="912"/>
                  </a:lnTo>
                  <a:lnTo>
                    <a:pt x="414" y="912"/>
                  </a:lnTo>
                  <a:lnTo>
                    <a:pt x="414" y="914"/>
                  </a:lnTo>
                  <a:lnTo>
                    <a:pt x="414" y="916"/>
                  </a:lnTo>
                  <a:lnTo>
                    <a:pt x="414" y="918"/>
                  </a:lnTo>
                  <a:lnTo>
                    <a:pt x="414" y="920"/>
                  </a:lnTo>
                  <a:lnTo>
                    <a:pt x="414" y="922"/>
                  </a:lnTo>
                  <a:lnTo>
                    <a:pt x="413" y="922"/>
                  </a:lnTo>
                  <a:lnTo>
                    <a:pt x="413" y="924"/>
                  </a:lnTo>
                  <a:lnTo>
                    <a:pt x="411" y="924"/>
                  </a:lnTo>
                  <a:lnTo>
                    <a:pt x="409" y="924"/>
                  </a:lnTo>
                  <a:lnTo>
                    <a:pt x="407" y="922"/>
                  </a:lnTo>
                  <a:lnTo>
                    <a:pt x="403" y="922"/>
                  </a:lnTo>
                  <a:lnTo>
                    <a:pt x="401" y="922"/>
                  </a:lnTo>
                  <a:lnTo>
                    <a:pt x="399" y="922"/>
                  </a:lnTo>
                  <a:lnTo>
                    <a:pt x="397" y="922"/>
                  </a:lnTo>
                  <a:lnTo>
                    <a:pt x="395" y="922"/>
                  </a:lnTo>
                  <a:lnTo>
                    <a:pt x="393" y="924"/>
                  </a:lnTo>
                  <a:lnTo>
                    <a:pt x="391" y="924"/>
                  </a:lnTo>
                  <a:lnTo>
                    <a:pt x="391" y="926"/>
                  </a:lnTo>
                  <a:lnTo>
                    <a:pt x="393" y="928"/>
                  </a:lnTo>
                  <a:lnTo>
                    <a:pt x="395" y="928"/>
                  </a:lnTo>
                  <a:lnTo>
                    <a:pt x="395" y="930"/>
                  </a:lnTo>
                  <a:lnTo>
                    <a:pt x="393" y="930"/>
                  </a:lnTo>
                  <a:lnTo>
                    <a:pt x="393" y="932"/>
                  </a:lnTo>
                  <a:lnTo>
                    <a:pt x="393" y="933"/>
                  </a:lnTo>
                  <a:lnTo>
                    <a:pt x="391" y="933"/>
                  </a:lnTo>
                  <a:lnTo>
                    <a:pt x="391" y="935"/>
                  </a:lnTo>
                  <a:lnTo>
                    <a:pt x="391" y="937"/>
                  </a:lnTo>
                  <a:lnTo>
                    <a:pt x="391" y="939"/>
                  </a:lnTo>
                  <a:lnTo>
                    <a:pt x="389" y="939"/>
                  </a:lnTo>
                  <a:lnTo>
                    <a:pt x="388" y="939"/>
                  </a:lnTo>
                  <a:lnTo>
                    <a:pt x="388" y="941"/>
                  </a:lnTo>
                  <a:lnTo>
                    <a:pt x="388" y="943"/>
                  </a:lnTo>
                  <a:lnTo>
                    <a:pt x="386" y="945"/>
                  </a:lnTo>
                  <a:lnTo>
                    <a:pt x="386" y="947"/>
                  </a:lnTo>
                  <a:lnTo>
                    <a:pt x="384" y="947"/>
                  </a:lnTo>
                  <a:lnTo>
                    <a:pt x="382" y="945"/>
                  </a:lnTo>
                  <a:lnTo>
                    <a:pt x="380" y="945"/>
                  </a:lnTo>
                  <a:lnTo>
                    <a:pt x="378" y="945"/>
                  </a:lnTo>
                  <a:lnTo>
                    <a:pt x="376" y="945"/>
                  </a:lnTo>
                  <a:lnTo>
                    <a:pt x="376" y="947"/>
                  </a:lnTo>
                  <a:lnTo>
                    <a:pt x="374" y="947"/>
                  </a:lnTo>
                  <a:lnTo>
                    <a:pt x="374" y="949"/>
                  </a:lnTo>
                  <a:lnTo>
                    <a:pt x="372" y="949"/>
                  </a:lnTo>
                  <a:lnTo>
                    <a:pt x="370" y="949"/>
                  </a:lnTo>
                  <a:lnTo>
                    <a:pt x="368" y="949"/>
                  </a:lnTo>
                  <a:lnTo>
                    <a:pt x="366" y="949"/>
                  </a:lnTo>
                  <a:lnTo>
                    <a:pt x="365" y="949"/>
                  </a:lnTo>
                  <a:lnTo>
                    <a:pt x="363" y="949"/>
                  </a:lnTo>
                  <a:lnTo>
                    <a:pt x="363" y="947"/>
                  </a:lnTo>
                  <a:lnTo>
                    <a:pt x="361" y="947"/>
                  </a:lnTo>
                  <a:lnTo>
                    <a:pt x="359" y="947"/>
                  </a:lnTo>
                  <a:lnTo>
                    <a:pt x="357" y="947"/>
                  </a:lnTo>
                  <a:lnTo>
                    <a:pt x="355" y="947"/>
                  </a:lnTo>
                  <a:lnTo>
                    <a:pt x="353" y="949"/>
                  </a:lnTo>
                  <a:lnTo>
                    <a:pt x="351" y="949"/>
                  </a:lnTo>
                  <a:lnTo>
                    <a:pt x="349" y="949"/>
                  </a:lnTo>
                  <a:lnTo>
                    <a:pt x="349" y="951"/>
                  </a:lnTo>
                  <a:lnTo>
                    <a:pt x="347" y="951"/>
                  </a:lnTo>
                  <a:lnTo>
                    <a:pt x="345" y="949"/>
                  </a:lnTo>
                  <a:lnTo>
                    <a:pt x="343" y="949"/>
                  </a:lnTo>
                  <a:lnTo>
                    <a:pt x="341" y="949"/>
                  </a:lnTo>
                  <a:lnTo>
                    <a:pt x="340" y="949"/>
                  </a:lnTo>
                  <a:lnTo>
                    <a:pt x="340" y="951"/>
                  </a:lnTo>
                  <a:lnTo>
                    <a:pt x="338" y="951"/>
                  </a:lnTo>
                  <a:lnTo>
                    <a:pt x="336" y="953"/>
                  </a:lnTo>
                  <a:lnTo>
                    <a:pt x="334" y="955"/>
                  </a:lnTo>
                  <a:lnTo>
                    <a:pt x="334" y="953"/>
                  </a:lnTo>
                  <a:lnTo>
                    <a:pt x="332" y="953"/>
                  </a:lnTo>
                  <a:lnTo>
                    <a:pt x="332" y="951"/>
                  </a:lnTo>
                  <a:lnTo>
                    <a:pt x="330" y="951"/>
                  </a:lnTo>
                  <a:lnTo>
                    <a:pt x="328" y="949"/>
                  </a:lnTo>
                  <a:lnTo>
                    <a:pt x="326" y="949"/>
                  </a:lnTo>
                  <a:lnTo>
                    <a:pt x="326" y="947"/>
                  </a:lnTo>
                  <a:lnTo>
                    <a:pt x="324" y="945"/>
                  </a:lnTo>
                  <a:lnTo>
                    <a:pt x="322" y="943"/>
                  </a:lnTo>
                  <a:lnTo>
                    <a:pt x="320" y="943"/>
                  </a:lnTo>
                  <a:lnTo>
                    <a:pt x="318" y="941"/>
                  </a:lnTo>
                  <a:lnTo>
                    <a:pt x="318" y="943"/>
                  </a:lnTo>
                  <a:lnTo>
                    <a:pt x="317" y="943"/>
                  </a:lnTo>
                  <a:lnTo>
                    <a:pt x="317" y="941"/>
                  </a:lnTo>
                  <a:lnTo>
                    <a:pt x="317" y="939"/>
                  </a:lnTo>
                  <a:lnTo>
                    <a:pt x="315" y="939"/>
                  </a:lnTo>
                  <a:lnTo>
                    <a:pt x="313" y="941"/>
                  </a:lnTo>
                  <a:lnTo>
                    <a:pt x="311" y="941"/>
                  </a:lnTo>
                  <a:lnTo>
                    <a:pt x="309" y="939"/>
                  </a:lnTo>
                  <a:lnTo>
                    <a:pt x="307" y="937"/>
                  </a:lnTo>
                  <a:lnTo>
                    <a:pt x="305" y="935"/>
                  </a:lnTo>
                  <a:lnTo>
                    <a:pt x="303" y="935"/>
                  </a:lnTo>
                  <a:lnTo>
                    <a:pt x="303" y="933"/>
                  </a:lnTo>
                  <a:lnTo>
                    <a:pt x="299" y="937"/>
                  </a:lnTo>
                  <a:lnTo>
                    <a:pt x="297" y="939"/>
                  </a:lnTo>
                  <a:lnTo>
                    <a:pt x="295" y="941"/>
                  </a:lnTo>
                  <a:lnTo>
                    <a:pt x="293" y="941"/>
                  </a:lnTo>
                  <a:lnTo>
                    <a:pt x="293" y="939"/>
                  </a:lnTo>
                  <a:lnTo>
                    <a:pt x="292" y="939"/>
                  </a:lnTo>
                  <a:lnTo>
                    <a:pt x="292" y="941"/>
                  </a:lnTo>
                  <a:lnTo>
                    <a:pt x="290" y="941"/>
                  </a:lnTo>
                  <a:lnTo>
                    <a:pt x="290" y="943"/>
                  </a:lnTo>
                  <a:lnTo>
                    <a:pt x="288" y="943"/>
                  </a:lnTo>
                  <a:lnTo>
                    <a:pt x="288" y="945"/>
                  </a:lnTo>
                  <a:lnTo>
                    <a:pt x="286" y="945"/>
                  </a:lnTo>
                  <a:lnTo>
                    <a:pt x="284" y="945"/>
                  </a:lnTo>
                  <a:lnTo>
                    <a:pt x="284" y="947"/>
                  </a:lnTo>
                  <a:lnTo>
                    <a:pt x="284" y="949"/>
                  </a:lnTo>
                  <a:lnTo>
                    <a:pt x="282" y="949"/>
                  </a:lnTo>
                  <a:lnTo>
                    <a:pt x="280" y="949"/>
                  </a:lnTo>
                  <a:lnTo>
                    <a:pt x="278" y="949"/>
                  </a:lnTo>
                  <a:lnTo>
                    <a:pt x="276" y="949"/>
                  </a:lnTo>
                  <a:lnTo>
                    <a:pt x="274" y="947"/>
                  </a:lnTo>
                  <a:lnTo>
                    <a:pt x="272" y="945"/>
                  </a:lnTo>
                  <a:lnTo>
                    <a:pt x="270" y="943"/>
                  </a:lnTo>
                  <a:lnTo>
                    <a:pt x="270" y="941"/>
                  </a:lnTo>
                  <a:lnTo>
                    <a:pt x="270" y="939"/>
                  </a:lnTo>
                  <a:lnTo>
                    <a:pt x="269" y="937"/>
                  </a:lnTo>
                  <a:lnTo>
                    <a:pt x="267" y="933"/>
                  </a:lnTo>
                  <a:lnTo>
                    <a:pt x="267" y="932"/>
                  </a:lnTo>
                  <a:lnTo>
                    <a:pt x="265" y="932"/>
                  </a:lnTo>
                  <a:lnTo>
                    <a:pt x="265" y="933"/>
                  </a:lnTo>
                  <a:lnTo>
                    <a:pt x="263" y="933"/>
                  </a:lnTo>
                  <a:lnTo>
                    <a:pt x="261" y="933"/>
                  </a:lnTo>
                  <a:lnTo>
                    <a:pt x="259" y="933"/>
                  </a:lnTo>
                  <a:lnTo>
                    <a:pt x="259" y="935"/>
                  </a:lnTo>
                  <a:lnTo>
                    <a:pt x="257" y="935"/>
                  </a:lnTo>
                  <a:lnTo>
                    <a:pt x="255" y="935"/>
                  </a:lnTo>
                  <a:lnTo>
                    <a:pt x="255" y="937"/>
                  </a:lnTo>
                  <a:lnTo>
                    <a:pt x="255" y="939"/>
                  </a:lnTo>
                  <a:lnTo>
                    <a:pt x="255" y="943"/>
                  </a:lnTo>
                  <a:lnTo>
                    <a:pt x="253" y="945"/>
                  </a:lnTo>
                  <a:lnTo>
                    <a:pt x="251" y="945"/>
                  </a:lnTo>
                  <a:lnTo>
                    <a:pt x="249" y="945"/>
                  </a:lnTo>
                  <a:lnTo>
                    <a:pt x="247" y="945"/>
                  </a:lnTo>
                  <a:lnTo>
                    <a:pt x="247" y="953"/>
                  </a:lnTo>
                  <a:lnTo>
                    <a:pt x="249" y="955"/>
                  </a:lnTo>
                  <a:lnTo>
                    <a:pt x="249" y="957"/>
                  </a:lnTo>
                  <a:lnTo>
                    <a:pt x="247" y="957"/>
                  </a:lnTo>
                  <a:lnTo>
                    <a:pt x="245" y="957"/>
                  </a:lnTo>
                  <a:lnTo>
                    <a:pt x="244" y="957"/>
                  </a:lnTo>
                  <a:lnTo>
                    <a:pt x="244" y="955"/>
                  </a:lnTo>
                  <a:lnTo>
                    <a:pt x="242" y="955"/>
                  </a:lnTo>
                  <a:lnTo>
                    <a:pt x="242" y="958"/>
                  </a:lnTo>
                  <a:lnTo>
                    <a:pt x="240" y="960"/>
                  </a:lnTo>
                  <a:lnTo>
                    <a:pt x="240" y="962"/>
                  </a:lnTo>
                  <a:lnTo>
                    <a:pt x="240" y="964"/>
                  </a:lnTo>
                  <a:lnTo>
                    <a:pt x="240" y="966"/>
                  </a:lnTo>
                  <a:lnTo>
                    <a:pt x="238" y="968"/>
                  </a:lnTo>
                  <a:lnTo>
                    <a:pt x="238" y="970"/>
                  </a:lnTo>
                  <a:lnTo>
                    <a:pt x="238" y="972"/>
                  </a:lnTo>
                  <a:lnTo>
                    <a:pt x="236" y="974"/>
                  </a:lnTo>
                  <a:lnTo>
                    <a:pt x="236" y="976"/>
                  </a:lnTo>
                  <a:lnTo>
                    <a:pt x="234" y="978"/>
                  </a:lnTo>
                  <a:lnTo>
                    <a:pt x="234" y="980"/>
                  </a:lnTo>
                  <a:lnTo>
                    <a:pt x="234" y="981"/>
                  </a:lnTo>
                  <a:lnTo>
                    <a:pt x="232" y="983"/>
                  </a:lnTo>
                  <a:lnTo>
                    <a:pt x="232" y="981"/>
                  </a:lnTo>
                  <a:lnTo>
                    <a:pt x="232" y="980"/>
                  </a:lnTo>
                  <a:lnTo>
                    <a:pt x="230" y="980"/>
                  </a:lnTo>
                  <a:lnTo>
                    <a:pt x="230" y="978"/>
                  </a:lnTo>
                  <a:lnTo>
                    <a:pt x="230" y="976"/>
                  </a:lnTo>
                  <a:lnTo>
                    <a:pt x="232" y="976"/>
                  </a:lnTo>
                  <a:lnTo>
                    <a:pt x="232" y="974"/>
                  </a:lnTo>
                  <a:lnTo>
                    <a:pt x="230" y="974"/>
                  </a:lnTo>
                  <a:lnTo>
                    <a:pt x="228" y="974"/>
                  </a:lnTo>
                  <a:lnTo>
                    <a:pt x="222" y="972"/>
                  </a:lnTo>
                  <a:lnTo>
                    <a:pt x="221" y="972"/>
                  </a:lnTo>
                  <a:lnTo>
                    <a:pt x="219" y="970"/>
                  </a:lnTo>
                  <a:lnTo>
                    <a:pt x="217" y="970"/>
                  </a:lnTo>
                  <a:lnTo>
                    <a:pt x="215" y="968"/>
                  </a:lnTo>
                  <a:lnTo>
                    <a:pt x="213" y="968"/>
                  </a:lnTo>
                  <a:lnTo>
                    <a:pt x="209" y="966"/>
                  </a:lnTo>
                  <a:lnTo>
                    <a:pt x="205" y="966"/>
                  </a:lnTo>
                  <a:lnTo>
                    <a:pt x="203" y="964"/>
                  </a:lnTo>
                  <a:lnTo>
                    <a:pt x="201" y="964"/>
                  </a:lnTo>
                  <a:lnTo>
                    <a:pt x="201" y="966"/>
                  </a:lnTo>
                  <a:lnTo>
                    <a:pt x="201" y="964"/>
                  </a:lnTo>
                  <a:lnTo>
                    <a:pt x="199" y="964"/>
                  </a:lnTo>
                  <a:lnTo>
                    <a:pt x="197" y="964"/>
                  </a:lnTo>
                  <a:lnTo>
                    <a:pt x="196" y="964"/>
                  </a:lnTo>
                  <a:lnTo>
                    <a:pt x="194" y="964"/>
                  </a:lnTo>
                  <a:lnTo>
                    <a:pt x="192" y="962"/>
                  </a:lnTo>
                  <a:lnTo>
                    <a:pt x="190" y="962"/>
                  </a:lnTo>
                  <a:lnTo>
                    <a:pt x="188" y="962"/>
                  </a:lnTo>
                  <a:lnTo>
                    <a:pt x="186" y="962"/>
                  </a:lnTo>
                  <a:lnTo>
                    <a:pt x="184" y="960"/>
                  </a:lnTo>
                  <a:lnTo>
                    <a:pt x="184" y="958"/>
                  </a:lnTo>
                  <a:lnTo>
                    <a:pt x="184" y="957"/>
                  </a:lnTo>
                  <a:lnTo>
                    <a:pt x="186" y="955"/>
                  </a:lnTo>
                  <a:lnTo>
                    <a:pt x="186" y="953"/>
                  </a:lnTo>
                  <a:lnTo>
                    <a:pt x="186" y="951"/>
                  </a:lnTo>
                  <a:lnTo>
                    <a:pt x="186" y="949"/>
                  </a:lnTo>
                  <a:lnTo>
                    <a:pt x="188" y="945"/>
                  </a:lnTo>
                  <a:lnTo>
                    <a:pt x="188" y="941"/>
                  </a:lnTo>
                  <a:lnTo>
                    <a:pt x="190" y="939"/>
                  </a:lnTo>
                  <a:lnTo>
                    <a:pt x="188" y="939"/>
                  </a:lnTo>
                  <a:lnTo>
                    <a:pt x="184" y="937"/>
                  </a:lnTo>
                  <a:lnTo>
                    <a:pt x="182" y="937"/>
                  </a:lnTo>
                  <a:lnTo>
                    <a:pt x="180" y="937"/>
                  </a:lnTo>
                  <a:lnTo>
                    <a:pt x="178" y="937"/>
                  </a:lnTo>
                  <a:lnTo>
                    <a:pt x="176" y="937"/>
                  </a:lnTo>
                  <a:lnTo>
                    <a:pt x="174" y="937"/>
                  </a:lnTo>
                  <a:lnTo>
                    <a:pt x="174" y="935"/>
                  </a:lnTo>
                  <a:lnTo>
                    <a:pt x="174" y="933"/>
                  </a:lnTo>
                  <a:lnTo>
                    <a:pt x="174" y="935"/>
                  </a:lnTo>
                  <a:lnTo>
                    <a:pt x="172" y="935"/>
                  </a:lnTo>
                  <a:lnTo>
                    <a:pt x="171" y="937"/>
                  </a:lnTo>
                  <a:lnTo>
                    <a:pt x="171" y="941"/>
                  </a:lnTo>
                  <a:lnTo>
                    <a:pt x="171" y="943"/>
                  </a:lnTo>
                  <a:lnTo>
                    <a:pt x="169" y="943"/>
                  </a:lnTo>
                  <a:lnTo>
                    <a:pt x="167" y="943"/>
                  </a:lnTo>
                  <a:lnTo>
                    <a:pt x="167" y="945"/>
                  </a:lnTo>
                  <a:lnTo>
                    <a:pt x="165" y="945"/>
                  </a:lnTo>
                  <a:lnTo>
                    <a:pt x="165" y="943"/>
                  </a:lnTo>
                  <a:lnTo>
                    <a:pt x="165" y="945"/>
                  </a:lnTo>
                  <a:lnTo>
                    <a:pt x="163" y="945"/>
                  </a:lnTo>
                  <a:lnTo>
                    <a:pt x="163" y="947"/>
                  </a:lnTo>
                  <a:lnTo>
                    <a:pt x="165" y="947"/>
                  </a:lnTo>
                  <a:lnTo>
                    <a:pt x="165" y="949"/>
                  </a:lnTo>
                  <a:lnTo>
                    <a:pt x="165" y="951"/>
                  </a:lnTo>
                  <a:lnTo>
                    <a:pt x="167" y="953"/>
                  </a:lnTo>
                  <a:lnTo>
                    <a:pt x="167" y="955"/>
                  </a:lnTo>
                  <a:lnTo>
                    <a:pt x="165" y="955"/>
                  </a:lnTo>
                  <a:lnTo>
                    <a:pt x="165" y="957"/>
                  </a:lnTo>
                  <a:lnTo>
                    <a:pt x="165" y="958"/>
                  </a:lnTo>
                  <a:lnTo>
                    <a:pt x="163" y="958"/>
                  </a:lnTo>
                  <a:lnTo>
                    <a:pt x="163" y="960"/>
                  </a:lnTo>
                  <a:lnTo>
                    <a:pt x="161" y="960"/>
                  </a:lnTo>
                  <a:lnTo>
                    <a:pt x="161" y="958"/>
                  </a:lnTo>
                  <a:lnTo>
                    <a:pt x="159" y="958"/>
                  </a:lnTo>
                  <a:lnTo>
                    <a:pt x="159" y="957"/>
                  </a:lnTo>
                  <a:lnTo>
                    <a:pt x="159" y="955"/>
                  </a:lnTo>
                  <a:lnTo>
                    <a:pt x="157" y="955"/>
                  </a:lnTo>
                  <a:lnTo>
                    <a:pt x="157" y="953"/>
                  </a:lnTo>
                  <a:lnTo>
                    <a:pt x="157" y="951"/>
                  </a:lnTo>
                  <a:lnTo>
                    <a:pt x="157" y="949"/>
                  </a:lnTo>
                  <a:lnTo>
                    <a:pt x="155" y="949"/>
                  </a:lnTo>
                  <a:lnTo>
                    <a:pt x="155" y="947"/>
                  </a:lnTo>
                  <a:lnTo>
                    <a:pt x="157" y="947"/>
                  </a:lnTo>
                  <a:lnTo>
                    <a:pt x="157" y="945"/>
                  </a:lnTo>
                  <a:lnTo>
                    <a:pt x="157" y="943"/>
                  </a:lnTo>
                  <a:lnTo>
                    <a:pt x="157" y="941"/>
                  </a:lnTo>
                  <a:lnTo>
                    <a:pt x="157" y="939"/>
                  </a:lnTo>
                  <a:lnTo>
                    <a:pt x="155" y="939"/>
                  </a:lnTo>
                  <a:lnTo>
                    <a:pt x="155" y="937"/>
                  </a:lnTo>
                  <a:lnTo>
                    <a:pt x="153" y="937"/>
                  </a:lnTo>
                  <a:lnTo>
                    <a:pt x="153" y="935"/>
                  </a:lnTo>
                  <a:lnTo>
                    <a:pt x="148" y="933"/>
                  </a:lnTo>
                  <a:lnTo>
                    <a:pt x="144" y="932"/>
                  </a:lnTo>
                  <a:lnTo>
                    <a:pt x="142" y="930"/>
                  </a:lnTo>
                  <a:lnTo>
                    <a:pt x="140" y="932"/>
                  </a:lnTo>
                  <a:lnTo>
                    <a:pt x="140" y="933"/>
                  </a:lnTo>
                  <a:lnTo>
                    <a:pt x="140" y="932"/>
                  </a:lnTo>
                  <a:lnTo>
                    <a:pt x="138" y="932"/>
                  </a:lnTo>
                  <a:lnTo>
                    <a:pt x="138" y="933"/>
                  </a:lnTo>
                  <a:lnTo>
                    <a:pt x="136" y="933"/>
                  </a:lnTo>
                  <a:lnTo>
                    <a:pt x="136" y="935"/>
                  </a:lnTo>
                  <a:lnTo>
                    <a:pt x="136" y="937"/>
                  </a:lnTo>
                  <a:lnTo>
                    <a:pt x="134" y="937"/>
                  </a:lnTo>
                  <a:lnTo>
                    <a:pt x="132" y="937"/>
                  </a:lnTo>
                  <a:lnTo>
                    <a:pt x="130" y="937"/>
                  </a:lnTo>
                  <a:lnTo>
                    <a:pt x="128" y="937"/>
                  </a:lnTo>
                  <a:lnTo>
                    <a:pt x="126" y="937"/>
                  </a:lnTo>
                  <a:lnTo>
                    <a:pt x="124" y="939"/>
                  </a:lnTo>
                  <a:lnTo>
                    <a:pt x="123" y="939"/>
                  </a:lnTo>
                  <a:lnTo>
                    <a:pt x="121" y="939"/>
                  </a:lnTo>
                  <a:lnTo>
                    <a:pt x="121" y="937"/>
                  </a:lnTo>
                  <a:lnTo>
                    <a:pt x="119" y="937"/>
                  </a:lnTo>
                  <a:lnTo>
                    <a:pt x="119" y="939"/>
                  </a:lnTo>
                  <a:lnTo>
                    <a:pt x="119" y="941"/>
                  </a:lnTo>
                  <a:lnTo>
                    <a:pt x="117" y="941"/>
                  </a:lnTo>
                  <a:lnTo>
                    <a:pt x="119" y="943"/>
                  </a:lnTo>
                  <a:lnTo>
                    <a:pt x="119" y="945"/>
                  </a:lnTo>
                  <a:lnTo>
                    <a:pt x="121" y="947"/>
                  </a:lnTo>
                  <a:lnTo>
                    <a:pt x="121" y="949"/>
                  </a:lnTo>
                  <a:lnTo>
                    <a:pt x="121" y="951"/>
                  </a:lnTo>
                  <a:lnTo>
                    <a:pt x="121" y="953"/>
                  </a:lnTo>
                  <a:lnTo>
                    <a:pt x="119" y="955"/>
                  </a:lnTo>
                  <a:lnTo>
                    <a:pt x="119" y="958"/>
                  </a:lnTo>
                  <a:lnTo>
                    <a:pt x="119" y="960"/>
                  </a:lnTo>
                  <a:lnTo>
                    <a:pt x="119" y="962"/>
                  </a:lnTo>
                  <a:lnTo>
                    <a:pt x="117" y="962"/>
                  </a:lnTo>
                  <a:lnTo>
                    <a:pt x="117" y="964"/>
                  </a:lnTo>
                  <a:lnTo>
                    <a:pt x="115" y="964"/>
                  </a:lnTo>
                  <a:lnTo>
                    <a:pt x="113" y="964"/>
                  </a:lnTo>
                  <a:lnTo>
                    <a:pt x="111" y="964"/>
                  </a:lnTo>
                  <a:lnTo>
                    <a:pt x="111" y="966"/>
                  </a:lnTo>
                  <a:lnTo>
                    <a:pt x="109" y="968"/>
                  </a:lnTo>
                  <a:lnTo>
                    <a:pt x="107" y="970"/>
                  </a:lnTo>
                  <a:lnTo>
                    <a:pt x="107" y="972"/>
                  </a:lnTo>
                  <a:lnTo>
                    <a:pt x="105" y="972"/>
                  </a:lnTo>
                  <a:lnTo>
                    <a:pt x="103" y="974"/>
                  </a:lnTo>
                  <a:lnTo>
                    <a:pt x="103" y="976"/>
                  </a:lnTo>
                  <a:lnTo>
                    <a:pt x="101" y="978"/>
                  </a:lnTo>
                  <a:lnTo>
                    <a:pt x="100" y="980"/>
                  </a:lnTo>
                  <a:lnTo>
                    <a:pt x="100" y="981"/>
                  </a:lnTo>
                  <a:lnTo>
                    <a:pt x="98" y="981"/>
                  </a:lnTo>
                  <a:lnTo>
                    <a:pt x="96" y="981"/>
                  </a:lnTo>
                  <a:lnTo>
                    <a:pt x="94" y="981"/>
                  </a:lnTo>
                  <a:lnTo>
                    <a:pt x="94" y="983"/>
                  </a:lnTo>
                  <a:lnTo>
                    <a:pt x="96" y="983"/>
                  </a:lnTo>
                  <a:lnTo>
                    <a:pt x="96" y="985"/>
                  </a:lnTo>
                  <a:lnTo>
                    <a:pt x="96" y="987"/>
                  </a:lnTo>
                  <a:lnTo>
                    <a:pt x="94" y="987"/>
                  </a:lnTo>
                  <a:lnTo>
                    <a:pt x="92" y="987"/>
                  </a:lnTo>
                  <a:lnTo>
                    <a:pt x="90" y="987"/>
                  </a:lnTo>
                  <a:lnTo>
                    <a:pt x="88" y="985"/>
                  </a:lnTo>
                  <a:lnTo>
                    <a:pt x="86" y="987"/>
                  </a:lnTo>
                  <a:lnTo>
                    <a:pt x="84" y="987"/>
                  </a:lnTo>
                  <a:lnTo>
                    <a:pt x="82" y="987"/>
                  </a:lnTo>
                  <a:lnTo>
                    <a:pt x="80" y="987"/>
                  </a:lnTo>
                  <a:lnTo>
                    <a:pt x="78" y="989"/>
                  </a:lnTo>
                  <a:lnTo>
                    <a:pt x="76" y="989"/>
                  </a:lnTo>
                  <a:lnTo>
                    <a:pt x="76" y="987"/>
                  </a:lnTo>
                  <a:lnTo>
                    <a:pt x="76" y="985"/>
                  </a:lnTo>
                  <a:lnTo>
                    <a:pt x="75" y="985"/>
                  </a:lnTo>
                  <a:lnTo>
                    <a:pt x="69" y="985"/>
                  </a:lnTo>
                  <a:lnTo>
                    <a:pt x="67" y="985"/>
                  </a:lnTo>
                  <a:lnTo>
                    <a:pt x="65" y="985"/>
                  </a:lnTo>
                  <a:lnTo>
                    <a:pt x="61" y="987"/>
                  </a:lnTo>
                  <a:lnTo>
                    <a:pt x="61" y="985"/>
                  </a:lnTo>
                  <a:lnTo>
                    <a:pt x="59" y="983"/>
                  </a:lnTo>
                  <a:lnTo>
                    <a:pt x="59" y="981"/>
                  </a:lnTo>
                  <a:lnTo>
                    <a:pt x="57" y="981"/>
                  </a:lnTo>
                  <a:lnTo>
                    <a:pt x="57" y="980"/>
                  </a:lnTo>
                  <a:lnTo>
                    <a:pt x="57" y="978"/>
                  </a:lnTo>
                  <a:lnTo>
                    <a:pt x="55" y="978"/>
                  </a:lnTo>
                  <a:lnTo>
                    <a:pt x="55" y="976"/>
                  </a:lnTo>
                  <a:lnTo>
                    <a:pt x="53" y="976"/>
                  </a:lnTo>
                  <a:lnTo>
                    <a:pt x="53" y="974"/>
                  </a:lnTo>
                  <a:lnTo>
                    <a:pt x="55" y="974"/>
                  </a:lnTo>
                  <a:lnTo>
                    <a:pt x="55" y="972"/>
                  </a:lnTo>
                  <a:lnTo>
                    <a:pt x="57" y="972"/>
                  </a:lnTo>
                  <a:lnTo>
                    <a:pt x="57" y="970"/>
                  </a:lnTo>
                  <a:lnTo>
                    <a:pt x="59" y="970"/>
                  </a:lnTo>
                  <a:lnTo>
                    <a:pt x="59" y="968"/>
                  </a:lnTo>
                  <a:lnTo>
                    <a:pt x="61" y="968"/>
                  </a:lnTo>
                  <a:lnTo>
                    <a:pt x="61" y="966"/>
                  </a:lnTo>
                  <a:lnTo>
                    <a:pt x="59" y="968"/>
                  </a:lnTo>
                  <a:lnTo>
                    <a:pt x="59" y="966"/>
                  </a:lnTo>
                  <a:lnTo>
                    <a:pt x="57" y="966"/>
                  </a:lnTo>
                  <a:lnTo>
                    <a:pt x="57" y="964"/>
                  </a:lnTo>
                  <a:lnTo>
                    <a:pt x="55" y="964"/>
                  </a:lnTo>
                  <a:lnTo>
                    <a:pt x="53" y="964"/>
                  </a:lnTo>
                  <a:lnTo>
                    <a:pt x="53" y="962"/>
                  </a:lnTo>
                  <a:lnTo>
                    <a:pt x="52" y="962"/>
                  </a:lnTo>
                  <a:lnTo>
                    <a:pt x="52" y="960"/>
                  </a:lnTo>
                  <a:lnTo>
                    <a:pt x="52" y="958"/>
                  </a:lnTo>
                  <a:lnTo>
                    <a:pt x="53" y="958"/>
                  </a:lnTo>
                  <a:lnTo>
                    <a:pt x="53" y="955"/>
                  </a:lnTo>
                  <a:lnTo>
                    <a:pt x="52" y="949"/>
                  </a:lnTo>
                  <a:lnTo>
                    <a:pt x="52" y="951"/>
                  </a:lnTo>
                  <a:lnTo>
                    <a:pt x="50" y="951"/>
                  </a:lnTo>
                  <a:lnTo>
                    <a:pt x="48" y="951"/>
                  </a:lnTo>
                  <a:lnTo>
                    <a:pt x="48" y="953"/>
                  </a:lnTo>
                  <a:lnTo>
                    <a:pt x="46" y="953"/>
                  </a:lnTo>
                  <a:lnTo>
                    <a:pt x="46" y="955"/>
                  </a:lnTo>
                  <a:lnTo>
                    <a:pt x="46" y="957"/>
                  </a:lnTo>
                  <a:lnTo>
                    <a:pt x="46" y="958"/>
                  </a:lnTo>
                  <a:lnTo>
                    <a:pt x="44" y="958"/>
                  </a:lnTo>
                  <a:lnTo>
                    <a:pt x="44" y="960"/>
                  </a:lnTo>
                  <a:lnTo>
                    <a:pt x="44" y="958"/>
                  </a:lnTo>
                  <a:lnTo>
                    <a:pt x="38" y="955"/>
                  </a:lnTo>
                  <a:lnTo>
                    <a:pt x="38" y="953"/>
                  </a:lnTo>
                  <a:lnTo>
                    <a:pt x="36" y="955"/>
                  </a:lnTo>
                  <a:lnTo>
                    <a:pt x="34" y="955"/>
                  </a:lnTo>
                  <a:lnTo>
                    <a:pt x="32" y="955"/>
                  </a:lnTo>
                  <a:lnTo>
                    <a:pt x="30" y="955"/>
                  </a:lnTo>
                  <a:lnTo>
                    <a:pt x="30" y="953"/>
                  </a:lnTo>
                  <a:lnTo>
                    <a:pt x="30" y="951"/>
                  </a:lnTo>
                  <a:lnTo>
                    <a:pt x="28" y="951"/>
                  </a:lnTo>
                  <a:lnTo>
                    <a:pt x="28" y="949"/>
                  </a:lnTo>
                  <a:lnTo>
                    <a:pt x="27" y="949"/>
                  </a:lnTo>
                  <a:lnTo>
                    <a:pt x="27" y="947"/>
                  </a:lnTo>
                  <a:lnTo>
                    <a:pt x="25" y="947"/>
                  </a:lnTo>
                  <a:lnTo>
                    <a:pt x="25" y="945"/>
                  </a:lnTo>
                  <a:lnTo>
                    <a:pt x="27" y="945"/>
                  </a:lnTo>
                  <a:lnTo>
                    <a:pt x="27" y="943"/>
                  </a:lnTo>
                  <a:lnTo>
                    <a:pt x="28" y="941"/>
                  </a:lnTo>
                  <a:lnTo>
                    <a:pt x="27" y="941"/>
                  </a:lnTo>
                  <a:lnTo>
                    <a:pt x="25" y="941"/>
                  </a:lnTo>
                  <a:lnTo>
                    <a:pt x="27" y="941"/>
                  </a:lnTo>
                  <a:lnTo>
                    <a:pt x="27" y="939"/>
                  </a:lnTo>
                  <a:lnTo>
                    <a:pt x="27" y="937"/>
                  </a:lnTo>
                  <a:lnTo>
                    <a:pt x="27" y="935"/>
                  </a:lnTo>
                  <a:lnTo>
                    <a:pt x="25" y="935"/>
                  </a:lnTo>
                  <a:lnTo>
                    <a:pt x="25" y="933"/>
                  </a:lnTo>
                  <a:lnTo>
                    <a:pt x="25" y="932"/>
                  </a:lnTo>
                  <a:lnTo>
                    <a:pt x="25" y="930"/>
                  </a:lnTo>
                  <a:lnTo>
                    <a:pt x="27" y="930"/>
                  </a:lnTo>
                  <a:lnTo>
                    <a:pt x="28" y="930"/>
                  </a:lnTo>
                  <a:lnTo>
                    <a:pt x="27" y="928"/>
                  </a:lnTo>
                  <a:lnTo>
                    <a:pt x="25" y="926"/>
                  </a:lnTo>
                  <a:lnTo>
                    <a:pt x="23" y="922"/>
                  </a:lnTo>
                  <a:lnTo>
                    <a:pt x="21" y="922"/>
                  </a:lnTo>
                  <a:lnTo>
                    <a:pt x="19" y="920"/>
                  </a:lnTo>
                  <a:lnTo>
                    <a:pt x="17" y="920"/>
                  </a:lnTo>
                  <a:lnTo>
                    <a:pt x="15" y="920"/>
                  </a:lnTo>
                  <a:lnTo>
                    <a:pt x="15" y="922"/>
                  </a:lnTo>
                  <a:lnTo>
                    <a:pt x="15" y="920"/>
                  </a:lnTo>
                  <a:lnTo>
                    <a:pt x="13" y="920"/>
                  </a:lnTo>
                  <a:lnTo>
                    <a:pt x="11" y="920"/>
                  </a:lnTo>
                  <a:lnTo>
                    <a:pt x="9" y="920"/>
                  </a:lnTo>
                  <a:lnTo>
                    <a:pt x="7" y="918"/>
                  </a:lnTo>
                  <a:lnTo>
                    <a:pt x="5" y="918"/>
                  </a:lnTo>
                  <a:lnTo>
                    <a:pt x="5" y="916"/>
                  </a:lnTo>
                  <a:lnTo>
                    <a:pt x="5" y="914"/>
                  </a:lnTo>
                  <a:lnTo>
                    <a:pt x="4" y="912"/>
                  </a:lnTo>
                  <a:lnTo>
                    <a:pt x="4" y="910"/>
                  </a:lnTo>
                  <a:lnTo>
                    <a:pt x="4" y="909"/>
                  </a:lnTo>
                  <a:lnTo>
                    <a:pt x="5" y="907"/>
                  </a:lnTo>
                  <a:lnTo>
                    <a:pt x="4" y="907"/>
                  </a:lnTo>
                  <a:lnTo>
                    <a:pt x="4" y="905"/>
                  </a:lnTo>
                  <a:lnTo>
                    <a:pt x="4" y="903"/>
                  </a:lnTo>
                  <a:lnTo>
                    <a:pt x="4" y="901"/>
                  </a:lnTo>
                  <a:lnTo>
                    <a:pt x="4" y="899"/>
                  </a:lnTo>
                  <a:lnTo>
                    <a:pt x="2" y="899"/>
                  </a:lnTo>
                  <a:lnTo>
                    <a:pt x="0" y="897"/>
                  </a:lnTo>
                  <a:lnTo>
                    <a:pt x="0" y="895"/>
                  </a:lnTo>
                  <a:lnTo>
                    <a:pt x="2" y="893"/>
                  </a:lnTo>
                  <a:lnTo>
                    <a:pt x="2" y="891"/>
                  </a:lnTo>
                  <a:lnTo>
                    <a:pt x="2" y="889"/>
                  </a:lnTo>
                  <a:lnTo>
                    <a:pt x="2" y="887"/>
                  </a:lnTo>
                  <a:lnTo>
                    <a:pt x="5" y="887"/>
                  </a:lnTo>
                  <a:lnTo>
                    <a:pt x="7" y="885"/>
                  </a:lnTo>
                  <a:lnTo>
                    <a:pt x="11" y="885"/>
                  </a:lnTo>
                  <a:lnTo>
                    <a:pt x="13" y="885"/>
                  </a:lnTo>
                  <a:lnTo>
                    <a:pt x="13" y="884"/>
                  </a:lnTo>
                  <a:lnTo>
                    <a:pt x="15" y="884"/>
                  </a:lnTo>
                  <a:lnTo>
                    <a:pt x="19" y="882"/>
                  </a:lnTo>
                  <a:lnTo>
                    <a:pt x="17" y="880"/>
                  </a:lnTo>
                  <a:lnTo>
                    <a:pt x="19" y="880"/>
                  </a:lnTo>
                  <a:lnTo>
                    <a:pt x="19" y="878"/>
                  </a:lnTo>
                  <a:lnTo>
                    <a:pt x="21" y="878"/>
                  </a:lnTo>
                  <a:lnTo>
                    <a:pt x="21" y="876"/>
                  </a:lnTo>
                  <a:lnTo>
                    <a:pt x="23" y="876"/>
                  </a:lnTo>
                  <a:lnTo>
                    <a:pt x="23" y="874"/>
                  </a:lnTo>
                  <a:lnTo>
                    <a:pt x="25" y="872"/>
                  </a:lnTo>
                  <a:lnTo>
                    <a:pt x="28" y="870"/>
                  </a:lnTo>
                  <a:lnTo>
                    <a:pt x="28" y="868"/>
                  </a:lnTo>
                  <a:lnTo>
                    <a:pt x="28" y="866"/>
                  </a:lnTo>
                  <a:lnTo>
                    <a:pt x="25" y="864"/>
                  </a:lnTo>
                  <a:lnTo>
                    <a:pt x="25" y="862"/>
                  </a:lnTo>
                  <a:lnTo>
                    <a:pt x="23" y="862"/>
                  </a:lnTo>
                  <a:lnTo>
                    <a:pt x="23" y="861"/>
                  </a:lnTo>
                  <a:lnTo>
                    <a:pt x="21" y="861"/>
                  </a:lnTo>
                  <a:lnTo>
                    <a:pt x="21" y="859"/>
                  </a:lnTo>
                  <a:lnTo>
                    <a:pt x="19" y="857"/>
                  </a:lnTo>
                  <a:lnTo>
                    <a:pt x="19" y="855"/>
                  </a:lnTo>
                  <a:lnTo>
                    <a:pt x="17" y="853"/>
                  </a:lnTo>
                  <a:lnTo>
                    <a:pt x="17" y="851"/>
                  </a:lnTo>
                  <a:lnTo>
                    <a:pt x="19" y="851"/>
                  </a:lnTo>
                  <a:lnTo>
                    <a:pt x="19" y="849"/>
                  </a:lnTo>
                  <a:lnTo>
                    <a:pt x="21" y="849"/>
                  </a:lnTo>
                  <a:lnTo>
                    <a:pt x="21" y="847"/>
                  </a:lnTo>
                  <a:lnTo>
                    <a:pt x="23" y="847"/>
                  </a:lnTo>
                  <a:lnTo>
                    <a:pt x="23" y="845"/>
                  </a:lnTo>
                  <a:lnTo>
                    <a:pt x="23" y="847"/>
                  </a:lnTo>
                  <a:lnTo>
                    <a:pt x="25" y="847"/>
                  </a:lnTo>
                  <a:lnTo>
                    <a:pt x="27" y="847"/>
                  </a:lnTo>
                  <a:lnTo>
                    <a:pt x="28" y="847"/>
                  </a:lnTo>
                  <a:lnTo>
                    <a:pt x="28" y="849"/>
                  </a:lnTo>
                  <a:lnTo>
                    <a:pt x="28" y="847"/>
                  </a:lnTo>
                  <a:lnTo>
                    <a:pt x="28" y="845"/>
                  </a:lnTo>
                  <a:lnTo>
                    <a:pt x="30" y="845"/>
                  </a:lnTo>
                  <a:lnTo>
                    <a:pt x="30" y="843"/>
                  </a:lnTo>
                  <a:lnTo>
                    <a:pt x="28" y="843"/>
                  </a:lnTo>
                  <a:lnTo>
                    <a:pt x="27" y="843"/>
                  </a:lnTo>
                  <a:lnTo>
                    <a:pt x="25" y="843"/>
                  </a:lnTo>
                  <a:lnTo>
                    <a:pt x="25" y="845"/>
                  </a:lnTo>
                  <a:lnTo>
                    <a:pt x="25" y="843"/>
                  </a:lnTo>
                  <a:lnTo>
                    <a:pt x="21" y="837"/>
                  </a:lnTo>
                  <a:lnTo>
                    <a:pt x="19" y="836"/>
                  </a:lnTo>
                  <a:lnTo>
                    <a:pt x="19" y="834"/>
                  </a:lnTo>
                  <a:lnTo>
                    <a:pt x="19" y="832"/>
                  </a:lnTo>
                  <a:lnTo>
                    <a:pt x="21" y="832"/>
                  </a:lnTo>
                  <a:lnTo>
                    <a:pt x="21" y="830"/>
                  </a:lnTo>
                  <a:lnTo>
                    <a:pt x="21" y="828"/>
                  </a:lnTo>
                  <a:lnTo>
                    <a:pt x="19" y="828"/>
                  </a:lnTo>
                  <a:lnTo>
                    <a:pt x="19" y="826"/>
                  </a:lnTo>
                  <a:lnTo>
                    <a:pt x="19" y="824"/>
                  </a:lnTo>
                  <a:lnTo>
                    <a:pt x="19" y="822"/>
                  </a:lnTo>
                  <a:lnTo>
                    <a:pt x="19" y="820"/>
                  </a:lnTo>
                  <a:lnTo>
                    <a:pt x="19" y="818"/>
                  </a:lnTo>
                  <a:lnTo>
                    <a:pt x="17" y="818"/>
                  </a:lnTo>
                  <a:lnTo>
                    <a:pt x="17" y="816"/>
                  </a:lnTo>
                  <a:lnTo>
                    <a:pt x="17" y="814"/>
                  </a:lnTo>
                  <a:lnTo>
                    <a:pt x="15" y="813"/>
                  </a:lnTo>
                  <a:lnTo>
                    <a:pt x="15" y="811"/>
                  </a:lnTo>
                  <a:lnTo>
                    <a:pt x="13" y="811"/>
                  </a:lnTo>
                  <a:lnTo>
                    <a:pt x="13" y="809"/>
                  </a:lnTo>
                  <a:lnTo>
                    <a:pt x="13" y="807"/>
                  </a:lnTo>
                  <a:lnTo>
                    <a:pt x="11" y="807"/>
                  </a:lnTo>
                  <a:lnTo>
                    <a:pt x="11" y="803"/>
                  </a:lnTo>
                  <a:lnTo>
                    <a:pt x="13" y="803"/>
                  </a:lnTo>
                  <a:lnTo>
                    <a:pt x="13" y="801"/>
                  </a:lnTo>
                  <a:lnTo>
                    <a:pt x="11" y="801"/>
                  </a:lnTo>
                  <a:lnTo>
                    <a:pt x="11" y="799"/>
                  </a:lnTo>
                  <a:lnTo>
                    <a:pt x="13" y="799"/>
                  </a:lnTo>
                  <a:lnTo>
                    <a:pt x="13" y="797"/>
                  </a:lnTo>
                  <a:lnTo>
                    <a:pt x="15" y="797"/>
                  </a:lnTo>
                  <a:lnTo>
                    <a:pt x="15" y="795"/>
                  </a:lnTo>
                  <a:lnTo>
                    <a:pt x="15" y="793"/>
                  </a:lnTo>
                  <a:lnTo>
                    <a:pt x="17" y="791"/>
                  </a:lnTo>
                  <a:lnTo>
                    <a:pt x="19" y="791"/>
                  </a:lnTo>
                  <a:lnTo>
                    <a:pt x="19" y="789"/>
                  </a:lnTo>
                  <a:lnTo>
                    <a:pt x="21" y="788"/>
                  </a:lnTo>
                  <a:lnTo>
                    <a:pt x="21" y="789"/>
                  </a:lnTo>
                  <a:lnTo>
                    <a:pt x="23" y="789"/>
                  </a:lnTo>
                  <a:lnTo>
                    <a:pt x="23" y="788"/>
                  </a:lnTo>
                  <a:lnTo>
                    <a:pt x="23" y="786"/>
                  </a:lnTo>
                  <a:lnTo>
                    <a:pt x="21" y="786"/>
                  </a:lnTo>
                  <a:lnTo>
                    <a:pt x="19" y="786"/>
                  </a:lnTo>
                  <a:lnTo>
                    <a:pt x="19" y="784"/>
                  </a:lnTo>
                  <a:lnTo>
                    <a:pt x="19" y="782"/>
                  </a:lnTo>
                  <a:lnTo>
                    <a:pt x="17" y="782"/>
                  </a:lnTo>
                  <a:lnTo>
                    <a:pt x="15" y="780"/>
                  </a:lnTo>
                  <a:lnTo>
                    <a:pt x="17" y="780"/>
                  </a:lnTo>
                  <a:lnTo>
                    <a:pt x="17" y="778"/>
                  </a:lnTo>
                  <a:lnTo>
                    <a:pt x="19" y="776"/>
                  </a:lnTo>
                  <a:lnTo>
                    <a:pt x="19" y="774"/>
                  </a:lnTo>
                  <a:lnTo>
                    <a:pt x="13" y="772"/>
                  </a:lnTo>
                  <a:lnTo>
                    <a:pt x="13" y="768"/>
                  </a:lnTo>
                  <a:lnTo>
                    <a:pt x="13" y="766"/>
                  </a:lnTo>
                  <a:lnTo>
                    <a:pt x="13" y="765"/>
                  </a:lnTo>
                  <a:lnTo>
                    <a:pt x="15" y="759"/>
                  </a:lnTo>
                  <a:lnTo>
                    <a:pt x="15" y="757"/>
                  </a:lnTo>
                  <a:lnTo>
                    <a:pt x="15" y="755"/>
                  </a:lnTo>
                  <a:lnTo>
                    <a:pt x="17" y="755"/>
                  </a:lnTo>
                  <a:lnTo>
                    <a:pt x="17" y="753"/>
                  </a:lnTo>
                  <a:lnTo>
                    <a:pt x="15" y="753"/>
                  </a:lnTo>
                  <a:lnTo>
                    <a:pt x="13" y="753"/>
                  </a:lnTo>
                  <a:lnTo>
                    <a:pt x="11" y="753"/>
                  </a:lnTo>
                  <a:lnTo>
                    <a:pt x="9" y="753"/>
                  </a:lnTo>
                  <a:lnTo>
                    <a:pt x="4" y="751"/>
                  </a:lnTo>
                  <a:lnTo>
                    <a:pt x="2" y="749"/>
                  </a:lnTo>
                  <a:lnTo>
                    <a:pt x="2" y="745"/>
                  </a:lnTo>
                  <a:lnTo>
                    <a:pt x="4" y="743"/>
                  </a:lnTo>
                  <a:lnTo>
                    <a:pt x="7" y="738"/>
                  </a:lnTo>
                  <a:lnTo>
                    <a:pt x="9" y="732"/>
                  </a:lnTo>
                  <a:lnTo>
                    <a:pt x="9" y="728"/>
                  </a:lnTo>
                  <a:lnTo>
                    <a:pt x="9" y="726"/>
                  </a:lnTo>
                  <a:lnTo>
                    <a:pt x="9" y="724"/>
                  </a:lnTo>
                  <a:lnTo>
                    <a:pt x="9" y="722"/>
                  </a:lnTo>
                  <a:lnTo>
                    <a:pt x="7" y="722"/>
                  </a:lnTo>
                  <a:lnTo>
                    <a:pt x="7" y="720"/>
                  </a:lnTo>
                  <a:lnTo>
                    <a:pt x="7" y="718"/>
                  </a:lnTo>
                  <a:lnTo>
                    <a:pt x="7" y="717"/>
                  </a:lnTo>
                  <a:lnTo>
                    <a:pt x="5" y="717"/>
                  </a:lnTo>
                  <a:lnTo>
                    <a:pt x="5" y="715"/>
                  </a:lnTo>
                  <a:lnTo>
                    <a:pt x="5" y="713"/>
                  </a:lnTo>
                  <a:lnTo>
                    <a:pt x="7" y="713"/>
                  </a:lnTo>
                  <a:lnTo>
                    <a:pt x="9" y="715"/>
                  </a:lnTo>
                  <a:lnTo>
                    <a:pt x="11" y="713"/>
                  </a:lnTo>
                  <a:lnTo>
                    <a:pt x="13" y="711"/>
                  </a:lnTo>
                  <a:lnTo>
                    <a:pt x="15" y="711"/>
                  </a:lnTo>
                  <a:lnTo>
                    <a:pt x="15" y="713"/>
                  </a:lnTo>
                  <a:lnTo>
                    <a:pt x="17" y="713"/>
                  </a:lnTo>
                  <a:lnTo>
                    <a:pt x="17" y="715"/>
                  </a:lnTo>
                  <a:lnTo>
                    <a:pt x="17" y="717"/>
                  </a:lnTo>
                  <a:lnTo>
                    <a:pt x="19" y="717"/>
                  </a:lnTo>
                  <a:lnTo>
                    <a:pt x="19" y="715"/>
                  </a:lnTo>
                  <a:lnTo>
                    <a:pt x="21" y="715"/>
                  </a:lnTo>
                  <a:lnTo>
                    <a:pt x="23" y="713"/>
                  </a:lnTo>
                  <a:lnTo>
                    <a:pt x="23" y="711"/>
                  </a:lnTo>
                  <a:lnTo>
                    <a:pt x="21" y="711"/>
                  </a:lnTo>
                  <a:lnTo>
                    <a:pt x="23" y="711"/>
                  </a:lnTo>
                  <a:lnTo>
                    <a:pt x="23" y="709"/>
                  </a:lnTo>
                  <a:lnTo>
                    <a:pt x="21" y="707"/>
                  </a:lnTo>
                  <a:lnTo>
                    <a:pt x="23" y="705"/>
                  </a:lnTo>
                  <a:lnTo>
                    <a:pt x="25" y="705"/>
                  </a:lnTo>
                  <a:lnTo>
                    <a:pt x="25" y="703"/>
                  </a:lnTo>
                  <a:lnTo>
                    <a:pt x="27" y="703"/>
                  </a:lnTo>
                  <a:lnTo>
                    <a:pt x="27" y="705"/>
                  </a:lnTo>
                  <a:lnTo>
                    <a:pt x="28" y="705"/>
                  </a:lnTo>
                  <a:lnTo>
                    <a:pt x="30" y="705"/>
                  </a:lnTo>
                  <a:lnTo>
                    <a:pt x="30" y="707"/>
                  </a:lnTo>
                  <a:lnTo>
                    <a:pt x="32" y="709"/>
                  </a:lnTo>
                  <a:lnTo>
                    <a:pt x="34" y="709"/>
                  </a:lnTo>
                  <a:lnTo>
                    <a:pt x="34" y="711"/>
                  </a:lnTo>
                  <a:lnTo>
                    <a:pt x="36" y="711"/>
                  </a:lnTo>
                  <a:lnTo>
                    <a:pt x="36" y="709"/>
                  </a:lnTo>
                  <a:lnTo>
                    <a:pt x="38" y="707"/>
                  </a:lnTo>
                  <a:lnTo>
                    <a:pt x="36" y="707"/>
                  </a:lnTo>
                  <a:lnTo>
                    <a:pt x="36" y="705"/>
                  </a:lnTo>
                  <a:lnTo>
                    <a:pt x="36" y="703"/>
                  </a:lnTo>
                  <a:lnTo>
                    <a:pt x="38" y="703"/>
                  </a:lnTo>
                  <a:lnTo>
                    <a:pt x="38" y="705"/>
                  </a:lnTo>
                  <a:lnTo>
                    <a:pt x="38" y="703"/>
                  </a:lnTo>
                  <a:lnTo>
                    <a:pt x="40" y="703"/>
                  </a:lnTo>
                  <a:lnTo>
                    <a:pt x="42" y="703"/>
                  </a:lnTo>
                  <a:lnTo>
                    <a:pt x="42" y="705"/>
                  </a:lnTo>
                  <a:lnTo>
                    <a:pt x="44" y="705"/>
                  </a:lnTo>
                  <a:lnTo>
                    <a:pt x="44" y="703"/>
                  </a:lnTo>
                  <a:lnTo>
                    <a:pt x="46" y="703"/>
                  </a:lnTo>
                  <a:lnTo>
                    <a:pt x="48" y="703"/>
                  </a:lnTo>
                  <a:lnTo>
                    <a:pt x="50" y="703"/>
                  </a:lnTo>
                  <a:lnTo>
                    <a:pt x="52" y="701"/>
                  </a:lnTo>
                  <a:lnTo>
                    <a:pt x="52" y="699"/>
                  </a:lnTo>
                  <a:lnTo>
                    <a:pt x="53" y="699"/>
                  </a:lnTo>
                  <a:lnTo>
                    <a:pt x="53" y="697"/>
                  </a:lnTo>
                  <a:lnTo>
                    <a:pt x="55" y="699"/>
                  </a:lnTo>
                  <a:lnTo>
                    <a:pt x="57" y="699"/>
                  </a:lnTo>
                  <a:lnTo>
                    <a:pt x="59" y="699"/>
                  </a:lnTo>
                  <a:lnTo>
                    <a:pt x="59" y="697"/>
                  </a:lnTo>
                  <a:lnTo>
                    <a:pt x="59" y="695"/>
                  </a:lnTo>
                  <a:lnTo>
                    <a:pt x="61" y="695"/>
                  </a:lnTo>
                  <a:lnTo>
                    <a:pt x="63" y="695"/>
                  </a:lnTo>
                  <a:lnTo>
                    <a:pt x="63" y="693"/>
                  </a:lnTo>
                  <a:lnTo>
                    <a:pt x="65" y="693"/>
                  </a:lnTo>
                  <a:lnTo>
                    <a:pt x="67" y="695"/>
                  </a:lnTo>
                  <a:lnTo>
                    <a:pt x="69" y="695"/>
                  </a:lnTo>
                  <a:lnTo>
                    <a:pt x="69" y="693"/>
                  </a:lnTo>
                  <a:lnTo>
                    <a:pt x="71" y="693"/>
                  </a:lnTo>
                  <a:lnTo>
                    <a:pt x="71" y="692"/>
                  </a:lnTo>
                  <a:lnTo>
                    <a:pt x="69" y="692"/>
                  </a:lnTo>
                  <a:lnTo>
                    <a:pt x="67" y="690"/>
                  </a:lnTo>
                  <a:lnTo>
                    <a:pt x="65" y="690"/>
                  </a:lnTo>
                  <a:lnTo>
                    <a:pt x="63" y="690"/>
                  </a:lnTo>
                  <a:lnTo>
                    <a:pt x="63" y="688"/>
                  </a:lnTo>
                  <a:lnTo>
                    <a:pt x="61" y="688"/>
                  </a:lnTo>
                  <a:lnTo>
                    <a:pt x="61" y="686"/>
                  </a:lnTo>
                  <a:lnTo>
                    <a:pt x="63" y="686"/>
                  </a:lnTo>
                  <a:lnTo>
                    <a:pt x="63" y="684"/>
                  </a:lnTo>
                  <a:lnTo>
                    <a:pt x="65" y="684"/>
                  </a:lnTo>
                  <a:lnTo>
                    <a:pt x="65" y="682"/>
                  </a:lnTo>
                  <a:lnTo>
                    <a:pt x="67" y="682"/>
                  </a:lnTo>
                  <a:lnTo>
                    <a:pt x="67" y="680"/>
                  </a:lnTo>
                  <a:lnTo>
                    <a:pt x="69" y="680"/>
                  </a:lnTo>
                  <a:lnTo>
                    <a:pt x="71" y="680"/>
                  </a:lnTo>
                  <a:lnTo>
                    <a:pt x="73" y="676"/>
                  </a:lnTo>
                  <a:lnTo>
                    <a:pt x="76" y="674"/>
                  </a:lnTo>
                  <a:lnTo>
                    <a:pt x="80" y="674"/>
                  </a:lnTo>
                  <a:lnTo>
                    <a:pt x="86" y="672"/>
                  </a:lnTo>
                  <a:lnTo>
                    <a:pt x="90" y="670"/>
                  </a:lnTo>
                  <a:lnTo>
                    <a:pt x="92" y="669"/>
                  </a:lnTo>
                  <a:lnTo>
                    <a:pt x="90" y="665"/>
                  </a:lnTo>
                  <a:lnTo>
                    <a:pt x="94" y="665"/>
                  </a:lnTo>
                  <a:lnTo>
                    <a:pt x="94" y="663"/>
                  </a:lnTo>
                  <a:lnTo>
                    <a:pt x="92" y="663"/>
                  </a:lnTo>
                  <a:lnTo>
                    <a:pt x="92" y="661"/>
                  </a:lnTo>
                  <a:lnTo>
                    <a:pt x="92" y="659"/>
                  </a:lnTo>
                  <a:lnTo>
                    <a:pt x="90" y="659"/>
                  </a:lnTo>
                  <a:lnTo>
                    <a:pt x="92" y="659"/>
                  </a:lnTo>
                  <a:lnTo>
                    <a:pt x="92" y="657"/>
                  </a:lnTo>
                  <a:lnTo>
                    <a:pt x="94" y="657"/>
                  </a:lnTo>
                  <a:lnTo>
                    <a:pt x="94" y="655"/>
                  </a:lnTo>
                  <a:lnTo>
                    <a:pt x="94" y="653"/>
                  </a:lnTo>
                  <a:lnTo>
                    <a:pt x="90" y="655"/>
                  </a:lnTo>
                  <a:lnTo>
                    <a:pt x="88" y="653"/>
                  </a:lnTo>
                  <a:lnTo>
                    <a:pt x="90" y="651"/>
                  </a:lnTo>
                  <a:lnTo>
                    <a:pt x="90" y="649"/>
                  </a:lnTo>
                  <a:lnTo>
                    <a:pt x="90" y="647"/>
                  </a:lnTo>
                  <a:lnTo>
                    <a:pt x="88" y="647"/>
                  </a:lnTo>
                  <a:lnTo>
                    <a:pt x="88" y="646"/>
                  </a:lnTo>
                  <a:lnTo>
                    <a:pt x="86" y="646"/>
                  </a:lnTo>
                  <a:lnTo>
                    <a:pt x="86" y="644"/>
                  </a:lnTo>
                  <a:lnTo>
                    <a:pt x="86" y="642"/>
                  </a:lnTo>
                  <a:lnTo>
                    <a:pt x="84" y="642"/>
                  </a:lnTo>
                  <a:lnTo>
                    <a:pt x="84" y="640"/>
                  </a:lnTo>
                  <a:lnTo>
                    <a:pt x="86" y="640"/>
                  </a:lnTo>
                  <a:lnTo>
                    <a:pt x="86" y="638"/>
                  </a:lnTo>
                  <a:lnTo>
                    <a:pt x="84" y="638"/>
                  </a:lnTo>
                  <a:lnTo>
                    <a:pt x="86" y="638"/>
                  </a:lnTo>
                  <a:lnTo>
                    <a:pt x="84" y="636"/>
                  </a:lnTo>
                  <a:lnTo>
                    <a:pt x="84" y="634"/>
                  </a:lnTo>
                  <a:lnTo>
                    <a:pt x="82" y="634"/>
                  </a:lnTo>
                  <a:lnTo>
                    <a:pt x="84" y="634"/>
                  </a:lnTo>
                  <a:lnTo>
                    <a:pt x="82" y="634"/>
                  </a:lnTo>
                  <a:lnTo>
                    <a:pt x="82" y="632"/>
                  </a:lnTo>
                  <a:lnTo>
                    <a:pt x="82" y="630"/>
                  </a:lnTo>
                  <a:lnTo>
                    <a:pt x="82" y="628"/>
                  </a:lnTo>
                  <a:lnTo>
                    <a:pt x="82" y="626"/>
                  </a:lnTo>
                  <a:lnTo>
                    <a:pt x="80" y="626"/>
                  </a:lnTo>
                  <a:lnTo>
                    <a:pt x="82" y="626"/>
                  </a:lnTo>
                  <a:lnTo>
                    <a:pt x="84" y="624"/>
                  </a:lnTo>
                  <a:lnTo>
                    <a:pt x="86" y="624"/>
                  </a:lnTo>
                  <a:lnTo>
                    <a:pt x="86" y="622"/>
                  </a:lnTo>
                  <a:lnTo>
                    <a:pt x="88" y="622"/>
                  </a:lnTo>
                  <a:lnTo>
                    <a:pt x="88" y="621"/>
                  </a:lnTo>
                  <a:lnTo>
                    <a:pt x="88" y="619"/>
                  </a:lnTo>
                  <a:lnTo>
                    <a:pt x="88" y="617"/>
                  </a:lnTo>
                  <a:lnTo>
                    <a:pt x="90" y="617"/>
                  </a:lnTo>
                  <a:lnTo>
                    <a:pt x="90" y="615"/>
                  </a:lnTo>
                  <a:lnTo>
                    <a:pt x="90" y="613"/>
                  </a:lnTo>
                  <a:lnTo>
                    <a:pt x="90" y="611"/>
                  </a:lnTo>
                  <a:lnTo>
                    <a:pt x="88" y="609"/>
                  </a:lnTo>
                  <a:lnTo>
                    <a:pt x="86" y="605"/>
                  </a:lnTo>
                  <a:lnTo>
                    <a:pt x="82" y="601"/>
                  </a:lnTo>
                  <a:lnTo>
                    <a:pt x="82" y="599"/>
                  </a:lnTo>
                  <a:lnTo>
                    <a:pt x="82" y="598"/>
                  </a:lnTo>
                  <a:lnTo>
                    <a:pt x="80" y="598"/>
                  </a:lnTo>
                  <a:lnTo>
                    <a:pt x="80" y="596"/>
                  </a:lnTo>
                  <a:lnTo>
                    <a:pt x="78" y="596"/>
                  </a:lnTo>
                  <a:lnTo>
                    <a:pt x="78" y="594"/>
                  </a:lnTo>
                  <a:lnTo>
                    <a:pt x="80" y="594"/>
                  </a:lnTo>
                  <a:lnTo>
                    <a:pt x="80" y="592"/>
                  </a:lnTo>
                  <a:lnTo>
                    <a:pt x="80" y="594"/>
                  </a:lnTo>
                  <a:lnTo>
                    <a:pt x="80" y="592"/>
                  </a:lnTo>
                  <a:lnTo>
                    <a:pt x="82" y="592"/>
                  </a:lnTo>
                  <a:lnTo>
                    <a:pt x="84" y="592"/>
                  </a:lnTo>
                  <a:lnTo>
                    <a:pt x="86" y="592"/>
                  </a:lnTo>
                  <a:lnTo>
                    <a:pt x="86" y="590"/>
                  </a:lnTo>
                  <a:lnTo>
                    <a:pt x="84" y="590"/>
                  </a:lnTo>
                  <a:lnTo>
                    <a:pt x="82" y="590"/>
                  </a:lnTo>
                  <a:lnTo>
                    <a:pt x="82" y="588"/>
                  </a:lnTo>
                  <a:lnTo>
                    <a:pt x="82" y="586"/>
                  </a:lnTo>
                  <a:lnTo>
                    <a:pt x="84" y="584"/>
                  </a:lnTo>
                  <a:lnTo>
                    <a:pt x="92" y="580"/>
                  </a:lnTo>
                  <a:lnTo>
                    <a:pt x="92" y="578"/>
                  </a:lnTo>
                  <a:lnTo>
                    <a:pt x="94" y="576"/>
                  </a:lnTo>
                  <a:lnTo>
                    <a:pt x="94" y="574"/>
                  </a:lnTo>
                  <a:lnTo>
                    <a:pt x="92" y="574"/>
                  </a:lnTo>
                  <a:lnTo>
                    <a:pt x="90" y="574"/>
                  </a:lnTo>
                  <a:lnTo>
                    <a:pt x="90" y="573"/>
                  </a:lnTo>
                  <a:lnTo>
                    <a:pt x="88" y="573"/>
                  </a:lnTo>
                  <a:lnTo>
                    <a:pt x="88" y="571"/>
                  </a:lnTo>
                  <a:lnTo>
                    <a:pt x="88" y="569"/>
                  </a:lnTo>
                  <a:lnTo>
                    <a:pt x="86" y="569"/>
                  </a:lnTo>
                  <a:lnTo>
                    <a:pt x="86" y="567"/>
                  </a:lnTo>
                  <a:lnTo>
                    <a:pt x="84" y="567"/>
                  </a:lnTo>
                  <a:lnTo>
                    <a:pt x="82" y="567"/>
                  </a:lnTo>
                  <a:lnTo>
                    <a:pt x="82" y="565"/>
                  </a:lnTo>
                  <a:lnTo>
                    <a:pt x="82" y="563"/>
                  </a:lnTo>
                  <a:lnTo>
                    <a:pt x="80" y="563"/>
                  </a:lnTo>
                  <a:lnTo>
                    <a:pt x="82" y="563"/>
                  </a:lnTo>
                  <a:lnTo>
                    <a:pt x="82" y="561"/>
                  </a:lnTo>
                  <a:lnTo>
                    <a:pt x="84" y="561"/>
                  </a:lnTo>
                  <a:lnTo>
                    <a:pt x="84" y="559"/>
                  </a:lnTo>
                  <a:lnTo>
                    <a:pt x="86" y="559"/>
                  </a:lnTo>
                  <a:lnTo>
                    <a:pt x="86" y="557"/>
                  </a:lnTo>
                  <a:lnTo>
                    <a:pt x="88" y="557"/>
                  </a:lnTo>
                  <a:lnTo>
                    <a:pt x="88" y="555"/>
                  </a:lnTo>
                  <a:lnTo>
                    <a:pt x="90" y="555"/>
                  </a:lnTo>
                  <a:lnTo>
                    <a:pt x="90" y="553"/>
                  </a:lnTo>
                  <a:lnTo>
                    <a:pt x="92" y="553"/>
                  </a:lnTo>
                  <a:lnTo>
                    <a:pt x="92" y="551"/>
                  </a:lnTo>
                  <a:lnTo>
                    <a:pt x="94" y="551"/>
                  </a:lnTo>
                  <a:lnTo>
                    <a:pt x="94" y="550"/>
                  </a:lnTo>
                  <a:lnTo>
                    <a:pt x="94" y="548"/>
                  </a:lnTo>
                  <a:lnTo>
                    <a:pt x="94" y="546"/>
                  </a:lnTo>
                  <a:lnTo>
                    <a:pt x="96" y="546"/>
                  </a:lnTo>
                  <a:lnTo>
                    <a:pt x="96" y="544"/>
                  </a:lnTo>
                  <a:lnTo>
                    <a:pt x="98" y="544"/>
                  </a:lnTo>
                  <a:lnTo>
                    <a:pt x="100" y="544"/>
                  </a:lnTo>
                  <a:lnTo>
                    <a:pt x="100" y="542"/>
                  </a:lnTo>
                  <a:lnTo>
                    <a:pt x="98" y="542"/>
                  </a:lnTo>
                  <a:lnTo>
                    <a:pt x="98" y="540"/>
                  </a:lnTo>
                  <a:lnTo>
                    <a:pt x="98" y="538"/>
                  </a:lnTo>
                  <a:lnTo>
                    <a:pt x="96" y="538"/>
                  </a:lnTo>
                  <a:lnTo>
                    <a:pt x="96" y="536"/>
                  </a:lnTo>
                  <a:lnTo>
                    <a:pt x="96" y="534"/>
                  </a:lnTo>
                  <a:lnTo>
                    <a:pt x="96" y="532"/>
                  </a:lnTo>
                  <a:lnTo>
                    <a:pt x="94" y="532"/>
                  </a:lnTo>
                  <a:lnTo>
                    <a:pt x="94" y="530"/>
                  </a:lnTo>
                  <a:lnTo>
                    <a:pt x="92" y="528"/>
                  </a:lnTo>
                  <a:lnTo>
                    <a:pt x="94" y="528"/>
                  </a:lnTo>
                  <a:lnTo>
                    <a:pt x="94" y="526"/>
                  </a:lnTo>
                  <a:lnTo>
                    <a:pt x="94" y="525"/>
                  </a:lnTo>
                  <a:lnTo>
                    <a:pt x="92" y="525"/>
                  </a:lnTo>
                  <a:lnTo>
                    <a:pt x="94" y="525"/>
                  </a:lnTo>
                  <a:lnTo>
                    <a:pt x="94" y="523"/>
                  </a:lnTo>
                  <a:lnTo>
                    <a:pt x="96" y="523"/>
                  </a:lnTo>
                  <a:lnTo>
                    <a:pt x="96" y="525"/>
                  </a:lnTo>
                  <a:lnTo>
                    <a:pt x="98" y="525"/>
                  </a:lnTo>
                  <a:lnTo>
                    <a:pt x="98" y="523"/>
                  </a:lnTo>
                  <a:lnTo>
                    <a:pt x="100" y="523"/>
                  </a:lnTo>
                  <a:lnTo>
                    <a:pt x="100" y="521"/>
                  </a:lnTo>
                  <a:lnTo>
                    <a:pt x="98" y="521"/>
                  </a:lnTo>
                  <a:lnTo>
                    <a:pt x="96" y="521"/>
                  </a:lnTo>
                  <a:lnTo>
                    <a:pt x="96" y="519"/>
                  </a:lnTo>
                  <a:lnTo>
                    <a:pt x="96" y="517"/>
                  </a:lnTo>
                  <a:lnTo>
                    <a:pt x="96" y="515"/>
                  </a:lnTo>
                  <a:lnTo>
                    <a:pt x="98" y="513"/>
                  </a:lnTo>
                  <a:lnTo>
                    <a:pt x="98" y="511"/>
                  </a:lnTo>
                  <a:lnTo>
                    <a:pt x="98" y="509"/>
                  </a:lnTo>
                  <a:lnTo>
                    <a:pt x="100" y="509"/>
                  </a:lnTo>
                  <a:lnTo>
                    <a:pt x="101" y="509"/>
                  </a:lnTo>
                  <a:lnTo>
                    <a:pt x="101" y="507"/>
                  </a:lnTo>
                  <a:lnTo>
                    <a:pt x="101" y="505"/>
                  </a:lnTo>
                  <a:lnTo>
                    <a:pt x="101" y="503"/>
                  </a:lnTo>
                  <a:lnTo>
                    <a:pt x="100" y="505"/>
                  </a:lnTo>
                  <a:lnTo>
                    <a:pt x="98" y="505"/>
                  </a:lnTo>
                  <a:lnTo>
                    <a:pt x="96" y="505"/>
                  </a:lnTo>
                  <a:lnTo>
                    <a:pt x="96" y="503"/>
                  </a:lnTo>
                  <a:lnTo>
                    <a:pt x="94" y="503"/>
                  </a:lnTo>
                  <a:lnTo>
                    <a:pt x="92" y="503"/>
                  </a:lnTo>
                  <a:lnTo>
                    <a:pt x="90" y="503"/>
                  </a:lnTo>
                  <a:lnTo>
                    <a:pt x="90" y="502"/>
                  </a:lnTo>
                  <a:lnTo>
                    <a:pt x="88" y="502"/>
                  </a:lnTo>
                  <a:lnTo>
                    <a:pt x="86" y="502"/>
                  </a:lnTo>
                  <a:lnTo>
                    <a:pt x="86" y="500"/>
                  </a:lnTo>
                  <a:lnTo>
                    <a:pt x="84" y="500"/>
                  </a:lnTo>
                  <a:lnTo>
                    <a:pt x="84" y="498"/>
                  </a:lnTo>
                  <a:lnTo>
                    <a:pt x="84" y="496"/>
                  </a:lnTo>
                  <a:lnTo>
                    <a:pt x="82" y="496"/>
                  </a:lnTo>
                  <a:lnTo>
                    <a:pt x="82" y="494"/>
                  </a:lnTo>
                  <a:lnTo>
                    <a:pt x="84" y="492"/>
                  </a:lnTo>
                  <a:lnTo>
                    <a:pt x="86" y="490"/>
                  </a:lnTo>
                  <a:lnTo>
                    <a:pt x="88" y="490"/>
                  </a:lnTo>
                  <a:lnTo>
                    <a:pt x="88" y="488"/>
                  </a:lnTo>
                  <a:lnTo>
                    <a:pt x="88" y="490"/>
                  </a:lnTo>
                  <a:lnTo>
                    <a:pt x="88" y="488"/>
                  </a:lnTo>
                  <a:lnTo>
                    <a:pt x="90" y="488"/>
                  </a:lnTo>
                  <a:lnTo>
                    <a:pt x="90" y="486"/>
                  </a:lnTo>
                  <a:lnTo>
                    <a:pt x="88" y="484"/>
                  </a:lnTo>
                  <a:lnTo>
                    <a:pt x="90" y="484"/>
                  </a:lnTo>
                  <a:lnTo>
                    <a:pt x="90" y="482"/>
                  </a:lnTo>
                  <a:lnTo>
                    <a:pt x="88" y="482"/>
                  </a:lnTo>
                  <a:lnTo>
                    <a:pt x="86" y="484"/>
                  </a:lnTo>
                  <a:lnTo>
                    <a:pt x="84" y="484"/>
                  </a:lnTo>
                  <a:lnTo>
                    <a:pt x="84" y="482"/>
                  </a:lnTo>
                  <a:lnTo>
                    <a:pt x="82" y="482"/>
                  </a:lnTo>
                  <a:lnTo>
                    <a:pt x="82" y="480"/>
                  </a:lnTo>
                  <a:lnTo>
                    <a:pt x="80" y="480"/>
                  </a:lnTo>
                  <a:lnTo>
                    <a:pt x="78" y="480"/>
                  </a:lnTo>
                  <a:lnTo>
                    <a:pt x="76" y="478"/>
                  </a:lnTo>
                  <a:lnTo>
                    <a:pt x="78" y="477"/>
                  </a:lnTo>
                  <a:lnTo>
                    <a:pt x="76" y="475"/>
                  </a:lnTo>
                  <a:lnTo>
                    <a:pt x="76" y="473"/>
                  </a:lnTo>
                  <a:lnTo>
                    <a:pt x="78" y="473"/>
                  </a:lnTo>
                  <a:lnTo>
                    <a:pt x="78" y="471"/>
                  </a:lnTo>
                  <a:lnTo>
                    <a:pt x="78" y="469"/>
                  </a:lnTo>
                  <a:lnTo>
                    <a:pt x="78" y="467"/>
                  </a:lnTo>
                  <a:lnTo>
                    <a:pt x="76" y="467"/>
                  </a:lnTo>
                  <a:lnTo>
                    <a:pt x="76" y="465"/>
                  </a:lnTo>
                  <a:lnTo>
                    <a:pt x="75" y="463"/>
                  </a:lnTo>
                  <a:lnTo>
                    <a:pt x="73" y="461"/>
                  </a:lnTo>
                  <a:lnTo>
                    <a:pt x="73" y="459"/>
                  </a:lnTo>
                  <a:lnTo>
                    <a:pt x="71" y="459"/>
                  </a:lnTo>
                  <a:lnTo>
                    <a:pt x="69" y="459"/>
                  </a:lnTo>
                  <a:lnTo>
                    <a:pt x="65" y="459"/>
                  </a:lnTo>
                  <a:lnTo>
                    <a:pt x="63" y="459"/>
                  </a:lnTo>
                  <a:lnTo>
                    <a:pt x="61" y="459"/>
                  </a:lnTo>
                  <a:lnTo>
                    <a:pt x="57" y="459"/>
                  </a:lnTo>
                  <a:lnTo>
                    <a:pt x="55" y="459"/>
                  </a:lnTo>
                  <a:lnTo>
                    <a:pt x="50" y="459"/>
                  </a:lnTo>
                  <a:lnTo>
                    <a:pt x="50" y="461"/>
                  </a:lnTo>
                  <a:lnTo>
                    <a:pt x="50" y="463"/>
                  </a:lnTo>
                  <a:lnTo>
                    <a:pt x="48" y="463"/>
                  </a:lnTo>
                  <a:lnTo>
                    <a:pt x="44" y="463"/>
                  </a:lnTo>
                  <a:lnTo>
                    <a:pt x="42" y="463"/>
                  </a:lnTo>
                  <a:lnTo>
                    <a:pt x="42" y="461"/>
                  </a:lnTo>
                  <a:lnTo>
                    <a:pt x="40" y="459"/>
                  </a:lnTo>
                  <a:lnTo>
                    <a:pt x="40" y="457"/>
                  </a:lnTo>
                  <a:lnTo>
                    <a:pt x="40" y="455"/>
                  </a:lnTo>
                  <a:lnTo>
                    <a:pt x="42" y="455"/>
                  </a:lnTo>
                  <a:lnTo>
                    <a:pt x="44" y="455"/>
                  </a:lnTo>
                  <a:lnTo>
                    <a:pt x="44" y="457"/>
                  </a:lnTo>
                  <a:lnTo>
                    <a:pt x="46" y="457"/>
                  </a:lnTo>
                  <a:lnTo>
                    <a:pt x="48" y="457"/>
                  </a:lnTo>
                  <a:lnTo>
                    <a:pt x="48" y="455"/>
                  </a:lnTo>
                  <a:lnTo>
                    <a:pt x="50" y="455"/>
                  </a:lnTo>
                  <a:lnTo>
                    <a:pt x="52" y="457"/>
                  </a:lnTo>
                  <a:lnTo>
                    <a:pt x="52" y="455"/>
                  </a:lnTo>
                  <a:lnTo>
                    <a:pt x="53" y="454"/>
                  </a:lnTo>
                  <a:lnTo>
                    <a:pt x="53" y="452"/>
                  </a:lnTo>
                  <a:lnTo>
                    <a:pt x="55" y="452"/>
                  </a:lnTo>
                  <a:lnTo>
                    <a:pt x="55" y="450"/>
                  </a:lnTo>
                  <a:lnTo>
                    <a:pt x="57" y="448"/>
                  </a:lnTo>
                  <a:lnTo>
                    <a:pt x="57" y="446"/>
                  </a:lnTo>
                  <a:lnTo>
                    <a:pt x="57" y="444"/>
                  </a:lnTo>
                  <a:lnTo>
                    <a:pt x="55" y="444"/>
                  </a:lnTo>
                  <a:lnTo>
                    <a:pt x="53" y="444"/>
                  </a:lnTo>
                  <a:lnTo>
                    <a:pt x="52" y="444"/>
                  </a:lnTo>
                  <a:lnTo>
                    <a:pt x="48" y="442"/>
                  </a:lnTo>
                  <a:lnTo>
                    <a:pt x="46" y="442"/>
                  </a:lnTo>
                  <a:lnTo>
                    <a:pt x="44" y="442"/>
                  </a:lnTo>
                  <a:lnTo>
                    <a:pt x="44" y="440"/>
                  </a:lnTo>
                  <a:lnTo>
                    <a:pt x="46" y="438"/>
                  </a:lnTo>
                  <a:lnTo>
                    <a:pt x="46" y="436"/>
                  </a:lnTo>
                  <a:lnTo>
                    <a:pt x="46" y="434"/>
                  </a:lnTo>
                  <a:lnTo>
                    <a:pt x="48" y="434"/>
                  </a:lnTo>
                  <a:lnTo>
                    <a:pt x="48" y="436"/>
                  </a:lnTo>
                  <a:lnTo>
                    <a:pt x="50" y="436"/>
                  </a:lnTo>
                  <a:lnTo>
                    <a:pt x="50" y="438"/>
                  </a:lnTo>
                  <a:lnTo>
                    <a:pt x="52" y="438"/>
                  </a:lnTo>
                  <a:lnTo>
                    <a:pt x="52" y="440"/>
                  </a:lnTo>
                  <a:lnTo>
                    <a:pt x="53" y="440"/>
                  </a:lnTo>
                  <a:lnTo>
                    <a:pt x="55" y="438"/>
                  </a:lnTo>
                  <a:lnTo>
                    <a:pt x="57" y="438"/>
                  </a:lnTo>
                  <a:lnTo>
                    <a:pt x="59" y="438"/>
                  </a:lnTo>
                  <a:lnTo>
                    <a:pt x="61" y="436"/>
                  </a:lnTo>
                  <a:lnTo>
                    <a:pt x="61" y="434"/>
                  </a:lnTo>
                  <a:lnTo>
                    <a:pt x="61" y="432"/>
                  </a:lnTo>
                  <a:lnTo>
                    <a:pt x="59" y="430"/>
                  </a:lnTo>
                  <a:lnTo>
                    <a:pt x="61" y="429"/>
                  </a:lnTo>
                  <a:lnTo>
                    <a:pt x="61" y="427"/>
                  </a:lnTo>
                  <a:lnTo>
                    <a:pt x="61" y="425"/>
                  </a:lnTo>
                  <a:lnTo>
                    <a:pt x="61" y="423"/>
                  </a:lnTo>
                  <a:lnTo>
                    <a:pt x="59" y="423"/>
                  </a:lnTo>
                  <a:lnTo>
                    <a:pt x="57" y="423"/>
                  </a:lnTo>
                  <a:lnTo>
                    <a:pt x="57" y="421"/>
                  </a:lnTo>
                  <a:lnTo>
                    <a:pt x="55" y="421"/>
                  </a:lnTo>
                  <a:lnTo>
                    <a:pt x="55" y="419"/>
                  </a:lnTo>
                  <a:lnTo>
                    <a:pt x="53" y="419"/>
                  </a:lnTo>
                  <a:lnTo>
                    <a:pt x="53" y="417"/>
                  </a:lnTo>
                  <a:lnTo>
                    <a:pt x="52" y="417"/>
                  </a:lnTo>
                  <a:lnTo>
                    <a:pt x="52" y="415"/>
                  </a:lnTo>
                  <a:lnTo>
                    <a:pt x="50" y="415"/>
                  </a:lnTo>
                  <a:lnTo>
                    <a:pt x="52" y="415"/>
                  </a:lnTo>
                  <a:lnTo>
                    <a:pt x="52" y="413"/>
                  </a:lnTo>
                  <a:lnTo>
                    <a:pt x="52" y="411"/>
                  </a:lnTo>
                  <a:lnTo>
                    <a:pt x="52" y="413"/>
                  </a:lnTo>
                  <a:lnTo>
                    <a:pt x="52" y="411"/>
                  </a:lnTo>
                  <a:lnTo>
                    <a:pt x="53" y="411"/>
                  </a:lnTo>
                  <a:lnTo>
                    <a:pt x="52" y="411"/>
                  </a:lnTo>
                  <a:lnTo>
                    <a:pt x="53" y="411"/>
                  </a:lnTo>
                  <a:lnTo>
                    <a:pt x="52" y="411"/>
                  </a:lnTo>
                  <a:lnTo>
                    <a:pt x="52" y="409"/>
                  </a:lnTo>
                  <a:lnTo>
                    <a:pt x="52" y="407"/>
                  </a:lnTo>
                  <a:lnTo>
                    <a:pt x="52" y="406"/>
                  </a:lnTo>
                  <a:lnTo>
                    <a:pt x="53" y="406"/>
                  </a:lnTo>
                  <a:lnTo>
                    <a:pt x="55" y="406"/>
                  </a:lnTo>
                  <a:lnTo>
                    <a:pt x="57" y="407"/>
                  </a:lnTo>
                  <a:lnTo>
                    <a:pt x="59" y="407"/>
                  </a:lnTo>
                  <a:lnTo>
                    <a:pt x="59" y="406"/>
                  </a:lnTo>
                  <a:lnTo>
                    <a:pt x="61" y="406"/>
                  </a:lnTo>
                  <a:lnTo>
                    <a:pt x="61" y="404"/>
                  </a:lnTo>
                  <a:lnTo>
                    <a:pt x="63" y="404"/>
                  </a:lnTo>
                  <a:lnTo>
                    <a:pt x="63" y="402"/>
                  </a:lnTo>
                  <a:lnTo>
                    <a:pt x="63" y="400"/>
                  </a:lnTo>
                  <a:lnTo>
                    <a:pt x="63" y="398"/>
                  </a:lnTo>
                  <a:lnTo>
                    <a:pt x="63" y="396"/>
                  </a:lnTo>
                  <a:lnTo>
                    <a:pt x="65" y="394"/>
                  </a:lnTo>
                  <a:lnTo>
                    <a:pt x="65" y="392"/>
                  </a:lnTo>
                  <a:lnTo>
                    <a:pt x="63" y="392"/>
                  </a:lnTo>
                  <a:lnTo>
                    <a:pt x="63" y="390"/>
                  </a:lnTo>
                  <a:lnTo>
                    <a:pt x="65" y="388"/>
                  </a:lnTo>
                  <a:lnTo>
                    <a:pt x="65" y="386"/>
                  </a:lnTo>
                  <a:lnTo>
                    <a:pt x="65" y="384"/>
                  </a:lnTo>
                  <a:lnTo>
                    <a:pt x="63" y="384"/>
                  </a:lnTo>
                  <a:lnTo>
                    <a:pt x="63" y="382"/>
                  </a:lnTo>
                  <a:lnTo>
                    <a:pt x="61" y="382"/>
                  </a:lnTo>
                  <a:lnTo>
                    <a:pt x="61" y="381"/>
                  </a:lnTo>
                  <a:lnTo>
                    <a:pt x="59" y="379"/>
                  </a:lnTo>
                  <a:lnTo>
                    <a:pt x="59" y="377"/>
                  </a:lnTo>
                  <a:lnTo>
                    <a:pt x="57" y="377"/>
                  </a:lnTo>
                  <a:lnTo>
                    <a:pt x="55" y="375"/>
                  </a:lnTo>
                  <a:lnTo>
                    <a:pt x="55" y="373"/>
                  </a:lnTo>
                  <a:lnTo>
                    <a:pt x="53" y="373"/>
                  </a:lnTo>
                  <a:lnTo>
                    <a:pt x="52" y="371"/>
                  </a:lnTo>
                  <a:lnTo>
                    <a:pt x="57" y="369"/>
                  </a:lnTo>
                  <a:lnTo>
                    <a:pt x="59" y="369"/>
                  </a:lnTo>
                  <a:lnTo>
                    <a:pt x="57" y="367"/>
                  </a:lnTo>
                  <a:lnTo>
                    <a:pt x="61" y="365"/>
                  </a:lnTo>
                  <a:lnTo>
                    <a:pt x="61" y="363"/>
                  </a:lnTo>
                  <a:lnTo>
                    <a:pt x="63" y="363"/>
                  </a:lnTo>
                  <a:lnTo>
                    <a:pt x="63" y="361"/>
                  </a:lnTo>
                  <a:lnTo>
                    <a:pt x="63" y="359"/>
                  </a:lnTo>
                  <a:lnTo>
                    <a:pt x="61" y="359"/>
                  </a:lnTo>
                  <a:lnTo>
                    <a:pt x="63" y="359"/>
                  </a:lnTo>
                  <a:lnTo>
                    <a:pt x="63" y="358"/>
                  </a:lnTo>
                  <a:lnTo>
                    <a:pt x="65" y="358"/>
                  </a:lnTo>
                  <a:lnTo>
                    <a:pt x="65" y="356"/>
                  </a:lnTo>
                  <a:lnTo>
                    <a:pt x="65" y="358"/>
                  </a:lnTo>
                  <a:lnTo>
                    <a:pt x="65" y="356"/>
                  </a:lnTo>
                  <a:lnTo>
                    <a:pt x="67" y="356"/>
                  </a:lnTo>
                  <a:lnTo>
                    <a:pt x="67" y="358"/>
                  </a:lnTo>
                  <a:lnTo>
                    <a:pt x="67" y="356"/>
                  </a:lnTo>
                  <a:lnTo>
                    <a:pt x="69" y="356"/>
                  </a:lnTo>
                  <a:lnTo>
                    <a:pt x="69" y="358"/>
                  </a:lnTo>
                  <a:lnTo>
                    <a:pt x="69" y="356"/>
                  </a:lnTo>
                  <a:lnTo>
                    <a:pt x="69" y="358"/>
                  </a:lnTo>
                  <a:lnTo>
                    <a:pt x="71" y="358"/>
                  </a:lnTo>
                  <a:lnTo>
                    <a:pt x="73" y="358"/>
                  </a:lnTo>
                  <a:lnTo>
                    <a:pt x="75" y="358"/>
                  </a:lnTo>
                  <a:lnTo>
                    <a:pt x="76" y="356"/>
                  </a:lnTo>
                  <a:lnTo>
                    <a:pt x="78" y="356"/>
                  </a:lnTo>
                  <a:lnTo>
                    <a:pt x="76" y="354"/>
                  </a:lnTo>
                  <a:lnTo>
                    <a:pt x="76" y="356"/>
                  </a:lnTo>
                  <a:lnTo>
                    <a:pt x="76" y="354"/>
                  </a:lnTo>
                  <a:lnTo>
                    <a:pt x="76" y="352"/>
                  </a:lnTo>
                  <a:lnTo>
                    <a:pt x="78" y="352"/>
                  </a:lnTo>
                  <a:lnTo>
                    <a:pt x="76" y="352"/>
                  </a:lnTo>
                  <a:lnTo>
                    <a:pt x="76" y="350"/>
                  </a:lnTo>
                  <a:lnTo>
                    <a:pt x="78" y="350"/>
                  </a:lnTo>
                  <a:lnTo>
                    <a:pt x="80" y="350"/>
                  </a:lnTo>
                  <a:lnTo>
                    <a:pt x="80" y="348"/>
                  </a:lnTo>
                  <a:lnTo>
                    <a:pt x="80" y="350"/>
                  </a:lnTo>
                  <a:lnTo>
                    <a:pt x="80" y="348"/>
                  </a:lnTo>
                  <a:lnTo>
                    <a:pt x="82" y="348"/>
                  </a:lnTo>
                  <a:lnTo>
                    <a:pt x="82" y="346"/>
                  </a:lnTo>
                  <a:lnTo>
                    <a:pt x="84" y="346"/>
                  </a:lnTo>
                  <a:lnTo>
                    <a:pt x="84" y="344"/>
                  </a:lnTo>
                  <a:lnTo>
                    <a:pt x="84" y="346"/>
                  </a:lnTo>
                  <a:lnTo>
                    <a:pt x="86" y="344"/>
                  </a:lnTo>
                  <a:lnTo>
                    <a:pt x="86" y="346"/>
                  </a:lnTo>
                  <a:lnTo>
                    <a:pt x="86" y="344"/>
                  </a:lnTo>
                  <a:lnTo>
                    <a:pt x="86" y="346"/>
                  </a:lnTo>
                  <a:lnTo>
                    <a:pt x="88" y="344"/>
                  </a:lnTo>
                  <a:lnTo>
                    <a:pt x="90" y="344"/>
                  </a:lnTo>
                  <a:lnTo>
                    <a:pt x="90" y="342"/>
                  </a:lnTo>
                  <a:lnTo>
                    <a:pt x="90" y="344"/>
                  </a:lnTo>
                  <a:lnTo>
                    <a:pt x="90" y="342"/>
                  </a:lnTo>
                  <a:lnTo>
                    <a:pt x="92" y="342"/>
                  </a:lnTo>
                  <a:lnTo>
                    <a:pt x="92" y="340"/>
                  </a:lnTo>
                  <a:lnTo>
                    <a:pt x="94" y="340"/>
                  </a:lnTo>
                  <a:lnTo>
                    <a:pt x="94" y="338"/>
                  </a:lnTo>
                  <a:lnTo>
                    <a:pt x="96" y="338"/>
                  </a:lnTo>
                  <a:lnTo>
                    <a:pt x="96" y="336"/>
                  </a:lnTo>
                  <a:lnTo>
                    <a:pt x="96" y="334"/>
                  </a:lnTo>
                  <a:lnTo>
                    <a:pt x="98" y="334"/>
                  </a:lnTo>
                  <a:lnTo>
                    <a:pt x="98" y="333"/>
                  </a:lnTo>
                  <a:lnTo>
                    <a:pt x="98" y="331"/>
                  </a:lnTo>
                  <a:lnTo>
                    <a:pt x="96" y="331"/>
                  </a:lnTo>
                  <a:lnTo>
                    <a:pt x="96" y="329"/>
                  </a:lnTo>
                  <a:lnTo>
                    <a:pt x="96" y="327"/>
                  </a:lnTo>
                  <a:lnTo>
                    <a:pt x="94" y="327"/>
                  </a:lnTo>
                  <a:lnTo>
                    <a:pt x="94" y="325"/>
                  </a:lnTo>
                  <a:lnTo>
                    <a:pt x="94" y="323"/>
                  </a:lnTo>
                  <a:lnTo>
                    <a:pt x="96" y="323"/>
                  </a:lnTo>
                  <a:lnTo>
                    <a:pt x="96" y="321"/>
                  </a:lnTo>
                  <a:lnTo>
                    <a:pt x="94" y="321"/>
                  </a:lnTo>
                  <a:lnTo>
                    <a:pt x="94" y="323"/>
                  </a:lnTo>
                  <a:lnTo>
                    <a:pt x="94" y="321"/>
                  </a:lnTo>
                  <a:lnTo>
                    <a:pt x="94" y="319"/>
                  </a:lnTo>
                  <a:lnTo>
                    <a:pt x="94" y="317"/>
                  </a:lnTo>
                  <a:lnTo>
                    <a:pt x="94" y="315"/>
                  </a:lnTo>
                  <a:lnTo>
                    <a:pt x="92" y="315"/>
                  </a:lnTo>
                  <a:lnTo>
                    <a:pt x="92" y="317"/>
                  </a:lnTo>
                  <a:lnTo>
                    <a:pt x="92" y="315"/>
                  </a:lnTo>
                  <a:lnTo>
                    <a:pt x="94" y="315"/>
                  </a:lnTo>
                  <a:lnTo>
                    <a:pt x="92" y="315"/>
                  </a:lnTo>
                  <a:lnTo>
                    <a:pt x="92" y="313"/>
                  </a:lnTo>
                  <a:lnTo>
                    <a:pt x="94" y="313"/>
                  </a:lnTo>
                  <a:lnTo>
                    <a:pt x="94" y="315"/>
                  </a:lnTo>
                  <a:lnTo>
                    <a:pt x="94" y="313"/>
                  </a:lnTo>
                  <a:lnTo>
                    <a:pt x="94" y="311"/>
                  </a:lnTo>
                  <a:lnTo>
                    <a:pt x="92" y="311"/>
                  </a:lnTo>
                  <a:lnTo>
                    <a:pt x="92" y="313"/>
                  </a:lnTo>
                  <a:lnTo>
                    <a:pt x="92" y="311"/>
                  </a:lnTo>
                  <a:lnTo>
                    <a:pt x="90" y="311"/>
                  </a:lnTo>
                  <a:lnTo>
                    <a:pt x="88" y="311"/>
                  </a:lnTo>
                  <a:lnTo>
                    <a:pt x="86" y="311"/>
                  </a:lnTo>
                  <a:lnTo>
                    <a:pt x="86" y="310"/>
                  </a:lnTo>
                  <a:lnTo>
                    <a:pt x="84" y="310"/>
                  </a:lnTo>
                  <a:lnTo>
                    <a:pt x="82" y="310"/>
                  </a:lnTo>
                  <a:lnTo>
                    <a:pt x="82" y="311"/>
                  </a:lnTo>
                  <a:lnTo>
                    <a:pt x="82" y="310"/>
                  </a:lnTo>
                  <a:lnTo>
                    <a:pt x="82" y="311"/>
                  </a:lnTo>
                  <a:lnTo>
                    <a:pt x="80" y="311"/>
                  </a:lnTo>
                  <a:lnTo>
                    <a:pt x="80" y="310"/>
                  </a:lnTo>
                  <a:lnTo>
                    <a:pt x="78" y="310"/>
                  </a:lnTo>
                  <a:lnTo>
                    <a:pt x="78" y="311"/>
                  </a:lnTo>
                  <a:lnTo>
                    <a:pt x="76" y="311"/>
                  </a:lnTo>
                  <a:lnTo>
                    <a:pt x="75" y="311"/>
                  </a:lnTo>
                  <a:lnTo>
                    <a:pt x="73" y="311"/>
                  </a:lnTo>
                  <a:lnTo>
                    <a:pt x="73" y="310"/>
                  </a:lnTo>
                  <a:lnTo>
                    <a:pt x="71" y="310"/>
                  </a:lnTo>
                  <a:lnTo>
                    <a:pt x="69" y="310"/>
                  </a:lnTo>
                  <a:lnTo>
                    <a:pt x="69" y="308"/>
                  </a:lnTo>
                  <a:lnTo>
                    <a:pt x="71" y="308"/>
                  </a:lnTo>
                  <a:lnTo>
                    <a:pt x="73" y="310"/>
                  </a:lnTo>
                  <a:lnTo>
                    <a:pt x="73" y="308"/>
                  </a:lnTo>
                  <a:lnTo>
                    <a:pt x="75" y="308"/>
                  </a:lnTo>
                  <a:lnTo>
                    <a:pt x="75" y="310"/>
                  </a:lnTo>
                  <a:lnTo>
                    <a:pt x="76" y="310"/>
                  </a:lnTo>
                  <a:lnTo>
                    <a:pt x="78" y="310"/>
                  </a:lnTo>
                  <a:lnTo>
                    <a:pt x="78" y="308"/>
                  </a:lnTo>
                  <a:lnTo>
                    <a:pt x="78" y="306"/>
                  </a:lnTo>
                  <a:lnTo>
                    <a:pt x="76" y="306"/>
                  </a:lnTo>
                  <a:lnTo>
                    <a:pt x="76" y="304"/>
                  </a:lnTo>
                  <a:lnTo>
                    <a:pt x="78" y="304"/>
                  </a:lnTo>
                  <a:lnTo>
                    <a:pt x="80" y="304"/>
                  </a:lnTo>
                  <a:lnTo>
                    <a:pt x="82" y="302"/>
                  </a:lnTo>
                  <a:lnTo>
                    <a:pt x="80" y="302"/>
                  </a:lnTo>
                  <a:lnTo>
                    <a:pt x="78" y="300"/>
                  </a:lnTo>
                  <a:lnTo>
                    <a:pt x="76" y="298"/>
                  </a:lnTo>
                  <a:lnTo>
                    <a:pt x="76" y="296"/>
                  </a:lnTo>
                  <a:lnTo>
                    <a:pt x="75" y="294"/>
                  </a:lnTo>
                  <a:lnTo>
                    <a:pt x="75" y="292"/>
                  </a:lnTo>
                  <a:lnTo>
                    <a:pt x="78" y="290"/>
                  </a:lnTo>
                  <a:lnTo>
                    <a:pt x="82" y="290"/>
                  </a:lnTo>
                  <a:lnTo>
                    <a:pt x="84" y="292"/>
                  </a:lnTo>
                  <a:lnTo>
                    <a:pt x="86" y="294"/>
                  </a:lnTo>
                  <a:lnTo>
                    <a:pt x="88" y="294"/>
                  </a:lnTo>
                  <a:lnTo>
                    <a:pt x="90" y="294"/>
                  </a:lnTo>
                  <a:lnTo>
                    <a:pt x="90" y="292"/>
                  </a:lnTo>
                  <a:lnTo>
                    <a:pt x="90" y="290"/>
                  </a:lnTo>
                  <a:lnTo>
                    <a:pt x="90" y="288"/>
                  </a:lnTo>
                  <a:lnTo>
                    <a:pt x="88" y="286"/>
                  </a:lnTo>
                  <a:lnTo>
                    <a:pt x="86" y="288"/>
                  </a:lnTo>
                  <a:lnTo>
                    <a:pt x="82" y="286"/>
                  </a:lnTo>
                  <a:lnTo>
                    <a:pt x="80" y="285"/>
                  </a:lnTo>
                  <a:lnTo>
                    <a:pt x="78" y="283"/>
                  </a:lnTo>
                  <a:lnTo>
                    <a:pt x="78" y="281"/>
                  </a:lnTo>
                  <a:lnTo>
                    <a:pt x="78" y="279"/>
                  </a:lnTo>
                  <a:lnTo>
                    <a:pt x="80" y="279"/>
                  </a:lnTo>
                  <a:lnTo>
                    <a:pt x="82" y="277"/>
                  </a:lnTo>
                  <a:lnTo>
                    <a:pt x="82" y="275"/>
                  </a:lnTo>
                  <a:lnTo>
                    <a:pt x="84" y="273"/>
                  </a:lnTo>
                  <a:lnTo>
                    <a:pt x="84" y="271"/>
                  </a:lnTo>
                  <a:lnTo>
                    <a:pt x="86" y="271"/>
                  </a:lnTo>
                  <a:lnTo>
                    <a:pt x="86" y="269"/>
                  </a:lnTo>
                  <a:lnTo>
                    <a:pt x="84" y="267"/>
                  </a:lnTo>
                  <a:lnTo>
                    <a:pt x="84" y="265"/>
                  </a:lnTo>
                  <a:lnTo>
                    <a:pt x="84" y="263"/>
                  </a:lnTo>
                  <a:lnTo>
                    <a:pt x="82" y="263"/>
                  </a:lnTo>
                  <a:lnTo>
                    <a:pt x="82" y="262"/>
                  </a:lnTo>
                  <a:lnTo>
                    <a:pt x="80" y="262"/>
                  </a:lnTo>
                  <a:lnTo>
                    <a:pt x="78" y="260"/>
                  </a:lnTo>
                  <a:lnTo>
                    <a:pt x="78" y="258"/>
                  </a:lnTo>
                  <a:lnTo>
                    <a:pt x="76" y="258"/>
                  </a:lnTo>
                  <a:lnTo>
                    <a:pt x="76" y="256"/>
                  </a:lnTo>
                  <a:lnTo>
                    <a:pt x="75" y="254"/>
                  </a:lnTo>
                  <a:lnTo>
                    <a:pt x="76" y="248"/>
                  </a:lnTo>
                  <a:lnTo>
                    <a:pt x="75" y="248"/>
                  </a:lnTo>
                  <a:lnTo>
                    <a:pt x="75" y="246"/>
                  </a:lnTo>
                  <a:lnTo>
                    <a:pt x="75" y="244"/>
                  </a:lnTo>
                  <a:lnTo>
                    <a:pt x="73" y="244"/>
                  </a:lnTo>
                  <a:lnTo>
                    <a:pt x="73" y="242"/>
                  </a:lnTo>
                  <a:lnTo>
                    <a:pt x="71" y="238"/>
                  </a:lnTo>
                  <a:lnTo>
                    <a:pt x="69" y="238"/>
                  </a:lnTo>
                  <a:lnTo>
                    <a:pt x="69" y="237"/>
                  </a:lnTo>
                  <a:lnTo>
                    <a:pt x="67" y="237"/>
                  </a:lnTo>
                  <a:lnTo>
                    <a:pt x="67" y="235"/>
                  </a:lnTo>
                  <a:lnTo>
                    <a:pt x="65" y="235"/>
                  </a:lnTo>
                  <a:lnTo>
                    <a:pt x="63" y="233"/>
                  </a:lnTo>
                  <a:lnTo>
                    <a:pt x="61" y="233"/>
                  </a:lnTo>
                  <a:lnTo>
                    <a:pt x="63" y="225"/>
                  </a:lnTo>
                  <a:lnTo>
                    <a:pt x="63" y="221"/>
                  </a:lnTo>
                  <a:lnTo>
                    <a:pt x="63" y="219"/>
                  </a:lnTo>
                  <a:lnTo>
                    <a:pt x="63" y="217"/>
                  </a:lnTo>
                  <a:lnTo>
                    <a:pt x="67" y="217"/>
                  </a:lnTo>
                  <a:lnTo>
                    <a:pt x="69" y="217"/>
                  </a:lnTo>
                  <a:lnTo>
                    <a:pt x="71" y="217"/>
                  </a:lnTo>
                  <a:lnTo>
                    <a:pt x="73" y="217"/>
                  </a:lnTo>
                  <a:lnTo>
                    <a:pt x="73" y="219"/>
                  </a:lnTo>
                  <a:lnTo>
                    <a:pt x="75" y="219"/>
                  </a:lnTo>
                  <a:lnTo>
                    <a:pt x="76" y="219"/>
                  </a:lnTo>
                  <a:lnTo>
                    <a:pt x="78" y="221"/>
                  </a:lnTo>
                  <a:lnTo>
                    <a:pt x="80" y="221"/>
                  </a:lnTo>
                  <a:lnTo>
                    <a:pt x="78" y="221"/>
                  </a:lnTo>
                  <a:lnTo>
                    <a:pt x="78" y="219"/>
                  </a:lnTo>
                  <a:lnTo>
                    <a:pt x="78" y="217"/>
                  </a:lnTo>
                  <a:lnTo>
                    <a:pt x="78" y="215"/>
                  </a:lnTo>
                  <a:lnTo>
                    <a:pt x="78" y="214"/>
                  </a:lnTo>
                  <a:lnTo>
                    <a:pt x="78" y="212"/>
                  </a:lnTo>
                  <a:lnTo>
                    <a:pt x="78" y="210"/>
                  </a:lnTo>
                  <a:lnTo>
                    <a:pt x="80" y="210"/>
                  </a:lnTo>
                  <a:lnTo>
                    <a:pt x="78" y="210"/>
                  </a:lnTo>
                  <a:lnTo>
                    <a:pt x="78" y="208"/>
                  </a:lnTo>
                  <a:lnTo>
                    <a:pt x="78" y="206"/>
                  </a:lnTo>
                  <a:lnTo>
                    <a:pt x="80" y="206"/>
                  </a:lnTo>
                  <a:lnTo>
                    <a:pt x="80" y="204"/>
                  </a:lnTo>
                  <a:lnTo>
                    <a:pt x="82" y="200"/>
                  </a:lnTo>
                  <a:lnTo>
                    <a:pt x="84" y="200"/>
                  </a:lnTo>
                  <a:lnTo>
                    <a:pt x="84" y="198"/>
                  </a:lnTo>
                  <a:lnTo>
                    <a:pt x="86" y="198"/>
                  </a:lnTo>
                  <a:lnTo>
                    <a:pt x="86" y="196"/>
                  </a:lnTo>
                  <a:lnTo>
                    <a:pt x="94" y="189"/>
                  </a:lnTo>
                  <a:lnTo>
                    <a:pt x="92" y="189"/>
                  </a:lnTo>
                  <a:lnTo>
                    <a:pt x="92" y="187"/>
                  </a:lnTo>
                  <a:lnTo>
                    <a:pt x="92" y="185"/>
                  </a:lnTo>
                  <a:lnTo>
                    <a:pt x="90" y="185"/>
                  </a:lnTo>
                  <a:lnTo>
                    <a:pt x="90" y="183"/>
                  </a:lnTo>
                  <a:lnTo>
                    <a:pt x="88" y="183"/>
                  </a:lnTo>
                  <a:lnTo>
                    <a:pt x="88" y="181"/>
                  </a:lnTo>
                  <a:lnTo>
                    <a:pt x="86" y="181"/>
                  </a:lnTo>
                  <a:lnTo>
                    <a:pt x="86" y="179"/>
                  </a:lnTo>
                  <a:lnTo>
                    <a:pt x="84" y="179"/>
                  </a:lnTo>
                  <a:lnTo>
                    <a:pt x="84" y="177"/>
                  </a:lnTo>
                  <a:lnTo>
                    <a:pt x="82" y="177"/>
                  </a:lnTo>
                  <a:lnTo>
                    <a:pt x="82" y="175"/>
                  </a:lnTo>
                  <a:lnTo>
                    <a:pt x="80" y="175"/>
                  </a:lnTo>
                  <a:lnTo>
                    <a:pt x="80" y="173"/>
                  </a:lnTo>
                  <a:lnTo>
                    <a:pt x="78" y="169"/>
                  </a:lnTo>
                  <a:lnTo>
                    <a:pt x="78" y="167"/>
                  </a:lnTo>
                  <a:lnTo>
                    <a:pt x="76" y="164"/>
                  </a:lnTo>
                  <a:lnTo>
                    <a:pt x="76" y="162"/>
                  </a:lnTo>
                  <a:lnTo>
                    <a:pt x="75" y="160"/>
                  </a:lnTo>
                  <a:lnTo>
                    <a:pt x="75" y="158"/>
                  </a:lnTo>
                  <a:lnTo>
                    <a:pt x="73" y="158"/>
                  </a:lnTo>
                  <a:lnTo>
                    <a:pt x="73" y="156"/>
                  </a:lnTo>
                  <a:lnTo>
                    <a:pt x="71" y="156"/>
                  </a:lnTo>
                  <a:lnTo>
                    <a:pt x="69" y="154"/>
                  </a:lnTo>
                  <a:lnTo>
                    <a:pt x="67" y="152"/>
                  </a:lnTo>
                  <a:lnTo>
                    <a:pt x="63" y="148"/>
                  </a:lnTo>
                  <a:lnTo>
                    <a:pt x="61" y="146"/>
                  </a:lnTo>
                  <a:lnTo>
                    <a:pt x="59" y="144"/>
                  </a:lnTo>
                  <a:lnTo>
                    <a:pt x="57" y="144"/>
                  </a:lnTo>
                  <a:lnTo>
                    <a:pt x="57" y="142"/>
                  </a:lnTo>
                  <a:lnTo>
                    <a:pt x="55" y="142"/>
                  </a:lnTo>
                  <a:lnTo>
                    <a:pt x="52" y="142"/>
                  </a:lnTo>
                  <a:lnTo>
                    <a:pt x="50" y="146"/>
                  </a:lnTo>
                  <a:lnTo>
                    <a:pt x="50" y="148"/>
                  </a:lnTo>
                  <a:lnTo>
                    <a:pt x="50" y="152"/>
                  </a:lnTo>
                  <a:lnTo>
                    <a:pt x="50" y="156"/>
                  </a:lnTo>
                  <a:lnTo>
                    <a:pt x="48" y="156"/>
                  </a:lnTo>
                  <a:lnTo>
                    <a:pt x="48" y="154"/>
                  </a:lnTo>
                  <a:lnTo>
                    <a:pt x="46" y="154"/>
                  </a:lnTo>
                  <a:lnTo>
                    <a:pt x="46" y="152"/>
                  </a:lnTo>
                  <a:lnTo>
                    <a:pt x="46" y="148"/>
                  </a:lnTo>
                  <a:lnTo>
                    <a:pt x="46" y="146"/>
                  </a:lnTo>
                  <a:lnTo>
                    <a:pt x="44" y="144"/>
                  </a:lnTo>
                  <a:lnTo>
                    <a:pt x="44" y="142"/>
                  </a:lnTo>
                  <a:lnTo>
                    <a:pt x="44" y="141"/>
                  </a:lnTo>
                  <a:lnTo>
                    <a:pt x="44" y="137"/>
                  </a:lnTo>
                  <a:lnTo>
                    <a:pt x="44" y="135"/>
                  </a:lnTo>
                  <a:lnTo>
                    <a:pt x="44" y="133"/>
                  </a:lnTo>
                  <a:lnTo>
                    <a:pt x="44" y="131"/>
                  </a:lnTo>
                  <a:lnTo>
                    <a:pt x="44" y="129"/>
                  </a:lnTo>
                  <a:lnTo>
                    <a:pt x="44" y="125"/>
                  </a:lnTo>
                  <a:lnTo>
                    <a:pt x="44" y="123"/>
                  </a:lnTo>
                  <a:lnTo>
                    <a:pt x="42" y="121"/>
                  </a:lnTo>
                  <a:lnTo>
                    <a:pt x="42" y="116"/>
                  </a:lnTo>
                  <a:lnTo>
                    <a:pt x="42" y="114"/>
                  </a:lnTo>
                  <a:lnTo>
                    <a:pt x="42" y="112"/>
                  </a:lnTo>
                  <a:lnTo>
                    <a:pt x="42" y="110"/>
                  </a:lnTo>
                  <a:lnTo>
                    <a:pt x="42" y="108"/>
                  </a:lnTo>
                  <a:lnTo>
                    <a:pt x="42" y="106"/>
                  </a:lnTo>
                  <a:lnTo>
                    <a:pt x="42" y="102"/>
                  </a:lnTo>
                  <a:lnTo>
                    <a:pt x="40" y="100"/>
                  </a:lnTo>
                  <a:lnTo>
                    <a:pt x="40" y="98"/>
                  </a:lnTo>
                  <a:lnTo>
                    <a:pt x="40" y="96"/>
                  </a:lnTo>
                  <a:lnTo>
                    <a:pt x="40" y="95"/>
                  </a:lnTo>
                  <a:lnTo>
                    <a:pt x="42" y="95"/>
                  </a:lnTo>
                  <a:lnTo>
                    <a:pt x="46" y="93"/>
                  </a:lnTo>
                  <a:lnTo>
                    <a:pt x="48" y="93"/>
                  </a:lnTo>
                  <a:lnTo>
                    <a:pt x="50" y="93"/>
                  </a:lnTo>
                  <a:lnTo>
                    <a:pt x="52" y="93"/>
                  </a:lnTo>
                  <a:lnTo>
                    <a:pt x="52" y="95"/>
                  </a:lnTo>
                  <a:lnTo>
                    <a:pt x="52" y="93"/>
                  </a:lnTo>
                  <a:lnTo>
                    <a:pt x="53" y="93"/>
                  </a:lnTo>
                  <a:lnTo>
                    <a:pt x="55" y="93"/>
                  </a:lnTo>
                  <a:lnTo>
                    <a:pt x="57" y="93"/>
                  </a:lnTo>
                  <a:lnTo>
                    <a:pt x="57" y="91"/>
                  </a:lnTo>
                  <a:lnTo>
                    <a:pt x="59" y="93"/>
                  </a:lnTo>
                  <a:lnTo>
                    <a:pt x="57" y="93"/>
                  </a:lnTo>
                  <a:lnTo>
                    <a:pt x="57" y="95"/>
                  </a:lnTo>
                  <a:lnTo>
                    <a:pt x="59" y="95"/>
                  </a:lnTo>
                  <a:lnTo>
                    <a:pt x="61" y="95"/>
                  </a:lnTo>
                  <a:lnTo>
                    <a:pt x="63" y="95"/>
                  </a:lnTo>
                  <a:lnTo>
                    <a:pt x="65" y="93"/>
                  </a:lnTo>
                  <a:lnTo>
                    <a:pt x="67" y="91"/>
                  </a:lnTo>
                  <a:lnTo>
                    <a:pt x="69" y="89"/>
                  </a:lnTo>
                  <a:lnTo>
                    <a:pt x="71" y="85"/>
                  </a:lnTo>
                  <a:lnTo>
                    <a:pt x="75" y="81"/>
                  </a:lnTo>
                  <a:lnTo>
                    <a:pt x="78" y="75"/>
                  </a:lnTo>
                  <a:lnTo>
                    <a:pt x="78" y="73"/>
                  </a:lnTo>
                  <a:lnTo>
                    <a:pt x="78" y="70"/>
                  </a:lnTo>
                  <a:lnTo>
                    <a:pt x="78" y="68"/>
                  </a:lnTo>
                  <a:lnTo>
                    <a:pt x="78" y="66"/>
                  </a:lnTo>
                  <a:lnTo>
                    <a:pt x="78" y="62"/>
                  </a:lnTo>
                  <a:lnTo>
                    <a:pt x="78" y="58"/>
                  </a:lnTo>
                  <a:lnTo>
                    <a:pt x="80" y="54"/>
                  </a:lnTo>
                  <a:lnTo>
                    <a:pt x="80" y="52"/>
                  </a:lnTo>
                  <a:lnTo>
                    <a:pt x="76" y="52"/>
                  </a:lnTo>
                  <a:lnTo>
                    <a:pt x="73" y="52"/>
                  </a:lnTo>
                  <a:lnTo>
                    <a:pt x="71" y="52"/>
                  </a:lnTo>
                  <a:lnTo>
                    <a:pt x="71" y="50"/>
                  </a:lnTo>
                  <a:lnTo>
                    <a:pt x="71" y="48"/>
                  </a:lnTo>
                  <a:lnTo>
                    <a:pt x="71" y="47"/>
                  </a:lnTo>
                  <a:lnTo>
                    <a:pt x="73" y="47"/>
                  </a:lnTo>
                  <a:lnTo>
                    <a:pt x="75" y="47"/>
                  </a:lnTo>
                  <a:lnTo>
                    <a:pt x="75" y="45"/>
                  </a:lnTo>
                  <a:lnTo>
                    <a:pt x="75" y="43"/>
                  </a:lnTo>
                  <a:lnTo>
                    <a:pt x="76" y="43"/>
                  </a:lnTo>
                  <a:lnTo>
                    <a:pt x="78" y="41"/>
                  </a:lnTo>
                  <a:lnTo>
                    <a:pt x="80" y="41"/>
                  </a:lnTo>
                  <a:lnTo>
                    <a:pt x="82" y="39"/>
                  </a:lnTo>
                  <a:lnTo>
                    <a:pt x="84" y="39"/>
                  </a:lnTo>
                  <a:lnTo>
                    <a:pt x="86" y="39"/>
                  </a:lnTo>
                  <a:lnTo>
                    <a:pt x="88" y="39"/>
                  </a:lnTo>
                  <a:lnTo>
                    <a:pt x="90" y="39"/>
                  </a:lnTo>
                  <a:lnTo>
                    <a:pt x="96" y="41"/>
                  </a:lnTo>
                  <a:lnTo>
                    <a:pt x="98" y="43"/>
                  </a:lnTo>
                  <a:lnTo>
                    <a:pt x="100" y="43"/>
                  </a:lnTo>
                  <a:lnTo>
                    <a:pt x="100" y="45"/>
                  </a:lnTo>
                  <a:lnTo>
                    <a:pt x="101" y="45"/>
                  </a:lnTo>
                  <a:lnTo>
                    <a:pt x="103" y="45"/>
                  </a:lnTo>
                  <a:lnTo>
                    <a:pt x="103" y="47"/>
                  </a:lnTo>
                  <a:lnTo>
                    <a:pt x="105" y="47"/>
                  </a:lnTo>
                  <a:lnTo>
                    <a:pt x="107" y="47"/>
                  </a:lnTo>
                  <a:lnTo>
                    <a:pt x="107" y="48"/>
                  </a:lnTo>
                  <a:lnTo>
                    <a:pt x="107" y="47"/>
                  </a:lnTo>
                  <a:lnTo>
                    <a:pt x="109" y="47"/>
                  </a:lnTo>
                  <a:lnTo>
                    <a:pt x="109" y="45"/>
                  </a:lnTo>
                  <a:lnTo>
                    <a:pt x="111" y="45"/>
                  </a:lnTo>
                  <a:lnTo>
                    <a:pt x="111" y="43"/>
                  </a:lnTo>
                  <a:lnTo>
                    <a:pt x="111" y="41"/>
                  </a:lnTo>
                  <a:lnTo>
                    <a:pt x="113" y="41"/>
                  </a:lnTo>
                  <a:lnTo>
                    <a:pt x="113" y="39"/>
                  </a:lnTo>
                  <a:lnTo>
                    <a:pt x="113" y="37"/>
                  </a:lnTo>
                  <a:lnTo>
                    <a:pt x="115" y="39"/>
                  </a:lnTo>
                  <a:lnTo>
                    <a:pt x="115" y="37"/>
                  </a:lnTo>
                  <a:lnTo>
                    <a:pt x="115" y="35"/>
                  </a:lnTo>
                  <a:lnTo>
                    <a:pt x="115" y="33"/>
                  </a:lnTo>
                  <a:lnTo>
                    <a:pt x="117" y="33"/>
                  </a:lnTo>
                  <a:lnTo>
                    <a:pt x="117" y="29"/>
                  </a:lnTo>
                  <a:lnTo>
                    <a:pt x="115" y="29"/>
                  </a:lnTo>
                  <a:lnTo>
                    <a:pt x="115" y="27"/>
                  </a:lnTo>
                  <a:lnTo>
                    <a:pt x="117" y="27"/>
                  </a:lnTo>
                  <a:lnTo>
                    <a:pt x="117" y="25"/>
                  </a:lnTo>
                  <a:lnTo>
                    <a:pt x="117" y="23"/>
                  </a:lnTo>
                  <a:lnTo>
                    <a:pt x="119" y="23"/>
                  </a:lnTo>
                  <a:lnTo>
                    <a:pt x="119" y="22"/>
                  </a:lnTo>
                  <a:lnTo>
                    <a:pt x="121" y="22"/>
                  </a:lnTo>
                  <a:lnTo>
                    <a:pt x="121" y="20"/>
                  </a:lnTo>
                  <a:lnTo>
                    <a:pt x="121" y="18"/>
                  </a:lnTo>
                  <a:lnTo>
                    <a:pt x="123" y="18"/>
                  </a:lnTo>
                  <a:lnTo>
                    <a:pt x="123" y="16"/>
                  </a:lnTo>
                  <a:lnTo>
                    <a:pt x="123" y="14"/>
                  </a:lnTo>
                  <a:lnTo>
                    <a:pt x="124" y="14"/>
                  </a:lnTo>
                  <a:lnTo>
                    <a:pt x="126" y="16"/>
                  </a:lnTo>
                  <a:lnTo>
                    <a:pt x="128" y="18"/>
                  </a:lnTo>
                  <a:lnTo>
                    <a:pt x="128" y="20"/>
                  </a:lnTo>
                  <a:lnTo>
                    <a:pt x="130" y="22"/>
                  </a:lnTo>
                  <a:lnTo>
                    <a:pt x="132" y="23"/>
                  </a:lnTo>
                  <a:lnTo>
                    <a:pt x="134" y="23"/>
                  </a:lnTo>
                  <a:lnTo>
                    <a:pt x="136" y="22"/>
                  </a:lnTo>
                  <a:lnTo>
                    <a:pt x="138" y="22"/>
                  </a:lnTo>
                  <a:lnTo>
                    <a:pt x="138" y="20"/>
                  </a:lnTo>
                  <a:lnTo>
                    <a:pt x="140" y="20"/>
                  </a:lnTo>
                  <a:lnTo>
                    <a:pt x="140" y="18"/>
                  </a:lnTo>
                  <a:lnTo>
                    <a:pt x="142" y="18"/>
                  </a:lnTo>
                  <a:lnTo>
                    <a:pt x="142" y="16"/>
                  </a:lnTo>
                  <a:lnTo>
                    <a:pt x="142" y="14"/>
                  </a:lnTo>
                  <a:lnTo>
                    <a:pt x="142" y="12"/>
                  </a:lnTo>
                  <a:lnTo>
                    <a:pt x="142" y="10"/>
                  </a:lnTo>
                  <a:lnTo>
                    <a:pt x="144" y="12"/>
                  </a:lnTo>
                  <a:lnTo>
                    <a:pt x="146" y="12"/>
                  </a:lnTo>
                  <a:lnTo>
                    <a:pt x="146" y="10"/>
                  </a:lnTo>
                  <a:lnTo>
                    <a:pt x="148" y="10"/>
                  </a:lnTo>
                  <a:lnTo>
                    <a:pt x="148" y="8"/>
                  </a:lnTo>
                  <a:lnTo>
                    <a:pt x="149" y="8"/>
                  </a:lnTo>
                  <a:lnTo>
                    <a:pt x="149" y="6"/>
                  </a:lnTo>
                  <a:lnTo>
                    <a:pt x="149" y="8"/>
                  </a:lnTo>
                  <a:lnTo>
                    <a:pt x="151" y="8"/>
                  </a:lnTo>
                  <a:lnTo>
                    <a:pt x="151" y="10"/>
                  </a:lnTo>
                  <a:lnTo>
                    <a:pt x="153" y="10"/>
                  </a:lnTo>
                  <a:lnTo>
                    <a:pt x="153" y="8"/>
                  </a:lnTo>
                  <a:lnTo>
                    <a:pt x="155" y="8"/>
                  </a:lnTo>
                  <a:lnTo>
                    <a:pt x="157" y="8"/>
                  </a:lnTo>
                  <a:lnTo>
                    <a:pt x="159" y="10"/>
                  </a:lnTo>
                  <a:lnTo>
                    <a:pt x="159" y="8"/>
                  </a:lnTo>
                  <a:lnTo>
                    <a:pt x="159" y="6"/>
                  </a:lnTo>
                  <a:lnTo>
                    <a:pt x="161" y="6"/>
                  </a:lnTo>
                  <a:lnTo>
                    <a:pt x="161" y="4"/>
                  </a:lnTo>
                  <a:lnTo>
                    <a:pt x="163" y="4"/>
                  </a:lnTo>
                  <a:lnTo>
                    <a:pt x="165" y="4"/>
                  </a:lnTo>
                  <a:lnTo>
                    <a:pt x="167" y="4"/>
                  </a:lnTo>
                  <a:lnTo>
                    <a:pt x="169" y="4"/>
                  </a:lnTo>
                  <a:lnTo>
                    <a:pt x="169" y="2"/>
                  </a:lnTo>
                  <a:lnTo>
                    <a:pt x="171" y="2"/>
                  </a:lnTo>
                  <a:lnTo>
                    <a:pt x="171" y="0"/>
                  </a:lnTo>
                  <a:lnTo>
                    <a:pt x="172" y="0"/>
                  </a:lnTo>
                  <a:lnTo>
                    <a:pt x="174" y="0"/>
                  </a:lnTo>
                  <a:lnTo>
                    <a:pt x="178" y="0"/>
                  </a:lnTo>
                  <a:lnTo>
                    <a:pt x="178" y="2"/>
                  </a:lnTo>
                  <a:lnTo>
                    <a:pt x="178" y="4"/>
                  </a:lnTo>
                  <a:close/>
                  <a:moveTo>
                    <a:pt x="391" y="427"/>
                  </a:moveTo>
                  <a:lnTo>
                    <a:pt x="389" y="427"/>
                  </a:lnTo>
                  <a:lnTo>
                    <a:pt x="389" y="429"/>
                  </a:lnTo>
                  <a:lnTo>
                    <a:pt x="389" y="430"/>
                  </a:lnTo>
                  <a:lnTo>
                    <a:pt x="388" y="430"/>
                  </a:lnTo>
                  <a:lnTo>
                    <a:pt x="388" y="432"/>
                  </a:lnTo>
                  <a:lnTo>
                    <a:pt x="388" y="434"/>
                  </a:lnTo>
                  <a:lnTo>
                    <a:pt x="388" y="436"/>
                  </a:lnTo>
                  <a:lnTo>
                    <a:pt x="388" y="438"/>
                  </a:lnTo>
                  <a:lnTo>
                    <a:pt x="386" y="438"/>
                  </a:lnTo>
                  <a:lnTo>
                    <a:pt x="384" y="438"/>
                  </a:lnTo>
                  <a:lnTo>
                    <a:pt x="384" y="436"/>
                  </a:lnTo>
                  <a:lnTo>
                    <a:pt x="382" y="436"/>
                  </a:lnTo>
                  <a:lnTo>
                    <a:pt x="382" y="438"/>
                  </a:lnTo>
                  <a:lnTo>
                    <a:pt x="380" y="438"/>
                  </a:lnTo>
                  <a:lnTo>
                    <a:pt x="378" y="438"/>
                  </a:lnTo>
                  <a:lnTo>
                    <a:pt x="376" y="440"/>
                  </a:lnTo>
                  <a:lnTo>
                    <a:pt x="376" y="438"/>
                  </a:lnTo>
                  <a:lnTo>
                    <a:pt x="376" y="440"/>
                  </a:lnTo>
                  <a:lnTo>
                    <a:pt x="374" y="440"/>
                  </a:lnTo>
                  <a:lnTo>
                    <a:pt x="374" y="442"/>
                  </a:lnTo>
                  <a:lnTo>
                    <a:pt x="372" y="442"/>
                  </a:lnTo>
                  <a:lnTo>
                    <a:pt x="372" y="444"/>
                  </a:lnTo>
                  <a:lnTo>
                    <a:pt x="370" y="446"/>
                  </a:lnTo>
                  <a:lnTo>
                    <a:pt x="366" y="446"/>
                  </a:lnTo>
                  <a:lnTo>
                    <a:pt x="365" y="446"/>
                  </a:lnTo>
                  <a:lnTo>
                    <a:pt x="363" y="446"/>
                  </a:lnTo>
                  <a:lnTo>
                    <a:pt x="361" y="446"/>
                  </a:lnTo>
                  <a:lnTo>
                    <a:pt x="359" y="446"/>
                  </a:lnTo>
                  <a:lnTo>
                    <a:pt x="359" y="444"/>
                  </a:lnTo>
                  <a:lnTo>
                    <a:pt x="357" y="444"/>
                  </a:lnTo>
                  <a:lnTo>
                    <a:pt x="355" y="444"/>
                  </a:lnTo>
                  <a:lnTo>
                    <a:pt x="351" y="444"/>
                  </a:lnTo>
                  <a:lnTo>
                    <a:pt x="349" y="442"/>
                  </a:lnTo>
                  <a:lnTo>
                    <a:pt x="349" y="440"/>
                  </a:lnTo>
                  <a:lnTo>
                    <a:pt x="349" y="438"/>
                  </a:lnTo>
                  <a:lnTo>
                    <a:pt x="349" y="440"/>
                  </a:lnTo>
                  <a:lnTo>
                    <a:pt x="347" y="440"/>
                  </a:lnTo>
                  <a:lnTo>
                    <a:pt x="345" y="440"/>
                  </a:lnTo>
                  <a:lnTo>
                    <a:pt x="345" y="438"/>
                  </a:lnTo>
                  <a:lnTo>
                    <a:pt x="343" y="438"/>
                  </a:lnTo>
                  <a:lnTo>
                    <a:pt x="341" y="436"/>
                  </a:lnTo>
                  <a:lnTo>
                    <a:pt x="340" y="436"/>
                  </a:lnTo>
                  <a:lnTo>
                    <a:pt x="338" y="438"/>
                  </a:lnTo>
                  <a:lnTo>
                    <a:pt x="338" y="440"/>
                  </a:lnTo>
                  <a:lnTo>
                    <a:pt x="340" y="442"/>
                  </a:lnTo>
                  <a:lnTo>
                    <a:pt x="341" y="446"/>
                  </a:lnTo>
                  <a:lnTo>
                    <a:pt x="340" y="448"/>
                  </a:lnTo>
                  <a:lnTo>
                    <a:pt x="338" y="446"/>
                  </a:lnTo>
                  <a:lnTo>
                    <a:pt x="338" y="444"/>
                  </a:lnTo>
                  <a:lnTo>
                    <a:pt x="338" y="442"/>
                  </a:lnTo>
                  <a:lnTo>
                    <a:pt x="336" y="442"/>
                  </a:lnTo>
                  <a:lnTo>
                    <a:pt x="336" y="440"/>
                  </a:lnTo>
                  <a:lnTo>
                    <a:pt x="334" y="440"/>
                  </a:lnTo>
                  <a:lnTo>
                    <a:pt x="334" y="438"/>
                  </a:lnTo>
                  <a:lnTo>
                    <a:pt x="332" y="438"/>
                  </a:lnTo>
                  <a:lnTo>
                    <a:pt x="330" y="438"/>
                  </a:lnTo>
                  <a:lnTo>
                    <a:pt x="330" y="436"/>
                  </a:lnTo>
                  <a:lnTo>
                    <a:pt x="330" y="434"/>
                  </a:lnTo>
                  <a:lnTo>
                    <a:pt x="328" y="434"/>
                  </a:lnTo>
                  <a:lnTo>
                    <a:pt x="328" y="432"/>
                  </a:lnTo>
                  <a:lnTo>
                    <a:pt x="328" y="430"/>
                  </a:lnTo>
                  <a:lnTo>
                    <a:pt x="328" y="429"/>
                  </a:lnTo>
                  <a:lnTo>
                    <a:pt x="328" y="427"/>
                  </a:lnTo>
                  <a:lnTo>
                    <a:pt x="326" y="427"/>
                  </a:lnTo>
                  <a:lnTo>
                    <a:pt x="326" y="425"/>
                  </a:lnTo>
                  <a:lnTo>
                    <a:pt x="324" y="425"/>
                  </a:lnTo>
                  <a:lnTo>
                    <a:pt x="322" y="425"/>
                  </a:lnTo>
                  <a:lnTo>
                    <a:pt x="322" y="423"/>
                  </a:lnTo>
                  <a:lnTo>
                    <a:pt x="322" y="421"/>
                  </a:lnTo>
                  <a:lnTo>
                    <a:pt x="322" y="419"/>
                  </a:lnTo>
                  <a:lnTo>
                    <a:pt x="322" y="421"/>
                  </a:lnTo>
                  <a:lnTo>
                    <a:pt x="320" y="419"/>
                  </a:lnTo>
                  <a:lnTo>
                    <a:pt x="318" y="419"/>
                  </a:lnTo>
                  <a:lnTo>
                    <a:pt x="317" y="419"/>
                  </a:lnTo>
                  <a:lnTo>
                    <a:pt x="315" y="419"/>
                  </a:lnTo>
                  <a:lnTo>
                    <a:pt x="313" y="419"/>
                  </a:lnTo>
                  <a:lnTo>
                    <a:pt x="311" y="419"/>
                  </a:lnTo>
                  <a:lnTo>
                    <a:pt x="309" y="417"/>
                  </a:lnTo>
                  <a:lnTo>
                    <a:pt x="307" y="417"/>
                  </a:lnTo>
                  <a:lnTo>
                    <a:pt x="305" y="417"/>
                  </a:lnTo>
                  <a:lnTo>
                    <a:pt x="303" y="417"/>
                  </a:lnTo>
                  <a:lnTo>
                    <a:pt x="301" y="417"/>
                  </a:lnTo>
                  <a:lnTo>
                    <a:pt x="299" y="417"/>
                  </a:lnTo>
                  <a:lnTo>
                    <a:pt x="297" y="417"/>
                  </a:lnTo>
                  <a:lnTo>
                    <a:pt x="297" y="419"/>
                  </a:lnTo>
                  <a:lnTo>
                    <a:pt x="297" y="421"/>
                  </a:lnTo>
                  <a:lnTo>
                    <a:pt x="295" y="421"/>
                  </a:lnTo>
                  <a:lnTo>
                    <a:pt x="293" y="421"/>
                  </a:lnTo>
                  <a:lnTo>
                    <a:pt x="292" y="421"/>
                  </a:lnTo>
                  <a:lnTo>
                    <a:pt x="290" y="421"/>
                  </a:lnTo>
                  <a:lnTo>
                    <a:pt x="288" y="421"/>
                  </a:lnTo>
                  <a:lnTo>
                    <a:pt x="286" y="421"/>
                  </a:lnTo>
                  <a:lnTo>
                    <a:pt x="284" y="421"/>
                  </a:lnTo>
                  <a:lnTo>
                    <a:pt x="282" y="421"/>
                  </a:lnTo>
                  <a:lnTo>
                    <a:pt x="280" y="421"/>
                  </a:lnTo>
                  <a:lnTo>
                    <a:pt x="282" y="423"/>
                  </a:lnTo>
                  <a:lnTo>
                    <a:pt x="284" y="423"/>
                  </a:lnTo>
                  <a:lnTo>
                    <a:pt x="284" y="425"/>
                  </a:lnTo>
                  <a:lnTo>
                    <a:pt x="286" y="427"/>
                  </a:lnTo>
                  <a:lnTo>
                    <a:pt x="288" y="427"/>
                  </a:lnTo>
                  <a:lnTo>
                    <a:pt x="288" y="429"/>
                  </a:lnTo>
                  <a:lnTo>
                    <a:pt x="286" y="429"/>
                  </a:lnTo>
                  <a:lnTo>
                    <a:pt x="286" y="427"/>
                  </a:lnTo>
                  <a:lnTo>
                    <a:pt x="286" y="429"/>
                  </a:lnTo>
                  <a:lnTo>
                    <a:pt x="284" y="429"/>
                  </a:lnTo>
                  <a:lnTo>
                    <a:pt x="286" y="429"/>
                  </a:lnTo>
                  <a:lnTo>
                    <a:pt x="286" y="430"/>
                  </a:lnTo>
                  <a:lnTo>
                    <a:pt x="284" y="430"/>
                  </a:lnTo>
                  <a:lnTo>
                    <a:pt x="284" y="432"/>
                  </a:lnTo>
                  <a:lnTo>
                    <a:pt x="284" y="430"/>
                  </a:lnTo>
                  <a:lnTo>
                    <a:pt x="282" y="430"/>
                  </a:lnTo>
                  <a:lnTo>
                    <a:pt x="282" y="429"/>
                  </a:lnTo>
                  <a:lnTo>
                    <a:pt x="280" y="429"/>
                  </a:lnTo>
                  <a:lnTo>
                    <a:pt x="280" y="427"/>
                  </a:lnTo>
                  <a:lnTo>
                    <a:pt x="278" y="427"/>
                  </a:lnTo>
                  <a:lnTo>
                    <a:pt x="278" y="429"/>
                  </a:lnTo>
                  <a:lnTo>
                    <a:pt x="276" y="429"/>
                  </a:lnTo>
                  <a:lnTo>
                    <a:pt x="276" y="427"/>
                  </a:lnTo>
                  <a:lnTo>
                    <a:pt x="276" y="429"/>
                  </a:lnTo>
                  <a:lnTo>
                    <a:pt x="276" y="430"/>
                  </a:lnTo>
                  <a:lnTo>
                    <a:pt x="278" y="430"/>
                  </a:lnTo>
                  <a:lnTo>
                    <a:pt x="276" y="430"/>
                  </a:lnTo>
                  <a:lnTo>
                    <a:pt x="278" y="432"/>
                  </a:lnTo>
                  <a:lnTo>
                    <a:pt x="276" y="432"/>
                  </a:lnTo>
                  <a:lnTo>
                    <a:pt x="276" y="434"/>
                  </a:lnTo>
                  <a:lnTo>
                    <a:pt x="276" y="436"/>
                  </a:lnTo>
                  <a:lnTo>
                    <a:pt x="274" y="436"/>
                  </a:lnTo>
                  <a:lnTo>
                    <a:pt x="272" y="438"/>
                  </a:lnTo>
                  <a:lnTo>
                    <a:pt x="272" y="440"/>
                  </a:lnTo>
                  <a:lnTo>
                    <a:pt x="270" y="440"/>
                  </a:lnTo>
                  <a:lnTo>
                    <a:pt x="269" y="440"/>
                  </a:lnTo>
                  <a:lnTo>
                    <a:pt x="267" y="442"/>
                  </a:lnTo>
                  <a:lnTo>
                    <a:pt x="265" y="442"/>
                  </a:lnTo>
                  <a:lnTo>
                    <a:pt x="265" y="444"/>
                  </a:lnTo>
                  <a:lnTo>
                    <a:pt x="263" y="444"/>
                  </a:lnTo>
                  <a:lnTo>
                    <a:pt x="265" y="446"/>
                  </a:lnTo>
                  <a:lnTo>
                    <a:pt x="265" y="448"/>
                  </a:lnTo>
                  <a:lnTo>
                    <a:pt x="267" y="448"/>
                  </a:lnTo>
                  <a:lnTo>
                    <a:pt x="267" y="450"/>
                  </a:lnTo>
                  <a:lnTo>
                    <a:pt x="265" y="452"/>
                  </a:lnTo>
                  <a:lnTo>
                    <a:pt x="265" y="454"/>
                  </a:lnTo>
                  <a:lnTo>
                    <a:pt x="263" y="454"/>
                  </a:lnTo>
                  <a:lnTo>
                    <a:pt x="263" y="455"/>
                  </a:lnTo>
                  <a:lnTo>
                    <a:pt x="261" y="455"/>
                  </a:lnTo>
                  <a:lnTo>
                    <a:pt x="261" y="454"/>
                  </a:lnTo>
                  <a:lnTo>
                    <a:pt x="261" y="455"/>
                  </a:lnTo>
                  <a:lnTo>
                    <a:pt x="261" y="457"/>
                  </a:lnTo>
                  <a:lnTo>
                    <a:pt x="259" y="457"/>
                  </a:lnTo>
                  <a:lnTo>
                    <a:pt x="259" y="459"/>
                  </a:lnTo>
                  <a:lnTo>
                    <a:pt x="261" y="459"/>
                  </a:lnTo>
                  <a:lnTo>
                    <a:pt x="261" y="461"/>
                  </a:lnTo>
                  <a:lnTo>
                    <a:pt x="261" y="463"/>
                  </a:lnTo>
                  <a:lnTo>
                    <a:pt x="259" y="463"/>
                  </a:lnTo>
                  <a:lnTo>
                    <a:pt x="259" y="465"/>
                  </a:lnTo>
                  <a:lnTo>
                    <a:pt x="257" y="465"/>
                  </a:lnTo>
                  <a:lnTo>
                    <a:pt x="257" y="467"/>
                  </a:lnTo>
                  <a:lnTo>
                    <a:pt x="255" y="467"/>
                  </a:lnTo>
                  <a:lnTo>
                    <a:pt x="255" y="469"/>
                  </a:lnTo>
                  <a:lnTo>
                    <a:pt x="255" y="471"/>
                  </a:lnTo>
                  <a:lnTo>
                    <a:pt x="257" y="473"/>
                  </a:lnTo>
                  <a:lnTo>
                    <a:pt x="257" y="475"/>
                  </a:lnTo>
                  <a:lnTo>
                    <a:pt x="255" y="475"/>
                  </a:lnTo>
                  <a:lnTo>
                    <a:pt x="255" y="477"/>
                  </a:lnTo>
                  <a:lnTo>
                    <a:pt x="253" y="477"/>
                  </a:lnTo>
                  <a:lnTo>
                    <a:pt x="253" y="478"/>
                  </a:lnTo>
                  <a:lnTo>
                    <a:pt x="255" y="478"/>
                  </a:lnTo>
                  <a:lnTo>
                    <a:pt x="255" y="480"/>
                  </a:lnTo>
                  <a:lnTo>
                    <a:pt x="257" y="480"/>
                  </a:lnTo>
                  <a:lnTo>
                    <a:pt x="257" y="478"/>
                  </a:lnTo>
                  <a:lnTo>
                    <a:pt x="259" y="478"/>
                  </a:lnTo>
                  <a:lnTo>
                    <a:pt x="261" y="478"/>
                  </a:lnTo>
                  <a:lnTo>
                    <a:pt x="263" y="480"/>
                  </a:lnTo>
                  <a:lnTo>
                    <a:pt x="263" y="478"/>
                  </a:lnTo>
                  <a:lnTo>
                    <a:pt x="265" y="478"/>
                  </a:lnTo>
                  <a:lnTo>
                    <a:pt x="265" y="477"/>
                  </a:lnTo>
                  <a:lnTo>
                    <a:pt x="265" y="475"/>
                  </a:lnTo>
                  <a:lnTo>
                    <a:pt x="267" y="475"/>
                  </a:lnTo>
                  <a:lnTo>
                    <a:pt x="267" y="473"/>
                  </a:lnTo>
                  <a:lnTo>
                    <a:pt x="267" y="471"/>
                  </a:lnTo>
                  <a:lnTo>
                    <a:pt x="267" y="473"/>
                  </a:lnTo>
                  <a:lnTo>
                    <a:pt x="269" y="473"/>
                  </a:lnTo>
                  <a:lnTo>
                    <a:pt x="270" y="473"/>
                  </a:lnTo>
                  <a:lnTo>
                    <a:pt x="272" y="475"/>
                  </a:lnTo>
                  <a:lnTo>
                    <a:pt x="274" y="475"/>
                  </a:lnTo>
                  <a:lnTo>
                    <a:pt x="276" y="475"/>
                  </a:lnTo>
                  <a:lnTo>
                    <a:pt x="278" y="475"/>
                  </a:lnTo>
                  <a:lnTo>
                    <a:pt x="280" y="475"/>
                  </a:lnTo>
                  <a:lnTo>
                    <a:pt x="282" y="475"/>
                  </a:lnTo>
                  <a:lnTo>
                    <a:pt x="284" y="475"/>
                  </a:lnTo>
                  <a:lnTo>
                    <a:pt x="284" y="473"/>
                  </a:lnTo>
                  <a:lnTo>
                    <a:pt x="282" y="473"/>
                  </a:lnTo>
                  <a:lnTo>
                    <a:pt x="282" y="471"/>
                  </a:lnTo>
                  <a:lnTo>
                    <a:pt x="284" y="471"/>
                  </a:lnTo>
                  <a:lnTo>
                    <a:pt x="284" y="473"/>
                  </a:lnTo>
                  <a:lnTo>
                    <a:pt x="286" y="473"/>
                  </a:lnTo>
                  <a:lnTo>
                    <a:pt x="286" y="475"/>
                  </a:lnTo>
                  <a:lnTo>
                    <a:pt x="288" y="475"/>
                  </a:lnTo>
                  <a:lnTo>
                    <a:pt x="288" y="477"/>
                  </a:lnTo>
                  <a:lnTo>
                    <a:pt x="286" y="477"/>
                  </a:lnTo>
                  <a:lnTo>
                    <a:pt x="286" y="478"/>
                  </a:lnTo>
                  <a:lnTo>
                    <a:pt x="286" y="480"/>
                  </a:lnTo>
                  <a:lnTo>
                    <a:pt x="288" y="480"/>
                  </a:lnTo>
                  <a:lnTo>
                    <a:pt x="288" y="482"/>
                  </a:lnTo>
                  <a:lnTo>
                    <a:pt x="288" y="484"/>
                  </a:lnTo>
                  <a:lnTo>
                    <a:pt x="288" y="486"/>
                  </a:lnTo>
                  <a:lnTo>
                    <a:pt x="290" y="486"/>
                  </a:lnTo>
                  <a:lnTo>
                    <a:pt x="290" y="488"/>
                  </a:lnTo>
                  <a:lnTo>
                    <a:pt x="292" y="488"/>
                  </a:lnTo>
                  <a:lnTo>
                    <a:pt x="292" y="490"/>
                  </a:lnTo>
                  <a:lnTo>
                    <a:pt x="293" y="490"/>
                  </a:lnTo>
                  <a:lnTo>
                    <a:pt x="293" y="492"/>
                  </a:lnTo>
                  <a:lnTo>
                    <a:pt x="295" y="492"/>
                  </a:lnTo>
                  <a:lnTo>
                    <a:pt x="295" y="494"/>
                  </a:lnTo>
                  <a:lnTo>
                    <a:pt x="297" y="494"/>
                  </a:lnTo>
                  <a:lnTo>
                    <a:pt x="297" y="496"/>
                  </a:lnTo>
                  <a:lnTo>
                    <a:pt x="299" y="496"/>
                  </a:lnTo>
                  <a:lnTo>
                    <a:pt x="301" y="496"/>
                  </a:lnTo>
                  <a:lnTo>
                    <a:pt x="301" y="498"/>
                  </a:lnTo>
                  <a:lnTo>
                    <a:pt x="301" y="500"/>
                  </a:lnTo>
                  <a:lnTo>
                    <a:pt x="303" y="500"/>
                  </a:lnTo>
                  <a:lnTo>
                    <a:pt x="305" y="502"/>
                  </a:lnTo>
                  <a:lnTo>
                    <a:pt x="307" y="503"/>
                  </a:lnTo>
                  <a:lnTo>
                    <a:pt x="307" y="505"/>
                  </a:lnTo>
                  <a:lnTo>
                    <a:pt x="305" y="505"/>
                  </a:lnTo>
                  <a:lnTo>
                    <a:pt x="303" y="507"/>
                  </a:lnTo>
                  <a:lnTo>
                    <a:pt x="303" y="509"/>
                  </a:lnTo>
                  <a:lnTo>
                    <a:pt x="305" y="509"/>
                  </a:lnTo>
                  <a:lnTo>
                    <a:pt x="305" y="511"/>
                  </a:lnTo>
                  <a:lnTo>
                    <a:pt x="303" y="511"/>
                  </a:lnTo>
                  <a:lnTo>
                    <a:pt x="303" y="513"/>
                  </a:lnTo>
                  <a:lnTo>
                    <a:pt x="305" y="513"/>
                  </a:lnTo>
                  <a:lnTo>
                    <a:pt x="303" y="515"/>
                  </a:lnTo>
                  <a:lnTo>
                    <a:pt x="305" y="515"/>
                  </a:lnTo>
                  <a:lnTo>
                    <a:pt x="307" y="515"/>
                  </a:lnTo>
                  <a:lnTo>
                    <a:pt x="307" y="517"/>
                  </a:lnTo>
                  <a:lnTo>
                    <a:pt x="309" y="515"/>
                  </a:lnTo>
                  <a:lnTo>
                    <a:pt x="309" y="513"/>
                  </a:lnTo>
                  <a:lnTo>
                    <a:pt x="311" y="513"/>
                  </a:lnTo>
                  <a:lnTo>
                    <a:pt x="311" y="515"/>
                  </a:lnTo>
                  <a:lnTo>
                    <a:pt x="313" y="515"/>
                  </a:lnTo>
                  <a:lnTo>
                    <a:pt x="313" y="517"/>
                  </a:lnTo>
                  <a:lnTo>
                    <a:pt x="313" y="519"/>
                  </a:lnTo>
                  <a:lnTo>
                    <a:pt x="313" y="521"/>
                  </a:lnTo>
                  <a:lnTo>
                    <a:pt x="313" y="523"/>
                  </a:lnTo>
                  <a:lnTo>
                    <a:pt x="315" y="523"/>
                  </a:lnTo>
                  <a:lnTo>
                    <a:pt x="313" y="525"/>
                  </a:lnTo>
                  <a:lnTo>
                    <a:pt x="313" y="526"/>
                  </a:lnTo>
                  <a:lnTo>
                    <a:pt x="315" y="526"/>
                  </a:lnTo>
                  <a:lnTo>
                    <a:pt x="317" y="526"/>
                  </a:lnTo>
                  <a:lnTo>
                    <a:pt x="317" y="525"/>
                  </a:lnTo>
                  <a:lnTo>
                    <a:pt x="317" y="526"/>
                  </a:lnTo>
                  <a:lnTo>
                    <a:pt x="318" y="526"/>
                  </a:lnTo>
                  <a:lnTo>
                    <a:pt x="317" y="528"/>
                  </a:lnTo>
                  <a:lnTo>
                    <a:pt x="318" y="530"/>
                  </a:lnTo>
                  <a:lnTo>
                    <a:pt x="320" y="530"/>
                  </a:lnTo>
                  <a:lnTo>
                    <a:pt x="322" y="530"/>
                  </a:lnTo>
                  <a:lnTo>
                    <a:pt x="322" y="532"/>
                  </a:lnTo>
                  <a:lnTo>
                    <a:pt x="324" y="532"/>
                  </a:lnTo>
                  <a:lnTo>
                    <a:pt x="326" y="532"/>
                  </a:lnTo>
                  <a:lnTo>
                    <a:pt x="326" y="534"/>
                  </a:lnTo>
                  <a:lnTo>
                    <a:pt x="328" y="534"/>
                  </a:lnTo>
                  <a:lnTo>
                    <a:pt x="328" y="536"/>
                  </a:lnTo>
                  <a:lnTo>
                    <a:pt x="328" y="538"/>
                  </a:lnTo>
                  <a:lnTo>
                    <a:pt x="326" y="538"/>
                  </a:lnTo>
                  <a:lnTo>
                    <a:pt x="326" y="540"/>
                  </a:lnTo>
                  <a:lnTo>
                    <a:pt x="328" y="542"/>
                  </a:lnTo>
                  <a:lnTo>
                    <a:pt x="326" y="542"/>
                  </a:lnTo>
                  <a:lnTo>
                    <a:pt x="326" y="544"/>
                  </a:lnTo>
                  <a:lnTo>
                    <a:pt x="324" y="546"/>
                  </a:lnTo>
                  <a:lnTo>
                    <a:pt x="326" y="546"/>
                  </a:lnTo>
                  <a:lnTo>
                    <a:pt x="328" y="546"/>
                  </a:lnTo>
                  <a:lnTo>
                    <a:pt x="330" y="546"/>
                  </a:lnTo>
                  <a:lnTo>
                    <a:pt x="330" y="548"/>
                  </a:lnTo>
                  <a:lnTo>
                    <a:pt x="330" y="550"/>
                  </a:lnTo>
                  <a:lnTo>
                    <a:pt x="328" y="551"/>
                  </a:lnTo>
                  <a:lnTo>
                    <a:pt x="328" y="553"/>
                  </a:lnTo>
                  <a:lnTo>
                    <a:pt x="330" y="553"/>
                  </a:lnTo>
                  <a:lnTo>
                    <a:pt x="330" y="555"/>
                  </a:lnTo>
                  <a:lnTo>
                    <a:pt x="330" y="557"/>
                  </a:lnTo>
                  <a:lnTo>
                    <a:pt x="330" y="559"/>
                  </a:lnTo>
                  <a:lnTo>
                    <a:pt x="332" y="559"/>
                  </a:lnTo>
                  <a:lnTo>
                    <a:pt x="334" y="559"/>
                  </a:lnTo>
                  <a:lnTo>
                    <a:pt x="336" y="559"/>
                  </a:lnTo>
                  <a:lnTo>
                    <a:pt x="336" y="561"/>
                  </a:lnTo>
                  <a:lnTo>
                    <a:pt x="338" y="561"/>
                  </a:lnTo>
                  <a:lnTo>
                    <a:pt x="338" y="563"/>
                  </a:lnTo>
                  <a:lnTo>
                    <a:pt x="338" y="565"/>
                  </a:lnTo>
                  <a:lnTo>
                    <a:pt x="338" y="567"/>
                  </a:lnTo>
                  <a:lnTo>
                    <a:pt x="340" y="569"/>
                  </a:lnTo>
                  <a:lnTo>
                    <a:pt x="340" y="571"/>
                  </a:lnTo>
                  <a:lnTo>
                    <a:pt x="340" y="573"/>
                  </a:lnTo>
                  <a:lnTo>
                    <a:pt x="340" y="574"/>
                  </a:lnTo>
                  <a:lnTo>
                    <a:pt x="338" y="576"/>
                  </a:lnTo>
                  <a:lnTo>
                    <a:pt x="338" y="578"/>
                  </a:lnTo>
                  <a:lnTo>
                    <a:pt x="340" y="578"/>
                  </a:lnTo>
                  <a:lnTo>
                    <a:pt x="340" y="580"/>
                  </a:lnTo>
                  <a:lnTo>
                    <a:pt x="343" y="578"/>
                  </a:lnTo>
                  <a:lnTo>
                    <a:pt x="345" y="578"/>
                  </a:lnTo>
                  <a:lnTo>
                    <a:pt x="347" y="578"/>
                  </a:lnTo>
                  <a:lnTo>
                    <a:pt x="347" y="576"/>
                  </a:lnTo>
                  <a:lnTo>
                    <a:pt x="351" y="576"/>
                  </a:lnTo>
                  <a:lnTo>
                    <a:pt x="353" y="576"/>
                  </a:lnTo>
                  <a:lnTo>
                    <a:pt x="351" y="573"/>
                  </a:lnTo>
                  <a:lnTo>
                    <a:pt x="353" y="573"/>
                  </a:lnTo>
                  <a:lnTo>
                    <a:pt x="353" y="571"/>
                  </a:lnTo>
                  <a:lnTo>
                    <a:pt x="355" y="571"/>
                  </a:lnTo>
                  <a:lnTo>
                    <a:pt x="355" y="569"/>
                  </a:lnTo>
                  <a:lnTo>
                    <a:pt x="353" y="569"/>
                  </a:lnTo>
                  <a:lnTo>
                    <a:pt x="351" y="567"/>
                  </a:lnTo>
                  <a:lnTo>
                    <a:pt x="351" y="565"/>
                  </a:lnTo>
                  <a:lnTo>
                    <a:pt x="351" y="563"/>
                  </a:lnTo>
                  <a:lnTo>
                    <a:pt x="349" y="563"/>
                  </a:lnTo>
                  <a:lnTo>
                    <a:pt x="349" y="561"/>
                  </a:lnTo>
                  <a:lnTo>
                    <a:pt x="349" y="559"/>
                  </a:lnTo>
                  <a:lnTo>
                    <a:pt x="351" y="559"/>
                  </a:lnTo>
                  <a:lnTo>
                    <a:pt x="349" y="559"/>
                  </a:lnTo>
                  <a:lnTo>
                    <a:pt x="347" y="559"/>
                  </a:lnTo>
                  <a:lnTo>
                    <a:pt x="347" y="557"/>
                  </a:lnTo>
                  <a:lnTo>
                    <a:pt x="347" y="555"/>
                  </a:lnTo>
                  <a:lnTo>
                    <a:pt x="347" y="553"/>
                  </a:lnTo>
                  <a:lnTo>
                    <a:pt x="347" y="551"/>
                  </a:lnTo>
                  <a:lnTo>
                    <a:pt x="349" y="551"/>
                  </a:lnTo>
                  <a:lnTo>
                    <a:pt x="351" y="553"/>
                  </a:lnTo>
                  <a:lnTo>
                    <a:pt x="353" y="553"/>
                  </a:lnTo>
                  <a:lnTo>
                    <a:pt x="355" y="553"/>
                  </a:lnTo>
                  <a:lnTo>
                    <a:pt x="355" y="551"/>
                  </a:lnTo>
                  <a:lnTo>
                    <a:pt x="353" y="551"/>
                  </a:lnTo>
                  <a:lnTo>
                    <a:pt x="355" y="551"/>
                  </a:lnTo>
                  <a:lnTo>
                    <a:pt x="353" y="551"/>
                  </a:lnTo>
                  <a:lnTo>
                    <a:pt x="355" y="551"/>
                  </a:lnTo>
                  <a:lnTo>
                    <a:pt x="353" y="551"/>
                  </a:lnTo>
                  <a:lnTo>
                    <a:pt x="355" y="551"/>
                  </a:lnTo>
                  <a:lnTo>
                    <a:pt x="355" y="550"/>
                  </a:lnTo>
                  <a:lnTo>
                    <a:pt x="355" y="551"/>
                  </a:lnTo>
                  <a:lnTo>
                    <a:pt x="355" y="550"/>
                  </a:lnTo>
                  <a:lnTo>
                    <a:pt x="357" y="548"/>
                  </a:lnTo>
                  <a:lnTo>
                    <a:pt x="359" y="548"/>
                  </a:lnTo>
                  <a:lnTo>
                    <a:pt x="359" y="546"/>
                  </a:lnTo>
                  <a:lnTo>
                    <a:pt x="359" y="544"/>
                  </a:lnTo>
                  <a:lnTo>
                    <a:pt x="357" y="544"/>
                  </a:lnTo>
                  <a:lnTo>
                    <a:pt x="357" y="542"/>
                  </a:lnTo>
                  <a:lnTo>
                    <a:pt x="357" y="540"/>
                  </a:lnTo>
                  <a:lnTo>
                    <a:pt x="355" y="540"/>
                  </a:lnTo>
                  <a:lnTo>
                    <a:pt x="355" y="538"/>
                  </a:lnTo>
                  <a:lnTo>
                    <a:pt x="355" y="536"/>
                  </a:lnTo>
                  <a:lnTo>
                    <a:pt x="353" y="536"/>
                  </a:lnTo>
                  <a:lnTo>
                    <a:pt x="353" y="534"/>
                  </a:lnTo>
                  <a:lnTo>
                    <a:pt x="353" y="532"/>
                  </a:lnTo>
                  <a:lnTo>
                    <a:pt x="353" y="530"/>
                  </a:lnTo>
                  <a:lnTo>
                    <a:pt x="351" y="530"/>
                  </a:lnTo>
                  <a:lnTo>
                    <a:pt x="351" y="528"/>
                  </a:lnTo>
                  <a:lnTo>
                    <a:pt x="353" y="528"/>
                  </a:lnTo>
                  <a:lnTo>
                    <a:pt x="355" y="528"/>
                  </a:lnTo>
                  <a:lnTo>
                    <a:pt x="355" y="526"/>
                  </a:lnTo>
                  <a:lnTo>
                    <a:pt x="355" y="528"/>
                  </a:lnTo>
                  <a:lnTo>
                    <a:pt x="355" y="526"/>
                  </a:lnTo>
                  <a:lnTo>
                    <a:pt x="357" y="526"/>
                  </a:lnTo>
                  <a:lnTo>
                    <a:pt x="355" y="526"/>
                  </a:lnTo>
                  <a:lnTo>
                    <a:pt x="357" y="525"/>
                  </a:lnTo>
                  <a:lnTo>
                    <a:pt x="355" y="525"/>
                  </a:lnTo>
                  <a:lnTo>
                    <a:pt x="353" y="525"/>
                  </a:lnTo>
                  <a:lnTo>
                    <a:pt x="353" y="523"/>
                  </a:lnTo>
                  <a:lnTo>
                    <a:pt x="355" y="523"/>
                  </a:lnTo>
                  <a:lnTo>
                    <a:pt x="355" y="521"/>
                  </a:lnTo>
                  <a:lnTo>
                    <a:pt x="355" y="519"/>
                  </a:lnTo>
                  <a:lnTo>
                    <a:pt x="357" y="519"/>
                  </a:lnTo>
                  <a:lnTo>
                    <a:pt x="361" y="519"/>
                  </a:lnTo>
                  <a:lnTo>
                    <a:pt x="361" y="521"/>
                  </a:lnTo>
                  <a:lnTo>
                    <a:pt x="363" y="521"/>
                  </a:lnTo>
                  <a:lnTo>
                    <a:pt x="365" y="521"/>
                  </a:lnTo>
                  <a:lnTo>
                    <a:pt x="366" y="521"/>
                  </a:lnTo>
                  <a:lnTo>
                    <a:pt x="366" y="523"/>
                  </a:lnTo>
                  <a:lnTo>
                    <a:pt x="368" y="523"/>
                  </a:lnTo>
                  <a:lnTo>
                    <a:pt x="368" y="525"/>
                  </a:lnTo>
                  <a:lnTo>
                    <a:pt x="370" y="525"/>
                  </a:lnTo>
                  <a:lnTo>
                    <a:pt x="372" y="525"/>
                  </a:lnTo>
                  <a:lnTo>
                    <a:pt x="372" y="526"/>
                  </a:lnTo>
                  <a:lnTo>
                    <a:pt x="374" y="526"/>
                  </a:lnTo>
                  <a:lnTo>
                    <a:pt x="376" y="525"/>
                  </a:lnTo>
                  <a:lnTo>
                    <a:pt x="378" y="525"/>
                  </a:lnTo>
                  <a:lnTo>
                    <a:pt x="378" y="523"/>
                  </a:lnTo>
                  <a:lnTo>
                    <a:pt x="378" y="521"/>
                  </a:lnTo>
                  <a:lnTo>
                    <a:pt x="376" y="521"/>
                  </a:lnTo>
                  <a:lnTo>
                    <a:pt x="376" y="519"/>
                  </a:lnTo>
                  <a:lnTo>
                    <a:pt x="378" y="519"/>
                  </a:lnTo>
                  <a:lnTo>
                    <a:pt x="378" y="517"/>
                  </a:lnTo>
                  <a:lnTo>
                    <a:pt x="378" y="515"/>
                  </a:lnTo>
                  <a:lnTo>
                    <a:pt x="378" y="513"/>
                  </a:lnTo>
                  <a:lnTo>
                    <a:pt x="380" y="513"/>
                  </a:lnTo>
                  <a:lnTo>
                    <a:pt x="382" y="513"/>
                  </a:lnTo>
                  <a:lnTo>
                    <a:pt x="384" y="515"/>
                  </a:lnTo>
                  <a:lnTo>
                    <a:pt x="382" y="515"/>
                  </a:lnTo>
                  <a:lnTo>
                    <a:pt x="384" y="517"/>
                  </a:lnTo>
                  <a:lnTo>
                    <a:pt x="386" y="517"/>
                  </a:lnTo>
                  <a:lnTo>
                    <a:pt x="388" y="519"/>
                  </a:lnTo>
                  <a:lnTo>
                    <a:pt x="389" y="519"/>
                  </a:lnTo>
                  <a:lnTo>
                    <a:pt x="389" y="517"/>
                  </a:lnTo>
                  <a:lnTo>
                    <a:pt x="391" y="519"/>
                  </a:lnTo>
                  <a:lnTo>
                    <a:pt x="393" y="519"/>
                  </a:lnTo>
                  <a:lnTo>
                    <a:pt x="395" y="519"/>
                  </a:lnTo>
                  <a:lnTo>
                    <a:pt x="395" y="517"/>
                  </a:lnTo>
                  <a:lnTo>
                    <a:pt x="395" y="515"/>
                  </a:lnTo>
                  <a:lnTo>
                    <a:pt x="397" y="515"/>
                  </a:lnTo>
                  <a:lnTo>
                    <a:pt x="397" y="513"/>
                  </a:lnTo>
                  <a:lnTo>
                    <a:pt x="397" y="511"/>
                  </a:lnTo>
                  <a:lnTo>
                    <a:pt x="395" y="511"/>
                  </a:lnTo>
                  <a:lnTo>
                    <a:pt x="397" y="509"/>
                  </a:lnTo>
                  <a:lnTo>
                    <a:pt x="399" y="509"/>
                  </a:lnTo>
                  <a:lnTo>
                    <a:pt x="401" y="507"/>
                  </a:lnTo>
                  <a:lnTo>
                    <a:pt x="401" y="509"/>
                  </a:lnTo>
                  <a:lnTo>
                    <a:pt x="403" y="509"/>
                  </a:lnTo>
                  <a:lnTo>
                    <a:pt x="403" y="511"/>
                  </a:lnTo>
                  <a:lnTo>
                    <a:pt x="405" y="511"/>
                  </a:lnTo>
                  <a:lnTo>
                    <a:pt x="407" y="511"/>
                  </a:lnTo>
                  <a:lnTo>
                    <a:pt x="409" y="511"/>
                  </a:lnTo>
                  <a:lnTo>
                    <a:pt x="409" y="509"/>
                  </a:lnTo>
                  <a:lnTo>
                    <a:pt x="409" y="507"/>
                  </a:lnTo>
                  <a:lnTo>
                    <a:pt x="411" y="507"/>
                  </a:lnTo>
                  <a:lnTo>
                    <a:pt x="411" y="505"/>
                  </a:lnTo>
                  <a:lnTo>
                    <a:pt x="409" y="505"/>
                  </a:lnTo>
                  <a:lnTo>
                    <a:pt x="409" y="503"/>
                  </a:lnTo>
                  <a:lnTo>
                    <a:pt x="407" y="503"/>
                  </a:lnTo>
                  <a:lnTo>
                    <a:pt x="405" y="503"/>
                  </a:lnTo>
                  <a:lnTo>
                    <a:pt x="405" y="502"/>
                  </a:lnTo>
                  <a:lnTo>
                    <a:pt x="403" y="502"/>
                  </a:lnTo>
                  <a:lnTo>
                    <a:pt x="403" y="500"/>
                  </a:lnTo>
                  <a:lnTo>
                    <a:pt x="405" y="500"/>
                  </a:lnTo>
                  <a:lnTo>
                    <a:pt x="405" y="498"/>
                  </a:lnTo>
                  <a:lnTo>
                    <a:pt x="405" y="496"/>
                  </a:lnTo>
                  <a:lnTo>
                    <a:pt x="403" y="496"/>
                  </a:lnTo>
                  <a:lnTo>
                    <a:pt x="403" y="494"/>
                  </a:lnTo>
                  <a:lnTo>
                    <a:pt x="401" y="494"/>
                  </a:lnTo>
                  <a:lnTo>
                    <a:pt x="401" y="492"/>
                  </a:lnTo>
                  <a:lnTo>
                    <a:pt x="399" y="492"/>
                  </a:lnTo>
                  <a:lnTo>
                    <a:pt x="399" y="490"/>
                  </a:lnTo>
                  <a:lnTo>
                    <a:pt x="399" y="488"/>
                  </a:lnTo>
                  <a:lnTo>
                    <a:pt x="397" y="488"/>
                  </a:lnTo>
                  <a:lnTo>
                    <a:pt x="395" y="486"/>
                  </a:lnTo>
                  <a:lnTo>
                    <a:pt x="393" y="484"/>
                  </a:lnTo>
                  <a:lnTo>
                    <a:pt x="391" y="482"/>
                  </a:lnTo>
                  <a:lnTo>
                    <a:pt x="391" y="480"/>
                  </a:lnTo>
                  <a:lnTo>
                    <a:pt x="393" y="480"/>
                  </a:lnTo>
                  <a:lnTo>
                    <a:pt x="393" y="478"/>
                  </a:lnTo>
                  <a:lnTo>
                    <a:pt x="393" y="477"/>
                  </a:lnTo>
                  <a:lnTo>
                    <a:pt x="391" y="477"/>
                  </a:lnTo>
                  <a:lnTo>
                    <a:pt x="393" y="475"/>
                  </a:lnTo>
                  <a:lnTo>
                    <a:pt x="393" y="473"/>
                  </a:lnTo>
                  <a:lnTo>
                    <a:pt x="393" y="471"/>
                  </a:lnTo>
                  <a:lnTo>
                    <a:pt x="395" y="471"/>
                  </a:lnTo>
                  <a:lnTo>
                    <a:pt x="397" y="473"/>
                  </a:lnTo>
                  <a:lnTo>
                    <a:pt x="397" y="471"/>
                  </a:lnTo>
                  <a:lnTo>
                    <a:pt x="395" y="471"/>
                  </a:lnTo>
                  <a:lnTo>
                    <a:pt x="395" y="469"/>
                  </a:lnTo>
                  <a:lnTo>
                    <a:pt x="393" y="469"/>
                  </a:lnTo>
                  <a:lnTo>
                    <a:pt x="393" y="467"/>
                  </a:lnTo>
                  <a:lnTo>
                    <a:pt x="391" y="467"/>
                  </a:lnTo>
                  <a:lnTo>
                    <a:pt x="391" y="465"/>
                  </a:lnTo>
                  <a:lnTo>
                    <a:pt x="391" y="463"/>
                  </a:lnTo>
                  <a:lnTo>
                    <a:pt x="391" y="465"/>
                  </a:lnTo>
                  <a:lnTo>
                    <a:pt x="391" y="463"/>
                  </a:lnTo>
                  <a:lnTo>
                    <a:pt x="393" y="463"/>
                  </a:lnTo>
                  <a:lnTo>
                    <a:pt x="395" y="463"/>
                  </a:lnTo>
                  <a:lnTo>
                    <a:pt x="395" y="461"/>
                  </a:lnTo>
                  <a:lnTo>
                    <a:pt x="397" y="461"/>
                  </a:lnTo>
                  <a:lnTo>
                    <a:pt x="397" y="459"/>
                  </a:lnTo>
                  <a:lnTo>
                    <a:pt x="399" y="459"/>
                  </a:lnTo>
                  <a:lnTo>
                    <a:pt x="397" y="459"/>
                  </a:lnTo>
                  <a:lnTo>
                    <a:pt x="397" y="457"/>
                  </a:lnTo>
                  <a:lnTo>
                    <a:pt x="397" y="455"/>
                  </a:lnTo>
                  <a:lnTo>
                    <a:pt x="397" y="457"/>
                  </a:lnTo>
                  <a:lnTo>
                    <a:pt x="399" y="457"/>
                  </a:lnTo>
                  <a:lnTo>
                    <a:pt x="399" y="459"/>
                  </a:lnTo>
                  <a:lnTo>
                    <a:pt x="399" y="457"/>
                  </a:lnTo>
                  <a:lnTo>
                    <a:pt x="401" y="457"/>
                  </a:lnTo>
                  <a:lnTo>
                    <a:pt x="399" y="455"/>
                  </a:lnTo>
                  <a:lnTo>
                    <a:pt x="401" y="455"/>
                  </a:lnTo>
                  <a:lnTo>
                    <a:pt x="403" y="455"/>
                  </a:lnTo>
                  <a:lnTo>
                    <a:pt x="403" y="454"/>
                  </a:lnTo>
                  <a:lnTo>
                    <a:pt x="405" y="454"/>
                  </a:lnTo>
                  <a:lnTo>
                    <a:pt x="407" y="454"/>
                  </a:lnTo>
                  <a:lnTo>
                    <a:pt x="409" y="454"/>
                  </a:lnTo>
                  <a:lnTo>
                    <a:pt x="411" y="454"/>
                  </a:lnTo>
                  <a:lnTo>
                    <a:pt x="411" y="452"/>
                  </a:lnTo>
                  <a:lnTo>
                    <a:pt x="413" y="452"/>
                  </a:lnTo>
                  <a:lnTo>
                    <a:pt x="414" y="452"/>
                  </a:lnTo>
                  <a:lnTo>
                    <a:pt x="416" y="452"/>
                  </a:lnTo>
                  <a:lnTo>
                    <a:pt x="416" y="450"/>
                  </a:lnTo>
                  <a:lnTo>
                    <a:pt x="414" y="450"/>
                  </a:lnTo>
                  <a:lnTo>
                    <a:pt x="416" y="450"/>
                  </a:lnTo>
                  <a:lnTo>
                    <a:pt x="414" y="450"/>
                  </a:lnTo>
                  <a:lnTo>
                    <a:pt x="414" y="448"/>
                  </a:lnTo>
                  <a:lnTo>
                    <a:pt x="416" y="448"/>
                  </a:lnTo>
                  <a:lnTo>
                    <a:pt x="414" y="448"/>
                  </a:lnTo>
                  <a:lnTo>
                    <a:pt x="414" y="446"/>
                  </a:lnTo>
                  <a:lnTo>
                    <a:pt x="414" y="444"/>
                  </a:lnTo>
                  <a:lnTo>
                    <a:pt x="414" y="442"/>
                  </a:lnTo>
                  <a:lnTo>
                    <a:pt x="414" y="440"/>
                  </a:lnTo>
                  <a:lnTo>
                    <a:pt x="414" y="438"/>
                  </a:lnTo>
                  <a:lnTo>
                    <a:pt x="413" y="438"/>
                  </a:lnTo>
                  <a:lnTo>
                    <a:pt x="413" y="436"/>
                  </a:lnTo>
                  <a:lnTo>
                    <a:pt x="411" y="436"/>
                  </a:lnTo>
                  <a:lnTo>
                    <a:pt x="411" y="434"/>
                  </a:lnTo>
                  <a:lnTo>
                    <a:pt x="409" y="434"/>
                  </a:lnTo>
                  <a:lnTo>
                    <a:pt x="409" y="432"/>
                  </a:lnTo>
                  <a:lnTo>
                    <a:pt x="407" y="432"/>
                  </a:lnTo>
                  <a:lnTo>
                    <a:pt x="405" y="432"/>
                  </a:lnTo>
                  <a:lnTo>
                    <a:pt x="403" y="432"/>
                  </a:lnTo>
                  <a:lnTo>
                    <a:pt x="403" y="430"/>
                  </a:lnTo>
                  <a:lnTo>
                    <a:pt x="403" y="429"/>
                  </a:lnTo>
                  <a:lnTo>
                    <a:pt x="401" y="429"/>
                  </a:lnTo>
                  <a:lnTo>
                    <a:pt x="399" y="429"/>
                  </a:lnTo>
                  <a:lnTo>
                    <a:pt x="397" y="429"/>
                  </a:lnTo>
                  <a:lnTo>
                    <a:pt x="395" y="427"/>
                  </a:lnTo>
                  <a:lnTo>
                    <a:pt x="393" y="427"/>
                  </a:lnTo>
                  <a:lnTo>
                    <a:pt x="391" y="425"/>
                  </a:lnTo>
                  <a:lnTo>
                    <a:pt x="389" y="425"/>
                  </a:lnTo>
                  <a:lnTo>
                    <a:pt x="389" y="427"/>
                  </a:lnTo>
                  <a:lnTo>
                    <a:pt x="391" y="427"/>
                  </a:lnTo>
                  <a:close/>
                  <a:moveTo>
                    <a:pt x="443" y="27"/>
                  </a:moveTo>
                  <a:lnTo>
                    <a:pt x="445" y="27"/>
                  </a:lnTo>
                  <a:lnTo>
                    <a:pt x="447" y="27"/>
                  </a:lnTo>
                  <a:lnTo>
                    <a:pt x="449" y="29"/>
                  </a:lnTo>
                  <a:lnTo>
                    <a:pt x="451" y="29"/>
                  </a:lnTo>
                  <a:lnTo>
                    <a:pt x="453" y="29"/>
                  </a:lnTo>
                  <a:lnTo>
                    <a:pt x="453" y="31"/>
                  </a:lnTo>
                  <a:lnTo>
                    <a:pt x="453" y="33"/>
                  </a:lnTo>
                  <a:lnTo>
                    <a:pt x="453" y="35"/>
                  </a:lnTo>
                  <a:lnTo>
                    <a:pt x="451" y="35"/>
                  </a:lnTo>
                  <a:lnTo>
                    <a:pt x="453" y="35"/>
                  </a:lnTo>
                  <a:lnTo>
                    <a:pt x="453" y="37"/>
                  </a:lnTo>
                  <a:lnTo>
                    <a:pt x="453" y="35"/>
                  </a:lnTo>
                  <a:lnTo>
                    <a:pt x="451" y="35"/>
                  </a:lnTo>
                  <a:lnTo>
                    <a:pt x="451" y="37"/>
                  </a:lnTo>
                  <a:lnTo>
                    <a:pt x="451" y="39"/>
                  </a:lnTo>
                  <a:lnTo>
                    <a:pt x="451" y="41"/>
                  </a:lnTo>
                  <a:lnTo>
                    <a:pt x="449" y="41"/>
                  </a:lnTo>
                  <a:lnTo>
                    <a:pt x="447" y="39"/>
                  </a:lnTo>
                  <a:lnTo>
                    <a:pt x="445" y="39"/>
                  </a:lnTo>
                  <a:lnTo>
                    <a:pt x="443" y="39"/>
                  </a:lnTo>
                  <a:lnTo>
                    <a:pt x="443" y="37"/>
                  </a:lnTo>
                  <a:lnTo>
                    <a:pt x="441" y="37"/>
                  </a:lnTo>
                  <a:lnTo>
                    <a:pt x="439" y="37"/>
                  </a:lnTo>
                  <a:lnTo>
                    <a:pt x="437" y="37"/>
                  </a:lnTo>
                  <a:lnTo>
                    <a:pt x="436" y="35"/>
                  </a:lnTo>
                  <a:lnTo>
                    <a:pt x="434" y="35"/>
                  </a:lnTo>
                  <a:lnTo>
                    <a:pt x="432" y="35"/>
                  </a:lnTo>
                  <a:lnTo>
                    <a:pt x="430" y="35"/>
                  </a:lnTo>
                  <a:lnTo>
                    <a:pt x="430" y="33"/>
                  </a:lnTo>
                  <a:lnTo>
                    <a:pt x="428" y="33"/>
                  </a:lnTo>
                  <a:lnTo>
                    <a:pt x="426" y="33"/>
                  </a:lnTo>
                  <a:lnTo>
                    <a:pt x="424" y="33"/>
                  </a:lnTo>
                  <a:lnTo>
                    <a:pt x="422" y="33"/>
                  </a:lnTo>
                  <a:lnTo>
                    <a:pt x="420" y="33"/>
                  </a:lnTo>
                  <a:lnTo>
                    <a:pt x="418" y="33"/>
                  </a:lnTo>
                  <a:lnTo>
                    <a:pt x="416" y="31"/>
                  </a:lnTo>
                  <a:lnTo>
                    <a:pt x="416" y="33"/>
                  </a:lnTo>
                  <a:lnTo>
                    <a:pt x="414" y="33"/>
                  </a:lnTo>
                  <a:lnTo>
                    <a:pt x="411" y="35"/>
                  </a:lnTo>
                  <a:lnTo>
                    <a:pt x="409" y="35"/>
                  </a:lnTo>
                  <a:lnTo>
                    <a:pt x="407" y="33"/>
                  </a:lnTo>
                  <a:lnTo>
                    <a:pt x="405" y="33"/>
                  </a:lnTo>
                  <a:lnTo>
                    <a:pt x="405" y="35"/>
                  </a:lnTo>
                  <a:lnTo>
                    <a:pt x="403" y="35"/>
                  </a:lnTo>
                  <a:lnTo>
                    <a:pt x="403" y="33"/>
                  </a:lnTo>
                  <a:lnTo>
                    <a:pt x="403" y="31"/>
                  </a:lnTo>
                  <a:lnTo>
                    <a:pt x="401" y="31"/>
                  </a:lnTo>
                  <a:lnTo>
                    <a:pt x="403" y="33"/>
                  </a:lnTo>
                  <a:lnTo>
                    <a:pt x="401" y="33"/>
                  </a:lnTo>
                  <a:lnTo>
                    <a:pt x="399" y="33"/>
                  </a:lnTo>
                  <a:lnTo>
                    <a:pt x="399" y="31"/>
                  </a:lnTo>
                  <a:lnTo>
                    <a:pt x="401" y="31"/>
                  </a:lnTo>
                  <a:lnTo>
                    <a:pt x="401" y="29"/>
                  </a:lnTo>
                  <a:lnTo>
                    <a:pt x="405" y="29"/>
                  </a:lnTo>
                  <a:lnTo>
                    <a:pt x="405" y="31"/>
                  </a:lnTo>
                  <a:lnTo>
                    <a:pt x="405" y="33"/>
                  </a:lnTo>
                  <a:lnTo>
                    <a:pt x="407" y="33"/>
                  </a:lnTo>
                  <a:lnTo>
                    <a:pt x="409" y="35"/>
                  </a:lnTo>
                  <a:lnTo>
                    <a:pt x="411" y="35"/>
                  </a:lnTo>
                  <a:lnTo>
                    <a:pt x="413" y="33"/>
                  </a:lnTo>
                  <a:lnTo>
                    <a:pt x="414" y="33"/>
                  </a:lnTo>
                  <a:lnTo>
                    <a:pt x="416" y="31"/>
                  </a:lnTo>
                  <a:lnTo>
                    <a:pt x="420" y="31"/>
                  </a:lnTo>
                  <a:lnTo>
                    <a:pt x="422" y="31"/>
                  </a:lnTo>
                  <a:lnTo>
                    <a:pt x="422" y="29"/>
                  </a:lnTo>
                  <a:lnTo>
                    <a:pt x="424" y="29"/>
                  </a:lnTo>
                  <a:lnTo>
                    <a:pt x="426" y="29"/>
                  </a:lnTo>
                  <a:lnTo>
                    <a:pt x="428" y="29"/>
                  </a:lnTo>
                  <a:lnTo>
                    <a:pt x="428" y="31"/>
                  </a:lnTo>
                  <a:lnTo>
                    <a:pt x="430" y="31"/>
                  </a:lnTo>
                  <a:lnTo>
                    <a:pt x="432" y="31"/>
                  </a:lnTo>
                  <a:lnTo>
                    <a:pt x="434" y="31"/>
                  </a:lnTo>
                  <a:lnTo>
                    <a:pt x="434" y="29"/>
                  </a:lnTo>
                  <a:lnTo>
                    <a:pt x="434" y="27"/>
                  </a:lnTo>
                  <a:lnTo>
                    <a:pt x="434" y="25"/>
                  </a:lnTo>
                  <a:lnTo>
                    <a:pt x="434" y="22"/>
                  </a:lnTo>
                  <a:lnTo>
                    <a:pt x="436" y="22"/>
                  </a:lnTo>
                  <a:lnTo>
                    <a:pt x="437" y="22"/>
                  </a:lnTo>
                  <a:lnTo>
                    <a:pt x="437" y="23"/>
                  </a:lnTo>
                  <a:lnTo>
                    <a:pt x="439" y="23"/>
                  </a:lnTo>
                  <a:lnTo>
                    <a:pt x="439" y="25"/>
                  </a:lnTo>
                  <a:lnTo>
                    <a:pt x="439" y="27"/>
                  </a:lnTo>
                  <a:lnTo>
                    <a:pt x="441" y="27"/>
                  </a:lnTo>
                  <a:lnTo>
                    <a:pt x="443" y="27"/>
                  </a:lnTo>
                  <a:close/>
                </a:path>
              </a:pathLst>
            </a:custGeom>
            <a:solidFill>
              <a:srgbClr val="D9D9D9"/>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54" name="Freeform 156">
              <a:extLst>
                <a:ext uri="{FF2B5EF4-FFF2-40B4-BE49-F238E27FC236}">
                  <a16:creationId xmlns:a16="http://schemas.microsoft.com/office/drawing/2014/main" id="{A854EAFE-BA73-4ABD-B0FB-99895C64DDAC}"/>
                </a:ext>
              </a:extLst>
            </p:cNvPr>
            <p:cNvSpPr>
              <a:spLocks/>
            </p:cNvSpPr>
            <p:nvPr/>
          </p:nvSpPr>
          <p:spPr bwMode="auto">
            <a:xfrm>
              <a:off x="9017097" y="3011016"/>
              <a:ext cx="973514" cy="1412783"/>
            </a:xfrm>
            <a:custGeom>
              <a:avLst/>
              <a:gdLst>
                <a:gd name="T0" fmla="*/ 178 w 656"/>
                <a:gd name="T1" fmla="*/ 46 h 952"/>
                <a:gd name="T2" fmla="*/ 232 w 656"/>
                <a:gd name="T3" fmla="*/ 38 h 952"/>
                <a:gd name="T4" fmla="*/ 259 w 656"/>
                <a:gd name="T5" fmla="*/ 86 h 952"/>
                <a:gd name="T6" fmla="*/ 295 w 656"/>
                <a:gd name="T7" fmla="*/ 107 h 952"/>
                <a:gd name="T8" fmla="*/ 330 w 656"/>
                <a:gd name="T9" fmla="*/ 115 h 952"/>
                <a:gd name="T10" fmla="*/ 372 w 656"/>
                <a:gd name="T11" fmla="*/ 90 h 952"/>
                <a:gd name="T12" fmla="*/ 401 w 656"/>
                <a:gd name="T13" fmla="*/ 142 h 952"/>
                <a:gd name="T14" fmla="*/ 464 w 656"/>
                <a:gd name="T15" fmla="*/ 148 h 952"/>
                <a:gd name="T16" fmla="*/ 495 w 656"/>
                <a:gd name="T17" fmla="*/ 194 h 952"/>
                <a:gd name="T18" fmla="*/ 545 w 656"/>
                <a:gd name="T19" fmla="*/ 221 h 952"/>
                <a:gd name="T20" fmla="*/ 601 w 656"/>
                <a:gd name="T21" fmla="*/ 203 h 952"/>
                <a:gd name="T22" fmla="*/ 630 w 656"/>
                <a:gd name="T23" fmla="*/ 222 h 952"/>
                <a:gd name="T24" fmla="*/ 605 w 656"/>
                <a:gd name="T25" fmla="*/ 269 h 952"/>
                <a:gd name="T26" fmla="*/ 647 w 656"/>
                <a:gd name="T27" fmla="*/ 322 h 952"/>
                <a:gd name="T28" fmla="*/ 628 w 656"/>
                <a:gd name="T29" fmla="*/ 359 h 952"/>
                <a:gd name="T30" fmla="*/ 591 w 656"/>
                <a:gd name="T31" fmla="*/ 401 h 952"/>
                <a:gd name="T32" fmla="*/ 555 w 656"/>
                <a:gd name="T33" fmla="*/ 432 h 952"/>
                <a:gd name="T34" fmla="*/ 509 w 656"/>
                <a:gd name="T35" fmla="*/ 445 h 952"/>
                <a:gd name="T36" fmla="*/ 522 w 656"/>
                <a:gd name="T37" fmla="*/ 464 h 952"/>
                <a:gd name="T38" fmla="*/ 536 w 656"/>
                <a:gd name="T39" fmla="*/ 493 h 952"/>
                <a:gd name="T40" fmla="*/ 578 w 656"/>
                <a:gd name="T41" fmla="*/ 505 h 952"/>
                <a:gd name="T42" fmla="*/ 614 w 656"/>
                <a:gd name="T43" fmla="*/ 505 h 952"/>
                <a:gd name="T44" fmla="*/ 557 w 656"/>
                <a:gd name="T45" fmla="*/ 530 h 952"/>
                <a:gd name="T46" fmla="*/ 528 w 656"/>
                <a:gd name="T47" fmla="*/ 557 h 952"/>
                <a:gd name="T48" fmla="*/ 518 w 656"/>
                <a:gd name="T49" fmla="*/ 585 h 952"/>
                <a:gd name="T50" fmla="*/ 505 w 656"/>
                <a:gd name="T51" fmla="*/ 626 h 952"/>
                <a:gd name="T52" fmla="*/ 549 w 656"/>
                <a:gd name="T53" fmla="*/ 633 h 952"/>
                <a:gd name="T54" fmla="*/ 555 w 656"/>
                <a:gd name="T55" fmla="*/ 679 h 952"/>
                <a:gd name="T56" fmla="*/ 576 w 656"/>
                <a:gd name="T57" fmla="*/ 720 h 952"/>
                <a:gd name="T58" fmla="*/ 555 w 656"/>
                <a:gd name="T59" fmla="*/ 743 h 952"/>
                <a:gd name="T60" fmla="*/ 587 w 656"/>
                <a:gd name="T61" fmla="*/ 750 h 952"/>
                <a:gd name="T62" fmla="*/ 585 w 656"/>
                <a:gd name="T63" fmla="*/ 781 h 952"/>
                <a:gd name="T64" fmla="*/ 562 w 656"/>
                <a:gd name="T65" fmla="*/ 845 h 952"/>
                <a:gd name="T66" fmla="*/ 537 w 656"/>
                <a:gd name="T67" fmla="*/ 864 h 952"/>
                <a:gd name="T68" fmla="*/ 547 w 656"/>
                <a:gd name="T69" fmla="*/ 904 h 952"/>
                <a:gd name="T70" fmla="*/ 512 w 656"/>
                <a:gd name="T71" fmla="*/ 950 h 952"/>
                <a:gd name="T72" fmla="*/ 449 w 656"/>
                <a:gd name="T73" fmla="*/ 941 h 952"/>
                <a:gd name="T74" fmla="*/ 399 w 656"/>
                <a:gd name="T75" fmla="*/ 935 h 952"/>
                <a:gd name="T76" fmla="*/ 345 w 656"/>
                <a:gd name="T77" fmla="*/ 942 h 952"/>
                <a:gd name="T78" fmla="*/ 330 w 656"/>
                <a:gd name="T79" fmla="*/ 898 h 952"/>
                <a:gd name="T80" fmla="*/ 272 w 656"/>
                <a:gd name="T81" fmla="*/ 873 h 952"/>
                <a:gd name="T82" fmla="*/ 267 w 656"/>
                <a:gd name="T83" fmla="*/ 829 h 952"/>
                <a:gd name="T84" fmla="*/ 224 w 656"/>
                <a:gd name="T85" fmla="*/ 810 h 952"/>
                <a:gd name="T86" fmla="*/ 203 w 656"/>
                <a:gd name="T87" fmla="*/ 773 h 952"/>
                <a:gd name="T88" fmla="*/ 159 w 656"/>
                <a:gd name="T89" fmla="*/ 752 h 952"/>
                <a:gd name="T90" fmla="*/ 161 w 656"/>
                <a:gd name="T91" fmla="*/ 706 h 952"/>
                <a:gd name="T92" fmla="*/ 121 w 656"/>
                <a:gd name="T93" fmla="*/ 677 h 952"/>
                <a:gd name="T94" fmla="*/ 115 w 656"/>
                <a:gd name="T95" fmla="*/ 622 h 952"/>
                <a:gd name="T96" fmla="*/ 130 w 656"/>
                <a:gd name="T97" fmla="*/ 578 h 952"/>
                <a:gd name="T98" fmla="*/ 109 w 656"/>
                <a:gd name="T99" fmla="*/ 524 h 952"/>
                <a:gd name="T100" fmla="*/ 77 w 656"/>
                <a:gd name="T101" fmla="*/ 487 h 952"/>
                <a:gd name="T102" fmla="*/ 63 w 656"/>
                <a:gd name="T103" fmla="*/ 461 h 952"/>
                <a:gd name="T104" fmla="*/ 55 w 656"/>
                <a:gd name="T105" fmla="*/ 397 h 952"/>
                <a:gd name="T106" fmla="*/ 13 w 656"/>
                <a:gd name="T107" fmla="*/ 365 h 952"/>
                <a:gd name="T108" fmla="*/ 13 w 656"/>
                <a:gd name="T109" fmla="*/ 324 h 952"/>
                <a:gd name="T110" fmla="*/ 2 w 656"/>
                <a:gd name="T111" fmla="*/ 249 h 952"/>
                <a:gd name="T112" fmla="*/ 30 w 656"/>
                <a:gd name="T113" fmla="*/ 217 h 952"/>
                <a:gd name="T114" fmla="*/ 54 w 656"/>
                <a:gd name="T115" fmla="*/ 176 h 952"/>
                <a:gd name="T116" fmla="*/ 50 w 656"/>
                <a:gd name="T117" fmla="*/ 138 h 952"/>
                <a:gd name="T118" fmla="*/ 61 w 656"/>
                <a:gd name="T119" fmla="*/ 88 h 952"/>
                <a:gd name="T120" fmla="*/ 94 w 656"/>
                <a:gd name="T121" fmla="*/ 57 h 952"/>
                <a:gd name="T122" fmla="*/ 96 w 656"/>
                <a:gd name="T123" fmla="*/ 4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6" h="952">
                  <a:moveTo>
                    <a:pt x="138" y="7"/>
                  </a:moveTo>
                  <a:lnTo>
                    <a:pt x="138" y="9"/>
                  </a:lnTo>
                  <a:lnTo>
                    <a:pt x="138" y="11"/>
                  </a:lnTo>
                  <a:lnTo>
                    <a:pt x="138" y="13"/>
                  </a:lnTo>
                  <a:lnTo>
                    <a:pt x="140" y="15"/>
                  </a:lnTo>
                  <a:lnTo>
                    <a:pt x="142" y="19"/>
                  </a:lnTo>
                  <a:lnTo>
                    <a:pt x="142" y="21"/>
                  </a:lnTo>
                  <a:lnTo>
                    <a:pt x="144" y="23"/>
                  </a:lnTo>
                  <a:lnTo>
                    <a:pt x="144" y="25"/>
                  </a:lnTo>
                  <a:lnTo>
                    <a:pt x="144" y="27"/>
                  </a:lnTo>
                  <a:lnTo>
                    <a:pt x="144" y="29"/>
                  </a:lnTo>
                  <a:lnTo>
                    <a:pt x="144" y="30"/>
                  </a:lnTo>
                  <a:lnTo>
                    <a:pt x="144" y="32"/>
                  </a:lnTo>
                  <a:lnTo>
                    <a:pt x="144" y="34"/>
                  </a:lnTo>
                  <a:lnTo>
                    <a:pt x="142" y="34"/>
                  </a:lnTo>
                  <a:lnTo>
                    <a:pt x="144" y="36"/>
                  </a:lnTo>
                  <a:lnTo>
                    <a:pt x="146" y="36"/>
                  </a:lnTo>
                  <a:lnTo>
                    <a:pt x="148" y="38"/>
                  </a:lnTo>
                  <a:lnTo>
                    <a:pt x="150" y="38"/>
                  </a:lnTo>
                  <a:lnTo>
                    <a:pt x="151" y="40"/>
                  </a:lnTo>
                  <a:lnTo>
                    <a:pt x="153" y="40"/>
                  </a:lnTo>
                  <a:lnTo>
                    <a:pt x="155" y="42"/>
                  </a:lnTo>
                  <a:lnTo>
                    <a:pt x="157" y="44"/>
                  </a:lnTo>
                  <a:lnTo>
                    <a:pt x="161" y="46"/>
                  </a:lnTo>
                  <a:lnTo>
                    <a:pt x="161" y="44"/>
                  </a:lnTo>
                  <a:lnTo>
                    <a:pt x="163" y="42"/>
                  </a:lnTo>
                  <a:lnTo>
                    <a:pt x="163" y="40"/>
                  </a:lnTo>
                  <a:lnTo>
                    <a:pt x="165" y="40"/>
                  </a:lnTo>
                  <a:lnTo>
                    <a:pt x="165" y="38"/>
                  </a:lnTo>
                  <a:lnTo>
                    <a:pt x="167" y="38"/>
                  </a:lnTo>
                  <a:lnTo>
                    <a:pt x="169" y="38"/>
                  </a:lnTo>
                  <a:lnTo>
                    <a:pt x="171" y="38"/>
                  </a:lnTo>
                  <a:lnTo>
                    <a:pt x="171" y="40"/>
                  </a:lnTo>
                  <a:lnTo>
                    <a:pt x="173" y="40"/>
                  </a:lnTo>
                  <a:lnTo>
                    <a:pt x="175" y="40"/>
                  </a:lnTo>
                  <a:lnTo>
                    <a:pt x="175" y="42"/>
                  </a:lnTo>
                  <a:lnTo>
                    <a:pt x="175" y="46"/>
                  </a:lnTo>
                  <a:lnTo>
                    <a:pt x="178" y="46"/>
                  </a:lnTo>
                  <a:lnTo>
                    <a:pt x="178" y="48"/>
                  </a:lnTo>
                  <a:lnTo>
                    <a:pt x="178" y="50"/>
                  </a:lnTo>
                  <a:lnTo>
                    <a:pt x="178" y="52"/>
                  </a:lnTo>
                  <a:lnTo>
                    <a:pt x="180" y="52"/>
                  </a:lnTo>
                  <a:lnTo>
                    <a:pt x="180" y="54"/>
                  </a:lnTo>
                  <a:lnTo>
                    <a:pt x="182" y="54"/>
                  </a:lnTo>
                  <a:lnTo>
                    <a:pt x="184" y="54"/>
                  </a:lnTo>
                  <a:lnTo>
                    <a:pt x="186" y="54"/>
                  </a:lnTo>
                  <a:lnTo>
                    <a:pt x="188" y="54"/>
                  </a:lnTo>
                  <a:lnTo>
                    <a:pt x="190" y="55"/>
                  </a:lnTo>
                  <a:lnTo>
                    <a:pt x="192" y="55"/>
                  </a:lnTo>
                  <a:lnTo>
                    <a:pt x="194" y="54"/>
                  </a:lnTo>
                  <a:lnTo>
                    <a:pt x="196" y="54"/>
                  </a:lnTo>
                  <a:lnTo>
                    <a:pt x="198" y="52"/>
                  </a:lnTo>
                  <a:lnTo>
                    <a:pt x="199" y="52"/>
                  </a:lnTo>
                  <a:lnTo>
                    <a:pt x="201" y="50"/>
                  </a:lnTo>
                  <a:lnTo>
                    <a:pt x="203" y="50"/>
                  </a:lnTo>
                  <a:lnTo>
                    <a:pt x="205" y="48"/>
                  </a:lnTo>
                  <a:lnTo>
                    <a:pt x="207" y="48"/>
                  </a:lnTo>
                  <a:lnTo>
                    <a:pt x="209" y="48"/>
                  </a:lnTo>
                  <a:lnTo>
                    <a:pt x="211" y="48"/>
                  </a:lnTo>
                  <a:lnTo>
                    <a:pt x="213" y="48"/>
                  </a:lnTo>
                  <a:lnTo>
                    <a:pt x="215" y="50"/>
                  </a:lnTo>
                  <a:lnTo>
                    <a:pt x="217" y="50"/>
                  </a:lnTo>
                  <a:lnTo>
                    <a:pt x="219" y="52"/>
                  </a:lnTo>
                  <a:lnTo>
                    <a:pt x="223" y="57"/>
                  </a:lnTo>
                  <a:lnTo>
                    <a:pt x="224" y="55"/>
                  </a:lnTo>
                  <a:lnTo>
                    <a:pt x="226" y="54"/>
                  </a:lnTo>
                  <a:lnTo>
                    <a:pt x="226" y="52"/>
                  </a:lnTo>
                  <a:lnTo>
                    <a:pt x="228" y="52"/>
                  </a:lnTo>
                  <a:lnTo>
                    <a:pt x="228" y="50"/>
                  </a:lnTo>
                  <a:lnTo>
                    <a:pt x="232" y="50"/>
                  </a:lnTo>
                  <a:lnTo>
                    <a:pt x="232" y="48"/>
                  </a:lnTo>
                  <a:lnTo>
                    <a:pt x="232" y="46"/>
                  </a:lnTo>
                  <a:lnTo>
                    <a:pt x="232" y="44"/>
                  </a:lnTo>
                  <a:lnTo>
                    <a:pt x="232" y="42"/>
                  </a:lnTo>
                  <a:lnTo>
                    <a:pt x="232" y="40"/>
                  </a:lnTo>
                  <a:lnTo>
                    <a:pt x="232" y="38"/>
                  </a:lnTo>
                  <a:lnTo>
                    <a:pt x="232" y="36"/>
                  </a:lnTo>
                  <a:lnTo>
                    <a:pt x="234" y="34"/>
                  </a:lnTo>
                  <a:lnTo>
                    <a:pt x="234" y="36"/>
                  </a:lnTo>
                  <a:lnTo>
                    <a:pt x="236" y="36"/>
                  </a:lnTo>
                  <a:lnTo>
                    <a:pt x="236" y="38"/>
                  </a:lnTo>
                  <a:lnTo>
                    <a:pt x="238" y="38"/>
                  </a:lnTo>
                  <a:lnTo>
                    <a:pt x="238" y="40"/>
                  </a:lnTo>
                  <a:lnTo>
                    <a:pt x="238" y="42"/>
                  </a:lnTo>
                  <a:lnTo>
                    <a:pt x="240" y="42"/>
                  </a:lnTo>
                  <a:lnTo>
                    <a:pt x="242" y="44"/>
                  </a:lnTo>
                  <a:lnTo>
                    <a:pt x="242" y="46"/>
                  </a:lnTo>
                  <a:lnTo>
                    <a:pt x="240" y="46"/>
                  </a:lnTo>
                  <a:lnTo>
                    <a:pt x="238" y="48"/>
                  </a:lnTo>
                  <a:lnTo>
                    <a:pt x="238" y="50"/>
                  </a:lnTo>
                  <a:lnTo>
                    <a:pt x="236" y="52"/>
                  </a:lnTo>
                  <a:lnTo>
                    <a:pt x="234" y="54"/>
                  </a:lnTo>
                  <a:lnTo>
                    <a:pt x="234" y="55"/>
                  </a:lnTo>
                  <a:lnTo>
                    <a:pt x="234" y="57"/>
                  </a:lnTo>
                  <a:lnTo>
                    <a:pt x="234" y="59"/>
                  </a:lnTo>
                  <a:lnTo>
                    <a:pt x="234" y="61"/>
                  </a:lnTo>
                  <a:lnTo>
                    <a:pt x="236" y="63"/>
                  </a:lnTo>
                  <a:lnTo>
                    <a:pt x="236" y="65"/>
                  </a:lnTo>
                  <a:lnTo>
                    <a:pt x="238" y="67"/>
                  </a:lnTo>
                  <a:lnTo>
                    <a:pt x="240" y="67"/>
                  </a:lnTo>
                  <a:lnTo>
                    <a:pt x="244" y="69"/>
                  </a:lnTo>
                  <a:lnTo>
                    <a:pt x="244" y="71"/>
                  </a:lnTo>
                  <a:lnTo>
                    <a:pt x="246" y="73"/>
                  </a:lnTo>
                  <a:lnTo>
                    <a:pt x="246" y="75"/>
                  </a:lnTo>
                  <a:lnTo>
                    <a:pt x="246" y="77"/>
                  </a:lnTo>
                  <a:lnTo>
                    <a:pt x="246" y="78"/>
                  </a:lnTo>
                  <a:lnTo>
                    <a:pt x="247" y="78"/>
                  </a:lnTo>
                  <a:lnTo>
                    <a:pt x="247" y="80"/>
                  </a:lnTo>
                  <a:lnTo>
                    <a:pt x="249" y="80"/>
                  </a:lnTo>
                  <a:lnTo>
                    <a:pt x="249" y="82"/>
                  </a:lnTo>
                  <a:lnTo>
                    <a:pt x="251" y="82"/>
                  </a:lnTo>
                  <a:lnTo>
                    <a:pt x="255" y="82"/>
                  </a:lnTo>
                  <a:lnTo>
                    <a:pt x="257" y="84"/>
                  </a:lnTo>
                  <a:lnTo>
                    <a:pt x="259" y="86"/>
                  </a:lnTo>
                  <a:lnTo>
                    <a:pt x="259" y="88"/>
                  </a:lnTo>
                  <a:lnTo>
                    <a:pt x="261" y="88"/>
                  </a:lnTo>
                  <a:lnTo>
                    <a:pt x="261" y="90"/>
                  </a:lnTo>
                  <a:lnTo>
                    <a:pt x="263" y="90"/>
                  </a:lnTo>
                  <a:lnTo>
                    <a:pt x="263" y="88"/>
                  </a:lnTo>
                  <a:lnTo>
                    <a:pt x="265" y="88"/>
                  </a:lnTo>
                  <a:lnTo>
                    <a:pt x="267" y="88"/>
                  </a:lnTo>
                  <a:lnTo>
                    <a:pt x="269" y="88"/>
                  </a:lnTo>
                  <a:lnTo>
                    <a:pt x="271" y="90"/>
                  </a:lnTo>
                  <a:lnTo>
                    <a:pt x="272" y="90"/>
                  </a:lnTo>
                  <a:lnTo>
                    <a:pt x="274" y="92"/>
                  </a:lnTo>
                  <a:lnTo>
                    <a:pt x="274" y="94"/>
                  </a:lnTo>
                  <a:lnTo>
                    <a:pt x="274" y="96"/>
                  </a:lnTo>
                  <a:lnTo>
                    <a:pt x="276" y="96"/>
                  </a:lnTo>
                  <a:lnTo>
                    <a:pt x="278" y="96"/>
                  </a:lnTo>
                  <a:lnTo>
                    <a:pt x="278" y="94"/>
                  </a:lnTo>
                  <a:lnTo>
                    <a:pt x="280" y="94"/>
                  </a:lnTo>
                  <a:lnTo>
                    <a:pt x="282" y="94"/>
                  </a:lnTo>
                  <a:lnTo>
                    <a:pt x="282" y="96"/>
                  </a:lnTo>
                  <a:lnTo>
                    <a:pt x="284" y="96"/>
                  </a:lnTo>
                  <a:lnTo>
                    <a:pt x="284" y="94"/>
                  </a:lnTo>
                  <a:lnTo>
                    <a:pt x="286" y="94"/>
                  </a:lnTo>
                  <a:lnTo>
                    <a:pt x="288" y="94"/>
                  </a:lnTo>
                  <a:lnTo>
                    <a:pt x="290" y="94"/>
                  </a:lnTo>
                  <a:lnTo>
                    <a:pt x="292" y="94"/>
                  </a:lnTo>
                  <a:lnTo>
                    <a:pt x="292" y="96"/>
                  </a:lnTo>
                  <a:lnTo>
                    <a:pt x="294" y="96"/>
                  </a:lnTo>
                  <a:lnTo>
                    <a:pt x="294" y="98"/>
                  </a:lnTo>
                  <a:lnTo>
                    <a:pt x="295" y="98"/>
                  </a:lnTo>
                  <a:lnTo>
                    <a:pt x="297" y="98"/>
                  </a:lnTo>
                  <a:lnTo>
                    <a:pt x="295" y="98"/>
                  </a:lnTo>
                  <a:lnTo>
                    <a:pt x="295" y="100"/>
                  </a:lnTo>
                  <a:lnTo>
                    <a:pt x="295" y="102"/>
                  </a:lnTo>
                  <a:lnTo>
                    <a:pt x="294" y="102"/>
                  </a:lnTo>
                  <a:lnTo>
                    <a:pt x="294" y="103"/>
                  </a:lnTo>
                  <a:lnTo>
                    <a:pt x="295" y="103"/>
                  </a:lnTo>
                  <a:lnTo>
                    <a:pt x="295" y="105"/>
                  </a:lnTo>
                  <a:lnTo>
                    <a:pt x="295" y="107"/>
                  </a:lnTo>
                  <a:lnTo>
                    <a:pt x="295" y="109"/>
                  </a:lnTo>
                  <a:lnTo>
                    <a:pt x="295" y="111"/>
                  </a:lnTo>
                  <a:lnTo>
                    <a:pt x="294" y="111"/>
                  </a:lnTo>
                  <a:lnTo>
                    <a:pt x="294" y="113"/>
                  </a:lnTo>
                  <a:lnTo>
                    <a:pt x="294" y="115"/>
                  </a:lnTo>
                  <a:lnTo>
                    <a:pt x="295" y="115"/>
                  </a:lnTo>
                  <a:lnTo>
                    <a:pt x="295" y="117"/>
                  </a:lnTo>
                  <a:lnTo>
                    <a:pt x="297" y="117"/>
                  </a:lnTo>
                  <a:lnTo>
                    <a:pt x="295" y="117"/>
                  </a:lnTo>
                  <a:lnTo>
                    <a:pt x="295" y="119"/>
                  </a:lnTo>
                  <a:lnTo>
                    <a:pt x="297" y="119"/>
                  </a:lnTo>
                  <a:lnTo>
                    <a:pt x="297" y="121"/>
                  </a:lnTo>
                  <a:lnTo>
                    <a:pt x="299" y="121"/>
                  </a:lnTo>
                  <a:lnTo>
                    <a:pt x="299" y="123"/>
                  </a:lnTo>
                  <a:lnTo>
                    <a:pt x="299" y="125"/>
                  </a:lnTo>
                  <a:lnTo>
                    <a:pt x="301" y="125"/>
                  </a:lnTo>
                  <a:lnTo>
                    <a:pt x="301" y="123"/>
                  </a:lnTo>
                  <a:lnTo>
                    <a:pt x="303" y="123"/>
                  </a:lnTo>
                  <a:lnTo>
                    <a:pt x="305" y="123"/>
                  </a:lnTo>
                  <a:lnTo>
                    <a:pt x="305" y="125"/>
                  </a:lnTo>
                  <a:lnTo>
                    <a:pt x="305" y="123"/>
                  </a:lnTo>
                  <a:lnTo>
                    <a:pt x="307" y="123"/>
                  </a:lnTo>
                  <a:lnTo>
                    <a:pt x="309" y="121"/>
                  </a:lnTo>
                  <a:lnTo>
                    <a:pt x="311" y="121"/>
                  </a:lnTo>
                  <a:lnTo>
                    <a:pt x="311" y="119"/>
                  </a:lnTo>
                  <a:lnTo>
                    <a:pt x="313" y="119"/>
                  </a:lnTo>
                  <a:lnTo>
                    <a:pt x="315" y="119"/>
                  </a:lnTo>
                  <a:lnTo>
                    <a:pt x="317" y="119"/>
                  </a:lnTo>
                  <a:lnTo>
                    <a:pt x="319" y="117"/>
                  </a:lnTo>
                  <a:lnTo>
                    <a:pt x="320" y="117"/>
                  </a:lnTo>
                  <a:lnTo>
                    <a:pt x="320" y="115"/>
                  </a:lnTo>
                  <a:lnTo>
                    <a:pt x="322" y="115"/>
                  </a:lnTo>
                  <a:lnTo>
                    <a:pt x="324" y="115"/>
                  </a:lnTo>
                  <a:lnTo>
                    <a:pt x="324" y="113"/>
                  </a:lnTo>
                  <a:lnTo>
                    <a:pt x="326" y="113"/>
                  </a:lnTo>
                  <a:lnTo>
                    <a:pt x="328" y="113"/>
                  </a:lnTo>
                  <a:lnTo>
                    <a:pt x="330" y="113"/>
                  </a:lnTo>
                  <a:lnTo>
                    <a:pt x="330" y="115"/>
                  </a:lnTo>
                  <a:lnTo>
                    <a:pt x="332" y="115"/>
                  </a:lnTo>
                  <a:lnTo>
                    <a:pt x="334" y="115"/>
                  </a:lnTo>
                  <a:lnTo>
                    <a:pt x="336" y="115"/>
                  </a:lnTo>
                  <a:lnTo>
                    <a:pt x="336" y="117"/>
                  </a:lnTo>
                  <a:lnTo>
                    <a:pt x="338" y="117"/>
                  </a:lnTo>
                  <a:lnTo>
                    <a:pt x="338" y="115"/>
                  </a:lnTo>
                  <a:lnTo>
                    <a:pt x="340" y="113"/>
                  </a:lnTo>
                  <a:lnTo>
                    <a:pt x="342" y="113"/>
                  </a:lnTo>
                  <a:lnTo>
                    <a:pt x="342" y="111"/>
                  </a:lnTo>
                  <a:lnTo>
                    <a:pt x="343" y="111"/>
                  </a:lnTo>
                  <a:lnTo>
                    <a:pt x="343" y="109"/>
                  </a:lnTo>
                  <a:lnTo>
                    <a:pt x="345" y="109"/>
                  </a:lnTo>
                  <a:lnTo>
                    <a:pt x="347" y="107"/>
                  </a:lnTo>
                  <a:lnTo>
                    <a:pt x="349" y="107"/>
                  </a:lnTo>
                  <a:lnTo>
                    <a:pt x="349" y="105"/>
                  </a:lnTo>
                  <a:lnTo>
                    <a:pt x="351" y="105"/>
                  </a:lnTo>
                  <a:lnTo>
                    <a:pt x="351" y="103"/>
                  </a:lnTo>
                  <a:lnTo>
                    <a:pt x="351" y="102"/>
                  </a:lnTo>
                  <a:lnTo>
                    <a:pt x="353" y="102"/>
                  </a:lnTo>
                  <a:lnTo>
                    <a:pt x="353" y="100"/>
                  </a:lnTo>
                  <a:lnTo>
                    <a:pt x="353" y="98"/>
                  </a:lnTo>
                  <a:lnTo>
                    <a:pt x="355" y="98"/>
                  </a:lnTo>
                  <a:lnTo>
                    <a:pt x="355" y="96"/>
                  </a:lnTo>
                  <a:lnTo>
                    <a:pt x="357" y="96"/>
                  </a:lnTo>
                  <a:lnTo>
                    <a:pt x="357" y="94"/>
                  </a:lnTo>
                  <a:lnTo>
                    <a:pt x="359" y="94"/>
                  </a:lnTo>
                  <a:lnTo>
                    <a:pt x="359" y="92"/>
                  </a:lnTo>
                  <a:lnTo>
                    <a:pt x="361" y="92"/>
                  </a:lnTo>
                  <a:lnTo>
                    <a:pt x="361" y="90"/>
                  </a:lnTo>
                  <a:lnTo>
                    <a:pt x="363" y="90"/>
                  </a:lnTo>
                  <a:lnTo>
                    <a:pt x="363" y="88"/>
                  </a:lnTo>
                  <a:lnTo>
                    <a:pt x="365" y="88"/>
                  </a:lnTo>
                  <a:lnTo>
                    <a:pt x="367" y="86"/>
                  </a:lnTo>
                  <a:lnTo>
                    <a:pt x="368" y="86"/>
                  </a:lnTo>
                  <a:lnTo>
                    <a:pt x="370" y="86"/>
                  </a:lnTo>
                  <a:lnTo>
                    <a:pt x="370" y="88"/>
                  </a:lnTo>
                  <a:lnTo>
                    <a:pt x="370" y="90"/>
                  </a:lnTo>
                  <a:lnTo>
                    <a:pt x="372" y="90"/>
                  </a:lnTo>
                  <a:lnTo>
                    <a:pt x="372" y="92"/>
                  </a:lnTo>
                  <a:lnTo>
                    <a:pt x="374" y="94"/>
                  </a:lnTo>
                  <a:lnTo>
                    <a:pt x="374" y="96"/>
                  </a:lnTo>
                  <a:lnTo>
                    <a:pt x="376" y="98"/>
                  </a:lnTo>
                  <a:lnTo>
                    <a:pt x="376" y="100"/>
                  </a:lnTo>
                  <a:lnTo>
                    <a:pt x="378" y="100"/>
                  </a:lnTo>
                  <a:lnTo>
                    <a:pt x="378" y="102"/>
                  </a:lnTo>
                  <a:lnTo>
                    <a:pt x="380" y="103"/>
                  </a:lnTo>
                  <a:lnTo>
                    <a:pt x="380" y="105"/>
                  </a:lnTo>
                  <a:lnTo>
                    <a:pt x="380" y="107"/>
                  </a:lnTo>
                  <a:lnTo>
                    <a:pt x="380" y="109"/>
                  </a:lnTo>
                  <a:lnTo>
                    <a:pt x="380" y="111"/>
                  </a:lnTo>
                  <a:lnTo>
                    <a:pt x="380" y="113"/>
                  </a:lnTo>
                  <a:lnTo>
                    <a:pt x="380" y="115"/>
                  </a:lnTo>
                  <a:lnTo>
                    <a:pt x="382" y="117"/>
                  </a:lnTo>
                  <a:lnTo>
                    <a:pt x="382" y="119"/>
                  </a:lnTo>
                  <a:lnTo>
                    <a:pt x="380" y="119"/>
                  </a:lnTo>
                  <a:lnTo>
                    <a:pt x="382" y="119"/>
                  </a:lnTo>
                  <a:lnTo>
                    <a:pt x="382" y="121"/>
                  </a:lnTo>
                  <a:lnTo>
                    <a:pt x="384" y="123"/>
                  </a:lnTo>
                  <a:lnTo>
                    <a:pt x="384" y="125"/>
                  </a:lnTo>
                  <a:lnTo>
                    <a:pt x="384" y="126"/>
                  </a:lnTo>
                  <a:lnTo>
                    <a:pt x="386" y="126"/>
                  </a:lnTo>
                  <a:lnTo>
                    <a:pt x="386" y="128"/>
                  </a:lnTo>
                  <a:lnTo>
                    <a:pt x="386" y="130"/>
                  </a:lnTo>
                  <a:lnTo>
                    <a:pt x="388" y="130"/>
                  </a:lnTo>
                  <a:lnTo>
                    <a:pt x="388" y="132"/>
                  </a:lnTo>
                  <a:lnTo>
                    <a:pt x="388" y="134"/>
                  </a:lnTo>
                  <a:lnTo>
                    <a:pt x="390" y="134"/>
                  </a:lnTo>
                  <a:lnTo>
                    <a:pt x="390" y="136"/>
                  </a:lnTo>
                  <a:lnTo>
                    <a:pt x="391" y="136"/>
                  </a:lnTo>
                  <a:lnTo>
                    <a:pt x="393" y="136"/>
                  </a:lnTo>
                  <a:lnTo>
                    <a:pt x="395" y="138"/>
                  </a:lnTo>
                  <a:lnTo>
                    <a:pt x="395" y="140"/>
                  </a:lnTo>
                  <a:lnTo>
                    <a:pt x="397" y="140"/>
                  </a:lnTo>
                  <a:lnTo>
                    <a:pt x="397" y="142"/>
                  </a:lnTo>
                  <a:lnTo>
                    <a:pt x="399" y="142"/>
                  </a:lnTo>
                  <a:lnTo>
                    <a:pt x="401" y="142"/>
                  </a:lnTo>
                  <a:lnTo>
                    <a:pt x="403" y="142"/>
                  </a:lnTo>
                  <a:lnTo>
                    <a:pt x="405" y="142"/>
                  </a:lnTo>
                  <a:lnTo>
                    <a:pt x="405" y="144"/>
                  </a:lnTo>
                  <a:lnTo>
                    <a:pt x="407" y="144"/>
                  </a:lnTo>
                  <a:lnTo>
                    <a:pt x="409" y="144"/>
                  </a:lnTo>
                  <a:lnTo>
                    <a:pt x="411" y="144"/>
                  </a:lnTo>
                  <a:lnTo>
                    <a:pt x="411" y="146"/>
                  </a:lnTo>
                  <a:lnTo>
                    <a:pt x="413" y="146"/>
                  </a:lnTo>
                  <a:lnTo>
                    <a:pt x="415" y="146"/>
                  </a:lnTo>
                  <a:lnTo>
                    <a:pt x="416" y="148"/>
                  </a:lnTo>
                  <a:lnTo>
                    <a:pt x="418" y="148"/>
                  </a:lnTo>
                  <a:lnTo>
                    <a:pt x="420" y="148"/>
                  </a:lnTo>
                  <a:lnTo>
                    <a:pt x="422" y="148"/>
                  </a:lnTo>
                  <a:lnTo>
                    <a:pt x="424" y="148"/>
                  </a:lnTo>
                  <a:lnTo>
                    <a:pt x="424" y="146"/>
                  </a:lnTo>
                  <a:lnTo>
                    <a:pt x="426" y="146"/>
                  </a:lnTo>
                  <a:lnTo>
                    <a:pt x="428" y="144"/>
                  </a:lnTo>
                  <a:lnTo>
                    <a:pt x="430" y="144"/>
                  </a:lnTo>
                  <a:lnTo>
                    <a:pt x="430" y="142"/>
                  </a:lnTo>
                  <a:lnTo>
                    <a:pt x="432" y="142"/>
                  </a:lnTo>
                  <a:lnTo>
                    <a:pt x="434" y="140"/>
                  </a:lnTo>
                  <a:lnTo>
                    <a:pt x="436" y="140"/>
                  </a:lnTo>
                  <a:lnTo>
                    <a:pt x="438" y="140"/>
                  </a:lnTo>
                  <a:lnTo>
                    <a:pt x="440" y="140"/>
                  </a:lnTo>
                  <a:lnTo>
                    <a:pt x="441" y="140"/>
                  </a:lnTo>
                  <a:lnTo>
                    <a:pt x="443" y="140"/>
                  </a:lnTo>
                  <a:lnTo>
                    <a:pt x="445" y="140"/>
                  </a:lnTo>
                  <a:lnTo>
                    <a:pt x="447" y="140"/>
                  </a:lnTo>
                  <a:lnTo>
                    <a:pt x="449" y="140"/>
                  </a:lnTo>
                  <a:lnTo>
                    <a:pt x="451" y="140"/>
                  </a:lnTo>
                  <a:lnTo>
                    <a:pt x="451" y="142"/>
                  </a:lnTo>
                  <a:lnTo>
                    <a:pt x="453" y="142"/>
                  </a:lnTo>
                  <a:lnTo>
                    <a:pt x="455" y="142"/>
                  </a:lnTo>
                  <a:lnTo>
                    <a:pt x="455" y="144"/>
                  </a:lnTo>
                  <a:lnTo>
                    <a:pt x="457" y="144"/>
                  </a:lnTo>
                  <a:lnTo>
                    <a:pt x="461" y="146"/>
                  </a:lnTo>
                  <a:lnTo>
                    <a:pt x="463" y="146"/>
                  </a:lnTo>
                  <a:lnTo>
                    <a:pt x="464" y="148"/>
                  </a:lnTo>
                  <a:lnTo>
                    <a:pt x="466" y="148"/>
                  </a:lnTo>
                  <a:lnTo>
                    <a:pt x="468" y="148"/>
                  </a:lnTo>
                  <a:lnTo>
                    <a:pt x="470" y="148"/>
                  </a:lnTo>
                  <a:lnTo>
                    <a:pt x="472" y="148"/>
                  </a:lnTo>
                  <a:lnTo>
                    <a:pt x="472" y="150"/>
                  </a:lnTo>
                  <a:lnTo>
                    <a:pt x="474" y="150"/>
                  </a:lnTo>
                  <a:lnTo>
                    <a:pt x="476" y="150"/>
                  </a:lnTo>
                  <a:lnTo>
                    <a:pt x="478" y="150"/>
                  </a:lnTo>
                  <a:lnTo>
                    <a:pt x="480" y="150"/>
                  </a:lnTo>
                  <a:lnTo>
                    <a:pt x="482" y="150"/>
                  </a:lnTo>
                  <a:lnTo>
                    <a:pt x="484" y="150"/>
                  </a:lnTo>
                  <a:lnTo>
                    <a:pt x="486" y="150"/>
                  </a:lnTo>
                  <a:lnTo>
                    <a:pt x="484" y="151"/>
                  </a:lnTo>
                  <a:lnTo>
                    <a:pt x="484" y="153"/>
                  </a:lnTo>
                  <a:lnTo>
                    <a:pt x="482" y="153"/>
                  </a:lnTo>
                  <a:lnTo>
                    <a:pt x="480" y="155"/>
                  </a:lnTo>
                  <a:lnTo>
                    <a:pt x="480" y="157"/>
                  </a:lnTo>
                  <a:lnTo>
                    <a:pt x="482" y="159"/>
                  </a:lnTo>
                  <a:lnTo>
                    <a:pt x="484" y="161"/>
                  </a:lnTo>
                  <a:lnTo>
                    <a:pt x="484" y="163"/>
                  </a:lnTo>
                  <a:lnTo>
                    <a:pt x="484" y="165"/>
                  </a:lnTo>
                  <a:lnTo>
                    <a:pt x="486" y="165"/>
                  </a:lnTo>
                  <a:lnTo>
                    <a:pt x="486" y="167"/>
                  </a:lnTo>
                  <a:lnTo>
                    <a:pt x="486" y="169"/>
                  </a:lnTo>
                  <a:lnTo>
                    <a:pt x="488" y="169"/>
                  </a:lnTo>
                  <a:lnTo>
                    <a:pt x="488" y="171"/>
                  </a:lnTo>
                  <a:lnTo>
                    <a:pt x="488" y="173"/>
                  </a:lnTo>
                  <a:lnTo>
                    <a:pt x="489" y="174"/>
                  </a:lnTo>
                  <a:lnTo>
                    <a:pt x="489" y="176"/>
                  </a:lnTo>
                  <a:lnTo>
                    <a:pt x="489" y="178"/>
                  </a:lnTo>
                  <a:lnTo>
                    <a:pt x="491" y="182"/>
                  </a:lnTo>
                  <a:lnTo>
                    <a:pt x="491" y="184"/>
                  </a:lnTo>
                  <a:lnTo>
                    <a:pt x="491" y="186"/>
                  </a:lnTo>
                  <a:lnTo>
                    <a:pt x="491" y="188"/>
                  </a:lnTo>
                  <a:lnTo>
                    <a:pt x="493" y="188"/>
                  </a:lnTo>
                  <a:lnTo>
                    <a:pt x="493" y="190"/>
                  </a:lnTo>
                  <a:lnTo>
                    <a:pt x="493" y="192"/>
                  </a:lnTo>
                  <a:lnTo>
                    <a:pt x="495" y="194"/>
                  </a:lnTo>
                  <a:lnTo>
                    <a:pt x="495" y="196"/>
                  </a:lnTo>
                  <a:lnTo>
                    <a:pt x="497" y="196"/>
                  </a:lnTo>
                  <a:lnTo>
                    <a:pt x="497" y="198"/>
                  </a:lnTo>
                  <a:lnTo>
                    <a:pt x="499" y="198"/>
                  </a:lnTo>
                  <a:lnTo>
                    <a:pt x="499" y="199"/>
                  </a:lnTo>
                  <a:lnTo>
                    <a:pt x="501" y="199"/>
                  </a:lnTo>
                  <a:lnTo>
                    <a:pt x="503" y="199"/>
                  </a:lnTo>
                  <a:lnTo>
                    <a:pt x="503" y="201"/>
                  </a:lnTo>
                  <a:lnTo>
                    <a:pt x="505" y="201"/>
                  </a:lnTo>
                  <a:lnTo>
                    <a:pt x="507" y="201"/>
                  </a:lnTo>
                  <a:lnTo>
                    <a:pt x="509" y="203"/>
                  </a:lnTo>
                  <a:lnTo>
                    <a:pt x="511" y="203"/>
                  </a:lnTo>
                  <a:lnTo>
                    <a:pt x="512" y="203"/>
                  </a:lnTo>
                  <a:lnTo>
                    <a:pt x="514" y="203"/>
                  </a:lnTo>
                  <a:lnTo>
                    <a:pt x="516" y="203"/>
                  </a:lnTo>
                  <a:lnTo>
                    <a:pt x="518" y="205"/>
                  </a:lnTo>
                  <a:lnTo>
                    <a:pt x="520" y="205"/>
                  </a:lnTo>
                  <a:lnTo>
                    <a:pt x="522" y="205"/>
                  </a:lnTo>
                  <a:lnTo>
                    <a:pt x="524" y="207"/>
                  </a:lnTo>
                  <a:lnTo>
                    <a:pt x="526" y="209"/>
                  </a:lnTo>
                  <a:lnTo>
                    <a:pt x="528" y="211"/>
                  </a:lnTo>
                  <a:lnTo>
                    <a:pt x="528" y="213"/>
                  </a:lnTo>
                  <a:lnTo>
                    <a:pt x="530" y="213"/>
                  </a:lnTo>
                  <a:lnTo>
                    <a:pt x="530" y="215"/>
                  </a:lnTo>
                  <a:lnTo>
                    <a:pt x="532" y="215"/>
                  </a:lnTo>
                  <a:lnTo>
                    <a:pt x="532" y="217"/>
                  </a:lnTo>
                  <a:lnTo>
                    <a:pt x="534" y="217"/>
                  </a:lnTo>
                  <a:lnTo>
                    <a:pt x="534" y="219"/>
                  </a:lnTo>
                  <a:lnTo>
                    <a:pt x="536" y="219"/>
                  </a:lnTo>
                  <a:lnTo>
                    <a:pt x="536" y="221"/>
                  </a:lnTo>
                  <a:lnTo>
                    <a:pt x="537" y="222"/>
                  </a:lnTo>
                  <a:lnTo>
                    <a:pt x="539" y="222"/>
                  </a:lnTo>
                  <a:lnTo>
                    <a:pt x="539" y="224"/>
                  </a:lnTo>
                  <a:lnTo>
                    <a:pt x="539" y="222"/>
                  </a:lnTo>
                  <a:lnTo>
                    <a:pt x="541" y="222"/>
                  </a:lnTo>
                  <a:lnTo>
                    <a:pt x="543" y="222"/>
                  </a:lnTo>
                  <a:lnTo>
                    <a:pt x="545" y="222"/>
                  </a:lnTo>
                  <a:lnTo>
                    <a:pt x="545" y="221"/>
                  </a:lnTo>
                  <a:lnTo>
                    <a:pt x="547" y="221"/>
                  </a:lnTo>
                  <a:lnTo>
                    <a:pt x="549" y="221"/>
                  </a:lnTo>
                  <a:lnTo>
                    <a:pt x="551" y="221"/>
                  </a:lnTo>
                  <a:lnTo>
                    <a:pt x="553" y="221"/>
                  </a:lnTo>
                  <a:lnTo>
                    <a:pt x="553" y="222"/>
                  </a:lnTo>
                  <a:lnTo>
                    <a:pt x="555" y="222"/>
                  </a:lnTo>
                  <a:lnTo>
                    <a:pt x="557" y="222"/>
                  </a:lnTo>
                  <a:lnTo>
                    <a:pt x="559" y="222"/>
                  </a:lnTo>
                  <a:lnTo>
                    <a:pt x="560" y="222"/>
                  </a:lnTo>
                  <a:lnTo>
                    <a:pt x="562" y="222"/>
                  </a:lnTo>
                  <a:lnTo>
                    <a:pt x="564" y="222"/>
                  </a:lnTo>
                  <a:lnTo>
                    <a:pt x="564" y="221"/>
                  </a:lnTo>
                  <a:lnTo>
                    <a:pt x="566" y="221"/>
                  </a:lnTo>
                  <a:lnTo>
                    <a:pt x="568" y="221"/>
                  </a:lnTo>
                  <a:lnTo>
                    <a:pt x="568" y="219"/>
                  </a:lnTo>
                  <a:lnTo>
                    <a:pt x="570" y="219"/>
                  </a:lnTo>
                  <a:lnTo>
                    <a:pt x="572" y="219"/>
                  </a:lnTo>
                  <a:lnTo>
                    <a:pt x="572" y="217"/>
                  </a:lnTo>
                  <a:lnTo>
                    <a:pt x="574" y="217"/>
                  </a:lnTo>
                  <a:lnTo>
                    <a:pt x="574" y="215"/>
                  </a:lnTo>
                  <a:lnTo>
                    <a:pt x="576" y="215"/>
                  </a:lnTo>
                  <a:lnTo>
                    <a:pt x="576" y="213"/>
                  </a:lnTo>
                  <a:lnTo>
                    <a:pt x="576" y="211"/>
                  </a:lnTo>
                  <a:lnTo>
                    <a:pt x="578" y="211"/>
                  </a:lnTo>
                  <a:lnTo>
                    <a:pt x="578" y="209"/>
                  </a:lnTo>
                  <a:lnTo>
                    <a:pt x="578" y="207"/>
                  </a:lnTo>
                  <a:lnTo>
                    <a:pt x="580" y="207"/>
                  </a:lnTo>
                  <a:lnTo>
                    <a:pt x="580" y="205"/>
                  </a:lnTo>
                  <a:lnTo>
                    <a:pt x="582" y="205"/>
                  </a:lnTo>
                  <a:lnTo>
                    <a:pt x="584" y="205"/>
                  </a:lnTo>
                  <a:lnTo>
                    <a:pt x="585" y="205"/>
                  </a:lnTo>
                  <a:lnTo>
                    <a:pt x="587" y="205"/>
                  </a:lnTo>
                  <a:lnTo>
                    <a:pt x="589" y="205"/>
                  </a:lnTo>
                  <a:lnTo>
                    <a:pt x="591" y="205"/>
                  </a:lnTo>
                  <a:lnTo>
                    <a:pt x="595" y="203"/>
                  </a:lnTo>
                  <a:lnTo>
                    <a:pt x="597" y="203"/>
                  </a:lnTo>
                  <a:lnTo>
                    <a:pt x="599" y="203"/>
                  </a:lnTo>
                  <a:lnTo>
                    <a:pt x="601" y="203"/>
                  </a:lnTo>
                  <a:lnTo>
                    <a:pt x="603" y="203"/>
                  </a:lnTo>
                  <a:lnTo>
                    <a:pt x="605" y="203"/>
                  </a:lnTo>
                  <a:lnTo>
                    <a:pt x="605" y="201"/>
                  </a:lnTo>
                  <a:lnTo>
                    <a:pt x="607" y="201"/>
                  </a:lnTo>
                  <a:lnTo>
                    <a:pt x="608" y="201"/>
                  </a:lnTo>
                  <a:lnTo>
                    <a:pt x="608" y="203"/>
                  </a:lnTo>
                  <a:lnTo>
                    <a:pt x="610" y="205"/>
                  </a:lnTo>
                  <a:lnTo>
                    <a:pt x="612" y="205"/>
                  </a:lnTo>
                  <a:lnTo>
                    <a:pt x="612" y="203"/>
                  </a:lnTo>
                  <a:lnTo>
                    <a:pt x="614" y="203"/>
                  </a:lnTo>
                  <a:lnTo>
                    <a:pt x="616" y="203"/>
                  </a:lnTo>
                  <a:lnTo>
                    <a:pt x="618" y="201"/>
                  </a:lnTo>
                  <a:lnTo>
                    <a:pt x="620" y="201"/>
                  </a:lnTo>
                  <a:lnTo>
                    <a:pt x="622" y="201"/>
                  </a:lnTo>
                  <a:lnTo>
                    <a:pt x="622" y="199"/>
                  </a:lnTo>
                  <a:lnTo>
                    <a:pt x="624" y="199"/>
                  </a:lnTo>
                  <a:lnTo>
                    <a:pt x="626" y="199"/>
                  </a:lnTo>
                  <a:lnTo>
                    <a:pt x="628" y="198"/>
                  </a:lnTo>
                  <a:lnTo>
                    <a:pt x="630" y="198"/>
                  </a:lnTo>
                  <a:lnTo>
                    <a:pt x="630" y="201"/>
                  </a:lnTo>
                  <a:lnTo>
                    <a:pt x="630" y="203"/>
                  </a:lnTo>
                  <a:lnTo>
                    <a:pt x="630" y="205"/>
                  </a:lnTo>
                  <a:lnTo>
                    <a:pt x="630" y="207"/>
                  </a:lnTo>
                  <a:lnTo>
                    <a:pt x="632" y="207"/>
                  </a:lnTo>
                  <a:lnTo>
                    <a:pt x="632" y="209"/>
                  </a:lnTo>
                  <a:lnTo>
                    <a:pt x="633" y="209"/>
                  </a:lnTo>
                  <a:lnTo>
                    <a:pt x="633" y="211"/>
                  </a:lnTo>
                  <a:lnTo>
                    <a:pt x="635" y="213"/>
                  </a:lnTo>
                  <a:lnTo>
                    <a:pt x="635" y="215"/>
                  </a:lnTo>
                  <a:lnTo>
                    <a:pt x="637" y="215"/>
                  </a:lnTo>
                  <a:lnTo>
                    <a:pt x="637" y="217"/>
                  </a:lnTo>
                  <a:lnTo>
                    <a:pt x="639" y="217"/>
                  </a:lnTo>
                  <a:lnTo>
                    <a:pt x="637" y="217"/>
                  </a:lnTo>
                  <a:lnTo>
                    <a:pt x="637" y="219"/>
                  </a:lnTo>
                  <a:lnTo>
                    <a:pt x="635" y="219"/>
                  </a:lnTo>
                  <a:lnTo>
                    <a:pt x="633" y="221"/>
                  </a:lnTo>
                  <a:lnTo>
                    <a:pt x="632" y="221"/>
                  </a:lnTo>
                  <a:lnTo>
                    <a:pt x="630" y="222"/>
                  </a:lnTo>
                  <a:lnTo>
                    <a:pt x="628" y="222"/>
                  </a:lnTo>
                  <a:lnTo>
                    <a:pt x="628" y="224"/>
                  </a:lnTo>
                  <a:lnTo>
                    <a:pt x="626" y="224"/>
                  </a:lnTo>
                  <a:lnTo>
                    <a:pt x="624" y="226"/>
                  </a:lnTo>
                  <a:lnTo>
                    <a:pt x="622" y="226"/>
                  </a:lnTo>
                  <a:lnTo>
                    <a:pt x="620" y="228"/>
                  </a:lnTo>
                  <a:lnTo>
                    <a:pt x="618" y="228"/>
                  </a:lnTo>
                  <a:lnTo>
                    <a:pt x="618" y="230"/>
                  </a:lnTo>
                  <a:lnTo>
                    <a:pt x="616" y="230"/>
                  </a:lnTo>
                  <a:lnTo>
                    <a:pt x="614" y="230"/>
                  </a:lnTo>
                  <a:lnTo>
                    <a:pt x="614" y="232"/>
                  </a:lnTo>
                  <a:lnTo>
                    <a:pt x="612" y="232"/>
                  </a:lnTo>
                  <a:lnTo>
                    <a:pt x="612" y="234"/>
                  </a:lnTo>
                  <a:lnTo>
                    <a:pt x="610" y="234"/>
                  </a:lnTo>
                  <a:lnTo>
                    <a:pt x="608" y="234"/>
                  </a:lnTo>
                  <a:lnTo>
                    <a:pt x="608" y="236"/>
                  </a:lnTo>
                  <a:lnTo>
                    <a:pt x="607" y="236"/>
                  </a:lnTo>
                  <a:lnTo>
                    <a:pt x="605" y="238"/>
                  </a:lnTo>
                  <a:lnTo>
                    <a:pt x="603" y="238"/>
                  </a:lnTo>
                  <a:lnTo>
                    <a:pt x="603" y="240"/>
                  </a:lnTo>
                  <a:lnTo>
                    <a:pt x="603" y="242"/>
                  </a:lnTo>
                  <a:lnTo>
                    <a:pt x="603" y="244"/>
                  </a:lnTo>
                  <a:lnTo>
                    <a:pt x="605" y="246"/>
                  </a:lnTo>
                  <a:lnTo>
                    <a:pt x="605" y="247"/>
                  </a:lnTo>
                  <a:lnTo>
                    <a:pt x="605" y="249"/>
                  </a:lnTo>
                  <a:lnTo>
                    <a:pt x="603" y="251"/>
                  </a:lnTo>
                  <a:lnTo>
                    <a:pt x="603" y="253"/>
                  </a:lnTo>
                  <a:lnTo>
                    <a:pt x="603" y="255"/>
                  </a:lnTo>
                  <a:lnTo>
                    <a:pt x="603" y="257"/>
                  </a:lnTo>
                  <a:lnTo>
                    <a:pt x="603" y="259"/>
                  </a:lnTo>
                  <a:lnTo>
                    <a:pt x="603" y="261"/>
                  </a:lnTo>
                  <a:lnTo>
                    <a:pt x="601" y="261"/>
                  </a:lnTo>
                  <a:lnTo>
                    <a:pt x="601" y="263"/>
                  </a:lnTo>
                  <a:lnTo>
                    <a:pt x="601" y="265"/>
                  </a:lnTo>
                  <a:lnTo>
                    <a:pt x="601" y="267"/>
                  </a:lnTo>
                  <a:lnTo>
                    <a:pt x="603" y="267"/>
                  </a:lnTo>
                  <a:lnTo>
                    <a:pt x="603" y="269"/>
                  </a:lnTo>
                  <a:lnTo>
                    <a:pt x="605" y="269"/>
                  </a:lnTo>
                  <a:lnTo>
                    <a:pt x="607" y="270"/>
                  </a:lnTo>
                  <a:lnTo>
                    <a:pt x="608" y="272"/>
                  </a:lnTo>
                  <a:lnTo>
                    <a:pt x="610" y="274"/>
                  </a:lnTo>
                  <a:lnTo>
                    <a:pt x="610" y="276"/>
                  </a:lnTo>
                  <a:lnTo>
                    <a:pt x="612" y="278"/>
                  </a:lnTo>
                  <a:lnTo>
                    <a:pt x="612" y="280"/>
                  </a:lnTo>
                  <a:lnTo>
                    <a:pt x="614" y="282"/>
                  </a:lnTo>
                  <a:lnTo>
                    <a:pt x="614" y="284"/>
                  </a:lnTo>
                  <a:lnTo>
                    <a:pt x="616" y="284"/>
                  </a:lnTo>
                  <a:lnTo>
                    <a:pt x="616" y="286"/>
                  </a:lnTo>
                  <a:lnTo>
                    <a:pt x="618" y="288"/>
                  </a:lnTo>
                  <a:lnTo>
                    <a:pt x="620" y="288"/>
                  </a:lnTo>
                  <a:lnTo>
                    <a:pt x="620" y="290"/>
                  </a:lnTo>
                  <a:lnTo>
                    <a:pt x="622" y="292"/>
                  </a:lnTo>
                  <a:lnTo>
                    <a:pt x="624" y="294"/>
                  </a:lnTo>
                  <a:lnTo>
                    <a:pt x="626" y="294"/>
                  </a:lnTo>
                  <a:lnTo>
                    <a:pt x="628" y="295"/>
                  </a:lnTo>
                  <a:lnTo>
                    <a:pt x="630" y="295"/>
                  </a:lnTo>
                  <a:lnTo>
                    <a:pt x="632" y="295"/>
                  </a:lnTo>
                  <a:lnTo>
                    <a:pt x="632" y="297"/>
                  </a:lnTo>
                  <a:lnTo>
                    <a:pt x="633" y="297"/>
                  </a:lnTo>
                  <a:lnTo>
                    <a:pt x="635" y="299"/>
                  </a:lnTo>
                  <a:lnTo>
                    <a:pt x="637" y="299"/>
                  </a:lnTo>
                  <a:lnTo>
                    <a:pt x="637" y="301"/>
                  </a:lnTo>
                  <a:lnTo>
                    <a:pt x="639" y="303"/>
                  </a:lnTo>
                  <a:lnTo>
                    <a:pt x="641" y="305"/>
                  </a:lnTo>
                  <a:lnTo>
                    <a:pt x="641" y="307"/>
                  </a:lnTo>
                  <a:lnTo>
                    <a:pt x="643" y="307"/>
                  </a:lnTo>
                  <a:lnTo>
                    <a:pt x="643" y="309"/>
                  </a:lnTo>
                  <a:lnTo>
                    <a:pt x="645" y="309"/>
                  </a:lnTo>
                  <a:lnTo>
                    <a:pt x="647" y="309"/>
                  </a:lnTo>
                  <a:lnTo>
                    <a:pt x="647" y="311"/>
                  </a:lnTo>
                  <a:lnTo>
                    <a:pt x="647" y="313"/>
                  </a:lnTo>
                  <a:lnTo>
                    <a:pt x="647" y="315"/>
                  </a:lnTo>
                  <a:lnTo>
                    <a:pt x="647" y="317"/>
                  </a:lnTo>
                  <a:lnTo>
                    <a:pt x="647" y="318"/>
                  </a:lnTo>
                  <a:lnTo>
                    <a:pt x="647" y="320"/>
                  </a:lnTo>
                  <a:lnTo>
                    <a:pt x="647" y="322"/>
                  </a:lnTo>
                  <a:lnTo>
                    <a:pt x="645" y="322"/>
                  </a:lnTo>
                  <a:lnTo>
                    <a:pt x="645" y="324"/>
                  </a:lnTo>
                  <a:lnTo>
                    <a:pt x="645" y="326"/>
                  </a:lnTo>
                  <a:lnTo>
                    <a:pt x="645" y="328"/>
                  </a:lnTo>
                  <a:lnTo>
                    <a:pt x="645" y="330"/>
                  </a:lnTo>
                  <a:lnTo>
                    <a:pt x="645" y="332"/>
                  </a:lnTo>
                  <a:lnTo>
                    <a:pt x="645" y="334"/>
                  </a:lnTo>
                  <a:lnTo>
                    <a:pt x="645" y="336"/>
                  </a:lnTo>
                  <a:lnTo>
                    <a:pt x="645" y="338"/>
                  </a:lnTo>
                  <a:lnTo>
                    <a:pt x="647" y="338"/>
                  </a:lnTo>
                  <a:lnTo>
                    <a:pt x="649" y="340"/>
                  </a:lnTo>
                  <a:lnTo>
                    <a:pt x="649" y="342"/>
                  </a:lnTo>
                  <a:lnTo>
                    <a:pt x="651" y="342"/>
                  </a:lnTo>
                  <a:lnTo>
                    <a:pt x="653" y="343"/>
                  </a:lnTo>
                  <a:lnTo>
                    <a:pt x="655" y="345"/>
                  </a:lnTo>
                  <a:lnTo>
                    <a:pt x="656" y="347"/>
                  </a:lnTo>
                  <a:lnTo>
                    <a:pt x="656" y="349"/>
                  </a:lnTo>
                  <a:lnTo>
                    <a:pt x="655" y="351"/>
                  </a:lnTo>
                  <a:lnTo>
                    <a:pt x="655" y="353"/>
                  </a:lnTo>
                  <a:lnTo>
                    <a:pt x="653" y="353"/>
                  </a:lnTo>
                  <a:lnTo>
                    <a:pt x="653" y="355"/>
                  </a:lnTo>
                  <a:lnTo>
                    <a:pt x="651" y="355"/>
                  </a:lnTo>
                  <a:lnTo>
                    <a:pt x="649" y="355"/>
                  </a:lnTo>
                  <a:lnTo>
                    <a:pt x="647" y="355"/>
                  </a:lnTo>
                  <a:lnTo>
                    <a:pt x="647" y="357"/>
                  </a:lnTo>
                  <a:lnTo>
                    <a:pt x="645" y="357"/>
                  </a:lnTo>
                  <a:lnTo>
                    <a:pt x="643" y="357"/>
                  </a:lnTo>
                  <a:lnTo>
                    <a:pt x="641" y="357"/>
                  </a:lnTo>
                  <a:lnTo>
                    <a:pt x="639" y="357"/>
                  </a:lnTo>
                  <a:lnTo>
                    <a:pt x="637" y="357"/>
                  </a:lnTo>
                  <a:lnTo>
                    <a:pt x="635" y="357"/>
                  </a:lnTo>
                  <a:lnTo>
                    <a:pt x="635" y="355"/>
                  </a:lnTo>
                  <a:lnTo>
                    <a:pt x="633" y="355"/>
                  </a:lnTo>
                  <a:lnTo>
                    <a:pt x="632" y="355"/>
                  </a:lnTo>
                  <a:lnTo>
                    <a:pt x="632" y="357"/>
                  </a:lnTo>
                  <a:lnTo>
                    <a:pt x="630" y="357"/>
                  </a:lnTo>
                  <a:lnTo>
                    <a:pt x="630" y="359"/>
                  </a:lnTo>
                  <a:lnTo>
                    <a:pt x="628" y="359"/>
                  </a:lnTo>
                  <a:lnTo>
                    <a:pt x="628" y="361"/>
                  </a:lnTo>
                  <a:lnTo>
                    <a:pt x="628" y="363"/>
                  </a:lnTo>
                  <a:lnTo>
                    <a:pt x="626" y="363"/>
                  </a:lnTo>
                  <a:lnTo>
                    <a:pt x="626" y="365"/>
                  </a:lnTo>
                  <a:lnTo>
                    <a:pt x="626" y="366"/>
                  </a:lnTo>
                  <a:lnTo>
                    <a:pt x="624" y="366"/>
                  </a:lnTo>
                  <a:lnTo>
                    <a:pt x="624" y="368"/>
                  </a:lnTo>
                  <a:lnTo>
                    <a:pt x="622" y="368"/>
                  </a:lnTo>
                  <a:lnTo>
                    <a:pt x="622" y="370"/>
                  </a:lnTo>
                  <a:lnTo>
                    <a:pt x="620" y="370"/>
                  </a:lnTo>
                  <a:lnTo>
                    <a:pt x="620" y="372"/>
                  </a:lnTo>
                  <a:lnTo>
                    <a:pt x="618" y="374"/>
                  </a:lnTo>
                  <a:lnTo>
                    <a:pt x="618" y="376"/>
                  </a:lnTo>
                  <a:lnTo>
                    <a:pt x="616" y="376"/>
                  </a:lnTo>
                  <a:lnTo>
                    <a:pt x="616" y="378"/>
                  </a:lnTo>
                  <a:lnTo>
                    <a:pt x="614" y="378"/>
                  </a:lnTo>
                  <a:lnTo>
                    <a:pt x="612" y="378"/>
                  </a:lnTo>
                  <a:lnTo>
                    <a:pt x="612" y="380"/>
                  </a:lnTo>
                  <a:lnTo>
                    <a:pt x="610" y="380"/>
                  </a:lnTo>
                  <a:lnTo>
                    <a:pt x="608" y="380"/>
                  </a:lnTo>
                  <a:lnTo>
                    <a:pt x="607" y="380"/>
                  </a:lnTo>
                  <a:lnTo>
                    <a:pt x="605" y="382"/>
                  </a:lnTo>
                  <a:lnTo>
                    <a:pt x="603" y="382"/>
                  </a:lnTo>
                  <a:lnTo>
                    <a:pt x="603" y="384"/>
                  </a:lnTo>
                  <a:lnTo>
                    <a:pt x="601" y="384"/>
                  </a:lnTo>
                  <a:lnTo>
                    <a:pt x="601" y="386"/>
                  </a:lnTo>
                  <a:lnTo>
                    <a:pt x="599" y="386"/>
                  </a:lnTo>
                  <a:lnTo>
                    <a:pt x="599" y="388"/>
                  </a:lnTo>
                  <a:lnTo>
                    <a:pt x="599" y="390"/>
                  </a:lnTo>
                  <a:lnTo>
                    <a:pt x="597" y="390"/>
                  </a:lnTo>
                  <a:lnTo>
                    <a:pt x="597" y="391"/>
                  </a:lnTo>
                  <a:lnTo>
                    <a:pt x="595" y="393"/>
                  </a:lnTo>
                  <a:lnTo>
                    <a:pt x="595" y="395"/>
                  </a:lnTo>
                  <a:lnTo>
                    <a:pt x="593" y="395"/>
                  </a:lnTo>
                  <a:lnTo>
                    <a:pt x="593" y="397"/>
                  </a:lnTo>
                  <a:lnTo>
                    <a:pt x="591" y="397"/>
                  </a:lnTo>
                  <a:lnTo>
                    <a:pt x="591" y="399"/>
                  </a:lnTo>
                  <a:lnTo>
                    <a:pt x="591" y="401"/>
                  </a:lnTo>
                  <a:lnTo>
                    <a:pt x="589" y="401"/>
                  </a:lnTo>
                  <a:lnTo>
                    <a:pt x="589" y="403"/>
                  </a:lnTo>
                  <a:lnTo>
                    <a:pt x="587" y="403"/>
                  </a:lnTo>
                  <a:lnTo>
                    <a:pt x="587" y="405"/>
                  </a:lnTo>
                  <a:lnTo>
                    <a:pt x="587" y="407"/>
                  </a:lnTo>
                  <a:lnTo>
                    <a:pt x="585" y="407"/>
                  </a:lnTo>
                  <a:lnTo>
                    <a:pt x="585" y="409"/>
                  </a:lnTo>
                  <a:lnTo>
                    <a:pt x="585" y="411"/>
                  </a:lnTo>
                  <a:lnTo>
                    <a:pt x="584" y="411"/>
                  </a:lnTo>
                  <a:lnTo>
                    <a:pt x="584" y="413"/>
                  </a:lnTo>
                  <a:lnTo>
                    <a:pt x="584" y="414"/>
                  </a:lnTo>
                  <a:lnTo>
                    <a:pt x="582" y="414"/>
                  </a:lnTo>
                  <a:lnTo>
                    <a:pt x="582" y="416"/>
                  </a:lnTo>
                  <a:lnTo>
                    <a:pt x="582" y="418"/>
                  </a:lnTo>
                  <a:lnTo>
                    <a:pt x="580" y="418"/>
                  </a:lnTo>
                  <a:lnTo>
                    <a:pt x="580" y="420"/>
                  </a:lnTo>
                  <a:lnTo>
                    <a:pt x="580" y="422"/>
                  </a:lnTo>
                  <a:lnTo>
                    <a:pt x="578" y="422"/>
                  </a:lnTo>
                  <a:lnTo>
                    <a:pt x="578" y="424"/>
                  </a:lnTo>
                  <a:lnTo>
                    <a:pt x="580" y="426"/>
                  </a:lnTo>
                  <a:lnTo>
                    <a:pt x="580" y="428"/>
                  </a:lnTo>
                  <a:lnTo>
                    <a:pt x="580" y="430"/>
                  </a:lnTo>
                  <a:lnTo>
                    <a:pt x="578" y="432"/>
                  </a:lnTo>
                  <a:lnTo>
                    <a:pt x="578" y="434"/>
                  </a:lnTo>
                  <a:lnTo>
                    <a:pt x="576" y="434"/>
                  </a:lnTo>
                  <a:lnTo>
                    <a:pt x="574" y="434"/>
                  </a:lnTo>
                  <a:lnTo>
                    <a:pt x="572" y="434"/>
                  </a:lnTo>
                  <a:lnTo>
                    <a:pt x="570" y="434"/>
                  </a:lnTo>
                  <a:lnTo>
                    <a:pt x="568" y="434"/>
                  </a:lnTo>
                  <a:lnTo>
                    <a:pt x="568" y="432"/>
                  </a:lnTo>
                  <a:lnTo>
                    <a:pt x="566" y="432"/>
                  </a:lnTo>
                  <a:lnTo>
                    <a:pt x="564" y="432"/>
                  </a:lnTo>
                  <a:lnTo>
                    <a:pt x="562" y="430"/>
                  </a:lnTo>
                  <a:lnTo>
                    <a:pt x="560" y="430"/>
                  </a:lnTo>
                  <a:lnTo>
                    <a:pt x="560" y="432"/>
                  </a:lnTo>
                  <a:lnTo>
                    <a:pt x="559" y="432"/>
                  </a:lnTo>
                  <a:lnTo>
                    <a:pt x="557" y="432"/>
                  </a:lnTo>
                  <a:lnTo>
                    <a:pt x="555" y="432"/>
                  </a:lnTo>
                  <a:lnTo>
                    <a:pt x="553" y="432"/>
                  </a:lnTo>
                  <a:lnTo>
                    <a:pt x="551" y="432"/>
                  </a:lnTo>
                  <a:lnTo>
                    <a:pt x="549" y="432"/>
                  </a:lnTo>
                  <a:lnTo>
                    <a:pt x="547" y="434"/>
                  </a:lnTo>
                  <a:lnTo>
                    <a:pt x="545" y="434"/>
                  </a:lnTo>
                  <a:lnTo>
                    <a:pt x="543" y="434"/>
                  </a:lnTo>
                  <a:lnTo>
                    <a:pt x="543" y="432"/>
                  </a:lnTo>
                  <a:lnTo>
                    <a:pt x="541" y="432"/>
                  </a:lnTo>
                  <a:lnTo>
                    <a:pt x="541" y="434"/>
                  </a:lnTo>
                  <a:lnTo>
                    <a:pt x="539" y="434"/>
                  </a:lnTo>
                  <a:lnTo>
                    <a:pt x="537" y="436"/>
                  </a:lnTo>
                  <a:lnTo>
                    <a:pt x="537" y="438"/>
                  </a:lnTo>
                  <a:lnTo>
                    <a:pt x="536" y="438"/>
                  </a:lnTo>
                  <a:lnTo>
                    <a:pt x="536" y="439"/>
                  </a:lnTo>
                  <a:lnTo>
                    <a:pt x="534" y="439"/>
                  </a:lnTo>
                  <a:lnTo>
                    <a:pt x="532" y="439"/>
                  </a:lnTo>
                  <a:lnTo>
                    <a:pt x="532" y="441"/>
                  </a:lnTo>
                  <a:lnTo>
                    <a:pt x="530" y="441"/>
                  </a:lnTo>
                  <a:lnTo>
                    <a:pt x="528" y="441"/>
                  </a:lnTo>
                  <a:lnTo>
                    <a:pt x="526" y="441"/>
                  </a:lnTo>
                  <a:lnTo>
                    <a:pt x="526" y="439"/>
                  </a:lnTo>
                  <a:lnTo>
                    <a:pt x="524" y="439"/>
                  </a:lnTo>
                  <a:lnTo>
                    <a:pt x="522" y="439"/>
                  </a:lnTo>
                  <a:lnTo>
                    <a:pt x="520" y="439"/>
                  </a:lnTo>
                  <a:lnTo>
                    <a:pt x="518" y="439"/>
                  </a:lnTo>
                  <a:lnTo>
                    <a:pt x="516" y="439"/>
                  </a:lnTo>
                  <a:lnTo>
                    <a:pt x="516" y="438"/>
                  </a:lnTo>
                  <a:lnTo>
                    <a:pt x="514" y="438"/>
                  </a:lnTo>
                  <a:lnTo>
                    <a:pt x="511" y="438"/>
                  </a:lnTo>
                  <a:lnTo>
                    <a:pt x="507" y="439"/>
                  </a:lnTo>
                  <a:lnTo>
                    <a:pt x="505" y="441"/>
                  </a:lnTo>
                  <a:lnTo>
                    <a:pt x="507" y="441"/>
                  </a:lnTo>
                  <a:lnTo>
                    <a:pt x="507" y="443"/>
                  </a:lnTo>
                  <a:lnTo>
                    <a:pt x="507" y="441"/>
                  </a:lnTo>
                  <a:lnTo>
                    <a:pt x="509" y="443"/>
                  </a:lnTo>
                  <a:lnTo>
                    <a:pt x="507" y="443"/>
                  </a:lnTo>
                  <a:lnTo>
                    <a:pt x="507" y="445"/>
                  </a:lnTo>
                  <a:lnTo>
                    <a:pt x="509" y="445"/>
                  </a:lnTo>
                  <a:lnTo>
                    <a:pt x="507" y="445"/>
                  </a:lnTo>
                  <a:lnTo>
                    <a:pt x="507" y="447"/>
                  </a:lnTo>
                  <a:lnTo>
                    <a:pt x="507" y="449"/>
                  </a:lnTo>
                  <a:lnTo>
                    <a:pt x="505" y="449"/>
                  </a:lnTo>
                  <a:lnTo>
                    <a:pt x="505" y="451"/>
                  </a:lnTo>
                  <a:lnTo>
                    <a:pt x="505" y="453"/>
                  </a:lnTo>
                  <a:lnTo>
                    <a:pt x="507" y="453"/>
                  </a:lnTo>
                  <a:lnTo>
                    <a:pt x="505" y="453"/>
                  </a:lnTo>
                  <a:lnTo>
                    <a:pt x="505" y="455"/>
                  </a:lnTo>
                  <a:lnTo>
                    <a:pt x="505" y="457"/>
                  </a:lnTo>
                  <a:lnTo>
                    <a:pt x="503" y="457"/>
                  </a:lnTo>
                  <a:lnTo>
                    <a:pt x="503" y="459"/>
                  </a:lnTo>
                  <a:lnTo>
                    <a:pt x="505" y="461"/>
                  </a:lnTo>
                  <a:lnTo>
                    <a:pt x="505" y="462"/>
                  </a:lnTo>
                  <a:lnTo>
                    <a:pt x="507" y="462"/>
                  </a:lnTo>
                  <a:lnTo>
                    <a:pt x="507" y="461"/>
                  </a:lnTo>
                  <a:lnTo>
                    <a:pt x="509" y="461"/>
                  </a:lnTo>
                  <a:lnTo>
                    <a:pt x="511" y="461"/>
                  </a:lnTo>
                  <a:lnTo>
                    <a:pt x="511" y="459"/>
                  </a:lnTo>
                  <a:lnTo>
                    <a:pt x="512" y="459"/>
                  </a:lnTo>
                  <a:lnTo>
                    <a:pt x="512" y="457"/>
                  </a:lnTo>
                  <a:lnTo>
                    <a:pt x="512" y="459"/>
                  </a:lnTo>
                  <a:lnTo>
                    <a:pt x="514" y="459"/>
                  </a:lnTo>
                  <a:lnTo>
                    <a:pt x="514" y="461"/>
                  </a:lnTo>
                  <a:lnTo>
                    <a:pt x="516" y="461"/>
                  </a:lnTo>
                  <a:lnTo>
                    <a:pt x="516" y="462"/>
                  </a:lnTo>
                  <a:lnTo>
                    <a:pt x="516" y="464"/>
                  </a:lnTo>
                  <a:lnTo>
                    <a:pt x="518" y="464"/>
                  </a:lnTo>
                  <a:lnTo>
                    <a:pt x="516" y="464"/>
                  </a:lnTo>
                  <a:lnTo>
                    <a:pt x="518" y="464"/>
                  </a:lnTo>
                  <a:lnTo>
                    <a:pt x="516" y="464"/>
                  </a:lnTo>
                  <a:lnTo>
                    <a:pt x="516" y="466"/>
                  </a:lnTo>
                  <a:lnTo>
                    <a:pt x="518" y="466"/>
                  </a:lnTo>
                  <a:lnTo>
                    <a:pt x="520" y="466"/>
                  </a:lnTo>
                  <a:lnTo>
                    <a:pt x="520" y="468"/>
                  </a:lnTo>
                  <a:lnTo>
                    <a:pt x="520" y="466"/>
                  </a:lnTo>
                  <a:lnTo>
                    <a:pt x="522" y="466"/>
                  </a:lnTo>
                  <a:lnTo>
                    <a:pt x="522" y="464"/>
                  </a:lnTo>
                  <a:lnTo>
                    <a:pt x="524" y="464"/>
                  </a:lnTo>
                  <a:lnTo>
                    <a:pt x="526" y="464"/>
                  </a:lnTo>
                  <a:lnTo>
                    <a:pt x="526" y="462"/>
                  </a:lnTo>
                  <a:lnTo>
                    <a:pt x="526" y="464"/>
                  </a:lnTo>
                  <a:lnTo>
                    <a:pt x="528" y="464"/>
                  </a:lnTo>
                  <a:lnTo>
                    <a:pt x="526" y="464"/>
                  </a:lnTo>
                  <a:lnTo>
                    <a:pt x="526" y="466"/>
                  </a:lnTo>
                  <a:lnTo>
                    <a:pt x="526" y="468"/>
                  </a:lnTo>
                  <a:lnTo>
                    <a:pt x="528" y="468"/>
                  </a:lnTo>
                  <a:lnTo>
                    <a:pt x="530" y="468"/>
                  </a:lnTo>
                  <a:lnTo>
                    <a:pt x="528" y="468"/>
                  </a:lnTo>
                  <a:lnTo>
                    <a:pt x="528" y="470"/>
                  </a:lnTo>
                  <a:lnTo>
                    <a:pt x="530" y="470"/>
                  </a:lnTo>
                  <a:lnTo>
                    <a:pt x="528" y="470"/>
                  </a:lnTo>
                  <a:lnTo>
                    <a:pt x="528" y="472"/>
                  </a:lnTo>
                  <a:lnTo>
                    <a:pt x="530" y="472"/>
                  </a:lnTo>
                  <a:lnTo>
                    <a:pt x="530" y="474"/>
                  </a:lnTo>
                  <a:lnTo>
                    <a:pt x="532" y="474"/>
                  </a:lnTo>
                  <a:lnTo>
                    <a:pt x="532" y="476"/>
                  </a:lnTo>
                  <a:lnTo>
                    <a:pt x="534" y="476"/>
                  </a:lnTo>
                  <a:lnTo>
                    <a:pt x="534" y="478"/>
                  </a:lnTo>
                  <a:lnTo>
                    <a:pt x="536" y="478"/>
                  </a:lnTo>
                  <a:lnTo>
                    <a:pt x="536" y="480"/>
                  </a:lnTo>
                  <a:lnTo>
                    <a:pt x="534" y="480"/>
                  </a:lnTo>
                  <a:lnTo>
                    <a:pt x="534" y="482"/>
                  </a:lnTo>
                  <a:lnTo>
                    <a:pt x="536" y="482"/>
                  </a:lnTo>
                  <a:lnTo>
                    <a:pt x="537" y="482"/>
                  </a:lnTo>
                  <a:lnTo>
                    <a:pt x="537" y="484"/>
                  </a:lnTo>
                  <a:lnTo>
                    <a:pt x="537" y="485"/>
                  </a:lnTo>
                  <a:lnTo>
                    <a:pt x="536" y="485"/>
                  </a:lnTo>
                  <a:lnTo>
                    <a:pt x="534" y="485"/>
                  </a:lnTo>
                  <a:lnTo>
                    <a:pt x="534" y="487"/>
                  </a:lnTo>
                  <a:lnTo>
                    <a:pt x="536" y="487"/>
                  </a:lnTo>
                  <a:lnTo>
                    <a:pt x="536" y="489"/>
                  </a:lnTo>
                  <a:lnTo>
                    <a:pt x="534" y="489"/>
                  </a:lnTo>
                  <a:lnTo>
                    <a:pt x="534" y="491"/>
                  </a:lnTo>
                  <a:lnTo>
                    <a:pt x="536" y="491"/>
                  </a:lnTo>
                  <a:lnTo>
                    <a:pt x="536" y="493"/>
                  </a:lnTo>
                  <a:lnTo>
                    <a:pt x="537" y="493"/>
                  </a:lnTo>
                  <a:lnTo>
                    <a:pt x="539" y="493"/>
                  </a:lnTo>
                  <a:lnTo>
                    <a:pt x="539" y="495"/>
                  </a:lnTo>
                  <a:lnTo>
                    <a:pt x="539" y="493"/>
                  </a:lnTo>
                  <a:lnTo>
                    <a:pt x="541" y="493"/>
                  </a:lnTo>
                  <a:lnTo>
                    <a:pt x="543" y="493"/>
                  </a:lnTo>
                  <a:lnTo>
                    <a:pt x="543" y="495"/>
                  </a:lnTo>
                  <a:lnTo>
                    <a:pt x="545" y="495"/>
                  </a:lnTo>
                  <a:lnTo>
                    <a:pt x="545" y="497"/>
                  </a:lnTo>
                  <a:lnTo>
                    <a:pt x="547" y="497"/>
                  </a:lnTo>
                  <a:lnTo>
                    <a:pt x="545" y="497"/>
                  </a:lnTo>
                  <a:lnTo>
                    <a:pt x="545" y="499"/>
                  </a:lnTo>
                  <a:lnTo>
                    <a:pt x="547" y="499"/>
                  </a:lnTo>
                  <a:lnTo>
                    <a:pt x="545" y="499"/>
                  </a:lnTo>
                  <a:lnTo>
                    <a:pt x="545" y="501"/>
                  </a:lnTo>
                  <a:lnTo>
                    <a:pt x="547" y="501"/>
                  </a:lnTo>
                  <a:lnTo>
                    <a:pt x="547" y="503"/>
                  </a:lnTo>
                  <a:lnTo>
                    <a:pt x="547" y="505"/>
                  </a:lnTo>
                  <a:lnTo>
                    <a:pt x="549" y="505"/>
                  </a:lnTo>
                  <a:lnTo>
                    <a:pt x="551" y="505"/>
                  </a:lnTo>
                  <a:lnTo>
                    <a:pt x="551" y="503"/>
                  </a:lnTo>
                  <a:lnTo>
                    <a:pt x="551" y="501"/>
                  </a:lnTo>
                  <a:lnTo>
                    <a:pt x="551" y="499"/>
                  </a:lnTo>
                  <a:lnTo>
                    <a:pt x="553" y="499"/>
                  </a:lnTo>
                  <a:lnTo>
                    <a:pt x="555" y="503"/>
                  </a:lnTo>
                  <a:lnTo>
                    <a:pt x="557" y="503"/>
                  </a:lnTo>
                  <a:lnTo>
                    <a:pt x="559" y="503"/>
                  </a:lnTo>
                  <a:lnTo>
                    <a:pt x="560" y="503"/>
                  </a:lnTo>
                  <a:lnTo>
                    <a:pt x="562" y="503"/>
                  </a:lnTo>
                  <a:lnTo>
                    <a:pt x="564" y="503"/>
                  </a:lnTo>
                  <a:lnTo>
                    <a:pt x="566" y="503"/>
                  </a:lnTo>
                  <a:lnTo>
                    <a:pt x="570" y="503"/>
                  </a:lnTo>
                  <a:lnTo>
                    <a:pt x="570" y="501"/>
                  </a:lnTo>
                  <a:lnTo>
                    <a:pt x="574" y="501"/>
                  </a:lnTo>
                  <a:lnTo>
                    <a:pt x="576" y="501"/>
                  </a:lnTo>
                  <a:lnTo>
                    <a:pt x="576" y="503"/>
                  </a:lnTo>
                  <a:lnTo>
                    <a:pt x="578" y="503"/>
                  </a:lnTo>
                  <a:lnTo>
                    <a:pt x="578" y="505"/>
                  </a:lnTo>
                  <a:lnTo>
                    <a:pt x="580" y="505"/>
                  </a:lnTo>
                  <a:lnTo>
                    <a:pt x="580" y="507"/>
                  </a:lnTo>
                  <a:lnTo>
                    <a:pt x="582" y="509"/>
                  </a:lnTo>
                  <a:lnTo>
                    <a:pt x="584" y="509"/>
                  </a:lnTo>
                  <a:lnTo>
                    <a:pt x="584" y="510"/>
                  </a:lnTo>
                  <a:lnTo>
                    <a:pt x="585" y="510"/>
                  </a:lnTo>
                  <a:lnTo>
                    <a:pt x="587" y="510"/>
                  </a:lnTo>
                  <a:lnTo>
                    <a:pt x="589" y="512"/>
                  </a:lnTo>
                  <a:lnTo>
                    <a:pt x="591" y="512"/>
                  </a:lnTo>
                  <a:lnTo>
                    <a:pt x="595" y="512"/>
                  </a:lnTo>
                  <a:lnTo>
                    <a:pt x="595" y="510"/>
                  </a:lnTo>
                  <a:lnTo>
                    <a:pt x="595" y="507"/>
                  </a:lnTo>
                  <a:lnTo>
                    <a:pt x="597" y="505"/>
                  </a:lnTo>
                  <a:lnTo>
                    <a:pt x="597" y="503"/>
                  </a:lnTo>
                  <a:lnTo>
                    <a:pt x="597" y="499"/>
                  </a:lnTo>
                  <a:lnTo>
                    <a:pt x="599" y="499"/>
                  </a:lnTo>
                  <a:lnTo>
                    <a:pt x="601" y="499"/>
                  </a:lnTo>
                  <a:lnTo>
                    <a:pt x="601" y="497"/>
                  </a:lnTo>
                  <a:lnTo>
                    <a:pt x="603" y="497"/>
                  </a:lnTo>
                  <a:lnTo>
                    <a:pt x="603" y="495"/>
                  </a:lnTo>
                  <a:lnTo>
                    <a:pt x="601" y="495"/>
                  </a:lnTo>
                  <a:lnTo>
                    <a:pt x="603" y="495"/>
                  </a:lnTo>
                  <a:lnTo>
                    <a:pt x="603" y="493"/>
                  </a:lnTo>
                  <a:lnTo>
                    <a:pt x="603" y="495"/>
                  </a:lnTo>
                  <a:lnTo>
                    <a:pt x="603" y="493"/>
                  </a:lnTo>
                  <a:lnTo>
                    <a:pt x="605" y="493"/>
                  </a:lnTo>
                  <a:lnTo>
                    <a:pt x="603" y="493"/>
                  </a:lnTo>
                  <a:lnTo>
                    <a:pt x="605" y="493"/>
                  </a:lnTo>
                  <a:lnTo>
                    <a:pt x="607" y="493"/>
                  </a:lnTo>
                  <a:lnTo>
                    <a:pt x="608" y="493"/>
                  </a:lnTo>
                  <a:lnTo>
                    <a:pt x="608" y="495"/>
                  </a:lnTo>
                  <a:lnTo>
                    <a:pt x="610" y="495"/>
                  </a:lnTo>
                  <a:lnTo>
                    <a:pt x="612" y="495"/>
                  </a:lnTo>
                  <a:lnTo>
                    <a:pt x="612" y="497"/>
                  </a:lnTo>
                  <a:lnTo>
                    <a:pt x="612" y="499"/>
                  </a:lnTo>
                  <a:lnTo>
                    <a:pt x="614" y="501"/>
                  </a:lnTo>
                  <a:lnTo>
                    <a:pt x="614" y="503"/>
                  </a:lnTo>
                  <a:lnTo>
                    <a:pt x="614" y="505"/>
                  </a:lnTo>
                  <a:lnTo>
                    <a:pt x="614" y="507"/>
                  </a:lnTo>
                  <a:lnTo>
                    <a:pt x="616" y="507"/>
                  </a:lnTo>
                  <a:lnTo>
                    <a:pt x="616" y="509"/>
                  </a:lnTo>
                  <a:lnTo>
                    <a:pt x="618" y="510"/>
                  </a:lnTo>
                  <a:lnTo>
                    <a:pt x="618" y="512"/>
                  </a:lnTo>
                  <a:lnTo>
                    <a:pt x="614" y="516"/>
                  </a:lnTo>
                  <a:lnTo>
                    <a:pt x="612" y="518"/>
                  </a:lnTo>
                  <a:lnTo>
                    <a:pt x="610" y="520"/>
                  </a:lnTo>
                  <a:lnTo>
                    <a:pt x="610" y="522"/>
                  </a:lnTo>
                  <a:lnTo>
                    <a:pt x="607" y="524"/>
                  </a:lnTo>
                  <a:lnTo>
                    <a:pt x="607" y="526"/>
                  </a:lnTo>
                  <a:lnTo>
                    <a:pt x="605" y="528"/>
                  </a:lnTo>
                  <a:lnTo>
                    <a:pt x="603" y="530"/>
                  </a:lnTo>
                  <a:lnTo>
                    <a:pt x="601" y="532"/>
                  </a:lnTo>
                  <a:lnTo>
                    <a:pt x="599" y="533"/>
                  </a:lnTo>
                  <a:lnTo>
                    <a:pt x="595" y="537"/>
                  </a:lnTo>
                  <a:lnTo>
                    <a:pt x="593" y="541"/>
                  </a:lnTo>
                  <a:lnTo>
                    <a:pt x="591" y="543"/>
                  </a:lnTo>
                  <a:lnTo>
                    <a:pt x="589" y="543"/>
                  </a:lnTo>
                  <a:lnTo>
                    <a:pt x="589" y="545"/>
                  </a:lnTo>
                  <a:lnTo>
                    <a:pt x="587" y="543"/>
                  </a:lnTo>
                  <a:lnTo>
                    <a:pt x="585" y="543"/>
                  </a:lnTo>
                  <a:lnTo>
                    <a:pt x="584" y="543"/>
                  </a:lnTo>
                  <a:lnTo>
                    <a:pt x="582" y="543"/>
                  </a:lnTo>
                  <a:lnTo>
                    <a:pt x="580" y="541"/>
                  </a:lnTo>
                  <a:lnTo>
                    <a:pt x="578" y="541"/>
                  </a:lnTo>
                  <a:lnTo>
                    <a:pt x="576" y="539"/>
                  </a:lnTo>
                  <a:lnTo>
                    <a:pt x="574" y="539"/>
                  </a:lnTo>
                  <a:lnTo>
                    <a:pt x="574" y="537"/>
                  </a:lnTo>
                  <a:lnTo>
                    <a:pt x="572" y="535"/>
                  </a:lnTo>
                  <a:lnTo>
                    <a:pt x="570" y="535"/>
                  </a:lnTo>
                  <a:lnTo>
                    <a:pt x="568" y="535"/>
                  </a:lnTo>
                  <a:lnTo>
                    <a:pt x="566" y="533"/>
                  </a:lnTo>
                  <a:lnTo>
                    <a:pt x="564" y="533"/>
                  </a:lnTo>
                  <a:lnTo>
                    <a:pt x="562" y="532"/>
                  </a:lnTo>
                  <a:lnTo>
                    <a:pt x="560" y="532"/>
                  </a:lnTo>
                  <a:lnTo>
                    <a:pt x="559" y="530"/>
                  </a:lnTo>
                  <a:lnTo>
                    <a:pt x="557" y="530"/>
                  </a:lnTo>
                  <a:lnTo>
                    <a:pt x="553" y="530"/>
                  </a:lnTo>
                  <a:lnTo>
                    <a:pt x="551" y="528"/>
                  </a:lnTo>
                  <a:lnTo>
                    <a:pt x="549" y="528"/>
                  </a:lnTo>
                  <a:lnTo>
                    <a:pt x="547" y="528"/>
                  </a:lnTo>
                  <a:lnTo>
                    <a:pt x="545" y="528"/>
                  </a:lnTo>
                  <a:lnTo>
                    <a:pt x="543" y="526"/>
                  </a:lnTo>
                  <a:lnTo>
                    <a:pt x="543" y="524"/>
                  </a:lnTo>
                  <a:lnTo>
                    <a:pt x="541" y="524"/>
                  </a:lnTo>
                  <a:lnTo>
                    <a:pt x="539" y="524"/>
                  </a:lnTo>
                  <a:lnTo>
                    <a:pt x="539" y="526"/>
                  </a:lnTo>
                  <a:lnTo>
                    <a:pt x="539" y="528"/>
                  </a:lnTo>
                  <a:lnTo>
                    <a:pt x="539" y="530"/>
                  </a:lnTo>
                  <a:lnTo>
                    <a:pt x="539" y="532"/>
                  </a:lnTo>
                  <a:lnTo>
                    <a:pt x="541" y="532"/>
                  </a:lnTo>
                  <a:lnTo>
                    <a:pt x="539" y="532"/>
                  </a:lnTo>
                  <a:lnTo>
                    <a:pt x="537" y="532"/>
                  </a:lnTo>
                  <a:lnTo>
                    <a:pt x="537" y="533"/>
                  </a:lnTo>
                  <a:lnTo>
                    <a:pt x="537" y="535"/>
                  </a:lnTo>
                  <a:lnTo>
                    <a:pt x="536" y="535"/>
                  </a:lnTo>
                  <a:lnTo>
                    <a:pt x="536" y="537"/>
                  </a:lnTo>
                  <a:lnTo>
                    <a:pt x="536" y="539"/>
                  </a:lnTo>
                  <a:lnTo>
                    <a:pt x="536" y="541"/>
                  </a:lnTo>
                  <a:lnTo>
                    <a:pt x="537" y="541"/>
                  </a:lnTo>
                  <a:lnTo>
                    <a:pt x="537" y="543"/>
                  </a:lnTo>
                  <a:lnTo>
                    <a:pt x="537" y="545"/>
                  </a:lnTo>
                  <a:lnTo>
                    <a:pt x="536" y="545"/>
                  </a:lnTo>
                  <a:lnTo>
                    <a:pt x="536" y="547"/>
                  </a:lnTo>
                  <a:lnTo>
                    <a:pt x="536" y="549"/>
                  </a:lnTo>
                  <a:lnTo>
                    <a:pt x="534" y="549"/>
                  </a:lnTo>
                  <a:lnTo>
                    <a:pt x="534" y="551"/>
                  </a:lnTo>
                  <a:lnTo>
                    <a:pt x="532" y="551"/>
                  </a:lnTo>
                  <a:lnTo>
                    <a:pt x="532" y="553"/>
                  </a:lnTo>
                  <a:lnTo>
                    <a:pt x="532" y="555"/>
                  </a:lnTo>
                  <a:lnTo>
                    <a:pt x="532" y="557"/>
                  </a:lnTo>
                  <a:lnTo>
                    <a:pt x="530" y="557"/>
                  </a:lnTo>
                  <a:lnTo>
                    <a:pt x="530" y="555"/>
                  </a:lnTo>
                  <a:lnTo>
                    <a:pt x="528" y="555"/>
                  </a:lnTo>
                  <a:lnTo>
                    <a:pt x="528" y="557"/>
                  </a:lnTo>
                  <a:lnTo>
                    <a:pt x="526" y="557"/>
                  </a:lnTo>
                  <a:lnTo>
                    <a:pt x="526" y="555"/>
                  </a:lnTo>
                  <a:lnTo>
                    <a:pt x="528" y="555"/>
                  </a:lnTo>
                  <a:lnTo>
                    <a:pt x="528" y="553"/>
                  </a:lnTo>
                  <a:lnTo>
                    <a:pt x="526" y="553"/>
                  </a:lnTo>
                  <a:lnTo>
                    <a:pt x="526" y="555"/>
                  </a:lnTo>
                  <a:lnTo>
                    <a:pt x="526" y="557"/>
                  </a:lnTo>
                  <a:lnTo>
                    <a:pt x="524" y="557"/>
                  </a:lnTo>
                  <a:lnTo>
                    <a:pt x="524" y="558"/>
                  </a:lnTo>
                  <a:lnTo>
                    <a:pt x="524" y="560"/>
                  </a:lnTo>
                  <a:lnTo>
                    <a:pt x="524" y="562"/>
                  </a:lnTo>
                  <a:lnTo>
                    <a:pt x="524" y="564"/>
                  </a:lnTo>
                  <a:lnTo>
                    <a:pt x="524" y="566"/>
                  </a:lnTo>
                  <a:lnTo>
                    <a:pt x="524" y="564"/>
                  </a:lnTo>
                  <a:lnTo>
                    <a:pt x="522" y="564"/>
                  </a:lnTo>
                  <a:lnTo>
                    <a:pt x="522" y="566"/>
                  </a:lnTo>
                  <a:lnTo>
                    <a:pt x="520" y="566"/>
                  </a:lnTo>
                  <a:lnTo>
                    <a:pt x="520" y="568"/>
                  </a:lnTo>
                  <a:lnTo>
                    <a:pt x="520" y="570"/>
                  </a:lnTo>
                  <a:lnTo>
                    <a:pt x="520" y="572"/>
                  </a:lnTo>
                  <a:lnTo>
                    <a:pt x="520" y="574"/>
                  </a:lnTo>
                  <a:lnTo>
                    <a:pt x="520" y="572"/>
                  </a:lnTo>
                  <a:lnTo>
                    <a:pt x="518" y="572"/>
                  </a:lnTo>
                  <a:lnTo>
                    <a:pt x="518" y="574"/>
                  </a:lnTo>
                  <a:lnTo>
                    <a:pt x="516" y="574"/>
                  </a:lnTo>
                  <a:lnTo>
                    <a:pt x="516" y="576"/>
                  </a:lnTo>
                  <a:lnTo>
                    <a:pt x="514" y="576"/>
                  </a:lnTo>
                  <a:lnTo>
                    <a:pt x="516" y="576"/>
                  </a:lnTo>
                  <a:lnTo>
                    <a:pt x="516" y="578"/>
                  </a:lnTo>
                  <a:lnTo>
                    <a:pt x="516" y="580"/>
                  </a:lnTo>
                  <a:lnTo>
                    <a:pt x="514" y="580"/>
                  </a:lnTo>
                  <a:lnTo>
                    <a:pt x="514" y="581"/>
                  </a:lnTo>
                  <a:lnTo>
                    <a:pt x="516" y="581"/>
                  </a:lnTo>
                  <a:lnTo>
                    <a:pt x="516" y="583"/>
                  </a:lnTo>
                  <a:lnTo>
                    <a:pt x="518" y="583"/>
                  </a:lnTo>
                  <a:lnTo>
                    <a:pt x="518" y="585"/>
                  </a:lnTo>
                  <a:lnTo>
                    <a:pt x="520" y="585"/>
                  </a:lnTo>
                  <a:lnTo>
                    <a:pt x="518" y="585"/>
                  </a:lnTo>
                  <a:lnTo>
                    <a:pt x="518" y="587"/>
                  </a:lnTo>
                  <a:lnTo>
                    <a:pt x="518" y="589"/>
                  </a:lnTo>
                  <a:lnTo>
                    <a:pt x="520" y="589"/>
                  </a:lnTo>
                  <a:lnTo>
                    <a:pt x="520" y="591"/>
                  </a:lnTo>
                  <a:lnTo>
                    <a:pt x="518" y="591"/>
                  </a:lnTo>
                  <a:lnTo>
                    <a:pt x="518" y="593"/>
                  </a:lnTo>
                  <a:lnTo>
                    <a:pt x="518" y="595"/>
                  </a:lnTo>
                  <a:lnTo>
                    <a:pt x="516" y="595"/>
                  </a:lnTo>
                  <a:lnTo>
                    <a:pt x="514" y="597"/>
                  </a:lnTo>
                  <a:lnTo>
                    <a:pt x="514" y="599"/>
                  </a:lnTo>
                  <a:lnTo>
                    <a:pt x="516" y="599"/>
                  </a:lnTo>
                  <a:lnTo>
                    <a:pt x="516" y="597"/>
                  </a:lnTo>
                  <a:lnTo>
                    <a:pt x="516" y="599"/>
                  </a:lnTo>
                  <a:lnTo>
                    <a:pt x="516" y="601"/>
                  </a:lnTo>
                  <a:lnTo>
                    <a:pt x="516" y="603"/>
                  </a:lnTo>
                  <a:lnTo>
                    <a:pt x="514" y="603"/>
                  </a:lnTo>
                  <a:lnTo>
                    <a:pt x="514" y="605"/>
                  </a:lnTo>
                  <a:lnTo>
                    <a:pt x="512" y="605"/>
                  </a:lnTo>
                  <a:lnTo>
                    <a:pt x="512" y="606"/>
                  </a:lnTo>
                  <a:lnTo>
                    <a:pt x="511" y="606"/>
                  </a:lnTo>
                  <a:lnTo>
                    <a:pt x="512" y="606"/>
                  </a:lnTo>
                  <a:lnTo>
                    <a:pt x="512" y="608"/>
                  </a:lnTo>
                  <a:lnTo>
                    <a:pt x="512" y="610"/>
                  </a:lnTo>
                  <a:lnTo>
                    <a:pt x="511" y="610"/>
                  </a:lnTo>
                  <a:lnTo>
                    <a:pt x="511" y="612"/>
                  </a:lnTo>
                  <a:lnTo>
                    <a:pt x="509" y="612"/>
                  </a:lnTo>
                  <a:lnTo>
                    <a:pt x="509" y="614"/>
                  </a:lnTo>
                  <a:lnTo>
                    <a:pt x="507" y="614"/>
                  </a:lnTo>
                  <a:lnTo>
                    <a:pt x="507" y="616"/>
                  </a:lnTo>
                  <a:lnTo>
                    <a:pt x="505" y="616"/>
                  </a:lnTo>
                  <a:lnTo>
                    <a:pt x="505" y="618"/>
                  </a:lnTo>
                  <a:lnTo>
                    <a:pt x="505" y="620"/>
                  </a:lnTo>
                  <a:lnTo>
                    <a:pt x="503" y="622"/>
                  </a:lnTo>
                  <a:lnTo>
                    <a:pt x="503" y="624"/>
                  </a:lnTo>
                  <a:lnTo>
                    <a:pt x="505" y="624"/>
                  </a:lnTo>
                  <a:lnTo>
                    <a:pt x="507" y="624"/>
                  </a:lnTo>
                  <a:lnTo>
                    <a:pt x="507" y="626"/>
                  </a:lnTo>
                  <a:lnTo>
                    <a:pt x="505" y="626"/>
                  </a:lnTo>
                  <a:lnTo>
                    <a:pt x="505" y="628"/>
                  </a:lnTo>
                  <a:lnTo>
                    <a:pt x="507" y="628"/>
                  </a:lnTo>
                  <a:lnTo>
                    <a:pt x="509" y="628"/>
                  </a:lnTo>
                  <a:lnTo>
                    <a:pt x="507" y="628"/>
                  </a:lnTo>
                  <a:lnTo>
                    <a:pt x="507" y="629"/>
                  </a:lnTo>
                  <a:lnTo>
                    <a:pt x="509" y="629"/>
                  </a:lnTo>
                  <a:lnTo>
                    <a:pt x="511" y="629"/>
                  </a:lnTo>
                  <a:lnTo>
                    <a:pt x="511" y="631"/>
                  </a:lnTo>
                  <a:lnTo>
                    <a:pt x="512" y="631"/>
                  </a:lnTo>
                  <a:lnTo>
                    <a:pt x="514" y="631"/>
                  </a:lnTo>
                  <a:lnTo>
                    <a:pt x="516" y="631"/>
                  </a:lnTo>
                  <a:lnTo>
                    <a:pt x="518" y="631"/>
                  </a:lnTo>
                  <a:lnTo>
                    <a:pt x="520" y="631"/>
                  </a:lnTo>
                  <a:lnTo>
                    <a:pt x="520" y="633"/>
                  </a:lnTo>
                  <a:lnTo>
                    <a:pt x="520" y="631"/>
                  </a:lnTo>
                  <a:lnTo>
                    <a:pt x="522" y="631"/>
                  </a:lnTo>
                  <a:lnTo>
                    <a:pt x="524" y="631"/>
                  </a:lnTo>
                  <a:lnTo>
                    <a:pt x="526" y="631"/>
                  </a:lnTo>
                  <a:lnTo>
                    <a:pt x="526" y="629"/>
                  </a:lnTo>
                  <a:lnTo>
                    <a:pt x="528" y="629"/>
                  </a:lnTo>
                  <a:lnTo>
                    <a:pt x="528" y="631"/>
                  </a:lnTo>
                  <a:lnTo>
                    <a:pt x="528" y="633"/>
                  </a:lnTo>
                  <a:lnTo>
                    <a:pt x="530" y="633"/>
                  </a:lnTo>
                  <a:lnTo>
                    <a:pt x="532" y="633"/>
                  </a:lnTo>
                  <a:lnTo>
                    <a:pt x="532" y="631"/>
                  </a:lnTo>
                  <a:lnTo>
                    <a:pt x="534" y="631"/>
                  </a:lnTo>
                  <a:lnTo>
                    <a:pt x="534" y="629"/>
                  </a:lnTo>
                  <a:lnTo>
                    <a:pt x="536" y="629"/>
                  </a:lnTo>
                  <a:lnTo>
                    <a:pt x="537" y="629"/>
                  </a:lnTo>
                  <a:lnTo>
                    <a:pt x="539" y="629"/>
                  </a:lnTo>
                  <a:lnTo>
                    <a:pt x="541" y="629"/>
                  </a:lnTo>
                  <a:lnTo>
                    <a:pt x="543" y="631"/>
                  </a:lnTo>
                  <a:lnTo>
                    <a:pt x="543" y="633"/>
                  </a:lnTo>
                  <a:lnTo>
                    <a:pt x="545" y="633"/>
                  </a:lnTo>
                  <a:lnTo>
                    <a:pt x="547" y="633"/>
                  </a:lnTo>
                  <a:lnTo>
                    <a:pt x="547" y="631"/>
                  </a:lnTo>
                  <a:lnTo>
                    <a:pt x="549" y="631"/>
                  </a:lnTo>
                  <a:lnTo>
                    <a:pt x="549" y="633"/>
                  </a:lnTo>
                  <a:lnTo>
                    <a:pt x="549" y="635"/>
                  </a:lnTo>
                  <a:lnTo>
                    <a:pt x="547" y="635"/>
                  </a:lnTo>
                  <a:lnTo>
                    <a:pt x="549" y="635"/>
                  </a:lnTo>
                  <a:lnTo>
                    <a:pt x="551" y="635"/>
                  </a:lnTo>
                  <a:lnTo>
                    <a:pt x="551" y="637"/>
                  </a:lnTo>
                  <a:lnTo>
                    <a:pt x="553" y="637"/>
                  </a:lnTo>
                  <a:lnTo>
                    <a:pt x="555" y="637"/>
                  </a:lnTo>
                  <a:lnTo>
                    <a:pt x="555" y="639"/>
                  </a:lnTo>
                  <a:lnTo>
                    <a:pt x="557" y="639"/>
                  </a:lnTo>
                  <a:lnTo>
                    <a:pt x="557" y="641"/>
                  </a:lnTo>
                  <a:lnTo>
                    <a:pt x="557" y="643"/>
                  </a:lnTo>
                  <a:lnTo>
                    <a:pt x="557" y="645"/>
                  </a:lnTo>
                  <a:lnTo>
                    <a:pt x="557" y="647"/>
                  </a:lnTo>
                  <a:lnTo>
                    <a:pt x="559" y="649"/>
                  </a:lnTo>
                  <a:lnTo>
                    <a:pt x="559" y="651"/>
                  </a:lnTo>
                  <a:lnTo>
                    <a:pt x="557" y="651"/>
                  </a:lnTo>
                  <a:lnTo>
                    <a:pt x="557" y="653"/>
                  </a:lnTo>
                  <a:lnTo>
                    <a:pt x="559" y="653"/>
                  </a:lnTo>
                  <a:lnTo>
                    <a:pt x="559" y="654"/>
                  </a:lnTo>
                  <a:lnTo>
                    <a:pt x="559" y="656"/>
                  </a:lnTo>
                  <a:lnTo>
                    <a:pt x="560" y="658"/>
                  </a:lnTo>
                  <a:lnTo>
                    <a:pt x="560" y="660"/>
                  </a:lnTo>
                  <a:lnTo>
                    <a:pt x="560" y="662"/>
                  </a:lnTo>
                  <a:lnTo>
                    <a:pt x="560" y="664"/>
                  </a:lnTo>
                  <a:lnTo>
                    <a:pt x="560" y="666"/>
                  </a:lnTo>
                  <a:lnTo>
                    <a:pt x="559" y="668"/>
                  </a:lnTo>
                  <a:lnTo>
                    <a:pt x="559" y="666"/>
                  </a:lnTo>
                  <a:lnTo>
                    <a:pt x="557" y="666"/>
                  </a:lnTo>
                  <a:lnTo>
                    <a:pt x="555" y="666"/>
                  </a:lnTo>
                  <a:lnTo>
                    <a:pt x="555" y="668"/>
                  </a:lnTo>
                  <a:lnTo>
                    <a:pt x="555" y="670"/>
                  </a:lnTo>
                  <a:lnTo>
                    <a:pt x="557" y="670"/>
                  </a:lnTo>
                  <a:lnTo>
                    <a:pt x="557" y="672"/>
                  </a:lnTo>
                  <a:lnTo>
                    <a:pt x="557" y="674"/>
                  </a:lnTo>
                  <a:lnTo>
                    <a:pt x="555" y="674"/>
                  </a:lnTo>
                  <a:lnTo>
                    <a:pt x="555" y="676"/>
                  </a:lnTo>
                  <a:lnTo>
                    <a:pt x="555" y="677"/>
                  </a:lnTo>
                  <a:lnTo>
                    <a:pt x="555" y="679"/>
                  </a:lnTo>
                  <a:lnTo>
                    <a:pt x="557" y="679"/>
                  </a:lnTo>
                  <a:lnTo>
                    <a:pt x="557" y="681"/>
                  </a:lnTo>
                  <a:lnTo>
                    <a:pt x="559" y="681"/>
                  </a:lnTo>
                  <a:lnTo>
                    <a:pt x="559" y="683"/>
                  </a:lnTo>
                  <a:lnTo>
                    <a:pt x="560" y="685"/>
                  </a:lnTo>
                  <a:lnTo>
                    <a:pt x="562" y="685"/>
                  </a:lnTo>
                  <a:lnTo>
                    <a:pt x="564" y="685"/>
                  </a:lnTo>
                  <a:lnTo>
                    <a:pt x="564" y="687"/>
                  </a:lnTo>
                  <a:lnTo>
                    <a:pt x="566" y="687"/>
                  </a:lnTo>
                  <a:lnTo>
                    <a:pt x="566" y="689"/>
                  </a:lnTo>
                  <a:lnTo>
                    <a:pt x="568" y="689"/>
                  </a:lnTo>
                  <a:lnTo>
                    <a:pt x="570" y="689"/>
                  </a:lnTo>
                  <a:lnTo>
                    <a:pt x="570" y="691"/>
                  </a:lnTo>
                  <a:lnTo>
                    <a:pt x="568" y="691"/>
                  </a:lnTo>
                  <a:lnTo>
                    <a:pt x="568" y="693"/>
                  </a:lnTo>
                  <a:lnTo>
                    <a:pt x="568" y="695"/>
                  </a:lnTo>
                  <a:lnTo>
                    <a:pt x="568" y="697"/>
                  </a:lnTo>
                  <a:lnTo>
                    <a:pt x="570" y="697"/>
                  </a:lnTo>
                  <a:lnTo>
                    <a:pt x="570" y="699"/>
                  </a:lnTo>
                  <a:lnTo>
                    <a:pt x="572" y="699"/>
                  </a:lnTo>
                  <a:lnTo>
                    <a:pt x="572" y="701"/>
                  </a:lnTo>
                  <a:lnTo>
                    <a:pt x="574" y="701"/>
                  </a:lnTo>
                  <a:lnTo>
                    <a:pt x="574" y="702"/>
                  </a:lnTo>
                  <a:lnTo>
                    <a:pt x="574" y="704"/>
                  </a:lnTo>
                  <a:lnTo>
                    <a:pt x="574" y="706"/>
                  </a:lnTo>
                  <a:lnTo>
                    <a:pt x="572" y="706"/>
                  </a:lnTo>
                  <a:lnTo>
                    <a:pt x="572" y="708"/>
                  </a:lnTo>
                  <a:lnTo>
                    <a:pt x="574" y="708"/>
                  </a:lnTo>
                  <a:lnTo>
                    <a:pt x="576" y="708"/>
                  </a:lnTo>
                  <a:lnTo>
                    <a:pt x="576" y="710"/>
                  </a:lnTo>
                  <a:lnTo>
                    <a:pt x="576" y="712"/>
                  </a:lnTo>
                  <a:lnTo>
                    <a:pt x="574" y="712"/>
                  </a:lnTo>
                  <a:lnTo>
                    <a:pt x="572" y="712"/>
                  </a:lnTo>
                  <a:lnTo>
                    <a:pt x="572" y="714"/>
                  </a:lnTo>
                  <a:lnTo>
                    <a:pt x="574" y="714"/>
                  </a:lnTo>
                  <a:lnTo>
                    <a:pt x="576" y="716"/>
                  </a:lnTo>
                  <a:lnTo>
                    <a:pt x="576" y="718"/>
                  </a:lnTo>
                  <a:lnTo>
                    <a:pt x="576" y="720"/>
                  </a:lnTo>
                  <a:lnTo>
                    <a:pt x="578" y="720"/>
                  </a:lnTo>
                  <a:lnTo>
                    <a:pt x="580" y="720"/>
                  </a:lnTo>
                  <a:lnTo>
                    <a:pt x="580" y="718"/>
                  </a:lnTo>
                  <a:lnTo>
                    <a:pt x="580" y="716"/>
                  </a:lnTo>
                  <a:lnTo>
                    <a:pt x="582" y="716"/>
                  </a:lnTo>
                  <a:lnTo>
                    <a:pt x="582" y="714"/>
                  </a:lnTo>
                  <a:lnTo>
                    <a:pt x="584" y="716"/>
                  </a:lnTo>
                  <a:lnTo>
                    <a:pt x="584" y="718"/>
                  </a:lnTo>
                  <a:lnTo>
                    <a:pt x="582" y="718"/>
                  </a:lnTo>
                  <a:lnTo>
                    <a:pt x="582" y="720"/>
                  </a:lnTo>
                  <a:lnTo>
                    <a:pt x="582" y="722"/>
                  </a:lnTo>
                  <a:lnTo>
                    <a:pt x="580" y="722"/>
                  </a:lnTo>
                  <a:lnTo>
                    <a:pt x="582" y="722"/>
                  </a:lnTo>
                  <a:lnTo>
                    <a:pt x="582" y="724"/>
                  </a:lnTo>
                  <a:lnTo>
                    <a:pt x="582" y="725"/>
                  </a:lnTo>
                  <a:lnTo>
                    <a:pt x="584" y="727"/>
                  </a:lnTo>
                  <a:lnTo>
                    <a:pt x="582" y="729"/>
                  </a:lnTo>
                  <a:lnTo>
                    <a:pt x="584" y="729"/>
                  </a:lnTo>
                  <a:lnTo>
                    <a:pt x="584" y="731"/>
                  </a:lnTo>
                  <a:lnTo>
                    <a:pt x="582" y="731"/>
                  </a:lnTo>
                  <a:lnTo>
                    <a:pt x="580" y="731"/>
                  </a:lnTo>
                  <a:lnTo>
                    <a:pt x="578" y="731"/>
                  </a:lnTo>
                  <a:lnTo>
                    <a:pt x="576" y="731"/>
                  </a:lnTo>
                  <a:lnTo>
                    <a:pt x="576" y="733"/>
                  </a:lnTo>
                  <a:lnTo>
                    <a:pt x="576" y="735"/>
                  </a:lnTo>
                  <a:lnTo>
                    <a:pt x="574" y="735"/>
                  </a:lnTo>
                  <a:lnTo>
                    <a:pt x="572" y="735"/>
                  </a:lnTo>
                  <a:lnTo>
                    <a:pt x="570" y="737"/>
                  </a:lnTo>
                  <a:lnTo>
                    <a:pt x="566" y="737"/>
                  </a:lnTo>
                  <a:lnTo>
                    <a:pt x="564" y="737"/>
                  </a:lnTo>
                  <a:lnTo>
                    <a:pt x="562" y="737"/>
                  </a:lnTo>
                  <a:lnTo>
                    <a:pt x="560" y="737"/>
                  </a:lnTo>
                  <a:lnTo>
                    <a:pt x="559" y="737"/>
                  </a:lnTo>
                  <a:lnTo>
                    <a:pt x="557" y="737"/>
                  </a:lnTo>
                  <a:lnTo>
                    <a:pt x="557" y="739"/>
                  </a:lnTo>
                  <a:lnTo>
                    <a:pt x="555" y="739"/>
                  </a:lnTo>
                  <a:lnTo>
                    <a:pt x="555" y="741"/>
                  </a:lnTo>
                  <a:lnTo>
                    <a:pt x="555" y="743"/>
                  </a:lnTo>
                  <a:lnTo>
                    <a:pt x="555" y="745"/>
                  </a:lnTo>
                  <a:lnTo>
                    <a:pt x="555" y="747"/>
                  </a:lnTo>
                  <a:lnTo>
                    <a:pt x="555" y="749"/>
                  </a:lnTo>
                  <a:lnTo>
                    <a:pt x="557" y="749"/>
                  </a:lnTo>
                  <a:lnTo>
                    <a:pt x="559" y="749"/>
                  </a:lnTo>
                  <a:lnTo>
                    <a:pt x="560" y="749"/>
                  </a:lnTo>
                  <a:lnTo>
                    <a:pt x="562" y="749"/>
                  </a:lnTo>
                  <a:lnTo>
                    <a:pt x="564" y="749"/>
                  </a:lnTo>
                  <a:lnTo>
                    <a:pt x="566" y="749"/>
                  </a:lnTo>
                  <a:lnTo>
                    <a:pt x="568" y="749"/>
                  </a:lnTo>
                  <a:lnTo>
                    <a:pt x="568" y="750"/>
                  </a:lnTo>
                  <a:lnTo>
                    <a:pt x="570" y="750"/>
                  </a:lnTo>
                  <a:lnTo>
                    <a:pt x="570" y="752"/>
                  </a:lnTo>
                  <a:lnTo>
                    <a:pt x="572" y="752"/>
                  </a:lnTo>
                  <a:lnTo>
                    <a:pt x="572" y="754"/>
                  </a:lnTo>
                  <a:lnTo>
                    <a:pt x="574" y="754"/>
                  </a:lnTo>
                  <a:lnTo>
                    <a:pt x="574" y="756"/>
                  </a:lnTo>
                  <a:lnTo>
                    <a:pt x="576" y="756"/>
                  </a:lnTo>
                  <a:lnTo>
                    <a:pt x="576" y="758"/>
                  </a:lnTo>
                  <a:lnTo>
                    <a:pt x="574" y="760"/>
                  </a:lnTo>
                  <a:lnTo>
                    <a:pt x="574" y="762"/>
                  </a:lnTo>
                  <a:lnTo>
                    <a:pt x="574" y="764"/>
                  </a:lnTo>
                  <a:lnTo>
                    <a:pt x="576" y="764"/>
                  </a:lnTo>
                  <a:lnTo>
                    <a:pt x="578" y="764"/>
                  </a:lnTo>
                  <a:lnTo>
                    <a:pt x="578" y="762"/>
                  </a:lnTo>
                  <a:lnTo>
                    <a:pt x="580" y="762"/>
                  </a:lnTo>
                  <a:lnTo>
                    <a:pt x="580" y="760"/>
                  </a:lnTo>
                  <a:lnTo>
                    <a:pt x="582" y="760"/>
                  </a:lnTo>
                  <a:lnTo>
                    <a:pt x="580" y="760"/>
                  </a:lnTo>
                  <a:lnTo>
                    <a:pt x="580" y="758"/>
                  </a:lnTo>
                  <a:lnTo>
                    <a:pt x="582" y="758"/>
                  </a:lnTo>
                  <a:lnTo>
                    <a:pt x="582" y="756"/>
                  </a:lnTo>
                  <a:lnTo>
                    <a:pt x="582" y="754"/>
                  </a:lnTo>
                  <a:lnTo>
                    <a:pt x="584" y="754"/>
                  </a:lnTo>
                  <a:lnTo>
                    <a:pt x="585" y="754"/>
                  </a:lnTo>
                  <a:lnTo>
                    <a:pt x="585" y="752"/>
                  </a:lnTo>
                  <a:lnTo>
                    <a:pt x="585" y="750"/>
                  </a:lnTo>
                  <a:lnTo>
                    <a:pt x="587" y="750"/>
                  </a:lnTo>
                  <a:lnTo>
                    <a:pt x="587" y="752"/>
                  </a:lnTo>
                  <a:lnTo>
                    <a:pt x="589" y="752"/>
                  </a:lnTo>
                  <a:lnTo>
                    <a:pt x="591" y="752"/>
                  </a:lnTo>
                  <a:lnTo>
                    <a:pt x="591" y="750"/>
                  </a:lnTo>
                  <a:lnTo>
                    <a:pt x="589" y="750"/>
                  </a:lnTo>
                  <a:lnTo>
                    <a:pt x="589" y="749"/>
                  </a:lnTo>
                  <a:lnTo>
                    <a:pt x="591" y="749"/>
                  </a:lnTo>
                  <a:lnTo>
                    <a:pt x="591" y="747"/>
                  </a:lnTo>
                  <a:lnTo>
                    <a:pt x="593" y="745"/>
                  </a:lnTo>
                  <a:lnTo>
                    <a:pt x="595" y="745"/>
                  </a:lnTo>
                  <a:lnTo>
                    <a:pt x="597" y="745"/>
                  </a:lnTo>
                  <a:lnTo>
                    <a:pt x="597" y="747"/>
                  </a:lnTo>
                  <a:lnTo>
                    <a:pt x="597" y="750"/>
                  </a:lnTo>
                  <a:lnTo>
                    <a:pt x="599" y="756"/>
                  </a:lnTo>
                  <a:lnTo>
                    <a:pt x="601" y="758"/>
                  </a:lnTo>
                  <a:lnTo>
                    <a:pt x="601" y="760"/>
                  </a:lnTo>
                  <a:lnTo>
                    <a:pt x="601" y="762"/>
                  </a:lnTo>
                  <a:lnTo>
                    <a:pt x="603" y="762"/>
                  </a:lnTo>
                  <a:lnTo>
                    <a:pt x="603" y="764"/>
                  </a:lnTo>
                  <a:lnTo>
                    <a:pt x="605" y="764"/>
                  </a:lnTo>
                  <a:lnTo>
                    <a:pt x="603" y="766"/>
                  </a:lnTo>
                  <a:lnTo>
                    <a:pt x="605" y="768"/>
                  </a:lnTo>
                  <a:lnTo>
                    <a:pt x="605" y="770"/>
                  </a:lnTo>
                  <a:lnTo>
                    <a:pt x="605" y="772"/>
                  </a:lnTo>
                  <a:lnTo>
                    <a:pt x="603" y="773"/>
                  </a:lnTo>
                  <a:lnTo>
                    <a:pt x="603" y="775"/>
                  </a:lnTo>
                  <a:lnTo>
                    <a:pt x="601" y="775"/>
                  </a:lnTo>
                  <a:lnTo>
                    <a:pt x="603" y="777"/>
                  </a:lnTo>
                  <a:lnTo>
                    <a:pt x="603" y="779"/>
                  </a:lnTo>
                  <a:lnTo>
                    <a:pt x="603" y="781"/>
                  </a:lnTo>
                  <a:lnTo>
                    <a:pt x="603" y="783"/>
                  </a:lnTo>
                  <a:lnTo>
                    <a:pt x="601" y="783"/>
                  </a:lnTo>
                  <a:lnTo>
                    <a:pt x="599" y="783"/>
                  </a:lnTo>
                  <a:lnTo>
                    <a:pt x="597" y="783"/>
                  </a:lnTo>
                  <a:lnTo>
                    <a:pt x="595" y="783"/>
                  </a:lnTo>
                  <a:lnTo>
                    <a:pt x="591" y="781"/>
                  </a:lnTo>
                  <a:lnTo>
                    <a:pt x="587" y="781"/>
                  </a:lnTo>
                  <a:lnTo>
                    <a:pt x="585" y="781"/>
                  </a:lnTo>
                  <a:lnTo>
                    <a:pt x="584" y="781"/>
                  </a:lnTo>
                  <a:lnTo>
                    <a:pt x="584" y="785"/>
                  </a:lnTo>
                  <a:lnTo>
                    <a:pt x="584" y="789"/>
                  </a:lnTo>
                  <a:lnTo>
                    <a:pt x="584" y="795"/>
                  </a:lnTo>
                  <a:lnTo>
                    <a:pt x="582" y="795"/>
                  </a:lnTo>
                  <a:lnTo>
                    <a:pt x="582" y="800"/>
                  </a:lnTo>
                  <a:lnTo>
                    <a:pt x="582" y="802"/>
                  </a:lnTo>
                  <a:lnTo>
                    <a:pt x="580" y="800"/>
                  </a:lnTo>
                  <a:lnTo>
                    <a:pt x="576" y="802"/>
                  </a:lnTo>
                  <a:lnTo>
                    <a:pt x="574" y="802"/>
                  </a:lnTo>
                  <a:lnTo>
                    <a:pt x="574" y="804"/>
                  </a:lnTo>
                  <a:lnTo>
                    <a:pt x="574" y="806"/>
                  </a:lnTo>
                  <a:lnTo>
                    <a:pt x="574" y="808"/>
                  </a:lnTo>
                  <a:lnTo>
                    <a:pt x="574" y="810"/>
                  </a:lnTo>
                  <a:lnTo>
                    <a:pt x="574" y="812"/>
                  </a:lnTo>
                  <a:lnTo>
                    <a:pt x="574" y="814"/>
                  </a:lnTo>
                  <a:lnTo>
                    <a:pt x="574" y="816"/>
                  </a:lnTo>
                  <a:lnTo>
                    <a:pt x="574" y="818"/>
                  </a:lnTo>
                  <a:lnTo>
                    <a:pt x="572" y="818"/>
                  </a:lnTo>
                  <a:lnTo>
                    <a:pt x="572" y="820"/>
                  </a:lnTo>
                  <a:lnTo>
                    <a:pt x="572" y="821"/>
                  </a:lnTo>
                  <a:lnTo>
                    <a:pt x="570" y="821"/>
                  </a:lnTo>
                  <a:lnTo>
                    <a:pt x="568" y="821"/>
                  </a:lnTo>
                  <a:lnTo>
                    <a:pt x="568" y="823"/>
                  </a:lnTo>
                  <a:lnTo>
                    <a:pt x="568" y="825"/>
                  </a:lnTo>
                  <a:lnTo>
                    <a:pt x="566" y="825"/>
                  </a:lnTo>
                  <a:lnTo>
                    <a:pt x="566" y="827"/>
                  </a:lnTo>
                  <a:lnTo>
                    <a:pt x="564" y="827"/>
                  </a:lnTo>
                  <a:lnTo>
                    <a:pt x="564" y="829"/>
                  </a:lnTo>
                  <a:lnTo>
                    <a:pt x="564" y="831"/>
                  </a:lnTo>
                  <a:lnTo>
                    <a:pt x="564" y="833"/>
                  </a:lnTo>
                  <a:lnTo>
                    <a:pt x="564" y="835"/>
                  </a:lnTo>
                  <a:lnTo>
                    <a:pt x="564" y="837"/>
                  </a:lnTo>
                  <a:lnTo>
                    <a:pt x="564" y="839"/>
                  </a:lnTo>
                  <a:lnTo>
                    <a:pt x="564" y="841"/>
                  </a:lnTo>
                  <a:lnTo>
                    <a:pt x="564" y="843"/>
                  </a:lnTo>
                  <a:lnTo>
                    <a:pt x="564" y="845"/>
                  </a:lnTo>
                  <a:lnTo>
                    <a:pt x="562" y="845"/>
                  </a:lnTo>
                  <a:lnTo>
                    <a:pt x="562" y="846"/>
                  </a:lnTo>
                  <a:lnTo>
                    <a:pt x="560" y="846"/>
                  </a:lnTo>
                  <a:lnTo>
                    <a:pt x="559" y="846"/>
                  </a:lnTo>
                  <a:lnTo>
                    <a:pt x="557" y="848"/>
                  </a:lnTo>
                  <a:lnTo>
                    <a:pt x="555" y="848"/>
                  </a:lnTo>
                  <a:lnTo>
                    <a:pt x="555" y="850"/>
                  </a:lnTo>
                  <a:lnTo>
                    <a:pt x="553" y="850"/>
                  </a:lnTo>
                  <a:lnTo>
                    <a:pt x="555" y="850"/>
                  </a:lnTo>
                  <a:lnTo>
                    <a:pt x="555" y="852"/>
                  </a:lnTo>
                  <a:lnTo>
                    <a:pt x="557" y="852"/>
                  </a:lnTo>
                  <a:lnTo>
                    <a:pt x="557" y="854"/>
                  </a:lnTo>
                  <a:lnTo>
                    <a:pt x="559" y="854"/>
                  </a:lnTo>
                  <a:lnTo>
                    <a:pt x="560" y="854"/>
                  </a:lnTo>
                  <a:lnTo>
                    <a:pt x="562" y="856"/>
                  </a:lnTo>
                  <a:lnTo>
                    <a:pt x="564" y="856"/>
                  </a:lnTo>
                  <a:lnTo>
                    <a:pt x="566" y="856"/>
                  </a:lnTo>
                  <a:lnTo>
                    <a:pt x="568" y="858"/>
                  </a:lnTo>
                  <a:lnTo>
                    <a:pt x="568" y="860"/>
                  </a:lnTo>
                  <a:lnTo>
                    <a:pt x="566" y="860"/>
                  </a:lnTo>
                  <a:lnTo>
                    <a:pt x="564" y="860"/>
                  </a:lnTo>
                  <a:lnTo>
                    <a:pt x="562" y="860"/>
                  </a:lnTo>
                  <a:lnTo>
                    <a:pt x="560" y="860"/>
                  </a:lnTo>
                  <a:lnTo>
                    <a:pt x="559" y="860"/>
                  </a:lnTo>
                  <a:lnTo>
                    <a:pt x="557" y="860"/>
                  </a:lnTo>
                  <a:lnTo>
                    <a:pt x="555" y="860"/>
                  </a:lnTo>
                  <a:lnTo>
                    <a:pt x="553" y="860"/>
                  </a:lnTo>
                  <a:lnTo>
                    <a:pt x="551" y="860"/>
                  </a:lnTo>
                  <a:lnTo>
                    <a:pt x="549" y="860"/>
                  </a:lnTo>
                  <a:lnTo>
                    <a:pt x="549" y="862"/>
                  </a:lnTo>
                  <a:lnTo>
                    <a:pt x="547" y="862"/>
                  </a:lnTo>
                  <a:lnTo>
                    <a:pt x="545" y="862"/>
                  </a:lnTo>
                  <a:lnTo>
                    <a:pt x="543" y="862"/>
                  </a:lnTo>
                  <a:lnTo>
                    <a:pt x="541" y="862"/>
                  </a:lnTo>
                  <a:lnTo>
                    <a:pt x="539" y="862"/>
                  </a:lnTo>
                  <a:lnTo>
                    <a:pt x="537" y="862"/>
                  </a:lnTo>
                  <a:lnTo>
                    <a:pt x="539" y="862"/>
                  </a:lnTo>
                  <a:lnTo>
                    <a:pt x="537" y="862"/>
                  </a:lnTo>
                  <a:lnTo>
                    <a:pt x="537" y="864"/>
                  </a:lnTo>
                  <a:lnTo>
                    <a:pt x="539" y="864"/>
                  </a:lnTo>
                  <a:lnTo>
                    <a:pt x="539" y="866"/>
                  </a:lnTo>
                  <a:lnTo>
                    <a:pt x="539" y="868"/>
                  </a:lnTo>
                  <a:lnTo>
                    <a:pt x="541" y="868"/>
                  </a:lnTo>
                  <a:lnTo>
                    <a:pt x="539" y="868"/>
                  </a:lnTo>
                  <a:lnTo>
                    <a:pt x="539" y="869"/>
                  </a:lnTo>
                  <a:lnTo>
                    <a:pt x="541" y="869"/>
                  </a:lnTo>
                  <a:lnTo>
                    <a:pt x="541" y="871"/>
                  </a:lnTo>
                  <a:lnTo>
                    <a:pt x="541" y="873"/>
                  </a:lnTo>
                  <a:lnTo>
                    <a:pt x="543" y="873"/>
                  </a:lnTo>
                  <a:lnTo>
                    <a:pt x="543" y="875"/>
                  </a:lnTo>
                  <a:lnTo>
                    <a:pt x="545" y="875"/>
                  </a:lnTo>
                  <a:lnTo>
                    <a:pt x="547" y="875"/>
                  </a:lnTo>
                  <a:lnTo>
                    <a:pt x="547" y="877"/>
                  </a:lnTo>
                  <a:lnTo>
                    <a:pt x="549" y="877"/>
                  </a:lnTo>
                  <a:lnTo>
                    <a:pt x="549" y="879"/>
                  </a:lnTo>
                  <a:lnTo>
                    <a:pt x="549" y="881"/>
                  </a:lnTo>
                  <a:lnTo>
                    <a:pt x="549" y="883"/>
                  </a:lnTo>
                  <a:lnTo>
                    <a:pt x="549" y="885"/>
                  </a:lnTo>
                  <a:lnTo>
                    <a:pt x="551" y="885"/>
                  </a:lnTo>
                  <a:lnTo>
                    <a:pt x="551" y="887"/>
                  </a:lnTo>
                  <a:lnTo>
                    <a:pt x="549" y="887"/>
                  </a:lnTo>
                  <a:lnTo>
                    <a:pt x="549" y="889"/>
                  </a:lnTo>
                  <a:lnTo>
                    <a:pt x="549" y="891"/>
                  </a:lnTo>
                  <a:lnTo>
                    <a:pt x="551" y="891"/>
                  </a:lnTo>
                  <a:lnTo>
                    <a:pt x="551" y="893"/>
                  </a:lnTo>
                  <a:lnTo>
                    <a:pt x="549" y="893"/>
                  </a:lnTo>
                  <a:lnTo>
                    <a:pt x="549" y="894"/>
                  </a:lnTo>
                  <a:lnTo>
                    <a:pt x="551" y="894"/>
                  </a:lnTo>
                  <a:lnTo>
                    <a:pt x="549" y="894"/>
                  </a:lnTo>
                  <a:lnTo>
                    <a:pt x="551" y="894"/>
                  </a:lnTo>
                  <a:lnTo>
                    <a:pt x="551" y="896"/>
                  </a:lnTo>
                  <a:lnTo>
                    <a:pt x="551" y="898"/>
                  </a:lnTo>
                  <a:lnTo>
                    <a:pt x="549" y="898"/>
                  </a:lnTo>
                  <a:lnTo>
                    <a:pt x="547" y="898"/>
                  </a:lnTo>
                  <a:lnTo>
                    <a:pt x="547" y="900"/>
                  </a:lnTo>
                  <a:lnTo>
                    <a:pt x="547" y="902"/>
                  </a:lnTo>
                  <a:lnTo>
                    <a:pt x="547" y="904"/>
                  </a:lnTo>
                  <a:lnTo>
                    <a:pt x="545" y="904"/>
                  </a:lnTo>
                  <a:lnTo>
                    <a:pt x="545" y="906"/>
                  </a:lnTo>
                  <a:lnTo>
                    <a:pt x="545" y="908"/>
                  </a:lnTo>
                  <a:lnTo>
                    <a:pt x="545" y="910"/>
                  </a:lnTo>
                  <a:lnTo>
                    <a:pt x="543" y="910"/>
                  </a:lnTo>
                  <a:lnTo>
                    <a:pt x="543" y="912"/>
                  </a:lnTo>
                  <a:lnTo>
                    <a:pt x="543" y="914"/>
                  </a:lnTo>
                  <a:lnTo>
                    <a:pt x="543" y="916"/>
                  </a:lnTo>
                  <a:lnTo>
                    <a:pt x="543" y="921"/>
                  </a:lnTo>
                  <a:lnTo>
                    <a:pt x="543" y="923"/>
                  </a:lnTo>
                  <a:lnTo>
                    <a:pt x="543" y="925"/>
                  </a:lnTo>
                  <a:lnTo>
                    <a:pt x="543" y="927"/>
                  </a:lnTo>
                  <a:lnTo>
                    <a:pt x="543" y="929"/>
                  </a:lnTo>
                  <a:lnTo>
                    <a:pt x="543" y="931"/>
                  </a:lnTo>
                  <a:lnTo>
                    <a:pt x="543" y="933"/>
                  </a:lnTo>
                  <a:lnTo>
                    <a:pt x="541" y="933"/>
                  </a:lnTo>
                  <a:lnTo>
                    <a:pt x="539" y="933"/>
                  </a:lnTo>
                  <a:lnTo>
                    <a:pt x="537" y="933"/>
                  </a:lnTo>
                  <a:lnTo>
                    <a:pt x="536" y="933"/>
                  </a:lnTo>
                  <a:lnTo>
                    <a:pt x="536" y="935"/>
                  </a:lnTo>
                  <a:lnTo>
                    <a:pt x="536" y="937"/>
                  </a:lnTo>
                  <a:lnTo>
                    <a:pt x="536" y="939"/>
                  </a:lnTo>
                  <a:lnTo>
                    <a:pt x="536" y="941"/>
                  </a:lnTo>
                  <a:lnTo>
                    <a:pt x="536" y="942"/>
                  </a:lnTo>
                  <a:lnTo>
                    <a:pt x="534" y="942"/>
                  </a:lnTo>
                  <a:lnTo>
                    <a:pt x="532" y="942"/>
                  </a:lnTo>
                  <a:lnTo>
                    <a:pt x="532" y="944"/>
                  </a:lnTo>
                  <a:lnTo>
                    <a:pt x="532" y="946"/>
                  </a:lnTo>
                  <a:lnTo>
                    <a:pt x="530" y="948"/>
                  </a:lnTo>
                  <a:lnTo>
                    <a:pt x="528" y="950"/>
                  </a:lnTo>
                  <a:lnTo>
                    <a:pt x="526" y="950"/>
                  </a:lnTo>
                  <a:lnTo>
                    <a:pt x="524" y="950"/>
                  </a:lnTo>
                  <a:lnTo>
                    <a:pt x="522" y="950"/>
                  </a:lnTo>
                  <a:lnTo>
                    <a:pt x="520" y="950"/>
                  </a:lnTo>
                  <a:lnTo>
                    <a:pt x="518" y="950"/>
                  </a:lnTo>
                  <a:lnTo>
                    <a:pt x="516" y="950"/>
                  </a:lnTo>
                  <a:lnTo>
                    <a:pt x="514" y="950"/>
                  </a:lnTo>
                  <a:lnTo>
                    <a:pt x="512" y="950"/>
                  </a:lnTo>
                  <a:lnTo>
                    <a:pt x="511" y="950"/>
                  </a:lnTo>
                  <a:lnTo>
                    <a:pt x="509" y="948"/>
                  </a:lnTo>
                  <a:lnTo>
                    <a:pt x="505" y="948"/>
                  </a:lnTo>
                  <a:lnTo>
                    <a:pt x="503" y="948"/>
                  </a:lnTo>
                  <a:lnTo>
                    <a:pt x="501" y="948"/>
                  </a:lnTo>
                  <a:lnTo>
                    <a:pt x="501" y="946"/>
                  </a:lnTo>
                  <a:lnTo>
                    <a:pt x="499" y="946"/>
                  </a:lnTo>
                  <a:lnTo>
                    <a:pt x="497" y="946"/>
                  </a:lnTo>
                  <a:lnTo>
                    <a:pt x="495" y="946"/>
                  </a:lnTo>
                  <a:lnTo>
                    <a:pt x="491" y="948"/>
                  </a:lnTo>
                  <a:lnTo>
                    <a:pt x="489" y="948"/>
                  </a:lnTo>
                  <a:lnTo>
                    <a:pt x="488" y="948"/>
                  </a:lnTo>
                  <a:lnTo>
                    <a:pt x="486" y="948"/>
                  </a:lnTo>
                  <a:lnTo>
                    <a:pt x="484" y="948"/>
                  </a:lnTo>
                  <a:lnTo>
                    <a:pt x="482" y="948"/>
                  </a:lnTo>
                  <a:lnTo>
                    <a:pt x="480" y="948"/>
                  </a:lnTo>
                  <a:lnTo>
                    <a:pt x="478" y="948"/>
                  </a:lnTo>
                  <a:lnTo>
                    <a:pt x="478" y="950"/>
                  </a:lnTo>
                  <a:lnTo>
                    <a:pt x="476" y="950"/>
                  </a:lnTo>
                  <a:lnTo>
                    <a:pt x="474" y="950"/>
                  </a:lnTo>
                  <a:lnTo>
                    <a:pt x="474" y="952"/>
                  </a:lnTo>
                  <a:lnTo>
                    <a:pt x="472" y="952"/>
                  </a:lnTo>
                  <a:lnTo>
                    <a:pt x="470" y="950"/>
                  </a:lnTo>
                  <a:lnTo>
                    <a:pt x="470" y="948"/>
                  </a:lnTo>
                  <a:lnTo>
                    <a:pt x="470" y="950"/>
                  </a:lnTo>
                  <a:lnTo>
                    <a:pt x="468" y="950"/>
                  </a:lnTo>
                  <a:lnTo>
                    <a:pt x="466" y="952"/>
                  </a:lnTo>
                  <a:lnTo>
                    <a:pt x="464" y="950"/>
                  </a:lnTo>
                  <a:lnTo>
                    <a:pt x="463" y="948"/>
                  </a:lnTo>
                  <a:lnTo>
                    <a:pt x="461" y="946"/>
                  </a:lnTo>
                  <a:lnTo>
                    <a:pt x="457" y="942"/>
                  </a:lnTo>
                  <a:lnTo>
                    <a:pt x="455" y="939"/>
                  </a:lnTo>
                  <a:lnTo>
                    <a:pt x="455" y="937"/>
                  </a:lnTo>
                  <a:lnTo>
                    <a:pt x="453" y="937"/>
                  </a:lnTo>
                  <a:lnTo>
                    <a:pt x="453" y="939"/>
                  </a:lnTo>
                  <a:lnTo>
                    <a:pt x="451" y="939"/>
                  </a:lnTo>
                  <a:lnTo>
                    <a:pt x="449" y="939"/>
                  </a:lnTo>
                  <a:lnTo>
                    <a:pt x="449" y="941"/>
                  </a:lnTo>
                  <a:lnTo>
                    <a:pt x="449" y="939"/>
                  </a:lnTo>
                  <a:lnTo>
                    <a:pt x="447" y="939"/>
                  </a:lnTo>
                  <a:lnTo>
                    <a:pt x="447" y="941"/>
                  </a:lnTo>
                  <a:lnTo>
                    <a:pt x="445" y="941"/>
                  </a:lnTo>
                  <a:lnTo>
                    <a:pt x="443" y="941"/>
                  </a:lnTo>
                  <a:lnTo>
                    <a:pt x="443" y="942"/>
                  </a:lnTo>
                  <a:lnTo>
                    <a:pt x="441" y="942"/>
                  </a:lnTo>
                  <a:lnTo>
                    <a:pt x="441" y="944"/>
                  </a:lnTo>
                  <a:lnTo>
                    <a:pt x="441" y="946"/>
                  </a:lnTo>
                  <a:lnTo>
                    <a:pt x="440" y="948"/>
                  </a:lnTo>
                  <a:lnTo>
                    <a:pt x="438" y="948"/>
                  </a:lnTo>
                  <a:lnTo>
                    <a:pt x="438" y="950"/>
                  </a:lnTo>
                  <a:lnTo>
                    <a:pt x="436" y="950"/>
                  </a:lnTo>
                  <a:lnTo>
                    <a:pt x="436" y="948"/>
                  </a:lnTo>
                  <a:lnTo>
                    <a:pt x="434" y="948"/>
                  </a:lnTo>
                  <a:lnTo>
                    <a:pt x="434" y="946"/>
                  </a:lnTo>
                  <a:lnTo>
                    <a:pt x="434" y="944"/>
                  </a:lnTo>
                  <a:lnTo>
                    <a:pt x="432" y="942"/>
                  </a:lnTo>
                  <a:lnTo>
                    <a:pt x="432" y="941"/>
                  </a:lnTo>
                  <a:lnTo>
                    <a:pt x="430" y="939"/>
                  </a:lnTo>
                  <a:lnTo>
                    <a:pt x="430" y="935"/>
                  </a:lnTo>
                  <a:lnTo>
                    <a:pt x="428" y="933"/>
                  </a:lnTo>
                  <a:lnTo>
                    <a:pt x="426" y="933"/>
                  </a:lnTo>
                  <a:lnTo>
                    <a:pt x="424" y="933"/>
                  </a:lnTo>
                  <a:lnTo>
                    <a:pt x="422" y="933"/>
                  </a:lnTo>
                  <a:lnTo>
                    <a:pt x="420" y="933"/>
                  </a:lnTo>
                  <a:lnTo>
                    <a:pt x="418" y="933"/>
                  </a:lnTo>
                  <a:lnTo>
                    <a:pt x="418" y="935"/>
                  </a:lnTo>
                  <a:lnTo>
                    <a:pt x="416" y="935"/>
                  </a:lnTo>
                  <a:lnTo>
                    <a:pt x="415" y="935"/>
                  </a:lnTo>
                  <a:lnTo>
                    <a:pt x="413" y="935"/>
                  </a:lnTo>
                  <a:lnTo>
                    <a:pt x="411" y="935"/>
                  </a:lnTo>
                  <a:lnTo>
                    <a:pt x="409" y="935"/>
                  </a:lnTo>
                  <a:lnTo>
                    <a:pt x="407" y="935"/>
                  </a:lnTo>
                  <a:lnTo>
                    <a:pt x="405" y="935"/>
                  </a:lnTo>
                  <a:lnTo>
                    <a:pt x="403" y="935"/>
                  </a:lnTo>
                  <a:lnTo>
                    <a:pt x="401" y="935"/>
                  </a:lnTo>
                  <a:lnTo>
                    <a:pt x="399" y="935"/>
                  </a:lnTo>
                  <a:lnTo>
                    <a:pt x="397" y="935"/>
                  </a:lnTo>
                  <a:lnTo>
                    <a:pt x="395" y="935"/>
                  </a:lnTo>
                  <a:lnTo>
                    <a:pt x="393" y="935"/>
                  </a:lnTo>
                  <a:lnTo>
                    <a:pt x="391" y="935"/>
                  </a:lnTo>
                  <a:lnTo>
                    <a:pt x="390" y="935"/>
                  </a:lnTo>
                  <a:lnTo>
                    <a:pt x="388" y="935"/>
                  </a:lnTo>
                  <a:lnTo>
                    <a:pt x="386" y="935"/>
                  </a:lnTo>
                  <a:lnTo>
                    <a:pt x="386" y="937"/>
                  </a:lnTo>
                  <a:lnTo>
                    <a:pt x="386" y="939"/>
                  </a:lnTo>
                  <a:lnTo>
                    <a:pt x="386" y="941"/>
                  </a:lnTo>
                  <a:lnTo>
                    <a:pt x="384" y="941"/>
                  </a:lnTo>
                  <a:lnTo>
                    <a:pt x="382" y="941"/>
                  </a:lnTo>
                  <a:lnTo>
                    <a:pt x="380" y="941"/>
                  </a:lnTo>
                  <a:lnTo>
                    <a:pt x="378" y="941"/>
                  </a:lnTo>
                  <a:lnTo>
                    <a:pt x="374" y="941"/>
                  </a:lnTo>
                  <a:lnTo>
                    <a:pt x="372" y="941"/>
                  </a:lnTo>
                  <a:lnTo>
                    <a:pt x="370" y="941"/>
                  </a:lnTo>
                  <a:lnTo>
                    <a:pt x="368" y="941"/>
                  </a:lnTo>
                  <a:lnTo>
                    <a:pt x="368" y="942"/>
                  </a:lnTo>
                  <a:lnTo>
                    <a:pt x="368" y="944"/>
                  </a:lnTo>
                  <a:lnTo>
                    <a:pt x="367" y="944"/>
                  </a:lnTo>
                  <a:lnTo>
                    <a:pt x="367" y="942"/>
                  </a:lnTo>
                  <a:lnTo>
                    <a:pt x="365" y="942"/>
                  </a:lnTo>
                  <a:lnTo>
                    <a:pt x="365" y="941"/>
                  </a:lnTo>
                  <a:lnTo>
                    <a:pt x="365" y="942"/>
                  </a:lnTo>
                  <a:lnTo>
                    <a:pt x="363" y="942"/>
                  </a:lnTo>
                  <a:lnTo>
                    <a:pt x="361" y="942"/>
                  </a:lnTo>
                  <a:lnTo>
                    <a:pt x="361" y="944"/>
                  </a:lnTo>
                  <a:lnTo>
                    <a:pt x="361" y="946"/>
                  </a:lnTo>
                  <a:lnTo>
                    <a:pt x="359" y="946"/>
                  </a:lnTo>
                  <a:lnTo>
                    <a:pt x="359" y="944"/>
                  </a:lnTo>
                  <a:lnTo>
                    <a:pt x="357" y="944"/>
                  </a:lnTo>
                  <a:lnTo>
                    <a:pt x="355" y="944"/>
                  </a:lnTo>
                  <a:lnTo>
                    <a:pt x="353" y="944"/>
                  </a:lnTo>
                  <a:lnTo>
                    <a:pt x="349" y="944"/>
                  </a:lnTo>
                  <a:lnTo>
                    <a:pt x="349" y="942"/>
                  </a:lnTo>
                  <a:lnTo>
                    <a:pt x="347" y="942"/>
                  </a:lnTo>
                  <a:lnTo>
                    <a:pt x="345" y="942"/>
                  </a:lnTo>
                  <a:lnTo>
                    <a:pt x="343" y="942"/>
                  </a:lnTo>
                  <a:lnTo>
                    <a:pt x="342" y="942"/>
                  </a:lnTo>
                  <a:lnTo>
                    <a:pt x="342" y="941"/>
                  </a:lnTo>
                  <a:lnTo>
                    <a:pt x="342" y="939"/>
                  </a:lnTo>
                  <a:lnTo>
                    <a:pt x="342" y="937"/>
                  </a:lnTo>
                  <a:lnTo>
                    <a:pt x="342" y="935"/>
                  </a:lnTo>
                  <a:lnTo>
                    <a:pt x="340" y="935"/>
                  </a:lnTo>
                  <a:lnTo>
                    <a:pt x="340" y="933"/>
                  </a:lnTo>
                  <a:lnTo>
                    <a:pt x="340" y="931"/>
                  </a:lnTo>
                  <a:lnTo>
                    <a:pt x="338" y="927"/>
                  </a:lnTo>
                  <a:lnTo>
                    <a:pt x="338" y="925"/>
                  </a:lnTo>
                  <a:lnTo>
                    <a:pt x="338" y="923"/>
                  </a:lnTo>
                  <a:lnTo>
                    <a:pt x="340" y="919"/>
                  </a:lnTo>
                  <a:lnTo>
                    <a:pt x="340" y="917"/>
                  </a:lnTo>
                  <a:lnTo>
                    <a:pt x="340" y="916"/>
                  </a:lnTo>
                  <a:lnTo>
                    <a:pt x="342" y="916"/>
                  </a:lnTo>
                  <a:lnTo>
                    <a:pt x="342" y="912"/>
                  </a:lnTo>
                  <a:lnTo>
                    <a:pt x="343" y="908"/>
                  </a:lnTo>
                  <a:lnTo>
                    <a:pt x="343" y="906"/>
                  </a:lnTo>
                  <a:lnTo>
                    <a:pt x="343" y="904"/>
                  </a:lnTo>
                  <a:lnTo>
                    <a:pt x="345" y="904"/>
                  </a:lnTo>
                  <a:lnTo>
                    <a:pt x="343" y="904"/>
                  </a:lnTo>
                  <a:lnTo>
                    <a:pt x="342" y="904"/>
                  </a:lnTo>
                  <a:lnTo>
                    <a:pt x="343" y="904"/>
                  </a:lnTo>
                  <a:lnTo>
                    <a:pt x="342" y="904"/>
                  </a:lnTo>
                  <a:lnTo>
                    <a:pt x="342" y="902"/>
                  </a:lnTo>
                  <a:lnTo>
                    <a:pt x="342" y="900"/>
                  </a:lnTo>
                  <a:lnTo>
                    <a:pt x="340" y="900"/>
                  </a:lnTo>
                  <a:lnTo>
                    <a:pt x="340" y="898"/>
                  </a:lnTo>
                  <a:lnTo>
                    <a:pt x="340" y="900"/>
                  </a:lnTo>
                  <a:lnTo>
                    <a:pt x="338" y="900"/>
                  </a:lnTo>
                  <a:lnTo>
                    <a:pt x="336" y="900"/>
                  </a:lnTo>
                  <a:lnTo>
                    <a:pt x="336" y="902"/>
                  </a:lnTo>
                  <a:lnTo>
                    <a:pt x="334" y="902"/>
                  </a:lnTo>
                  <a:lnTo>
                    <a:pt x="334" y="900"/>
                  </a:lnTo>
                  <a:lnTo>
                    <a:pt x="334" y="898"/>
                  </a:lnTo>
                  <a:lnTo>
                    <a:pt x="332" y="898"/>
                  </a:lnTo>
                  <a:lnTo>
                    <a:pt x="330" y="898"/>
                  </a:lnTo>
                  <a:lnTo>
                    <a:pt x="330" y="896"/>
                  </a:lnTo>
                  <a:lnTo>
                    <a:pt x="330" y="898"/>
                  </a:lnTo>
                  <a:lnTo>
                    <a:pt x="330" y="896"/>
                  </a:lnTo>
                  <a:lnTo>
                    <a:pt x="330" y="894"/>
                  </a:lnTo>
                  <a:lnTo>
                    <a:pt x="330" y="893"/>
                  </a:lnTo>
                  <a:lnTo>
                    <a:pt x="330" y="891"/>
                  </a:lnTo>
                  <a:lnTo>
                    <a:pt x="330" y="889"/>
                  </a:lnTo>
                  <a:lnTo>
                    <a:pt x="332" y="885"/>
                  </a:lnTo>
                  <a:lnTo>
                    <a:pt x="332" y="883"/>
                  </a:lnTo>
                  <a:lnTo>
                    <a:pt x="330" y="881"/>
                  </a:lnTo>
                  <a:lnTo>
                    <a:pt x="330" y="879"/>
                  </a:lnTo>
                  <a:lnTo>
                    <a:pt x="330" y="877"/>
                  </a:lnTo>
                  <a:lnTo>
                    <a:pt x="328" y="877"/>
                  </a:lnTo>
                  <a:lnTo>
                    <a:pt x="326" y="877"/>
                  </a:lnTo>
                  <a:lnTo>
                    <a:pt x="326" y="875"/>
                  </a:lnTo>
                  <a:lnTo>
                    <a:pt x="324" y="875"/>
                  </a:lnTo>
                  <a:lnTo>
                    <a:pt x="322" y="875"/>
                  </a:lnTo>
                  <a:lnTo>
                    <a:pt x="320" y="875"/>
                  </a:lnTo>
                  <a:lnTo>
                    <a:pt x="319" y="875"/>
                  </a:lnTo>
                  <a:lnTo>
                    <a:pt x="317" y="875"/>
                  </a:lnTo>
                  <a:lnTo>
                    <a:pt x="315" y="875"/>
                  </a:lnTo>
                  <a:lnTo>
                    <a:pt x="313" y="875"/>
                  </a:lnTo>
                  <a:lnTo>
                    <a:pt x="311" y="875"/>
                  </a:lnTo>
                  <a:lnTo>
                    <a:pt x="305" y="875"/>
                  </a:lnTo>
                  <a:lnTo>
                    <a:pt x="303" y="875"/>
                  </a:lnTo>
                  <a:lnTo>
                    <a:pt x="301" y="875"/>
                  </a:lnTo>
                  <a:lnTo>
                    <a:pt x="299" y="873"/>
                  </a:lnTo>
                  <a:lnTo>
                    <a:pt x="297" y="873"/>
                  </a:lnTo>
                  <a:lnTo>
                    <a:pt x="295" y="873"/>
                  </a:lnTo>
                  <a:lnTo>
                    <a:pt x="294" y="873"/>
                  </a:lnTo>
                  <a:lnTo>
                    <a:pt x="292" y="873"/>
                  </a:lnTo>
                  <a:lnTo>
                    <a:pt x="290" y="873"/>
                  </a:lnTo>
                  <a:lnTo>
                    <a:pt x="284" y="873"/>
                  </a:lnTo>
                  <a:lnTo>
                    <a:pt x="280" y="873"/>
                  </a:lnTo>
                  <a:lnTo>
                    <a:pt x="278" y="873"/>
                  </a:lnTo>
                  <a:lnTo>
                    <a:pt x="276" y="873"/>
                  </a:lnTo>
                  <a:lnTo>
                    <a:pt x="274" y="873"/>
                  </a:lnTo>
                  <a:lnTo>
                    <a:pt x="272" y="873"/>
                  </a:lnTo>
                  <a:lnTo>
                    <a:pt x="272" y="871"/>
                  </a:lnTo>
                  <a:lnTo>
                    <a:pt x="271" y="871"/>
                  </a:lnTo>
                  <a:lnTo>
                    <a:pt x="271" y="869"/>
                  </a:lnTo>
                  <a:lnTo>
                    <a:pt x="269" y="866"/>
                  </a:lnTo>
                  <a:lnTo>
                    <a:pt x="269" y="864"/>
                  </a:lnTo>
                  <a:lnTo>
                    <a:pt x="271" y="864"/>
                  </a:lnTo>
                  <a:lnTo>
                    <a:pt x="269" y="862"/>
                  </a:lnTo>
                  <a:lnTo>
                    <a:pt x="267" y="860"/>
                  </a:lnTo>
                  <a:lnTo>
                    <a:pt x="267" y="858"/>
                  </a:lnTo>
                  <a:lnTo>
                    <a:pt x="269" y="858"/>
                  </a:lnTo>
                  <a:lnTo>
                    <a:pt x="271" y="854"/>
                  </a:lnTo>
                  <a:lnTo>
                    <a:pt x="271" y="852"/>
                  </a:lnTo>
                  <a:lnTo>
                    <a:pt x="271" y="848"/>
                  </a:lnTo>
                  <a:lnTo>
                    <a:pt x="271" y="846"/>
                  </a:lnTo>
                  <a:lnTo>
                    <a:pt x="271" y="848"/>
                  </a:lnTo>
                  <a:lnTo>
                    <a:pt x="269" y="848"/>
                  </a:lnTo>
                  <a:lnTo>
                    <a:pt x="269" y="850"/>
                  </a:lnTo>
                  <a:lnTo>
                    <a:pt x="269" y="852"/>
                  </a:lnTo>
                  <a:lnTo>
                    <a:pt x="267" y="852"/>
                  </a:lnTo>
                  <a:lnTo>
                    <a:pt x="267" y="850"/>
                  </a:lnTo>
                  <a:lnTo>
                    <a:pt x="265" y="850"/>
                  </a:lnTo>
                  <a:lnTo>
                    <a:pt x="263" y="850"/>
                  </a:lnTo>
                  <a:lnTo>
                    <a:pt x="263" y="848"/>
                  </a:lnTo>
                  <a:lnTo>
                    <a:pt x="263" y="846"/>
                  </a:lnTo>
                  <a:lnTo>
                    <a:pt x="265" y="846"/>
                  </a:lnTo>
                  <a:lnTo>
                    <a:pt x="267" y="846"/>
                  </a:lnTo>
                  <a:lnTo>
                    <a:pt x="267" y="845"/>
                  </a:lnTo>
                  <a:lnTo>
                    <a:pt x="267" y="843"/>
                  </a:lnTo>
                  <a:lnTo>
                    <a:pt x="265" y="843"/>
                  </a:lnTo>
                  <a:lnTo>
                    <a:pt x="265" y="841"/>
                  </a:lnTo>
                  <a:lnTo>
                    <a:pt x="265" y="839"/>
                  </a:lnTo>
                  <a:lnTo>
                    <a:pt x="267" y="839"/>
                  </a:lnTo>
                  <a:lnTo>
                    <a:pt x="267" y="837"/>
                  </a:lnTo>
                  <a:lnTo>
                    <a:pt x="267" y="835"/>
                  </a:lnTo>
                  <a:lnTo>
                    <a:pt x="267" y="833"/>
                  </a:lnTo>
                  <a:lnTo>
                    <a:pt x="269" y="831"/>
                  </a:lnTo>
                  <a:lnTo>
                    <a:pt x="267" y="831"/>
                  </a:lnTo>
                  <a:lnTo>
                    <a:pt x="267" y="829"/>
                  </a:lnTo>
                  <a:lnTo>
                    <a:pt x="265" y="829"/>
                  </a:lnTo>
                  <a:lnTo>
                    <a:pt x="267" y="829"/>
                  </a:lnTo>
                  <a:lnTo>
                    <a:pt x="265" y="829"/>
                  </a:lnTo>
                  <a:lnTo>
                    <a:pt x="263" y="829"/>
                  </a:lnTo>
                  <a:lnTo>
                    <a:pt x="261" y="829"/>
                  </a:lnTo>
                  <a:lnTo>
                    <a:pt x="261" y="827"/>
                  </a:lnTo>
                  <a:lnTo>
                    <a:pt x="259" y="827"/>
                  </a:lnTo>
                  <a:lnTo>
                    <a:pt x="257" y="827"/>
                  </a:lnTo>
                  <a:lnTo>
                    <a:pt x="257" y="825"/>
                  </a:lnTo>
                  <a:lnTo>
                    <a:pt x="257" y="823"/>
                  </a:lnTo>
                  <a:lnTo>
                    <a:pt x="257" y="825"/>
                  </a:lnTo>
                  <a:lnTo>
                    <a:pt x="255" y="825"/>
                  </a:lnTo>
                  <a:lnTo>
                    <a:pt x="253" y="825"/>
                  </a:lnTo>
                  <a:lnTo>
                    <a:pt x="253" y="823"/>
                  </a:lnTo>
                  <a:lnTo>
                    <a:pt x="251" y="823"/>
                  </a:lnTo>
                  <a:lnTo>
                    <a:pt x="249" y="823"/>
                  </a:lnTo>
                  <a:lnTo>
                    <a:pt x="247" y="823"/>
                  </a:lnTo>
                  <a:lnTo>
                    <a:pt x="247" y="821"/>
                  </a:lnTo>
                  <a:lnTo>
                    <a:pt x="246" y="821"/>
                  </a:lnTo>
                  <a:lnTo>
                    <a:pt x="246" y="823"/>
                  </a:lnTo>
                  <a:lnTo>
                    <a:pt x="246" y="821"/>
                  </a:lnTo>
                  <a:lnTo>
                    <a:pt x="246" y="823"/>
                  </a:lnTo>
                  <a:lnTo>
                    <a:pt x="246" y="821"/>
                  </a:lnTo>
                  <a:lnTo>
                    <a:pt x="244" y="821"/>
                  </a:lnTo>
                  <a:lnTo>
                    <a:pt x="242" y="821"/>
                  </a:lnTo>
                  <a:lnTo>
                    <a:pt x="240" y="821"/>
                  </a:lnTo>
                  <a:lnTo>
                    <a:pt x="240" y="820"/>
                  </a:lnTo>
                  <a:lnTo>
                    <a:pt x="238" y="820"/>
                  </a:lnTo>
                  <a:lnTo>
                    <a:pt x="236" y="820"/>
                  </a:lnTo>
                  <a:lnTo>
                    <a:pt x="234" y="820"/>
                  </a:lnTo>
                  <a:lnTo>
                    <a:pt x="234" y="818"/>
                  </a:lnTo>
                  <a:lnTo>
                    <a:pt x="232" y="818"/>
                  </a:lnTo>
                  <a:lnTo>
                    <a:pt x="232" y="812"/>
                  </a:lnTo>
                  <a:lnTo>
                    <a:pt x="230" y="812"/>
                  </a:lnTo>
                  <a:lnTo>
                    <a:pt x="228" y="812"/>
                  </a:lnTo>
                  <a:lnTo>
                    <a:pt x="226" y="812"/>
                  </a:lnTo>
                  <a:lnTo>
                    <a:pt x="226" y="810"/>
                  </a:lnTo>
                  <a:lnTo>
                    <a:pt x="224" y="810"/>
                  </a:lnTo>
                  <a:lnTo>
                    <a:pt x="223" y="810"/>
                  </a:lnTo>
                  <a:lnTo>
                    <a:pt x="221" y="810"/>
                  </a:lnTo>
                  <a:lnTo>
                    <a:pt x="219" y="810"/>
                  </a:lnTo>
                  <a:lnTo>
                    <a:pt x="217" y="810"/>
                  </a:lnTo>
                  <a:lnTo>
                    <a:pt x="217" y="812"/>
                  </a:lnTo>
                  <a:lnTo>
                    <a:pt x="217" y="810"/>
                  </a:lnTo>
                  <a:lnTo>
                    <a:pt x="215" y="810"/>
                  </a:lnTo>
                  <a:lnTo>
                    <a:pt x="213" y="810"/>
                  </a:lnTo>
                  <a:lnTo>
                    <a:pt x="213" y="808"/>
                  </a:lnTo>
                  <a:lnTo>
                    <a:pt x="211" y="808"/>
                  </a:lnTo>
                  <a:lnTo>
                    <a:pt x="209" y="808"/>
                  </a:lnTo>
                  <a:lnTo>
                    <a:pt x="207" y="806"/>
                  </a:lnTo>
                  <a:lnTo>
                    <a:pt x="207" y="804"/>
                  </a:lnTo>
                  <a:lnTo>
                    <a:pt x="205" y="804"/>
                  </a:lnTo>
                  <a:lnTo>
                    <a:pt x="205" y="802"/>
                  </a:lnTo>
                  <a:lnTo>
                    <a:pt x="207" y="802"/>
                  </a:lnTo>
                  <a:lnTo>
                    <a:pt x="207" y="800"/>
                  </a:lnTo>
                  <a:lnTo>
                    <a:pt x="209" y="800"/>
                  </a:lnTo>
                  <a:lnTo>
                    <a:pt x="209" y="798"/>
                  </a:lnTo>
                  <a:lnTo>
                    <a:pt x="209" y="797"/>
                  </a:lnTo>
                  <a:lnTo>
                    <a:pt x="209" y="795"/>
                  </a:lnTo>
                  <a:lnTo>
                    <a:pt x="211" y="793"/>
                  </a:lnTo>
                  <a:lnTo>
                    <a:pt x="209" y="793"/>
                  </a:lnTo>
                  <a:lnTo>
                    <a:pt x="209" y="791"/>
                  </a:lnTo>
                  <a:lnTo>
                    <a:pt x="207" y="791"/>
                  </a:lnTo>
                  <a:lnTo>
                    <a:pt x="207" y="789"/>
                  </a:lnTo>
                  <a:lnTo>
                    <a:pt x="205" y="789"/>
                  </a:lnTo>
                  <a:lnTo>
                    <a:pt x="205" y="787"/>
                  </a:lnTo>
                  <a:lnTo>
                    <a:pt x="205" y="789"/>
                  </a:lnTo>
                  <a:lnTo>
                    <a:pt x="205" y="787"/>
                  </a:lnTo>
                  <a:lnTo>
                    <a:pt x="205" y="785"/>
                  </a:lnTo>
                  <a:lnTo>
                    <a:pt x="203" y="785"/>
                  </a:lnTo>
                  <a:lnTo>
                    <a:pt x="203" y="783"/>
                  </a:lnTo>
                  <a:lnTo>
                    <a:pt x="203" y="781"/>
                  </a:lnTo>
                  <a:lnTo>
                    <a:pt x="203" y="779"/>
                  </a:lnTo>
                  <a:lnTo>
                    <a:pt x="203" y="777"/>
                  </a:lnTo>
                  <a:lnTo>
                    <a:pt x="203" y="775"/>
                  </a:lnTo>
                  <a:lnTo>
                    <a:pt x="203" y="773"/>
                  </a:lnTo>
                  <a:lnTo>
                    <a:pt x="203" y="772"/>
                  </a:lnTo>
                  <a:lnTo>
                    <a:pt x="203" y="770"/>
                  </a:lnTo>
                  <a:lnTo>
                    <a:pt x="201" y="770"/>
                  </a:lnTo>
                  <a:lnTo>
                    <a:pt x="201" y="768"/>
                  </a:lnTo>
                  <a:lnTo>
                    <a:pt x="199" y="768"/>
                  </a:lnTo>
                  <a:lnTo>
                    <a:pt x="199" y="766"/>
                  </a:lnTo>
                  <a:lnTo>
                    <a:pt x="198" y="766"/>
                  </a:lnTo>
                  <a:lnTo>
                    <a:pt x="198" y="764"/>
                  </a:lnTo>
                  <a:lnTo>
                    <a:pt x="196" y="764"/>
                  </a:lnTo>
                  <a:lnTo>
                    <a:pt x="194" y="764"/>
                  </a:lnTo>
                  <a:lnTo>
                    <a:pt x="192" y="764"/>
                  </a:lnTo>
                  <a:lnTo>
                    <a:pt x="190" y="764"/>
                  </a:lnTo>
                  <a:lnTo>
                    <a:pt x="188" y="764"/>
                  </a:lnTo>
                  <a:lnTo>
                    <a:pt x="186" y="764"/>
                  </a:lnTo>
                  <a:lnTo>
                    <a:pt x="184" y="764"/>
                  </a:lnTo>
                  <a:lnTo>
                    <a:pt x="182" y="764"/>
                  </a:lnTo>
                  <a:lnTo>
                    <a:pt x="180" y="764"/>
                  </a:lnTo>
                  <a:lnTo>
                    <a:pt x="178" y="764"/>
                  </a:lnTo>
                  <a:lnTo>
                    <a:pt x="176" y="764"/>
                  </a:lnTo>
                  <a:lnTo>
                    <a:pt x="175" y="764"/>
                  </a:lnTo>
                  <a:lnTo>
                    <a:pt x="173" y="764"/>
                  </a:lnTo>
                  <a:lnTo>
                    <a:pt x="171" y="762"/>
                  </a:lnTo>
                  <a:lnTo>
                    <a:pt x="169" y="762"/>
                  </a:lnTo>
                  <a:lnTo>
                    <a:pt x="167" y="762"/>
                  </a:lnTo>
                  <a:lnTo>
                    <a:pt x="165" y="762"/>
                  </a:lnTo>
                  <a:lnTo>
                    <a:pt x="163" y="762"/>
                  </a:lnTo>
                  <a:lnTo>
                    <a:pt x="161" y="762"/>
                  </a:lnTo>
                  <a:lnTo>
                    <a:pt x="159" y="762"/>
                  </a:lnTo>
                  <a:lnTo>
                    <a:pt x="159" y="760"/>
                  </a:lnTo>
                  <a:lnTo>
                    <a:pt x="157" y="760"/>
                  </a:lnTo>
                  <a:lnTo>
                    <a:pt x="159" y="760"/>
                  </a:lnTo>
                  <a:lnTo>
                    <a:pt x="159" y="758"/>
                  </a:lnTo>
                  <a:lnTo>
                    <a:pt x="157" y="758"/>
                  </a:lnTo>
                  <a:lnTo>
                    <a:pt x="157" y="756"/>
                  </a:lnTo>
                  <a:lnTo>
                    <a:pt x="159" y="756"/>
                  </a:lnTo>
                  <a:lnTo>
                    <a:pt x="159" y="754"/>
                  </a:lnTo>
                  <a:lnTo>
                    <a:pt x="161" y="754"/>
                  </a:lnTo>
                  <a:lnTo>
                    <a:pt x="159" y="752"/>
                  </a:lnTo>
                  <a:lnTo>
                    <a:pt x="159" y="750"/>
                  </a:lnTo>
                  <a:lnTo>
                    <a:pt x="157" y="750"/>
                  </a:lnTo>
                  <a:lnTo>
                    <a:pt x="157" y="749"/>
                  </a:lnTo>
                  <a:lnTo>
                    <a:pt x="159" y="749"/>
                  </a:lnTo>
                  <a:lnTo>
                    <a:pt x="161" y="747"/>
                  </a:lnTo>
                  <a:lnTo>
                    <a:pt x="161" y="745"/>
                  </a:lnTo>
                  <a:lnTo>
                    <a:pt x="161" y="743"/>
                  </a:lnTo>
                  <a:lnTo>
                    <a:pt x="161" y="741"/>
                  </a:lnTo>
                  <a:lnTo>
                    <a:pt x="161" y="739"/>
                  </a:lnTo>
                  <a:lnTo>
                    <a:pt x="161" y="737"/>
                  </a:lnTo>
                  <a:lnTo>
                    <a:pt x="159" y="735"/>
                  </a:lnTo>
                  <a:lnTo>
                    <a:pt x="161" y="735"/>
                  </a:lnTo>
                  <a:lnTo>
                    <a:pt x="163" y="733"/>
                  </a:lnTo>
                  <a:lnTo>
                    <a:pt x="165" y="733"/>
                  </a:lnTo>
                  <a:lnTo>
                    <a:pt x="169" y="733"/>
                  </a:lnTo>
                  <a:lnTo>
                    <a:pt x="169" y="731"/>
                  </a:lnTo>
                  <a:lnTo>
                    <a:pt x="169" y="729"/>
                  </a:lnTo>
                  <a:lnTo>
                    <a:pt x="171" y="729"/>
                  </a:lnTo>
                  <a:lnTo>
                    <a:pt x="171" y="727"/>
                  </a:lnTo>
                  <a:lnTo>
                    <a:pt x="173" y="727"/>
                  </a:lnTo>
                  <a:lnTo>
                    <a:pt x="175" y="727"/>
                  </a:lnTo>
                  <a:lnTo>
                    <a:pt x="175" y="725"/>
                  </a:lnTo>
                  <a:lnTo>
                    <a:pt x="173" y="725"/>
                  </a:lnTo>
                  <a:lnTo>
                    <a:pt x="173" y="724"/>
                  </a:lnTo>
                  <a:lnTo>
                    <a:pt x="171" y="724"/>
                  </a:lnTo>
                  <a:lnTo>
                    <a:pt x="171" y="722"/>
                  </a:lnTo>
                  <a:lnTo>
                    <a:pt x="171" y="720"/>
                  </a:lnTo>
                  <a:lnTo>
                    <a:pt x="169" y="720"/>
                  </a:lnTo>
                  <a:lnTo>
                    <a:pt x="167" y="720"/>
                  </a:lnTo>
                  <a:lnTo>
                    <a:pt x="165" y="720"/>
                  </a:lnTo>
                  <a:lnTo>
                    <a:pt x="163" y="720"/>
                  </a:lnTo>
                  <a:lnTo>
                    <a:pt x="163" y="718"/>
                  </a:lnTo>
                  <a:lnTo>
                    <a:pt x="163" y="716"/>
                  </a:lnTo>
                  <a:lnTo>
                    <a:pt x="161" y="714"/>
                  </a:lnTo>
                  <a:lnTo>
                    <a:pt x="161" y="712"/>
                  </a:lnTo>
                  <a:lnTo>
                    <a:pt x="161" y="710"/>
                  </a:lnTo>
                  <a:lnTo>
                    <a:pt x="161" y="708"/>
                  </a:lnTo>
                  <a:lnTo>
                    <a:pt x="161" y="706"/>
                  </a:lnTo>
                  <a:lnTo>
                    <a:pt x="161" y="704"/>
                  </a:lnTo>
                  <a:lnTo>
                    <a:pt x="163" y="704"/>
                  </a:lnTo>
                  <a:lnTo>
                    <a:pt x="163" y="702"/>
                  </a:lnTo>
                  <a:lnTo>
                    <a:pt x="161" y="702"/>
                  </a:lnTo>
                  <a:lnTo>
                    <a:pt x="161" y="701"/>
                  </a:lnTo>
                  <a:lnTo>
                    <a:pt x="161" y="699"/>
                  </a:lnTo>
                  <a:lnTo>
                    <a:pt x="161" y="697"/>
                  </a:lnTo>
                  <a:lnTo>
                    <a:pt x="161" y="695"/>
                  </a:lnTo>
                  <a:lnTo>
                    <a:pt x="161" y="693"/>
                  </a:lnTo>
                  <a:lnTo>
                    <a:pt x="161" y="691"/>
                  </a:lnTo>
                  <a:lnTo>
                    <a:pt x="159" y="691"/>
                  </a:lnTo>
                  <a:lnTo>
                    <a:pt x="157" y="691"/>
                  </a:lnTo>
                  <a:lnTo>
                    <a:pt x="157" y="693"/>
                  </a:lnTo>
                  <a:lnTo>
                    <a:pt x="155" y="693"/>
                  </a:lnTo>
                  <a:lnTo>
                    <a:pt x="153" y="693"/>
                  </a:lnTo>
                  <a:lnTo>
                    <a:pt x="151" y="693"/>
                  </a:lnTo>
                  <a:lnTo>
                    <a:pt x="151" y="695"/>
                  </a:lnTo>
                  <a:lnTo>
                    <a:pt x="151" y="697"/>
                  </a:lnTo>
                  <a:lnTo>
                    <a:pt x="150" y="697"/>
                  </a:lnTo>
                  <a:lnTo>
                    <a:pt x="148" y="697"/>
                  </a:lnTo>
                  <a:lnTo>
                    <a:pt x="148" y="699"/>
                  </a:lnTo>
                  <a:lnTo>
                    <a:pt x="146" y="699"/>
                  </a:lnTo>
                  <a:lnTo>
                    <a:pt x="146" y="697"/>
                  </a:lnTo>
                  <a:lnTo>
                    <a:pt x="144" y="693"/>
                  </a:lnTo>
                  <a:lnTo>
                    <a:pt x="142" y="693"/>
                  </a:lnTo>
                  <a:lnTo>
                    <a:pt x="140" y="693"/>
                  </a:lnTo>
                  <a:lnTo>
                    <a:pt x="138" y="693"/>
                  </a:lnTo>
                  <a:lnTo>
                    <a:pt x="136" y="693"/>
                  </a:lnTo>
                  <a:lnTo>
                    <a:pt x="136" y="695"/>
                  </a:lnTo>
                  <a:lnTo>
                    <a:pt x="134" y="695"/>
                  </a:lnTo>
                  <a:lnTo>
                    <a:pt x="134" y="693"/>
                  </a:lnTo>
                  <a:lnTo>
                    <a:pt x="126" y="687"/>
                  </a:lnTo>
                  <a:lnTo>
                    <a:pt x="126" y="685"/>
                  </a:lnTo>
                  <a:lnTo>
                    <a:pt x="128" y="683"/>
                  </a:lnTo>
                  <a:lnTo>
                    <a:pt x="125" y="681"/>
                  </a:lnTo>
                  <a:lnTo>
                    <a:pt x="123" y="679"/>
                  </a:lnTo>
                  <a:lnTo>
                    <a:pt x="121" y="679"/>
                  </a:lnTo>
                  <a:lnTo>
                    <a:pt x="121" y="677"/>
                  </a:lnTo>
                  <a:lnTo>
                    <a:pt x="123" y="677"/>
                  </a:lnTo>
                  <a:lnTo>
                    <a:pt x="125" y="679"/>
                  </a:lnTo>
                  <a:lnTo>
                    <a:pt x="125" y="677"/>
                  </a:lnTo>
                  <a:lnTo>
                    <a:pt x="125" y="676"/>
                  </a:lnTo>
                  <a:lnTo>
                    <a:pt x="125" y="674"/>
                  </a:lnTo>
                  <a:lnTo>
                    <a:pt x="125" y="676"/>
                  </a:lnTo>
                  <a:lnTo>
                    <a:pt x="125" y="674"/>
                  </a:lnTo>
                  <a:lnTo>
                    <a:pt x="123" y="672"/>
                  </a:lnTo>
                  <a:lnTo>
                    <a:pt x="123" y="670"/>
                  </a:lnTo>
                  <a:lnTo>
                    <a:pt x="125" y="670"/>
                  </a:lnTo>
                  <a:lnTo>
                    <a:pt x="126" y="670"/>
                  </a:lnTo>
                  <a:lnTo>
                    <a:pt x="126" y="668"/>
                  </a:lnTo>
                  <a:lnTo>
                    <a:pt x="126" y="666"/>
                  </a:lnTo>
                  <a:lnTo>
                    <a:pt x="126" y="664"/>
                  </a:lnTo>
                  <a:lnTo>
                    <a:pt x="128" y="664"/>
                  </a:lnTo>
                  <a:lnTo>
                    <a:pt x="126" y="662"/>
                  </a:lnTo>
                  <a:lnTo>
                    <a:pt x="125" y="660"/>
                  </a:lnTo>
                  <a:lnTo>
                    <a:pt x="125" y="658"/>
                  </a:lnTo>
                  <a:lnTo>
                    <a:pt x="123" y="656"/>
                  </a:lnTo>
                  <a:lnTo>
                    <a:pt x="121" y="654"/>
                  </a:lnTo>
                  <a:lnTo>
                    <a:pt x="119" y="653"/>
                  </a:lnTo>
                  <a:lnTo>
                    <a:pt x="117" y="653"/>
                  </a:lnTo>
                  <a:lnTo>
                    <a:pt x="117" y="651"/>
                  </a:lnTo>
                  <a:lnTo>
                    <a:pt x="117" y="649"/>
                  </a:lnTo>
                  <a:lnTo>
                    <a:pt x="117" y="647"/>
                  </a:lnTo>
                  <a:lnTo>
                    <a:pt x="117" y="645"/>
                  </a:lnTo>
                  <a:lnTo>
                    <a:pt x="117" y="643"/>
                  </a:lnTo>
                  <a:lnTo>
                    <a:pt x="117" y="641"/>
                  </a:lnTo>
                  <a:lnTo>
                    <a:pt x="117" y="639"/>
                  </a:lnTo>
                  <a:lnTo>
                    <a:pt x="117" y="637"/>
                  </a:lnTo>
                  <a:lnTo>
                    <a:pt x="117" y="635"/>
                  </a:lnTo>
                  <a:lnTo>
                    <a:pt x="117" y="633"/>
                  </a:lnTo>
                  <a:lnTo>
                    <a:pt x="115" y="631"/>
                  </a:lnTo>
                  <a:lnTo>
                    <a:pt x="115" y="629"/>
                  </a:lnTo>
                  <a:lnTo>
                    <a:pt x="115" y="628"/>
                  </a:lnTo>
                  <a:lnTo>
                    <a:pt x="115" y="626"/>
                  </a:lnTo>
                  <a:lnTo>
                    <a:pt x="115" y="624"/>
                  </a:lnTo>
                  <a:lnTo>
                    <a:pt x="115" y="622"/>
                  </a:lnTo>
                  <a:lnTo>
                    <a:pt x="115" y="620"/>
                  </a:lnTo>
                  <a:lnTo>
                    <a:pt x="115" y="618"/>
                  </a:lnTo>
                  <a:lnTo>
                    <a:pt x="115" y="614"/>
                  </a:lnTo>
                  <a:lnTo>
                    <a:pt x="113" y="610"/>
                  </a:lnTo>
                  <a:lnTo>
                    <a:pt x="113" y="608"/>
                  </a:lnTo>
                  <a:lnTo>
                    <a:pt x="111" y="608"/>
                  </a:lnTo>
                  <a:lnTo>
                    <a:pt x="109" y="608"/>
                  </a:lnTo>
                  <a:lnTo>
                    <a:pt x="107" y="608"/>
                  </a:lnTo>
                  <a:lnTo>
                    <a:pt x="105" y="608"/>
                  </a:lnTo>
                  <a:lnTo>
                    <a:pt x="105" y="605"/>
                  </a:lnTo>
                  <a:lnTo>
                    <a:pt x="107" y="605"/>
                  </a:lnTo>
                  <a:lnTo>
                    <a:pt x="107" y="603"/>
                  </a:lnTo>
                  <a:lnTo>
                    <a:pt x="109" y="603"/>
                  </a:lnTo>
                  <a:lnTo>
                    <a:pt x="111" y="601"/>
                  </a:lnTo>
                  <a:lnTo>
                    <a:pt x="113" y="601"/>
                  </a:lnTo>
                  <a:lnTo>
                    <a:pt x="113" y="599"/>
                  </a:lnTo>
                  <a:lnTo>
                    <a:pt x="113" y="597"/>
                  </a:lnTo>
                  <a:lnTo>
                    <a:pt x="115" y="597"/>
                  </a:lnTo>
                  <a:lnTo>
                    <a:pt x="117" y="597"/>
                  </a:lnTo>
                  <a:lnTo>
                    <a:pt x="119" y="597"/>
                  </a:lnTo>
                  <a:lnTo>
                    <a:pt x="121" y="597"/>
                  </a:lnTo>
                  <a:lnTo>
                    <a:pt x="119" y="591"/>
                  </a:lnTo>
                  <a:lnTo>
                    <a:pt x="121" y="591"/>
                  </a:lnTo>
                  <a:lnTo>
                    <a:pt x="123" y="591"/>
                  </a:lnTo>
                  <a:lnTo>
                    <a:pt x="125" y="591"/>
                  </a:lnTo>
                  <a:lnTo>
                    <a:pt x="126" y="591"/>
                  </a:lnTo>
                  <a:lnTo>
                    <a:pt x="128" y="591"/>
                  </a:lnTo>
                  <a:lnTo>
                    <a:pt x="128" y="589"/>
                  </a:lnTo>
                  <a:lnTo>
                    <a:pt x="126" y="589"/>
                  </a:lnTo>
                  <a:lnTo>
                    <a:pt x="126" y="587"/>
                  </a:lnTo>
                  <a:lnTo>
                    <a:pt x="128" y="585"/>
                  </a:lnTo>
                  <a:lnTo>
                    <a:pt x="128" y="583"/>
                  </a:lnTo>
                  <a:lnTo>
                    <a:pt x="128" y="581"/>
                  </a:lnTo>
                  <a:lnTo>
                    <a:pt x="126" y="581"/>
                  </a:lnTo>
                  <a:lnTo>
                    <a:pt x="126" y="580"/>
                  </a:lnTo>
                  <a:lnTo>
                    <a:pt x="125" y="580"/>
                  </a:lnTo>
                  <a:lnTo>
                    <a:pt x="126" y="580"/>
                  </a:lnTo>
                  <a:lnTo>
                    <a:pt x="130" y="578"/>
                  </a:lnTo>
                  <a:lnTo>
                    <a:pt x="130" y="576"/>
                  </a:lnTo>
                  <a:lnTo>
                    <a:pt x="130" y="572"/>
                  </a:lnTo>
                  <a:lnTo>
                    <a:pt x="130" y="570"/>
                  </a:lnTo>
                  <a:lnTo>
                    <a:pt x="128" y="570"/>
                  </a:lnTo>
                  <a:lnTo>
                    <a:pt x="126" y="570"/>
                  </a:lnTo>
                  <a:lnTo>
                    <a:pt x="125" y="568"/>
                  </a:lnTo>
                  <a:lnTo>
                    <a:pt x="123" y="568"/>
                  </a:lnTo>
                  <a:lnTo>
                    <a:pt x="121" y="568"/>
                  </a:lnTo>
                  <a:lnTo>
                    <a:pt x="119" y="568"/>
                  </a:lnTo>
                  <a:lnTo>
                    <a:pt x="117" y="566"/>
                  </a:lnTo>
                  <a:lnTo>
                    <a:pt x="115" y="564"/>
                  </a:lnTo>
                  <a:lnTo>
                    <a:pt x="115" y="562"/>
                  </a:lnTo>
                  <a:lnTo>
                    <a:pt x="115" y="558"/>
                  </a:lnTo>
                  <a:lnTo>
                    <a:pt x="117" y="557"/>
                  </a:lnTo>
                  <a:lnTo>
                    <a:pt x="117" y="553"/>
                  </a:lnTo>
                  <a:lnTo>
                    <a:pt x="119" y="553"/>
                  </a:lnTo>
                  <a:lnTo>
                    <a:pt x="119" y="551"/>
                  </a:lnTo>
                  <a:lnTo>
                    <a:pt x="119" y="547"/>
                  </a:lnTo>
                  <a:lnTo>
                    <a:pt x="119" y="545"/>
                  </a:lnTo>
                  <a:lnTo>
                    <a:pt x="119" y="543"/>
                  </a:lnTo>
                  <a:lnTo>
                    <a:pt x="119" y="541"/>
                  </a:lnTo>
                  <a:lnTo>
                    <a:pt x="121" y="541"/>
                  </a:lnTo>
                  <a:lnTo>
                    <a:pt x="121" y="539"/>
                  </a:lnTo>
                  <a:lnTo>
                    <a:pt x="121" y="537"/>
                  </a:lnTo>
                  <a:lnTo>
                    <a:pt x="128" y="535"/>
                  </a:lnTo>
                  <a:lnTo>
                    <a:pt x="128" y="533"/>
                  </a:lnTo>
                  <a:lnTo>
                    <a:pt x="128" y="530"/>
                  </a:lnTo>
                  <a:lnTo>
                    <a:pt x="126" y="530"/>
                  </a:lnTo>
                  <a:lnTo>
                    <a:pt x="125" y="532"/>
                  </a:lnTo>
                  <a:lnTo>
                    <a:pt x="123" y="532"/>
                  </a:lnTo>
                  <a:lnTo>
                    <a:pt x="121" y="532"/>
                  </a:lnTo>
                  <a:lnTo>
                    <a:pt x="119" y="532"/>
                  </a:lnTo>
                  <a:lnTo>
                    <a:pt x="117" y="532"/>
                  </a:lnTo>
                  <a:lnTo>
                    <a:pt x="117" y="530"/>
                  </a:lnTo>
                  <a:lnTo>
                    <a:pt x="117" y="528"/>
                  </a:lnTo>
                  <a:lnTo>
                    <a:pt x="115" y="528"/>
                  </a:lnTo>
                  <a:lnTo>
                    <a:pt x="113" y="524"/>
                  </a:lnTo>
                  <a:lnTo>
                    <a:pt x="109" y="524"/>
                  </a:lnTo>
                  <a:lnTo>
                    <a:pt x="107" y="524"/>
                  </a:lnTo>
                  <a:lnTo>
                    <a:pt x="105" y="524"/>
                  </a:lnTo>
                  <a:lnTo>
                    <a:pt x="103" y="526"/>
                  </a:lnTo>
                  <a:lnTo>
                    <a:pt x="103" y="524"/>
                  </a:lnTo>
                  <a:lnTo>
                    <a:pt x="103" y="522"/>
                  </a:lnTo>
                  <a:lnTo>
                    <a:pt x="103" y="520"/>
                  </a:lnTo>
                  <a:lnTo>
                    <a:pt x="103" y="518"/>
                  </a:lnTo>
                  <a:lnTo>
                    <a:pt x="105" y="518"/>
                  </a:lnTo>
                  <a:lnTo>
                    <a:pt x="105" y="516"/>
                  </a:lnTo>
                  <a:lnTo>
                    <a:pt x="105" y="514"/>
                  </a:lnTo>
                  <a:lnTo>
                    <a:pt x="105" y="512"/>
                  </a:lnTo>
                  <a:lnTo>
                    <a:pt x="105" y="510"/>
                  </a:lnTo>
                  <a:lnTo>
                    <a:pt x="105" y="509"/>
                  </a:lnTo>
                  <a:lnTo>
                    <a:pt x="105" y="505"/>
                  </a:lnTo>
                  <a:lnTo>
                    <a:pt x="105" y="495"/>
                  </a:lnTo>
                  <a:lnTo>
                    <a:pt x="105" y="493"/>
                  </a:lnTo>
                  <a:lnTo>
                    <a:pt x="105" y="491"/>
                  </a:lnTo>
                  <a:lnTo>
                    <a:pt x="103" y="487"/>
                  </a:lnTo>
                  <a:lnTo>
                    <a:pt x="103" y="485"/>
                  </a:lnTo>
                  <a:lnTo>
                    <a:pt x="102" y="487"/>
                  </a:lnTo>
                  <a:lnTo>
                    <a:pt x="98" y="487"/>
                  </a:lnTo>
                  <a:lnTo>
                    <a:pt x="96" y="487"/>
                  </a:lnTo>
                  <a:lnTo>
                    <a:pt x="94" y="487"/>
                  </a:lnTo>
                  <a:lnTo>
                    <a:pt x="92" y="487"/>
                  </a:lnTo>
                  <a:lnTo>
                    <a:pt x="90" y="487"/>
                  </a:lnTo>
                  <a:lnTo>
                    <a:pt x="88" y="487"/>
                  </a:lnTo>
                  <a:lnTo>
                    <a:pt x="88" y="485"/>
                  </a:lnTo>
                  <a:lnTo>
                    <a:pt x="88" y="487"/>
                  </a:lnTo>
                  <a:lnTo>
                    <a:pt x="86" y="487"/>
                  </a:lnTo>
                  <a:lnTo>
                    <a:pt x="84" y="487"/>
                  </a:lnTo>
                  <a:lnTo>
                    <a:pt x="84" y="485"/>
                  </a:lnTo>
                  <a:lnTo>
                    <a:pt x="82" y="485"/>
                  </a:lnTo>
                  <a:lnTo>
                    <a:pt x="80" y="485"/>
                  </a:lnTo>
                  <a:lnTo>
                    <a:pt x="80" y="487"/>
                  </a:lnTo>
                  <a:lnTo>
                    <a:pt x="80" y="489"/>
                  </a:lnTo>
                  <a:lnTo>
                    <a:pt x="78" y="489"/>
                  </a:lnTo>
                  <a:lnTo>
                    <a:pt x="77" y="489"/>
                  </a:lnTo>
                  <a:lnTo>
                    <a:pt x="77" y="487"/>
                  </a:lnTo>
                  <a:lnTo>
                    <a:pt x="75" y="487"/>
                  </a:lnTo>
                  <a:lnTo>
                    <a:pt x="73" y="487"/>
                  </a:lnTo>
                  <a:lnTo>
                    <a:pt x="71" y="487"/>
                  </a:lnTo>
                  <a:lnTo>
                    <a:pt x="69" y="487"/>
                  </a:lnTo>
                  <a:lnTo>
                    <a:pt x="69" y="485"/>
                  </a:lnTo>
                  <a:lnTo>
                    <a:pt x="67" y="485"/>
                  </a:lnTo>
                  <a:lnTo>
                    <a:pt x="65" y="485"/>
                  </a:lnTo>
                  <a:lnTo>
                    <a:pt x="63" y="485"/>
                  </a:lnTo>
                  <a:lnTo>
                    <a:pt x="61" y="485"/>
                  </a:lnTo>
                  <a:lnTo>
                    <a:pt x="61" y="484"/>
                  </a:lnTo>
                  <a:lnTo>
                    <a:pt x="59" y="484"/>
                  </a:lnTo>
                  <a:lnTo>
                    <a:pt x="59" y="485"/>
                  </a:lnTo>
                  <a:lnTo>
                    <a:pt x="55" y="485"/>
                  </a:lnTo>
                  <a:lnTo>
                    <a:pt x="54" y="485"/>
                  </a:lnTo>
                  <a:lnTo>
                    <a:pt x="54" y="484"/>
                  </a:lnTo>
                  <a:lnTo>
                    <a:pt x="54" y="482"/>
                  </a:lnTo>
                  <a:lnTo>
                    <a:pt x="52" y="482"/>
                  </a:lnTo>
                  <a:lnTo>
                    <a:pt x="50" y="482"/>
                  </a:lnTo>
                  <a:lnTo>
                    <a:pt x="48" y="482"/>
                  </a:lnTo>
                  <a:lnTo>
                    <a:pt x="46" y="482"/>
                  </a:lnTo>
                  <a:lnTo>
                    <a:pt x="46" y="480"/>
                  </a:lnTo>
                  <a:lnTo>
                    <a:pt x="44" y="480"/>
                  </a:lnTo>
                  <a:lnTo>
                    <a:pt x="44" y="478"/>
                  </a:lnTo>
                  <a:lnTo>
                    <a:pt x="46" y="476"/>
                  </a:lnTo>
                  <a:lnTo>
                    <a:pt x="46" y="474"/>
                  </a:lnTo>
                  <a:lnTo>
                    <a:pt x="48" y="472"/>
                  </a:lnTo>
                  <a:lnTo>
                    <a:pt x="50" y="468"/>
                  </a:lnTo>
                  <a:lnTo>
                    <a:pt x="57" y="472"/>
                  </a:lnTo>
                  <a:lnTo>
                    <a:pt x="57" y="470"/>
                  </a:lnTo>
                  <a:lnTo>
                    <a:pt x="57" y="468"/>
                  </a:lnTo>
                  <a:lnTo>
                    <a:pt x="57" y="466"/>
                  </a:lnTo>
                  <a:lnTo>
                    <a:pt x="55" y="466"/>
                  </a:lnTo>
                  <a:lnTo>
                    <a:pt x="55" y="464"/>
                  </a:lnTo>
                  <a:lnTo>
                    <a:pt x="57" y="464"/>
                  </a:lnTo>
                  <a:lnTo>
                    <a:pt x="57" y="462"/>
                  </a:lnTo>
                  <a:lnTo>
                    <a:pt x="59" y="462"/>
                  </a:lnTo>
                  <a:lnTo>
                    <a:pt x="61" y="462"/>
                  </a:lnTo>
                  <a:lnTo>
                    <a:pt x="63" y="461"/>
                  </a:lnTo>
                  <a:lnTo>
                    <a:pt x="65" y="461"/>
                  </a:lnTo>
                  <a:lnTo>
                    <a:pt x="67" y="461"/>
                  </a:lnTo>
                  <a:lnTo>
                    <a:pt x="69" y="461"/>
                  </a:lnTo>
                  <a:lnTo>
                    <a:pt x="69" y="459"/>
                  </a:lnTo>
                  <a:lnTo>
                    <a:pt x="69" y="457"/>
                  </a:lnTo>
                  <a:lnTo>
                    <a:pt x="69" y="455"/>
                  </a:lnTo>
                  <a:lnTo>
                    <a:pt x="67" y="451"/>
                  </a:lnTo>
                  <a:lnTo>
                    <a:pt x="65" y="449"/>
                  </a:lnTo>
                  <a:lnTo>
                    <a:pt x="65" y="447"/>
                  </a:lnTo>
                  <a:lnTo>
                    <a:pt x="63" y="443"/>
                  </a:lnTo>
                  <a:lnTo>
                    <a:pt x="63" y="441"/>
                  </a:lnTo>
                  <a:lnTo>
                    <a:pt x="61" y="439"/>
                  </a:lnTo>
                  <a:lnTo>
                    <a:pt x="61" y="438"/>
                  </a:lnTo>
                  <a:lnTo>
                    <a:pt x="57" y="434"/>
                  </a:lnTo>
                  <a:lnTo>
                    <a:pt x="57" y="432"/>
                  </a:lnTo>
                  <a:lnTo>
                    <a:pt x="59" y="432"/>
                  </a:lnTo>
                  <a:lnTo>
                    <a:pt x="59" y="430"/>
                  </a:lnTo>
                  <a:lnTo>
                    <a:pt x="59" y="428"/>
                  </a:lnTo>
                  <a:lnTo>
                    <a:pt x="61" y="424"/>
                  </a:lnTo>
                  <a:lnTo>
                    <a:pt x="61" y="422"/>
                  </a:lnTo>
                  <a:lnTo>
                    <a:pt x="61" y="420"/>
                  </a:lnTo>
                  <a:lnTo>
                    <a:pt x="61" y="418"/>
                  </a:lnTo>
                  <a:lnTo>
                    <a:pt x="61" y="416"/>
                  </a:lnTo>
                  <a:lnTo>
                    <a:pt x="63" y="414"/>
                  </a:lnTo>
                  <a:lnTo>
                    <a:pt x="63" y="413"/>
                  </a:lnTo>
                  <a:lnTo>
                    <a:pt x="63" y="411"/>
                  </a:lnTo>
                  <a:lnTo>
                    <a:pt x="63" y="409"/>
                  </a:lnTo>
                  <a:lnTo>
                    <a:pt x="65" y="407"/>
                  </a:lnTo>
                  <a:lnTo>
                    <a:pt x="67" y="401"/>
                  </a:lnTo>
                  <a:lnTo>
                    <a:pt x="65" y="397"/>
                  </a:lnTo>
                  <a:lnTo>
                    <a:pt x="65" y="395"/>
                  </a:lnTo>
                  <a:lnTo>
                    <a:pt x="61" y="395"/>
                  </a:lnTo>
                  <a:lnTo>
                    <a:pt x="59" y="395"/>
                  </a:lnTo>
                  <a:lnTo>
                    <a:pt x="57" y="395"/>
                  </a:lnTo>
                  <a:lnTo>
                    <a:pt x="57" y="393"/>
                  </a:lnTo>
                  <a:lnTo>
                    <a:pt x="55" y="393"/>
                  </a:lnTo>
                  <a:lnTo>
                    <a:pt x="55" y="395"/>
                  </a:lnTo>
                  <a:lnTo>
                    <a:pt x="55" y="397"/>
                  </a:lnTo>
                  <a:lnTo>
                    <a:pt x="54" y="397"/>
                  </a:lnTo>
                  <a:lnTo>
                    <a:pt x="54" y="399"/>
                  </a:lnTo>
                  <a:lnTo>
                    <a:pt x="54" y="403"/>
                  </a:lnTo>
                  <a:lnTo>
                    <a:pt x="52" y="403"/>
                  </a:lnTo>
                  <a:lnTo>
                    <a:pt x="48" y="403"/>
                  </a:lnTo>
                  <a:lnTo>
                    <a:pt x="38" y="403"/>
                  </a:lnTo>
                  <a:lnTo>
                    <a:pt x="38" y="401"/>
                  </a:lnTo>
                  <a:lnTo>
                    <a:pt x="36" y="401"/>
                  </a:lnTo>
                  <a:lnTo>
                    <a:pt x="34" y="399"/>
                  </a:lnTo>
                  <a:lnTo>
                    <a:pt x="32" y="399"/>
                  </a:lnTo>
                  <a:lnTo>
                    <a:pt x="30" y="399"/>
                  </a:lnTo>
                  <a:lnTo>
                    <a:pt x="30" y="397"/>
                  </a:lnTo>
                  <a:lnTo>
                    <a:pt x="29" y="399"/>
                  </a:lnTo>
                  <a:lnTo>
                    <a:pt x="27" y="399"/>
                  </a:lnTo>
                  <a:lnTo>
                    <a:pt x="23" y="395"/>
                  </a:lnTo>
                  <a:lnTo>
                    <a:pt x="21" y="395"/>
                  </a:lnTo>
                  <a:lnTo>
                    <a:pt x="19" y="393"/>
                  </a:lnTo>
                  <a:lnTo>
                    <a:pt x="17" y="393"/>
                  </a:lnTo>
                  <a:lnTo>
                    <a:pt x="17" y="391"/>
                  </a:lnTo>
                  <a:lnTo>
                    <a:pt x="15" y="391"/>
                  </a:lnTo>
                  <a:lnTo>
                    <a:pt x="13" y="390"/>
                  </a:lnTo>
                  <a:lnTo>
                    <a:pt x="17" y="388"/>
                  </a:lnTo>
                  <a:lnTo>
                    <a:pt x="17" y="386"/>
                  </a:lnTo>
                  <a:lnTo>
                    <a:pt x="15" y="386"/>
                  </a:lnTo>
                  <a:lnTo>
                    <a:pt x="13" y="384"/>
                  </a:lnTo>
                  <a:lnTo>
                    <a:pt x="15" y="382"/>
                  </a:lnTo>
                  <a:lnTo>
                    <a:pt x="17" y="382"/>
                  </a:lnTo>
                  <a:lnTo>
                    <a:pt x="17" y="380"/>
                  </a:lnTo>
                  <a:lnTo>
                    <a:pt x="19" y="378"/>
                  </a:lnTo>
                  <a:lnTo>
                    <a:pt x="21" y="378"/>
                  </a:lnTo>
                  <a:lnTo>
                    <a:pt x="25" y="376"/>
                  </a:lnTo>
                  <a:lnTo>
                    <a:pt x="25" y="374"/>
                  </a:lnTo>
                  <a:lnTo>
                    <a:pt x="23" y="370"/>
                  </a:lnTo>
                  <a:lnTo>
                    <a:pt x="21" y="372"/>
                  </a:lnTo>
                  <a:lnTo>
                    <a:pt x="19" y="366"/>
                  </a:lnTo>
                  <a:lnTo>
                    <a:pt x="17" y="366"/>
                  </a:lnTo>
                  <a:lnTo>
                    <a:pt x="13" y="368"/>
                  </a:lnTo>
                  <a:lnTo>
                    <a:pt x="13" y="365"/>
                  </a:lnTo>
                  <a:lnTo>
                    <a:pt x="9" y="363"/>
                  </a:lnTo>
                  <a:lnTo>
                    <a:pt x="9" y="361"/>
                  </a:lnTo>
                  <a:lnTo>
                    <a:pt x="9" y="359"/>
                  </a:lnTo>
                  <a:lnTo>
                    <a:pt x="9" y="357"/>
                  </a:lnTo>
                  <a:lnTo>
                    <a:pt x="7" y="357"/>
                  </a:lnTo>
                  <a:lnTo>
                    <a:pt x="7" y="355"/>
                  </a:lnTo>
                  <a:lnTo>
                    <a:pt x="7" y="353"/>
                  </a:lnTo>
                  <a:lnTo>
                    <a:pt x="9" y="353"/>
                  </a:lnTo>
                  <a:lnTo>
                    <a:pt x="11" y="353"/>
                  </a:lnTo>
                  <a:lnTo>
                    <a:pt x="11" y="351"/>
                  </a:lnTo>
                  <a:lnTo>
                    <a:pt x="13" y="351"/>
                  </a:lnTo>
                  <a:lnTo>
                    <a:pt x="15" y="351"/>
                  </a:lnTo>
                  <a:lnTo>
                    <a:pt x="15" y="349"/>
                  </a:lnTo>
                  <a:lnTo>
                    <a:pt x="17" y="349"/>
                  </a:lnTo>
                  <a:lnTo>
                    <a:pt x="19" y="347"/>
                  </a:lnTo>
                  <a:lnTo>
                    <a:pt x="15" y="343"/>
                  </a:lnTo>
                  <a:lnTo>
                    <a:pt x="17" y="343"/>
                  </a:lnTo>
                  <a:lnTo>
                    <a:pt x="19" y="342"/>
                  </a:lnTo>
                  <a:lnTo>
                    <a:pt x="19" y="340"/>
                  </a:lnTo>
                  <a:lnTo>
                    <a:pt x="21" y="340"/>
                  </a:lnTo>
                  <a:lnTo>
                    <a:pt x="23" y="340"/>
                  </a:lnTo>
                  <a:lnTo>
                    <a:pt x="25" y="340"/>
                  </a:lnTo>
                  <a:lnTo>
                    <a:pt x="27" y="340"/>
                  </a:lnTo>
                  <a:lnTo>
                    <a:pt x="29" y="340"/>
                  </a:lnTo>
                  <a:lnTo>
                    <a:pt x="30" y="338"/>
                  </a:lnTo>
                  <a:lnTo>
                    <a:pt x="32" y="338"/>
                  </a:lnTo>
                  <a:lnTo>
                    <a:pt x="30" y="336"/>
                  </a:lnTo>
                  <a:lnTo>
                    <a:pt x="30" y="334"/>
                  </a:lnTo>
                  <a:lnTo>
                    <a:pt x="30" y="332"/>
                  </a:lnTo>
                  <a:lnTo>
                    <a:pt x="29" y="330"/>
                  </a:lnTo>
                  <a:lnTo>
                    <a:pt x="29" y="328"/>
                  </a:lnTo>
                  <a:lnTo>
                    <a:pt x="27" y="328"/>
                  </a:lnTo>
                  <a:lnTo>
                    <a:pt x="25" y="328"/>
                  </a:lnTo>
                  <a:lnTo>
                    <a:pt x="21" y="326"/>
                  </a:lnTo>
                  <a:lnTo>
                    <a:pt x="19" y="326"/>
                  </a:lnTo>
                  <a:lnTo>
                    <a:pt x="17" y="326"/>
                  </a:lnTo>
                  <a:lnTo>
                    <a:pt x="13" y="326"/>
                  </a:lnTo>
                  <a:lnTo>
                    <a:pt x="13" y="324"/>
                  </a:lnTo>
                  <a:lnTo>
                    <a:pt x="11" y="324"/>
                  </a:lnTo>
                  <a:lnTo>
                    <a:pt x="11" y="322"/>
                  </a:lnTo>
                  <a:lnTo>
                    <a:pt x="11" y="320"/>
                  </a:lnTo>
                  <a:lnTo>
                    <a:pt x="11" y="318"/>
                  </a:lnTo>
                  <a:lnTo>
                    <a:pt x="11" y="317"/>
                  </a:lnTo>
                  <a:lnTo>
                    <a:pt x="11" y="315"/>
                  </a:lnTo>
                  <a:lnTo>
                    <a:pt x="13" y="313"/>
                  </a:lnTo>
                  <a:lnTo>
                    <a:pt x="13" y="311"/>
                  </a:lnTo>
                  <a:lnTo>
                    <a:pt x="13" y="309"/>
                  </a:lnTo>
                  <a:lnTo>
                    <a:pt x="13" y="307"/>
                  </a:lnTo>
                  <a:lnTo>
                    <a:pt x="13" y="305"/>
                  </a:lnTo>
                  <a:lnTo>
                    <a:pt x="13" y="303"/>
                  </a:lnTo>
                  <a:lnTo>
                    <a:pt x="13" y="301"/>
                  </a:lnTo>
                  <a:lnTo>
                    <a:pt x="15" y="299"/>
                  </a:lnTo>
                  <a:lnTo>
                    <a:pt x="15" y="295"/>
                  </a:lnTo>
                  <a:lnTo>
                    <a:pt x="15" y="294"/>
                  </a:lnTo>
                  <a:lnTo>
                    <a:pt x="15" y="290"/>
                  </a:lnTo>
                  <a:lnTo>
                    <a:pt x="15" y="288"/>
                  </a:lnTo>
                  <a:lnTo>
                    <a:pt x="13" y="284"/>
                  </a:lnTo>
                  <a:lnTo>
                    <a:pt x="11" y="282"/>
                  </a:lnTo>
                  <a:lnTo>
                    <a:pt x="11" y="280"/>
                  </a:lnTo>
                  <a:lnTo>
                    <a:pt x="11" y="278"/>
                  </a:lnTo>
                  <a:lnTo>
                    <a:pt x="11" y="276"/>
                  </a:lnTo>
                  <a:lnTo>
                    <a:pt x="11" y="274"/>
                  </a:lnTo>
                  <a:lnTo>
                    <a:pt x="9" y="272"/>
                  </a:lnTo>
                  <a:lnTo>
                    <a:pt x="11" y="269"/>
                  </a:lnTo>
                  <a:lnTo>
                    <a:pt x="7" y="269"/>
                  </a:lnTo>
                  <a:lnTo>
                    <a:pt x="2" y="269"/>
                  </a:lnTo>
                  <a:lnTo>
                    <a:pt x="2" y="267"/>
                  </a:lnTo>
                  <a:lnTo>
                    <a:pt x="2" y="265"/>
                  </a:lnTo>
                  <a:lnTo>
                    <a:pt x="4" y="263"/>
                  </a:lnTo>
                  <a:lnTo>
                    <a:pt x="4" y="261"/>
                  </a:lnTo>
                  <a:lnTo>
                    <a:pt x="4" y="259"/>
                  </a:lnTo>
                  <a:lnTo>
                    <a:pt x="4" y="255"/>
                  </a:lnTo>
                  <a:lnTo>
                    <a:pt x="4" y="253"/>
                  </a:lnTo>
                  <a:lnTo>
                    <a:pt x="4" y="251"/>
                  </a:lnTo>
                  <a:lnTo>
                    <a:pt x="4" y="249"/>
                  </a:lnTo>
                  <a:lnTo>
                    <a:pt x="2" y="249"/>
                  </a:lnTo>
                  <a:lnTo>
                    <a:pt x="0" y="249"/>
                  </a:lnTo>
                  <a:lnTo>
                    <a:pt x="2" y="249"/>
                  </a:lnTo>
                  <a:lnTo>
                    <a:pt x="2" y="247"/>
                  </a:lnTo>
                  <a:lnTo>
                    <a:pt x="2" y="246"/>
                  </a:lnTo>
                  <a:lnTo>
                    <a:pt x="2" y="244"/>
                  </a:lnTo>
                  <a:lnTo>
                    <a:pt x="2" y="242"/>
                  </a:lnTo>
                  <a:lnTo>
                    <a:pt x="2" y="240"/>
                  </a:lnTo>
                  <a:lnTo>
                    <a:pt x="4" y="240"/>
                  </a:lnTo>
                  <a:lnTo>
                    <a:pt x="4" y="238"/>
                  </a:lnTo>
                  <a:lnTo>
                    <a:pt x="6" y="238"/>
                  </a:lnTo>
                  <a:lnTo>
                    <a:pt x="7" y="238"/>
                  </a:lnTo>
                  <a:lnTo>
                    <a:pt x="9" y="238"/>
                  </a:lnTo>
                  <a:lnTo>
                    <a:pt x="11" y="238"/>
                  </a:lnTo>
                  <a:lnTo>
                    <a:pt x="13" y="238"/>
                  </a:lnTo>
                  <a:lnTo>
                    <a:pt x="15" y="238"/>
                  </a:lnTo>
                  <a:lnTo>
                    <a:pt x="15" y="236"/>
                  </a:lnTo>
                  <a:lnTo>
                    <a:pt x="17" y="236"/>
                  </a:lnTo>
                  <a:lnTo>
                    <a:pt x="19" y="234"/>
                  </a:lnTo>
                  <a:lnTo>
                    <a:pt x="21" y="234"/>
                  </a:lnTo>
                  <a:lnTo>
                    <a:pt x="21" y="232"/>
                  </a:lnTo>
                  <a:lnTo>
                    <a:pt x="23" y="232"/>
                  </a:lnTo>
                  <a:lnTo>
                    <a:pt x="23" y="230"/>
                  </a:lnTo>
                  <a:lnTo>
                    <a:pt x="25" y="228"/>
                  </a:lnTo>
                  <a:lnTo>
                    <a:pt x="25" y="226"/>
                  </a:lnTo>
                  <a:lnTo>
                    <a:pt x="21" y="226"/>
                  </a:lnTo>
                  <a:lnTo>
                    <a:pt x="15" y="226"/>
                  </a:lnTo>
                  <a:lnTo>
                    <a:pt x="15" y="224"/>
                  </a:lnTo>
                  <a:lnTo>
                    <a:pt x="17" y="219"/>
                  </a:lnTo>
                  <a:lnTo>
                    <a:pt x="19" y="217"/>
                  </a:lnTo>
                  <a:lnTo>
                    <a:pt x="19" y="215"/>
                  </a:lnTo>
                  <a:lnTo>
                    <a:pt x="19" y="217"/>
                  </a:lnTo>
                  <a:lnTo>
                    <a:pt x="21" y="217"/>
                  </a:lnTo>
                  <a:lnTo>
                    <a:pt x="23" y="217"/>
                  </a:lnTo>
                  <a:lnTo>
                    <a:pt x="25" y="219"/>
                  </a:lnTo>
                  <a:lnTo>
                    <a:pt x="25" y="217"/>
                  </a:lnTo>
                  <a:lnTo>
                    <a:pt x="27" y="217"/>
                  </a:lnTo>
                  <a:lnTo>
                    <a:pt x="29" y="217"/>
                  </a:lnTo>
                  <a:lnTo>
                    <a:pt x="30" y="217"/>
                  </a:lnTo>
                  <a:lnTo>
                    <a:pt x="32" y="219"/>
                  </a:lnTo>
                  <a:lnTo>
                    <a:pt x="32" y="217"/>
                  </a:lnTo>
                  <a:lnTo>
                    <a:pt x="32" y="215"/>
                  </a:lnTo>
                  <a:lnTo>
                    <a:pt x="30" y="215"/>
                  </a:lnTo>
                  <a:lnTo>
                    <a:pt x="29" y="213"/>
                  </a:lnTo>
                  <a:lnTo>
                    <a:pt x="29" y="211"/>
                  </a:lnTo>
                  <a:lnTo>
                    <a:pt x="29" y="209"/>
                  </a:lnTo>
                  <a:lnTo>
                    <a:pt x="27" y="209"/>
                  </a:lnTo>
                  <a:lnTo>
                    <a:pt x="29" y="207"/>
                  </a:lnTo>
                  <a:lnTo>
                    <a:pt x="30" y="207"/>
                  </a:lnTo>
                  <a:lnTo>
                    <a:pt x="30" y="203"/>
                  </a:lnTo>
                  <a:lnTo>
                    <a:pt x="30" y="199"/>
                  </a:lnTo>
                  <a:lnTo>
                    <a:pt x="32" y="199"/>
                  </a:lnTo>
                  <a:lnTo>
                    <a:pt x="34" y="199"/>
                  </a:lnTo>
                  <a:lnTo>
                    <a:pt x="38" y="199"/>
                  </a:lnTo>
                  <a:lnTo>
                    <a:pt x="38" y="198"/>
                  </a:lnTo>
                  <a:lnTo>
                    <a:pt x="40" y="198"/>
                  </a:lnTo>
                  <a:lnTo>
                    <a:pt x="40" y="196"/>
                  </a:lnTo>
                  <a:lnTo>
                    <a:pt x="40" y="194"/>
                  </a:lnTo>
                  <a:lnTo>
                    <a:pt x="44" y="194"/>
                  </a:lnTo>
                  <a:lnTo>
                    <a:pt x="44" y="192"/>
                  </a:lnTo>
                  <a:lnTo>
                    <a:pt x="44" y="190"/>
                  </a:lnTo>
                  <a:lnTo>
                    <a:pt x="42" y="188"/>
                  </a:lnTo>
                  <a:lnTo>
                    <a:pt x="42" y="186"/>
                  </a:lnTo>
                  <a:lnTo>
                    <a:pt x="44" y="186"/>
                  </a:lnTo>
                  <a:lnTo>
                    <a:pt x="44" y="184"/>
                  </a:lnTo>
                  <a:lnTo>
                    <a:pt x="46" y="184"/>
                  </a:lnTo>
                  <a:lnTo>
                    <a:pt x="55" y="182"/>
                  </a:lnTo>
                  <a:lnTo>
                    <a:pt x="57" y="180"/>
                  </a:lnTo>
                  <a:lnTo>
                    <a:pt x="59" y="180"/>
                  </a:lnTo>
                  <a:lnTo>
                    <a:pt x="57" y="180"/>
                  </a:lnTo>
                  <a:lnTo>
                    <a:pt x="55" y="178"/>
                  </a:lnTo>
                  <a:lnTo>
                    <a:pt x="55" y="180"/>
                  </a:lnTo>
                  <a:lnTo>
                    <a:pt x="54" y="180"/>
                  </a:lnTo>
                  <a:lnTo>
                    <a:pt x="54" y="178"/>
                  </a:lnTo>
                  <a:lnTo>
                    <a:pt x="54" y="176"/>
                  </a:lnTo>
                  <a:lnTo>
                    <a:pt x="55" y="176"/>
                  </a:lnTo>
                  <a:lnTo>
                    <a:pt x="54" y="176"/>
                  </a:lnTo>
                  <a:lnTo>
                    <a:pt x="54" y="174"/>
                  </a:lnTo>
                  <a:lnTo>
                    <a:pt x="52" y="174"/>
                  </a:lnTo>
                  <a:lnTo>
                    <a:pt x="52" y="173"/>
                  </a:lnTo>
                  <a:lnTo>
                    <a:pt x="50" y="173"/>
                  </a:lnTo>
                  <a:lnTo>
                    <a:pt x="50" y="171"/>
                  </a:lnTo>
                  <a:lnTo>
                    <a:pt x="50" y="169"/>
                  </a:lnTo>
                  <a:lnTo>
                    <a:pt x="50" y="167"/>
                  </a:lnTo>
                  <a:lnTo>
                    <a:pt x="50" y="165"/>
                  </a:lnTo>
                  <a:lnTo>
                    <a:pt x="48" y="165"/>
                  </a:lnTo>
                  <a:lnTo>
                    <a:pt x="46" y="163"/>
                  </a:lnTo>
                  <a:lnTo>
                    <a:pt x="50" y="161"/>
                  </a:lnTo>
                  <a:lnTo>
                    <a:pt x="52" y="161"/>
                  </a:lnTo>
                  <a:lnTo>
                    <a:pt x="52" y="159"/>
                  </a:lnTo>
                  <a:lnTo>
                    <a:pt x="52" y="157"/>
                  </a:lnTo>
                  <a:lnTo>
                    <a:pt x="50" y="157"/>
                  </a:lnTo>
                  <a:lnTo>
                    <a:pt x="48" y="157"/>
                  </a:lnTo>
                  <a:lnTo>
                    <a:pt x="46" y="157"/>
                  </a:lnTo>
                  <a:lnTo>
                    <a:pt x="44" y="157"/>
                  </a:lnTo>
                  <a:lnTo>
                    <a:pt x="44" y="155"/>
                  </a:lnTo>
                  <a:lnTo>
                    <a:pt x="40" y="159"/>
                  </a:lnTo>
                  <a:lnTo>
                    <a:pt x="38" y="157"/>
                  </a:lnTo>
                  <a:lnTo>
                    <a:pt x="36" y="155"/>
                  </a:lnTo>
                  <a:lnTo>
                    <a:pt x="34" y="151"/>
                  </a:lnTo>
                  <a:lnTo>
                    <a:pt x="32" y="150"/>
                  </a:lnTo>
                  <a:lnTo>
                    <a:pt x="34" y="150"/>
                  </a:lnTo>
                  <a:lnTo>
                    <a:pt x="34" y="148"/>
                  </a:lnTo>
                  <a:lnTo>
                    <a:pt x="36" y="144"/>
                  </a:lnTo>
                  <a:lnTo>
                    <a:pt x="36" y="140"/>
                  </a:lnTo>
                  <a:lnTo>
                    <a:pt x="38" y="138"/>
                  </a:lnTo>
                  <a:lnTo>
                    <a:pt x="38" y="136"/>
                  </a:lnTo>
                  <a:lnTo>
                    <a:pt x="40" y="134"/>
                  </a:lnTo>
                  <a:lnTo>
                    <a:pt x="42" y="136"/>
                  </a:lnTo>
                  <a:lnTo>
                    <a:pt x="42" y="138"/>
                  </a:lnTo>
                  <a:lnTo>
                    <a:pt x="42" y="140"/>
                  </a:lnTo>
                  <a:lnTo>
                    <a:pt x="44" y="140"/>
                  </a:lnTo>
                  <a:lnTo>
                    <a:pt x="46" y="140"/>
                  </a:lnTo>
                  <a:lnTo>
                    <a:pt x="48" y="140"/>
                  </a:lnTo>
                  <a:lnTo>
                    <a:pt x="50" y="138"/>
                  </a:lnTo>
                  <a:lnTo>
                    <a:pt x="50" y="136"/>
                  </a:lnTo>
                  <a:lnTo>
                    <a:pt x="50" y="134"/>
                  </a:lnTo>
                  <a:lnTo>
                    <a:pt x="52" y="134"/>
                  </a:lnTo>
                  <a:lnTo>
                    <a:pt x="54" y="132"/>
                  </a:lnTo>
                  <a:lnTo>
                    <a:pt x="54" y="130"/>
                  </a:lnTo>
                  <a:lnTo>
                    <a:pt x="55" y="130"/>
                  </a:lnTo>
                  <a:lnTo>
                    <a:pt x="55" y="128"/>
                  </a:lnTo>
                  <a:lnTo>
                    <a:pt x="57" y="128"/>
                  </a:lnTo>
                  <a:lnTo>
                    <a:pt x="61" y="128"/>
                  </a:lnTo>
                  <a:lnTo>
                    <a:pt x="61" y="125"/>
                  </a:lnTo>
                  <a:lnTo>
                    <a:pt x="59" y="125"/>
                  </a:lnTo>
                  <a:lnTo>
                    <a:pt x="57" y="123"/>
                  </a:lnTo>
                  <a:lnTo>
                    <a:pt x="55" y="121"/>
                  </a:lnTo>
                  <a:lnTo>
                    <a:pt x="54" y="119"/>
                  </a:lnTo>
                  <a:lnTo>
                    <a:pt x="50" y="115"/>
                  </a:lnTo>
                  <a:lnTo>
                    <a:pt x="50" y="113"/>
                  </a:lnTo>
                  <a:lnTo>
                    <a:pt x="52" y="109"/>
                  </a:lnTo>
                  <a:lnTo>
                    <a:pt x="52" y="107"/>
                  </a:lnTo>
                  <a:lnTo>
                    <a:pt x="52" y="105"/>
                  </a:lnTo>
                  <a:lnTo>
                    <a:pt x="54" y="105"/>
                  </a:lnTo>
                  <a:lnTo>
                    <a:pt x="57" y="105"/>
                  </a:lnTo>
                  <a:lnTo>
                    <a:pt x="59" y="105"/>
                  </a:lnTo>
                  <a:lnTo>
                    <a:pt x="61" y="105"/>
                  </a:lnTo>
                  <a:lnTo>
                    <a:pt x="63" y="105"/>
                  </a:lnTo>
                  <a:lnTo>
                    <a:pt x="65" y="105"/>
                  </a:lnTo>
                  <a:lnTo>
                    <a:pt x="67" y="105"/>
                  </a:lnTo>
                  <a:lnTo>
                    <a:pt x="69" y="105"/>
                  </a:lnTo>
                  <a:lnTo>
                    <a:pt x="69" y="103"/>
                  </a:lnTo>
                  <a:lnTo>
                    <a:pt x="71" y="103"/>
                  </a:lnTo>
                  <a:lnTo>
                    <a:pt x="73" y="102"/>
                  </a:lnTo>
                  <a:lnTo>
                    <a:pt x="71" y="100"/>
                  </a:lnTo>
                  <a:lnTo>
                    <a:pt x="69" y="98"/>
                  </a:lnTo>
                  <a:lnTo>
                    <a:pt x="67" y="96"/>
                  </a:lnTo>
                  <a:lnTo>
                    <a:pt x="65" y="94"/>
                  </a:lnTo>
                  <a:lnTo>
                    <a:pt x="65" y="92"/>
                  </a:lnTo>
                  <a:lnTo>
                    <a:pt x="63" y="92"/>
                  </a:lnTo>
                  <a:lnTo>
                    <a:pt x="63" y="90"/>
                  </a:lnTo>
                  <a:lnTo>
                    <a:pt x="61" y="88"/>
                  </a:lnTo>
                  <a:lnTo>
                    <a:pt x="59" y="82"/>
                  </a:lnTo>
                  <a:lnTo>
                    <a:pt x="57" y="80"/>
                  </a:lnTo>
                  <a:lnTo>
                    <a:pt x="55" y="78"/>
                  </a:lnTo>
                  <a:lnTo>
                    <a:pt x="57" y="77"/>
                  </a:lnTo>
                  <a:lnTo>
                    <a:pt x="57" y="75"/>
                  </a:lnTo>
                  <a:lnTo>
                    <a:pt x="59" y="75"/>
                  </a:lnTo>
                  <a:lnTo>
                    <a:pt x="59" y="73"/>
                  </a:lnTo>
                  <a:lnTo>
                    <a:pt x="61" y="73"/>
                  </a:lnTo>
                  <a:lnTo>
                    <a:pt x="61" y="71"/>
                  </a:lnTo>
                  <a:lnTo>
                    <a:pt x="61" y="69"/>
                  </a:lnTo>
                  <a:lnTo>
                    <a:pt x="63" y="69"/>
                  </a:lnTo>
                  <a:lnTo>
                    <a:pt x="65" y="69"/>
                  </a:lnTo>
                  <a:lnTo>
                    <a:pt x="67" y="67"/>
                  </a:lnTo>
                  <a:lnTo>
                    <a:pt x="69" y="67"/>
                  </a:lnTo>
                  <a:lnTo>
                    <a:pt x="71" y="65"/>
                  </a:lnTo>
                  <a:lnTo>
                    <a:pt x="73" y="65"/>
                  </a:lnTo>
                  <a:lnTo>
                    <a:pt x="75" y="63"/>
                  </a:lnTo>
                  <a:lnTo>
                    <a:pt x="77" y="63"/>
                  </a:lnTo>
                  <a:lnTo>
                    <a:pt x="78" y="63"/>
                  </a:lnTo>
                  <a:lnTo>
                    <a:pt x="80" y="61"/>
                  </a:lnTo>
                  <a:lnTo>
                    <a:pt x="82" y="61"/>
                  </a:lnTo>
                  <a:lnTo>
                    <a:pt x="82" y="63"/>
                  </a:lnTo>
                  <a:lnTo>
                    <a:pt x="82" y="65"/>
                  </a:lnTo>
                  <a:lnTo>
                    <a:pt x="82" y="67"/>
                  </a:lnTo>
                  <a:lnTo>
                    <a:pt x="82" y="69"/>
                  </a:lnTo>
                  <a:lnTo>
                    <a:pt x="82" y="71"/>
                  </a:lnTo>
                  <a:lnTo>
                    <a:pt x="82" y="69"/>
                  </a:lnTo>
                  <a:lnTo>
                    <a:pt x="84" y="69"/>
                  </a:lnTo>
                  <a:lnTo>
                    <a:pt x="86" y="67"/>
                  </a:lnTo>
                  <a:lnTo>
                    <a:pt x="88" y="65"/>
                  </a:lnTo>
                  <a:lnTo>
                    <a:pt x="90" y="63"/>
                  </a:lnTo>
                  <a:lnTo>
                    <a:pt x="92" y="63"/>
                  </a:lnTo>
                  <a:lnTo>
                    <a:pt x="94" y="63"/>
                  </a:lnTo>
                  <a:lnTo>
                    <a:pt x="94" y="61"/>
                  </a:lnTo>
                  <a:lnTo>
                    <a:pt x="94" y="59"/>
                  </a:lnTo>
                  <a:lnTo>
                    <a:pt x="92" y="59"/>
                  </a:lnTo>
                  <a:lnTo>
                    <a:pt x="92" y="57"/>
                  </a:lnTo>
                  <a:lnTo>
                    <a:pt x="94" y="57"/>
                  </a:lnTo>
                  <a:lnTo>
                    <a:pt x="96" y="55"/>
                  </a:lnTo>
                  <a:lnTo>
                    <a:pt x="98" y="55"/>
                  </a:lnTo>
                  <a:lnTo>
                    <a:pt x="100" y="54"/>
                  </a:lnTo>
                  <a:lnTo>
                    <a:pt x="102" y="54"/>
                  </a:lnTo>
                  <a:lnTo>
                    <a:pt x="102" y="52"/>
                  </a:lnTo>
                  <a:lnTo>
                    <a:pt x="102" y="50"/>
                  </a:lnTo>
                  <a:lnTo>
                    <a:pt x="103" y="48"/>
                  </a:lnTo>
                  <a:lnTo>
                    <a:pt x="105" y="48"/>
                  </a:lnTo>
                  <a:lnTo>
                    <a:pt x="105" y="46"/>
                  </a:lnTo>
                  <a:lnTo>
                    <a:pt x="107" y="46"/>
                  </a:lnTo>
                  <a:lnTo>
                    <a:pt x="107" y="44"/>
                  </a:lnTo>
                  <a:lnTo>
                    <a:pt x="107" y="42"/>
                  </a:lnTo>
                  <a:lnTo>
                    <a:pt x="105" y="42"/>
                  </a:lnTo>
                  <a:lnTo>
                    <a:pt x="103" y="42"/>
                  </a:lnTo>
                  <a:lnTo>
                    <a:pt x="103" y="40"/>
                  </a:lnTo>
                  <a:lnTo>
                    <a:pt x="103" y="38"/>
                  </a:lnTo>
                  <a:lnTo>
                    <a:pt x="103" y="36"/>
                  </a:lnTo>
                  <a:lnTo>
                    <a:pt x="102" y="36"/>
                  </a:lnTo>
                  <a:lnTo>
                    <a:pt x="102" y="34"/>
                  </a:lnTo>
                  <a:lnTo>
                    <a:pt x="100" y="32"/>
                  </a:lnTo>
                  <a:lnTo>
                    <a:pt x="100" y="30"/>
                  </a:lnTo>
                  <a:lnTo>
                    <a:pt x="100" y="29"/>
                  </a:lnTo>
                  <a:lnTo>
                    <a:pt x="98" y="29"/>
                  </a:lnTo>
                  <a:lnTo>
                    <a:pt x="98" y="27"/>
                  </a:lnTo>
                  <a:lnTo>
                    <a:pt x="100" y="27"/>
                  </a:lnTo>
                  <a:lnTo>
                    <a:pt x="100" y="25"/>
                  </a:lnTo>
                  <a:lnTo>
                    <a:pt x="100" y="23"/>
                  </a:lnTo>
                  <a:lnTo>
                    <a:pt x="100" y="21"/>
                  </a:lnTo>
                  <a:lnTo>
                    <a:pt x="100" y="19"/>
                  </a:lnTo>
                  <a:lnTo>
                    <a:pt x="98" y="19"/>
                  </a:lnTo>
                  <a:lnTo>
                    <a:pt x="98" y="17"/>
                  </a:lnTo>
                  <a:lnTo>
                    <a:pt x="98" y="15"/>
                  </a:lnTo>
                  <a:lnTo>
                    <a:pt x="98" y="13"/>
                  </a:lnTo>
                  <a:lnTo>
                    <a:pt x="98" y="11"/>
                  </a:lnTo>
                  <a:lnTo>
                    <a:pt x="98" y="9"/>
                  </a:lnTo>
                  <a:lnTo>
                    <a:pt x="98" y="7"/>
                  </a:lnTo>
                  <a:lnTo>
                    <a:pt x="98" y="6"/>
                  </a:lnTo>
                  <a:lnTo>
                    <a:pt x="96" y="4"/>
                  </a:lnTo>
                  <a:lnTo>
                    <a:pt x="98" y="4"/>
                  </a:lnTo>
                  <a:lnTo>
                    <a:pt x="100" y="4"/>
                  </a:lnTo>
                  <a:lnTo>
                    <a:pt x="102" y="4"/>
                  </a:lnTo>
                  <a:lnTo>
                    <a:pt x="102" y="6"/>
                  </a:lnTo>
                  <a:lnTo>
                    <a:pt x="103" y="6"/>
                  </a:lnTo>
                  <a:lnTo>
                    <a:pt x="105" y="6"/>
                  </a:lnTo>
                  <a:lnTo>
                    <a:pt x="107" y="6"/>
                  </a:lnTo>
                  <a:lnTo>
                    <a:pt x="109" y="6"/>
                  </a:lnTo>
                  <a:lnTo>
                    <a:pt x="111" y="6"/>
                  </a:lnTo>
                  <a:lnTo>
                    <a:pt x="113" y="6"/>
                  </a:lnTo>
                  <a:lnTo>
                    <a:pt x="115" y="7"/>
                  </a:lnTo>
                  <a:lnTo>
                    <a:pt x="117" y="7"/>
                  </a:lnTo>
                  <a:lnTo>
                    <a:pt x="119" y="7"/>
                  </a:lnTo>
                  <a:lnTo>
                    <a:pt x="121" y="7"/>
                  </a:lnTo>
                  <a:lnTo>
                    <a:pt x="123" y="7"/>
                  </a:lnTo>
                  <a:lnTo>
                    <a:pt x="123" y="6"/>
                  </a:lnTo>
                  <a:lnTo>
                    <a:pt x="125" y="6"/>
                  </a:lnTo>
                  <a:lnTo>
                    <a:pt x="126" y="6"/>
                  </a:lnTo>
                  <a:lnTo>
                    <a:pt x="126" y="4"/>
                  </a:lnTo>
                  <a:lnTo>
                    <a:pt x="128" y="4"/>
                  </a:lnTo>
                  <a:lnTo>
                    <a:pt x="128" y="2"/>
                  </a:lnTo>
                  <a:lnTo>
                    <a:pt x="130" y="2"/>
                  </a:lnTo>
                  <a:lnTo>
                    <a:pt x="132" y="2"/>
                  </a:lnTo>
                  <a:lnTo>
                    <a:pt x="132" y="0"/>
                  </a:lnTo>
                  <a:lnTo>
                    <a:pt x="134" y="0"/>
                  </a:lnTo>
                  <a:lnTo>
                    <a:pt x="134" y="2"/>
                  </a:lnTo>
                  <a:lnTo>
                    <a:pt x="136" y="2"/>
                  </a:lnTo>
                  <a:lnTo>
                    <a:pt x="138" y="2"/>
                  </a:lnTo>
                  <a:lnTo>
                    <a:pt x="138" y="4"/>
                  </a:lnTo>
                  <a:lnTo>
                    <a:pt x="138" y="6"/>
                  </a:lnTo>
                  <a:lnTo>
                    <a:pt x="138" y="7"/>
                  </a:lnTo>
                  <a:close/>
                </a:path>
              </a:pathLst>
            </a:custGeom>
            <a:solidFill>
              <a:srgbClr val="2EA657"/>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55" name="Freeform 6">
              <a:extLst>
                <a:ext uri="{FF2B5EF4-FFF2-40B4-BE49-F238E27FC236}">
                  <a16:creationId xmlns:a16="http://schemas.microsoft.com/office/drawing/2014/main" id="{78D15E60-0B85-4EC8-A1A8-157941849D83}"/>
                </a:ext>
              </a:extLst>
            </p:cNvPr>
            <p:cNvSpPr>
              <a:spLocks noEditPoints="1"/>
            </p:cNvSpPr>
            <p:nvPr/>
          </p:nvSpPr>
          <p:spPr bwMode="auto">
            <a:xfrm>
              <a:off x="6626348" y="5340922"/>
              <a:ext cx="1828307" cy="1154564"/>
            </a:xfrm>
            <a:custGeom>
              <a:avLst/>
              <a:gdLst>
                <a:gd name="T0" fmla="*/ 758 w 1232"/>
                <a:gd name="T1" fmla="*/ 375 h 778"/>
                <a:gd name="T2" fmla="*/ 768 w 1232"/>
                <a:gd name="T3" fmla="*/ 302 h 778"/>
                <a:gd name="T4" fmla="*/ 689 w 1232"/>
                <a:gd name="T5" fmla="*/ 229 h 778"/>
                <a:gd name="T6" fmla="*/ 677 w 1232"/>
                <a:gd name="T7" fmla="*/ 190 h 778"/>
                <a:gd name="T8" fmla="*/ 560 w 1232"/>
                <a:gd name="T9" fmla="*/ 108 h 778"/>
                <a:gd name="T10" fmla="*/ 562 w 1232"/>
                <a:gd name="T11" fmla="*/ 98 h 778"/>
                <a:gd name="T12" fmla="*/ 447 w 1232"/>
                <a:gd name="T13" fmla="*/ 65 h 778"/>
                <a:gd name="T14" fmla="*/ 414 w 1232"/>
                <a:gd name="T15" fmla="*/ 46 h 778"/>
                <a:gd name="T16" fmla="*/ 411 w 1232"/>
                <a:gd name="T17" fmla="*/ 62 h 778"/>
                <a:gd name="T18" fmla="*/ 445 w 1232"/>
                <a:gd name="T19" fmla="*/ 83 h 778"/>
                <a:gd name="T20" fmla="*/ 459 w 1232"/>
                <a:gd name="T21" fmla="*/ 75 h 778"/>
                <a:gd name="T22" fmla="*/ 510 w 1232"/>
                <a:gd name="T23" fmla="*/ 98 h 778"/>
                <a:gd name="T24" fmla="*/ 514 w 1232"/>
                <a:gd name="T25" fmla="*/ 129 h 778"/>
                <a:gd name="T26" fmla="*/ 497 w 1232"/>
                <a:gd name="T27" fmla="*/ 83 h 778"/>
                <a:gd name="T28" fmla="*/ 537 w 1232"/>
                <a:gd name="T29" fmla="*/ 110 h 778"/>
                <a:gd name="T30" fmla="*/ 555 w 1232"/>
                <a:gd name="T31" fmla="*/ 106 h 778"/>
                <a:gd name="T32" fmla="*/ 580 w 1232"/>
                <a:gd name="T33" fmla="*/ 110 h 778"/>
                <a:gd name="T34" fmla="*/ 581 w 1232"/>
                <a:gd name="T35" fmla="*/ 154 h 778"/>
                <a:gd name="T36" fmla="*/ 605 w 1232"/>
                <a:gd name="T37" fmla="*/ 160 h 778"/>
                <a:gd name="T38" fmla="*/ 629 w 1232"/>
                <a:gd name="T39" fmla="*/ 125 h 778"/>
                <a:gd name="T40" fmla="*/ 618 w 1232"/>
                <a:gd name="T41" fmla="*/ 185 h 778"/>
                <a:gd name="T42" fmla="*/ 641 w 1232"/>
                <a:gd name="T43" fmla="*/ 181 h 778"/>
                <a:gd name="T44" fmla="*/ 674 w 1232"/>
                <a:gd name="T45" fmla="*/ 192 h 778"/>
                <a:gd name="T46" fmla="*/ 672 w 1232"/>
                <a:gd name="T47" fmla="*/ 236 h 778"/>
                <a:gd name="T48" fmla="*/ 758 w 1232"/>
                <a:gd name="T49" fmla="*/ 273 h 778"/>
                <a:gd name="T50" fmla="*/ 764 w 1232"/>
                <a:gd name="T51" fmla="*/ 298 h 778"/>
                <a:gd name="T52" fmla="*/ 754 w 1232"/>
                <a:gd name="T53" fmla="*/ 355 h 778"/>
                <a:gd name="T54" fmla="*/ 774 w 1232"/>
                <a:gd name="T55" fmla="*/ 392 h 778"/>
                <a:gd name="T56" fmla="*/ 858 w 1232"/>
                <a:gd name="T57" fmla="*/ 436 h 778"/>
                <a:gd name="T58" fmla="*/ 856 w 1232"/>
                <a:gd name="T59" fmla="*/ 401 h 778"/>
                <a:gd name="T60" fmla="*/ 791 w 1232"/>
                <a:gd name="T61" fmla="*/ 309 h 778"/>
                <a:gd name="T62" fmla="*/ 735 w 1232"/>
                <a:gd name="T63" fmla="*/ 198 h 778"/>
                <a:gd name="T64" fmla="*/ 823 w 1232"/>
                <a:gd name="T65" fmla="*/ 352 h 778"/>
                <a:gd name="T66" fmla="*/ 946 w 1232"/>
                <a:gd name="T67" fmla="*/ 411 h 778"/>
                <a:gd name="T68" fmla="*/ 998 w 1232"/>
                <a:gd name="T69" fmla="*/ 361 h 778"/>
                <a:gd name="T70" fmla="*/ 1115 w 1232"/>
                <a:gd name="T71" fmla="*/ 355 h 778"/>
                <a:gd name="T72" fmla="*/ 1217 w 1232"/>
                <a:gd name="T73" fmla="*/ 375 h 778"/>
                <a:gd name="T74" fmla="*/ 1181 w 1232"/>
                <a:gd name="T75" fmla="*/ 415 h 778"/>
                <a:gd name="T76" fmla="*/ 1159 w 1232"/>
                <a:gd name="T77" fmla="*/ 473 h 778"/>
                <a:gd name="T78" fmla="*/ 1102 w 1232"/>
                <a:gd name="T79" fmla="*/ 544 h 778"/>
                <a:gd name="T80" fmla="*/ 981 w 1232"/>
                <a:gd name="T81" fmla="*/ 534 h 778"/>
                <a:gd name="T82" fmla="*/ 864 w 1232"/>
                <a:gd name="T83" fmla="*/ 511 h 778"/>
                <a:gd name="T84" fmla="*/ 833 w 1232"/>
                <a:gd name="T85" fmla="*/ 559 h 778"/>
                <a:gd name="T86" fmla="*/ 762 w 1232"/>
                <a:gd name="T87" fmla="*/ 624 h 778"/>
                <a:gd name="T88" fmla="*/ 676 w 1232"/>
                <a:gd name="T89" fmla="*/ 613 h 778"/>
                <a:gd name="T90" fmla="*/ 568 w 1232"/>
                <a:gd name="T91" fmla="*/ 653 h 778"/>
                <a:gd name="T92" fmla="*/ 508 w 1232"/>
                <a:gd name="T93" fmla="*/ 730 h 778"/>
                <a:gd name="T94" fmla="*/ 418 w 1232"/>
                <a:gd name="T95" fmla="*/ 778 h 778"/>
                <a:gd name="T96" fmla="*/ 316 w 1232"/>
                <a:gd name="T97" fmla="*/ 749 h 778"/>
                <a:gd name="T98" fmla="*/ 268 w 1232"/>
                <a:gd name="T99" fmla="*/ 716 h 778"/>
                <a:gd name="T100" fmla="*/ 257 w 1232"/>
                <a:gd name="T101" fmla="*/ 682 h 778"/>
                <a:gd name="T102" fmla="*/ 301 w 1232"/>
                <a:gd name="T103" fmla="*/ 678 h 778"/>
                <a:gd name="T104" fmla="*/ 299 w 1232"/>
                <a:gd name="T105" fmla="*/ 595 h 778"/>
                <a:gd name="T106" fmla="*/ 295 w 1232"/>
                <a:gd name="T107" fmla="*/ 455 h 778"/>
                <a:gd name="T108" fmla="*/ 195 w 1232"/>
                <a:gd name="T109" fmla="*/ 423 h 778"/>
                <a:gd name="T110" fmla="*/ 84 w 1232"/>
                <a:gd name="T111" fmla="*/ 344 h 778"/>
                <a:gd name="T112" fmla="*/ 2 w 1232"/>
                <a:gd name="T113" fmla="*/ 329 h 778"/>
                <a:gd name="T114" fmla="*/ 75 w 1232"/>
                <a:gd name="T115" fmla="*/ 275 h 778"/>
                <a:gd name="T116" fmla="*/ 144 w 1232"/>
                <a:gd name="T117" fmla="*/ 227 h 778"/>
                <a:gd name="T118" fmla="*/ 222 w 1232"/>
                <a:gd name="T119" fmla="*/ 186 h 778"/>
                <a:gd name="T120" fmla="*/ 330 w 1232"/>
                <a:gd name="T121" fmla="*/ 158 h 778"/>
                <a:gd name="T122" fmla="*/ 393 w 1232"/>
                <a:gd name="T123" fmla="*/ 123 h 778"/>
                <a:gd name="T124" fmla="*/ 357 w 1232"/>
                <a:gd name="T125" fmla="*/ 39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2" h="778">
                  <a:moveTo>
                    <a:pt x="854" y="436"/>
                  </a:moveTo>
                  <a:lnTo>
                    <a:pt x="854" y="434"/>
                  </a:lnTo>
                  <a:lnTo>
                    <a:pt x="852" y="434"/>
                  </a:lnTo>
                  <a:lnTo>
                    <a:pt x="852" y="432"/>
                  </a:lnTo>
                  <a:lnTo>
                    <a:pt x="850" y="432"/>
                  </a:lnTo>
                  <a:lnTo>
                    <a:pt x="850" y="430"/>
                  </a:lnTo>
                  <a:lnTo>
                    <a:pt x="852" y="430"/>
                  </a:lnTo>
                  <a:lnTo>
                    <a:pt x="852" y="432"/>
                  </a:lnTo>
                  <a:lnTo>
                    <a:pt x="854" y="432"/>
                  </a:lnTo>
                  <a:lnTo>
                    <a:pt x="854" y="434"/>
                  </a:lnTo>
                  <a:lnTo>
                    <a:pt x="854" y="436"/>
                  </a:lnTo>
                  <a:close/>
                  <a:moveTo>
                    <a:pt x="879" y="432"/>
                  </a:moveTo>
                  <a:lnTo>
                    <a:pt x="879" y="434"/>
                  </a:lnTo>
                  <a:lnTo>
                    <a:pt x="879" y="432"/>
                  </a:lnTo>
                  <a:lnTo>
                    <a:pt x="879" y="430"/>
                  </a:lnTo>
                  <a:lnTo>
                    <a:pt x="881" y="430"/>
                  </a:lnTo>
                  <a:lnTo>
                    <a:pt x="881" y="432"/>
                  </a:lnTo>
                  <a:lnTo>
                    <a:pt x="879" y="432"/>
                  </a:lnTo>
                  <a:close/>
                  <a:moveTo>
                    <a:pt x="1202" y="442"/>
                  </a:moveTo>
                  <a:lnTo>
                    <a:pt x="1202" y="444"/>
                  </a:lnTo>
                  <a:lnTo>
                    <a:pt x="1204" y="444"/>
                  </a:lnTo>
                  <a:lnTo>
                    <a:pt x="1204" y="446"/>
                  </a:lnTo>
                  <a:lnTo>
                    <a:pt x="1204" y="448"/>
                  </a:lnTo>
                  <a:lnTo>
                    <a:pt x="1206" y="448"/>
                  </a:lnTo>
                  <a:lnTo>
                    <a:pt x="1207" y="448"/>
                  </a:lnTo>
                  <a:lnTo>
                    <a:pt x="1207" y="449"/>
                  </a:lnTo>
                  <a:lnTo>
                    <a:pt x="1207" y="451"/>
                  </a:lnTo>
                  <a:lnTo>
                    <a:pt x="1209" y="451"/>
                  </a:lnTo>
                  <a:lnTo>
                    <a:pt x="1209" y="453"/>
                  </a:lnTo>
                  <a:lnTo>
                    <a:pt x="1211" y="453"/>
                  </a:lnTo>
                  <a:lnTo>
                    <a:pt x="1209" y="453"/>
                  </a:lnTo>
                  <a:lnTo>
                    <a:pt x="1207" y="453"/>
                  </a:lnTo>
                  <a:lnTo>
                    <a:pt x="1207" y="451"/>
                  </a:lnTo>
                  <a:lnTo>
                    <a:pt x="1206" y="451"/>
                  </a:lnTo>
                  <a:lnTo>
                    <a:pt x="1204" y="449"/>
                  </a:lnTo>
                  <a:lnTo>
                    <a:pt x="1204" y="448"/>
                  </a:lnTo>
                  <a:lnTo>
                    <a:pt x="1202" y="448"/>
                  </a:lnTo>
                  <a:lnTo>
                    <a:pt x="1202" y="446"/>
                  </a:lnTo>
                  <a:lnTo>
                    <a:pt x="1202" y="444"/>
                  </a:lnTo>
                  <a:lnTo>
                    <a:pt x="1200" y="444"/>
                  </a:lnTo>
                  <a:lnTo>
                    <a:pt x="1200" y="442"/>
                  </a:lnTo>
                  <a:lnTo>
                    <a:pt x="1200" y="440"/>
                  </a:lnTo>
                  <a:lnTo>
                    <a:pt x="1198" y="440"/>
                  </a:lnTo>
                  <a:lnTo>
                    <a:pt x="1196" y="438"/>
                  </a:lnTo>
                  <a:lnTo>
                    <a:pt x="1198" y="438"/>
                  </a:lnTo>
                  <a:lnTo>
                    <a:pt x="1198" y="440"/>
                  </a:lnTo>
                  <a:lnTo>
                    <a:pt x="1200" y="440"/>
                  </a:lnTo>
                  <a:lnTo>
                    <a:pt x="1200" y="442"/>
                  </a:lnTo>
                  <a:lnTo>
                    <a:pt x="1202" y="442"/>
                  </a:lnTo>
                  <a:close/>
                  <a:moveTo>
                    <a:pt x="1194" y="436"/>
                  </a:moveTo>
                  <a:lnTo>
                    <a:pt x="1196" y="436"/>
                  </a:lnTo>
                  <a:lnTo>
                    <a:pt x="1196" y="438"/>
                  </a:lnTo>
                  <a:lnTo>
                    <a:pt x="1196" y="436"/>
                  </a:lnTo>
                  <a:lnTo>
                    <a:pt x="1194" y="436"/>
                  </a:lnTo>
                  <a:close/>
                  <a:moveTo>
                    <a:pt x="852" y="403"/>
                  </a:moveTo>
                  <a:lnTo>
                    <a:pt x="852" y="401"/>
                  </a:lnTo>
                  <a:lnTo>
                    <a:pt x="852" y="400"/>
                  </a:lnTo>
                  <a:lnTo>
                    <a:pt x="850" y="400"/>
                  </a:lnTo>
                  <a:lnTo>
                    <a:pt x="850" y="398"/>
                  </a:lnTo>
                  <a:lnTo>
                    <a:pt x="852" y="398"/>
                  </a:lnTo>
                  <a:lnTo>
                    <a:pt x="852" y="400"/>
                  </a:lnTo>
                  <a:lnTo>
                    <a:pt x="854" y="400"/>
                  </a:lnTo>
                  <a:lnTo>
                    <a:pt x="852" y="400"/>
                  </a:lnTo>
                  <a:lnTo>
                    <a:pt x="852" y="401"/>
                  </a:lnTo>
                  <a:lnTo>
                    <a:pt x="852" y="403"/>
                  </a:lnTo>
                  <a:close/>
                  <a:moveTo>
                    <a:pt x="760" y="378"/>
                  </a:moveTo>
                  <a:lnTo>
                    <a:pt x="760" y="377"/>
                  </a:lnTo>
                  <a:lnTo>
                    <a:pt x="758" y="377"/>
                  </a:lnTo>
                  <a:lnTo>
                    <a:pt x="758" y="375"/>
                  </a:lnTo>
                  <a:lnTo>
                    <a:pt x="758" y="377"/>
                  </a:lnTo>
                  <a:lnTo>
                    <a:pt x="760" y="377"/>
                  </a:lnTo>
                  <a:lnTo>
                    <a:pt x="760" y="378"/>
                  </a:lnTo>
                  <a:close/>
                  <a:moveTo>
                    <a:pt x="760" y="377"/>
                  </a:moveTo>
                  <a:lnTo>
                    <a:pt x="758" y="377"/>
                  </a:lnTo>
                  <a:lnTo>
                    <a:pt x="758" y="375"/>
                  </a:lnTo>
                  <a:lnTo>
                    <a:pt x="758" y="373"/>
                  </a:lnTo>
                  <a:lnTo>
                    <a:pt x="758" y="375"/>
                  </a:lnTo>
                  <a:lnTo>
                    <a:pt x="760" y="375"/>
                  </a:lnTo>
                  <a:lnTo>
                    <a:pt x="760" y="377"/>
                  </a:lnTo>
                  <a:close/>
                  <a:moveTo>
                    <a:pt x="758" y="375"/>
                  </a:moveTo>
                  <a:lnTo>
                    <a:pt x="756" y="375"/>
                  </a:lnTo>
                  <a:lnTo>
                    <a:pt x="756" y="373"/>
                  </a:lnTo>
                  <a:lnTo>
                    <a:pt x="756" y="371"/>
                  </a:lnTo>
                  <a:lnTo>
                    <a:pt x="756" y="373"/>
                  </a:lnTo>
                  <a:lnTo>
                    <a:pt x="758" y="373"/>
                  </a:lnTo>
                  <a:lnTo>
                    <a:pt x="758" y="375"/>
                  </a:lnTo>
                  <a:close/>
                  <a:moveTo>
                    <a:pt x="756" y="361"/>
                  </a:moveTo>
                  <a:lnTo>
                    <a:pt x="758" y="363"/>
                  </a:lnTo>
                  <a:lnTo>
                    <a:pt x="758" y="365"/>
                  </a:lnTo>
                  <a:lnTo>
                    <a:pt x="758" y="367"/>
                  </a:lnTo>
                  <a:lnTo>
                    <a:pt x="758" y="369"/>
                  </a:lnTo>
                  <a:lnTo>
                    <a:pt x="758" y="371"/>
                  </a:lnTo>
                  <a:lnTo>
                    <a:pt x="760" y="373"/>
                  </a:lnTo>
                  <a:lnTo>
                    <a:pt x="758" y="373"/>
                  </a:lnTo>
                  <a:lnTo>
                    <a:pt x="758" y="371"/>
                  </a:lnTo>
                  <a:lnTo>
                    <a:pt x="758" y="369"/>
                  </a:lnTo>
                  <a:lnTo>
                    <a:pt x="758" y="367"/>
                  </a:lnTo>
                  <a:lnTo>
                    <a:pt x="758" y="365"/>
                  </a:lnTo>
                  <a:lnTo>
                    <a:pt x="758" y="363"/>
                  </a:lnTo>
                  <a:lnTo>
                    <a:pt x="758" y="365"/>
                  </a:lnTo>
                  <a:lnTo>
                    <a:pt x="758" y="367"/>
                  </a:lnTo>
                  <a:lnTo>
                    <a:pt x="758" y="369"/>
                  </a:lnTo>
                  <a:lnTo>
                    <a:pt x="758" y="371"/>
                  </a:lnTo>
                  <a:lnTo>
                    <a:pt x="758" y="373"/>
                  </a:lnTo>
                  <a:lnTo>
                    <a:pt x="760" y="375"/>
                  </a:lnTo>
                  <a:lnTo>
                    <a:pt x="760" y="377"/>
                  </a:lnTo>
                  <a:lnTo>
                    <a:pt x="762" y="378"/>
                  </a:lnTo>
                  <a:lnTo>
                    <a:pt x="762" y="380"/>
                  </a:lnTo>
                  <a:lnTo>
                    <a:pt x="764" y="380"/>
                  </a:lnTo>
                  <a:lnTo>
                    <a:pt x="762" y="380"/>
                  </a:lnTo>
                  <a:lnTo>
                    <a:pt x="762" y="382"/>
                  </a:lnTo>
                  <a:lnTo>
                    <a:pt x="762" y="380"/>
                  </a:lnTo>
                  <a:lnTo>
                    <a:pt x="762" y="378"/>
                  </a:lnTo>
                  <a:lnTo>
                    <a:pt x="760" y="378"/>
                  </a:lnTo>
                  <a:lnTo>
                    <a:pt x="760" y="377"/>
                  </a:lnTo>
                  <a:lnTo>
                    <a:pt x="760" y="375"/>
                  </a:lnTo>
                  <a:lnTo>
                    <a:pt x="758" y="375"/>
                  </a:lnTo>
                  <a:lnTo>
                    <a:pt x="758" y="373"/>
                  </a:lnTo>
                  <a:lnTo>
                    <a:pt x="758" y="371"/>
                  </a:lnTo>
                  <a:lnTo>
                    <a:pt x="758" y="369"/>
                  </a:lnTo>
                  <a:lnTo>
                    <a:pt x="756" y="367"/>
                  </a:lnTo>
                  <a:lnTo>
                    <a:pt x="756" y="365"/>
                  </a:lnTo>
                  <a:lnTo>
                    <a:pt x="756" y="363"/>
                  </a:lnTo>
                  <a:lnTo>
                    <a:pt x="756" y="361"/>
                  </a:lnTo>
                  <a:lnTo>
                    <a:pt x="756" y="359"/>
                  </a:lnTo>
                  <a:lnTo>
                    <a:pt x="756" y="361"/>
                  </a:lnTo>
                  <a:close/>
                  <a:moveTo>
                    <a:pt x="756" y="359"/>
                  </a:moveTo>
                  <a:lnTo>
                    <a:pt x="756" y="361"/>
                  </a:lnTo>
                  <a:lnTo>
                    <a:pt x="756" y="363"/>
                  </a:lnTo>
                  <a:lnTo>
                    <a:pt x="756" y="361"/>
                  </a:lnTo>
                  <a:lnTo>
                    <a:pt x="756" y="359"/>
                  </a:lnTo>
                  <a:lnTo>
                    <a:pt x="756" y="361"/>
                  </a:lnTo>
                  <a:lnTo>
                    <a:pt x="756" y="363"/>
                  </a:lnTo>
                  <a:lnTo>
                    <a:pt x="754" y="363"/>
                  </a:lnTo>
                  <a:lnTo>
                    <a:pt x="754" y="365"/>
                  </a:lnTo>
                  <a:lnTo>
                    <a:pt x="756" y="365"/>
                  </a:lnTo>
                  <a:lnTo>
                    <a:pt x="754" y="365"/>
                  </a:lnTo>
                  <a:lnTo>
                    <a:pt x="754" y="363"/>
                  </a:lnTo>
                  <a:lnTo>
                    <a:pt x="754" y="361"/>
                  </a:lnTo>
                  <a:lnTo>
                    <a:pt x="756" y="361"/>
                  </a:lnTo>
                  <a:lnTo>
                    <a:pt x="756" y="359"/>
                  </a:lnTo>
                  <a:lnTo>
                    <a:pt x="754" y="359"/>
                  </a:lnTo>
                  <a:lnTo>
                    <a:pt x="754" y="357"/>
                  </a:lnTo>
                  <a:lnTo>
                    <a:pt x="756" y="357"/>
                  </a:lnTo>
                  <a:lnTo>
                    <a:pt x="756" y="359"/>
                  </a:lnTo>
                  <a:close/>
                  <a:moveTo>
                    <a:pt x="779" y="334"/>
                  </a:moveTo>
                  <a:lnTo>
                    <a:pt x="777" y="334"/>
                  </a:lnTo>
                  <a:lnTo>
                    <a:pt x="779" y="334"/>
                  </a:lnTo>
                  <a:close/>
                  <a:moveTo>
                    <a:pt x="774" y="315"/>
                  </a:moveTo>
                  <a:lnTo>
                    <a:pt x="772" y="315"/>
                  </a:lnTo>
                  <a:lnTo>
                    <a:pt x="772" y="313"/>
                  </a:lnTo>
                  <a:lnTo>
                    <a:pt x="774" y="313"/>
                  </a:lnTo>
                  <a:lnTo>
                    <a:pt x="774" y="315"/>
                  </a:lnTo>
                  <a:close/>
                  <a:moveTo>
                    <a:pt x="774" y="311"/>
                  </a:moveTo>
                  <a:lnTo>
                    <a:pt x="772" y="311"/>
                  </a:lnTo>
                  <a:lnTo>
                    <a:pt x="772" y="309"/>
                  </a:lnTo>
                  <a:lnTo>
                    <a:pt x="774" y="309"/>
                  </a:lnTo>
                  <a:lnTo>
                    <a:pt x="774" y="311"/>
                  </a:lnTo>
                  <a:close/>
                  <a:moveTo>
                    <a:pt x="772" y="311"/>
                  </a:moveTo>
                  <a:lnTo>
                    <a:pt x="772" y="309"/>
                  </a:lnTo>
                  <a:lnTo>
                    <a:pt x="772" y="311"/>
                  </a:lnTo>
                  <a:close/>
                  <a:moveTo>
                    <a:pt x="772" y="305"/>
                  </a:moveTo>
                  <a:lnTo>
                    <a:pt x="770" y="304"/>
                  </a:lnTo>
                  <a:lnTo>
                    <a:pt x="772" y="304"/>
                  </a:lnTo>
                  <a:lnTo>
                    <a:pt x="772" y="305"/>
                  </a:lnTo>
                  <a:close/>
                  <a:moveTo>
                    <a:pt x="768" y="304"/>
                  </a:moveTo>
                  <a:lnTo>
                    <a:pt x="768" y="302"/>
                  </a:lnTo>
                  <a:lnTo>
                    <a:pt x="768" y="304"/>
                  </a:lnTo>
                  <a:close/>
                  <a:moveTo>
                    <a:pt x="770" y="302"/>
                  </a:moveTo>
                  <a:lnTo>
                    <a:pt x="768" y="302"/>
                  </a:lnTo>
                  <a:lnTo>
                    <a:pt x="768" y="300"/>
                  </a:lnTo>
                  <a:lnTo>
                    <a:pt x="768" y="302"/>
                  </a:lnTo>
                  <a:lnTo>
                    <a:pt x="770" y="302"/>
                  </a:lnTo>
                  <a:close/>
                  <a:moveTo>
                    <a:pt x="768" y="300"/>
                  </a:moveTo>
                  <a:lnTo>
                    <a:pt x="768" y="298"/>
                  </a:lnTo>
                  <a:lnTo>
                    <a:pt x="768" y="300"/>
                  </a:lnTo>
                  <a:close/>
                  <a:moveTo>
                    <a:pt x="768" y="296"/>
                  </a:moveTo>
                  <a:lnTo>
                    <a:pt x="766" y="296"/>
                  </a:lnTo>
                  <a:lnTo>
                    <a:pt x="768" y="296"/>
                  </a:lnTo>
                  <a:lnTo>
                    <a:pt x="766" y="296"/>
                  </a:lnTo>
                  <a:lnTo>
                    <a:pt x="768" y="296"/>
                  </a:lnTo>
                  <a:close/>
                  <a:moveTo>
                    <a:pt x="766" y="296"/>
                  </a:moveTo>
                  <a:lnTo>
                    <a:pt x="766" y="294"/>
                  </a:lnTo>
                  <a:lnTo>
                    <a:pt x="766" y="296"/>
                  </a:lnTo>
                  <a:close/>
                  <a:moveTo>
                    <a:pt x="760" y="294"/>
                  </a:moveTo>
                  <a:lnTo>
                    <a:pt x="758" y="294"/>
                  </a:lnTo>
                  <a:lnTo>
                    <a:pt x="758" y="292"/>
                  </a:lnTo>
                  <a:lnTo>
                    <a:pt x="760" y="292"/>
                  </a:lnTo>
                  <a:lnTo>
                    <a:pt x="760" y="294"/>
                  </a:lnTo>
                  <a:close/>
                  <a:moveTo>
                    <a:pt x="762" y="290"/>
                  </a:moveTo>
                  <a:lnTo>
                    <a:pt x="760" y="290"/>
                  </a:lnTo>
                  <a:lnTo>
                    <a:pt x="760" y="292"/>
                  </a:lnTo>
                  <a:lnTo>
                    <a:pt x="762" y="292"/>
                  </a:lnTo>
                  <a:lnTo>
                    <a:pt x="760" y="292"/>
                  </a:lnTo>
                  <a:lnTo>
                    <a:pt x="760" y="290"/>
                  </a:lnTo>
                  <a:lnTo>
                    <a:pt x="762" y="290"/>
                  </a:lnTo>
                  <a:close/>
                  <a:moveTo>
                    <a:pt x="777" y="296"/>
                  </a:moveTo>
                  <a:lnTo>
                    <a:pt x="777" y="294"/>
                  </a:lnTo>
                  <a:lnTo>
                    <a:pt x="775" y="294"/>
                  </a:lnTo>
                  <a:lnTo>
                    <a:pt x="775" y="292"/>
                  </a:lnTo>
                  <a:lnTo>
                    <a:pt x="775" y="290"/>
                  </a:lnTo>
                  <a:lnTo>
                    <a:pt x="775" y="288"/>
                  </a:lnTo>
                  <a:lnTo>
                    <a:pt x="775" y="290"/>
                  </a:lnTo>
                  <a:lnTo>
                    <a:pt x="775" y="292"/>
                  </a:lnTo>
                  <a:lnTo>
                    <a:pt x="775" y="294"/>
                  </a:lnTo>
                  <a:lnTo>
                    <a:pt x="777" y="294"/>
                  </a:lnTo>
                  <a:lnTo>
                    <a:pt x="777" y="296"/>
                  </a:lnTo>
                  <a:close/>
                  <a:moveTo>
                    <a:pt x="762" y="290"/>
                  </a:moveTo>
                  <a:lnTo>
                    <a:pt x="762" y="288"/>
                  </a:lnTo>
                  <a:lnTo>
                    <a:pt x="762" y="290"/>
                  </a:lnTo>
                  <a:close/>
                  <a:moveTo>
                    <a:pt x="762" y="288"/>
                  </a:moveTo>
                  <a:lnTo>
                    <a:pt x="760" y="288"/>
                  </a:lnTo>
                  <a:lnTo>
                    <a:pt x="760" y="286"/>
                  </a:lnTo>
                  <a:lnTo>
                    <a:pt x="762" y="286"/>
                  </a:lnTo>
                  <a:lnTo>
                    <a:pt x="762" y="288"/>
                  </a:lnTo>
                  <a:close/>
                  <a:moveTo>
                    <a:pt x="762" y="288"/>
                  </a:moveTo>
                  <a:lnTo>
                    <a:pt x="762" y="286"/>
                  </a:lnTo>
                  <a:lnTo>
                    <a:pt x="764" y="286"/>
                  </a:lnTo>
                  <a:lnTo>
                    <a:pt x="762" y="286"/>
                  </a:lnTo>
                  <a:lnTo>
                    <a:pt x="762" y="288"/>
                  </a:lnTo>
                  <a:close/>
                  <a:moveTo>
                    <a:pt x="775" y="288"/>
                  </a:moveTo>
                  <a:lnTo>
                    <a:pt x="775" y="286"/>
                  </a:lnTo>
                  <a:lnTo>
                    <a:pt x="775" y="284"/>
                  </a:lnTo>
                  <a:lnTo>
                    <a:pt x="775" y="286"/>
                  </a:lnTo>
                  <a:lnTo>
                    <a:pt x="775" y="288"/>
                  </a:lnTo>
                  <a:close/>
                  <a:moveTo>
                    <a:pt x="762" y="284"/>
                  </a:moveTo>
                  <a:lnTo>
                    <a:pt x="760" y="284"/>
                  </a:lnTo>
                  <a:lnTo>
                    <a:pt x="762" y="284"/>
                  </a:lnTo>
                  <a:close/>
                  <a:moveTo>
                    <a:pt x="764" y="286"/>
                  </a:moveTo>
                  <a:lnTo>
                    <a:pt x="762" y="286"/>
                  </a:lnTo>
                  <a:lnTo>
                    <a:pt x="762" y="284"/>
                  </a:lnTo>
                  <a:lnTo>
                    <a:pt x="764" y="284"/>
                  </a:lnTo>
                  <a:lnTo>
                    <a:pt x="764" y="286"/>
                  </a:lnTo>
                  <a:close/>
                  <a:moveTo>
                    <a:pt x="664" y="236"/>
                  </a:moveTo>
                  <a:lnTo>
                    <a:pt x="662" y="236"/>
                  </a:lnTo>
                  <a:lnTo>
                    <a:pt x="664" y="236"/>
                  </a:lnTo>
                  <a:close/>
                  <a:moveTo>
                    <a:pt x="660" y="233"/>
                  </a:moveTo>
                  <a:lnTo>
                    <a:pt x="660" y="231"/>
                  </a:lnTo>
                  <a:lnTo>
                    <a:pt x="662" y="231"/>
                  </a:lnTo>
                  <a:lnTo>
                    <a:pt x="660" y="231"/>
                  </a:lnTo>
                  <a:lnTo>
                    <a:pt x="662" y="231"/>
                  </a:lnTo>
                  <a:lnTo>
                    <a:pt x="662" y="233"/>
                  </a:lnTo>
                  <a:lnTo>
                    <a:pt x="660" y="233"/>
                  </a:lnTo>
                  <a:close/>
                  <a:moveTo>
                    <a:pt x="658" y="231"/>
                  </a:moveTo>
                  <a:lnTo>
                    <a:pt x="660" y="231"/>
                  </a:lnTo>
                  <a:lnTo>
                    <a:pt x="658" y="231"/>
                  </a:lnTo>
                  <a:close/>
                  <a:moveTo>
                    <a:pt x="674" y="233"/>
                  </a:moveTo>
                  <a:lnTo>
                    <a:pt x="674" y="231"/>
                  </a:lnTo>
                  <a:lnTo>
                    <a:pt x="674" y="233"/>
                  </a:lnTo>
                  <a:close/>
                  <a:moveTo>
                    <a:pt x="676" y="229"/>
                  </a:moveTo>
                  <a:lnTo>
                    <a:pt x="676" y="231"/>
                  </a:lnTo>
                  <a:lnTo>
                    <a:pt x="676" y="229"/>
                  </a:lnTo>
                  <a:close/>
                  <a:moveTo>
                    <a:pt x="677" y="229"/>
                  </a:moveTo>
                  <a:lnTo>
                    <a:pt x="677" y="231"/>
                  </a:lnTo>
                  <a:lnTo>
                    <a:pt x="676" y="231"/>
                  </a:lnTo>
                  <a:lnTo>
                    <a:pt x="676" y="229"/>
                  </a:lnTo>
                  <a:lnTo>
                    <a:pt x="677" y="229"/>
                  </a:lnTo>
                  <a:close/>
                  <a:moveTo>
                    <a:pt x="689" y="229"/>
                  </a:moveTo>
                  <a:lnTo>
                    <a:pt x="687" y="229"/>
                  </a:lnTo>
                  <a:lnTo>
                    <a:pt x="685" y="229"/>
                  </a:lnTo>
                  <a:lnTo>
                    <a:pt x="685" y="231"/>
                  </a:lnTo>
                  <a:lnTo>
                    <a:pt x="683" y="231"/>
                  </a:lnTo>
                  <a:lnTo>
                    <a:pt x="683" y="229"/>
                  </a:lnTo>
                  <a:lnTo>
                    <a:pt x="685" y="229"/>
                  </a:lnTo>
                  <a:lnTo>
                    <a:pt x="687" y="229"/>
                  </a:lnTo>
                  <a:lnTo>
                    <a:pt x="689" y="229"/>
                  </a:lnTo>
                  <a:close/>
                  <a:moveTo>
                    <a:pt x="683" y="229"/>
                  </a:moveTo>
                  <a:lnTo>
                    <a:pt x="681" y="229"/>
                  </a:lnTo>
                  <a:lnTo>
                    <a:pt x="679" y="229"/>
                  </a:lnTo>
                  <a:lnTo>
                    <a:pt x="681" y="229"/>
                  </a:lnTo>
                  <a:lnTo>
                    <a:pt x="683" y="229"/>
                  </a:lnTo>
                  <a:close/>
                  <a:moveTo>
                    <a:pt x="679" y="215"/>
                  </a:moveTo>
                  <a:lnTo>
                    <a:pt x="681" y="215"/>
                  </a:lnTo>
                  <a:lnTo>
                    <a:pt x="681" y="213"/>
                  </a:lnTo>
                  <a:lnTo>
                    <a:pt x="681" y="215"/>
                  </a:lnTo>
                  <a:lnTo>
                    <a:pt x="679" y="215"/>
                  </a:lnTo>
                  <a:close/>
                  <a:moveTo>
                    <a:pt x="681" y="215"/>
                  </a:moveTo>
                  <a:lnTo>
                    <a:pt x="679" y="215"/>
                  </a:lnTo>
                  <a:lnTo>
                    <a:pt x="679" y="217"/>
                  </a:lnTo>
                  <a:lnTo>
                    <a:pt x="679" y="215"/>
                  </a:lnTo>
                  <a:lnTo>
                    <a:pt x="681" y="215"/>
                  </a:lnTo>
                  <a:lnTo>
                    <a:pt x="681" y="213"/>
                  </a:lnTo>
                  <a:lnTo>
                    <a:pt x="683" y="213"/>
                  </a:lnTo>
                  <a:lnTo>
                    <a:pt x="683" y="215"/>
                  </a:lnTo>
                  <a:lnTo>
                    <a:pt x="681" y="215"/>
                  </a:lnTo>
                  <a:close/>
                  <a:moveTo>
                    <a:pt x="683" y="213"/>
                  </a:moveTo>
                  <a:lnTo>
                    <a:pt x="681" y="213"/>
                  </a:lnTo>
                  <a:lnTo>
                    <a:pt x="683" y="213"/>
                  </a:lnTo>
                  <a:close/>
                  <a:moveTo>
                    <a:pt x="608" y="198"/>
                  </a:moveTo>
                  <a:lnTo>
                    <a:pt x="610" y="198"/>
                  </a:lnTo>
                  <a:lnTo>
                    <a:pt x="608" y="198"/>
                  </a:lnTo>
                  <a:lnTo>
                    <a:pt x="608" y="200"/>
                  </a:lnTo>
                  <a:lnTo>
                    <a:pt x="606" y="200"/>
                  </a:lnTo>
                  <a:lnTo>
                    <a:pt x="608" y="200"/>
                  </a:lnTo>
                  <a:lnTo>
                    <a:pt x="606" y="200"/>
                  </a:lnTo>
                  <a:lnTo>
                    <a:pt x="606" y="202"/>
                  </a:lnTo>
                  <a:lnTo>
                    <a:pt x="605" y="202"/>
                  </a:lnTo>
                  <a:lnTo>
                    <a:pt x="603" y="202"/>
                  </a:lnTo>
                  <a:lnTo>
                    <a:pt x="603" y="200"/>
                  </a:lnTo>
                  <a:lnTo>
                    <a:pt x="605" y="200"/>
                  </a:lnTo>
                  <a:lnTo>
                    <a:pt x="606" y="200"/>
                  </a:lnTo>
                  <a:lnTo>
                    <a:pt x="606" y="198"/>
                  </a:lnTo>
                  <a:lnTo>
                    <a:pt x="608" y="198"/>
                  </a:lnTo>
                  <a:lnTo>
                    <a:pt x="606" y="198"/>
                  </a:lnTo>
                  <a:lnTo>
                    <a:pt x="608" y="198"/>
                  </a:lnTo>
                  <a:close/>
                  <a:moveTo>
                    <a:pt x="601" y="198"/>
                  </a:moveTo>
                  <a:lnTo>
                    <a:pt x="603" y="198"/>
                  </a:lnTo>
                  <a:lnTo>
                    <a:pt x="605" y="198"/>
                  </a:lnTo>
                  <a:lnTo>
                    <a:pt x="605" y="200"/>
                  </a:lnTo>
                  <a:lnTo>
                    <a:pt x="603" y="198"/>
                  </a:lnTo>
                  <a:lnTo>
                    <a:pt x="603" y="200"/>
                  </a:lnTo>
                  <a:lnTo>
                    <a:pt x="603" y="198"/>
                  </a:lnTo>
                  <a:lnTo>
                    <a:pt x="601" y="198"/>
                  </a:lnTo>
                  <a:lnTo>
                    <a:pt x="599" y="198"/>
                  </a:lnTo>
                  <a:lnTo>
                    <a:pt x="599" y="196"/>
                  </a:lnTo>
                  <a:lnTo>
                    <a:pt x="601" y="196"/>
                  </a:lnTo>
                  <a:lnTo>
                    <a:pt x="601" y="198"/>
                  </a:lnTo>
                  <a:close/>
                  <a:moveTo>
                    <a:pt x="606" y="198"/>
                  </a:moveTo>
                  <a:lnTo>
                    <a:pt x="605" y="198"/>
                  </a:lnTo>
                  <a:lnTo>
                    <a:pt x="605" y="196"/>
                  </a:lnTo>
                  <a:lnTo>
                    <a:pt x="606" y="196"/>
                  </a:lnTo>
                  <a:lnTo>
                    <a:pt x="608" y="196"/>
                  </a:lnTo>
                  <a:lnTo>
                    <a:pt x="606" y="196"/>
                  </a:lnTo>
                  <a:lnTo>
                    <a:pt x="606" y="198"/>
                  </a:lnTo>
                  <a:close/>
                  <a:moveTo>
                    <a:pt x="610" y="196"/>
                  </a:moveTo>
                  <a:lnTo>
                    <a:pt x="610" y="198"/>
                  </a:lnTo>
                  <a:lnTo>
                    <a:pt x="608" y="198"/>
                  </a:lnTo>
                  <a:lnTo>
                    <a:pt x="606" y="198"/>
                  </a:lnTo>
                  <a:lnTo>
                    <a:pt x="608" y="198"/>
                  </a:lnTo>
                  <a:lnTo>
                    <a:pt x="608" y="196"/>
                  </a:lnTo>
                  <a:lnTo>
                    <a:pt x="610" y="196"/>
                  </a:lnTo>
                  <a:close/>
                  <a:moveTo>
                    <a:pt x="622" y="194"/>
                  </a:moveTo>
                  <a:lnTo>
                    <a:pt x="622" y="196"/>
                  </a:lnTo>
                  <a:lnTo>
                    <a:pt x="622" y="194"/>
                  </a:lnTo>
                  <a:lnTo>
                    <a:pt x="620" y="194"/>
                  </a:lnTo>
                  <a:lnTo>
                    <a:pt x="622" y="194"/>
                  </a:lnTo>
                  <a:close/>
                  <a:moveTo>
                    <a:pt x="622" y="196"/>
                  </a:moveTo>
                  <a:lnTo>
                    <a:pt x="622" y="194"/>
                  </a:lnTo>
                  <a:lnTo>
                    <a:pt x="624" y="194"/>
                  </a:lnTo>
                  <a:lnTo>
                    <a:pt x="626" y="194"/>
                  </a:lnTo>
                  <a:lnTo>
                    <a:pt x="624" y="194"/>
                  </a:lnTo>
                  <a:lnTo>
                    <a:pt x="624" y="196"/>
                  </a:lnTo>
                  <a:lnTo>
                    <a:pt x="622" y="196"/>
                  </a:lnTo>
                  <a:close/>
                  <a:moveTo>
                    <a:pt x="677" y="190"/>
                  </a:moveTo>
                  <a:lnTo>
                    <a:pt x="676" y="190"/>
                  </a:lnTo>
                  <a:lnTo>
                    <a:pt x="677" y="190"/>
                  </a:lnTo>
                  <a:close/>
                  <a:moveTo>
                    <a:pt x="679" y="188"/>
                  </a:moveTo>
                  <a:lnTo>
                    <a:pt x="679" y="190"/>
                  </a:lnTo>
                  <a:lnTo>
                    <a:pt x="677" y="190"/>
                  </a:lnTo>
                  <a:lnTo>
                    <a:pt x="676" y="190"/>
                  </a:lnTo>
                  <a:lnTo>
                    <a:pt x="676" y="188"/>
                  </a:lnTo>
                  <a:lnTo>
                    <a:pt x="676" y="190"/>
                  </a:lnTo>
                  <a:lnTo>
                    <a:pt x="674" y="190"/>
                  </a:lnTo>
                  <a:lnTo>
                    <a:pt x="672" y="190"/>
                  </a:lnTo>
                  <a:lnTo>
                    <a:pt x="670" y="190"/>
                  </a:lnTo>
                  <a:lnTo>
                    <a:pt x="668" y="190"/>
                  </a:lnTo>
                  <a:lnTo>
                    <a:pt x="668" y="192"/>
                  </a:lnTo>
                  <a:lnTo>
                    <a:pt x="668" y="190"/>
                  </a:lnTo>
                  <a:lnTo>
                    <a:pt x="670" y="190"/>
                  </a:lnTo>
                  <a:lnTo>
                    <a:pt x="672" y="190"/>
                  </a:lnTo>
                  <a:lnTo>
                    <a:pt x="674" y="190"/>
                  </a:lnTo>
                  <a:lnTo>
                    <a:pt x="674" y="188"/>
                  </a:lnTo>
                  <a:lnTo>
                    <a:pt x="676" y="188"/>
                  </a:lnTo>
                  <a:lnTo>
                    <a:pt x="677" y="188"/>
                  </a:lnTo>
                  <a:lnTo>
                    <a:pt x="679" y="188"/>
                  </a:lnTo>
                  <a:close/>
                  <a:moveTo>
                    <a:pt x="316" y="154"/>
                  </a:moveTo>
                  <a:lnTo>
                    <a:pt x="316" y="156"/>
                  </a:lnTo>
                  <a:lnTo>
                    <a:pt x="316" y="154"/>
                  </a:lnTo>
                  <a:close/>
                  <a:moveTo>
                    <a:pt x="318" y="154"/>
                  </a:moveTo>
                  <a:lnTo>
                    <a:pt x="318" y="156"/>
                  </a:lnTo>
                  <a:lnTo>
                    <a:pt x="316" y="154"/>
                  </a:lnTo>
                  <a:lnTo>
                    <a:pt x="318" y="154"/>
                  </a:lnTo>
                  <a:close/>
                  <a:moveTo>
                    <a:pt x="683" y="175"/>
                  </a:moveTo>
                  <a:lnTo>
                    <a:pt x="681" y="175"/>
                  </a:lnTo>
                  <a:lnTo>
                    <a:pt x="683" y="175"/>
                  </a:lnTo>
                  <a:lnTo>
                    <a:pt x="683" y="173"/>
                  </a:lnTo>
                  <a:lnTo>
                    <a:pt x="683" y="175"/>
                  </a:lnTo>
                  <a:close/>
                  <a:moveTo>
                    <a:pt x="328" y="144"/>
                  </a:moveTo>
                  <a:lnTo>
                    <a:pt x="328" y="146"/>
                  </a:lnTo>
                  <a:lnTo>
                    <a:pt x="326" y="146"/>
                  </a:lnTo>
                  <a:lnTo>
                    <a:pt x="326" y="148"/>
                  </a:lnTo>
                  <a:lnTo>
                    <a:pt x="324" y="148"/>
                  </a:lnTo>
                  <a:lnTo>
                    <a:pt x="324" y="150"/>
                  </a:lnTo>
                  <a:lnTo>
                    <a:pt x="324" y="148"/>
                  </a:lnTo>
                  <a:lnTo>
                    <a:pt x="324" y="150"/>
                  </a:lnTo>
                  <a:lnTo>
                    <a:pt x="322" y="150"/>
                  </a:lnTo>
                  <a:lnTo>
                    <a:pt x="322" y="148"/>
                  </a:lnTo>
                  <a:lnTo>
                    <a:pt x="324" y="148"/>
                  </a:lnTo>
                  <a:lnTo>
                    <a:pt x="324" y="146"/>
                  </a:lnTo>
                  <a:lnTo>
                    <a:pt x="326" y="146"/>
                  </a:lnTo>
                  <a:lnTo>
                    <a:pt x="326" y="144"/>
                  </a:lnTo>
                  <a:lnTo>
                    <a:pt x="328" y="144"/>
                  </a:lnTo>
                  <a:close/>
                  <a:moveTo>
                    <a:pt x="691" y="158"/>
                  </a:moveTo>
                  <a:lnTo>
                    <a:pt x="693" y="158"/>
                  </a:lnTo>
                  <a:lnTo>
                    <a:pt x="691" y="158"/>
                  </a:lnTo>
                  <a:lnTo>
                    <a:pt x="691" y="160"/>
                  </a:lnTo>
                  <a:lnTo>
                    <a:pt x="693" y="160"/>
                  </a:lnTo>
                  <a:lnTo>
                    <a:pt x="691" y="160"/>
                  </a:lnTo>
                  <a:lnTo>
                    <a:pt x="691" y="158"/>
                  </a:lnTo>
                  <a:close/>
                  <a:moveTo>
                    <a:pt x="591" y="137"/>
                  </a:moveTo>
                  <a:lnTo>
                    <a:pt x="589" y="137"/>
                  </a:lnTo>
                  <a:lnTo>
                    <a:pt x="591" y="137"/>
                  </a:lnTo>
                  <a:lnTo>
                    <a:pt x="591" y="135"/>
                  </a:lnTo>
                  <a:lnTo>
                    <a:pt x="591" y="137"/>
                  </a:lnTo>
                  <a:close/>
                  <a:moveTo>
                    <a:pt x="359" y="121"/>
                  </a:moveTo>
                  <a:lnTo>
                    <a:pt x="359" y="119"/>
                  </a:lnTo>
                  <a:lnTo>
                    <a:pt x="361" y="119"/>
                  </a:lnTo>
                  <a:lnTo>
                    <a:pt x="359" y="121"/>
                  </a:lnTo>
                  <a:close/>
                  <a:moveTo>
                    <a:pt x="628" y="121"/>
                  </a:moveTo>
                  <a:lnTo>
                    <a:pt x="629" y="121"/>
                  </a:lnTo>
                  <a:lnTo>
                    <a:pt x="629" y="123"/>
                  </a:lnTo>
                  <a:lnTo>
                    <a:pt x="628" y="123"/>
                  </a:lnTo>
                  <a:lnTo>
                    <a:pt x="628" y="125"/>
                  </a:lnTo>
                  <a:lnTo>
                    <a:pt x="628" y="127"/>
                  </a:lnTo>
                  <a:lnTo>
                    <a:pt x="628" y="125"/>
                  </a:lnTo>
                  <a:lnTo>
                    <a:pt x="628" y="123"/>
                  </a:lnTo>
                  <a:lnTo>
                    <a:pt x="628" y="121"/>
                  </a:lnTo>
                  <a:close/>
                  <a:moveTo>
                    <a:pt x="560" y="110"/>
                  </a:moveTo>
                  <a:lnTo>
                    <a:pt x="560" y="108"/>
                  </a:lnTo>
                  <a:lnTo>
                    <a:pt x="562" y="110"/>
                  </a:lnTo>
                  <a:lnTo>
                    <a:pt x="560" y="110"/>
                  </a:lnTo>
                  <a:close/>
                  <a:moveTo>
                    <a:pt x="549" y="108"/>
                  </a:moveTo>
                  <a:lnTo>
                    <a:pt x="551" y="108"/>
                  </a:lnTo>
                  <a:lnTo>
                    <a:pt x="549" y="108"/>
                  </a:lnTo>
                  <a:close/>
                  <a:moveTo>
                    <a:pt x="560" y="110"/>
                  </a:moveTo>
                  <a:lnTo>
                    <a:pt x="558" y="110"/>
                  </a:lnTo>
                  <a:lnTo>
                    <a:pt x="558" y="108"/>
                  </a:lnTo>
                  <a:lnTo>
                    <a:pt x="560" y="108"/>
                  </a:lnTo>
                  <a:lnTo>
                    <a:pt x="560" y="110"/>
                  </a:lnTo>
                  <a:close/>
                  <a:moveTo>
                    <a:pt x="560" y="108"/>
                  </a:moveTo>
                  <a:lnTo>
                    <a:pt x="560" y="106"/>
                  </a:lnTo>
                  <a:lnTo>
                    <a:pt x="560" y="108"/>
                  </a:lnTo>
                  <a:close/>
                  <a:moveTo>
                    <a:pt x="549" y="106"/>
                  </a:moveTo>
                  <a:lnTo>
                    <a:pt x="549" y="104"/>
                  </a:lnTo>
                  <a:lnTo>
                    <a:pt x="549" y="106"/>
                  </a:lnTo>
                  <a:close/>
                  <a:moveTo>
                    <a:pt x="535" y="102"/>
                  </a:moveTo>
                  <a:lnTo>
                    <a:pt x="535" y="104"/>
                  </a:lnTo>
                  <a:lnTo>
                    <a:pt x="533" y="104"/>
                  </a:lnTo>
                  <a:lnTo>
                    <a:pt x="533" y="102"/>
                  </a:lnTo>
                  <a:lnTo>
                    <a:pt x="533" y="104"/>
                  </a:lnTo>
                  <a:lnTo>
                    <a:pt x="533" y="102"/>
                  </a:lnTo>
                  <a:lnTo>
                    <a:pt x="533" y="100"/>
                  </a:lnTo>
                  <a:lnTo>
                    <a:pt x="533" y="102"/>
                  </a:lnTo>
                  <a:lnTo>
                    <a:pt x="535" y="102"/>
                  </a:lnTo>
                  <a:close/>
                  <a:moveTo>
                    <a:pt x="564" y="102"/>
                  </a:moveTo>
                  <a:lnTo>
                    <a:pt x="562" y="102"/>
                  </a:lnTo>
                  <a:lnTo>
                    <a:pt x="564" y="102"/>
                  </a:lnTo>
                  <a:close/>
                  <a:moveTo>
                    <a:pt x="558" y="102"/>
                  </a:moveTo>
                  <a:lnTo>
                    <a:pt x="560" y="102"/>
                  </a:lnTo>
                  <a:lnTo>
                    <a:pt x="562" y="102"/>
                  </a:lnTo>
                  <a:lnTo>
                    <a:pt x="562" y="104"/>
                  </a:lnTo>
                  <a:lnTo>
                    <a:pt x="560" y="104"/>
                  </a:lnTo>
                  <a:lnTo>
                    <a:pt x="558" y="104"/>
                  </a:lnTo>
                  <a:lnTo>
                    <a:pt x="558" y="102"/>
                  </a:lnTo>
                  <a:lnTo>
                    <a:pt x="558" y="104"/>
                  </a:lnTo>
                  <a:lnTo>
                    <a:pt x="557" y="104"/>
                  </a:lnTo>
                  <a:lnTo>
                    <a:pt x="558" y="104"/>
                  </a:lnTo>
                  <a:lnTo>
                    <a:pt x="557" y="104"/>
                  </a:lnTo>
                  <a:lnTo>
                    <a:pt x="557" y="106"/>
                  </a:lnTo>
                  <a:lnTo>
                    <a:pt x="555" y="106"/>
                  </a:lnTo>
                  <a:lnTo>
                    <a:pt x="555" y="104"/>
                  </a:lnTo>
                  <a:lnTo>
                    <a:pt x="557" y="104"/>
                  </a:lnTo>
                  <a:lnTo>
                    <a:pt x="557" y="102"/>
                  </a:lnTo>
                  <a:lnTo>
                    <a:pt x="557" y="100"/>
                  </a:lnTo>
                  <a:lnTo>
                    <a:pt x="558" y="100"/>
                  </a:lnTo>
                  <a:lnTo>
                    <a:pt x="558" y="102"/>
                  </a:lnTo>
                  <a:close/>
                  <a:moveTo>
                    <a:pt x="557" y="102"/>
                  </a:moveTo>
                  <a:lnTo>
                    <a:pt x="557" y="100"/>
                  </a:lnTo>
                  <a:lnTo>
                    <a:pt x="557" y="102"/>
                  </a:lnTo>
                  <a:close/>
                  <a:moveTo>
                    <a:pt x="576" y="102"/>
                  </a:moveTo>
                  <a:lnTo>
                    <a:pt x="576" y="100"/>
                  </a:lnTo>
                  <a:lnTo>
                    <a:pt x="576" y="102"/>
                  </a:lnTo>
                  <a:close/>
                  <a:moveTo>
                    <a:pt x="558" y="102"/>
                  </a:moveTo>
                  <a:lnTo>
                    <a:pt x="558" y="100"/>
                  </a:lnTo>
                  <a:lnTo>
                    <a:pt x="560" y="100"/>
                  </a:lnTo>
                  <a:lnTo>
                    <a:pt x="560" y="102"/>
                  </a:lnTo>
                  <a:lnTo>
                    <a:pt x="558" y="102"/>
                  </a:lnTo>
                  <a:close/>
                  <a:moveTo>
                    <a:pt x="553" y="100"/>
                  </a:moveTo>
                  <a:lnTo>
                    <a:pt x="551" y="100"/>
                  </a:lnTo>
                  <a:lnTo>
                    <a:pt x="551" y="98"/>
                  </a:lnTo>
                  <a:lnTo>
                    <a:pt x="553" y="98"/>
                  </a:lnTo>
                  <a:lnTo>
                    <a:pt x="553" y="100"/>
                  </a:lnTo>
                  <a:close/>
                  <a:moveTo>
                    <a:pt x="539" y="98"/>
                  </a:moveTo>
                  <a:lnTo>
                    <a:pt x="539" y="96"/>
                  </a:lnTo>
                  <a:lnTo>
                    <a:pt x="539" y="98"/>
                  </a:lnTo>
                  <a:close/>
                  <a:moveTo>
                    <a:pt x="557" y="98"/>
                  </a:moveTo>
                  <a:lnTo>
                    <a:pt x="557" y="96"/>
                  </a:lnTo>
                  <a:lnTo>
                    <a:pt x="557" y="98"/>
                  </a:lnTo>
                  <a:close/>
                  <a:moveTo>
                    <a:pt x="537" y="96"/>
                  </a:moveTo>
                  <a:lnTo>
                    <a:pt x="537" y="94"/>
                  </a:lnTo>
                  <a:lnTo>
                    <a:pt x="537" y="96"/>
                  </a:lnTo>
                  <a:close/>
                  <a:moveTo>
                    <a:pt x="508" y="92"/>
                  </a:moveTo>
                  <a:lnTo>
                    <a:pt x="508" y="94"/>
                  </a:lnTo>
                  <a:lnTo>
                    <a:pt x="507" y="94"/>
                  </a:lnTo>
                  <a:lnTo>
                    <a:pt x="507" y="92"/>
                  </a:lnTo>
                  <a:lnTo>
                    <a:pt x="508" y="92"/>
                  </a:lnTo>
                  <a:close/>
                  <a:moveTo>
                    <a:pt x="553" y="96"/>
                  </a:moveTo>
                  <a:lnTo>
                    <a:pt x="551" y="96"/>
                  </a:lnTo>
                  <a:lnTo>
                    <a:pt x="551" y="94"/>
                  </a:lnTo>
                  <a:lnTo>
                    <a:pt x="551" y="96"/>
                  </a:lnTo>
                  <a:lnTo>
                    <a:pt x="553" y="96"/>
                  </a:lnTo>
                  <a:close/>
                  <a:moveTo>
                    <a:pt x="551" y="96"/>
                  </a:moveTo>
                  <a:lnTo>
                    <a:pt x="551" y="94"/>
                  </a:lnTo>
                  <a:lnTo>
                    <a:pt x="551" y="96"/>
                  </a:lnTo>
                  <a:close/>
                  <a:moveTo>
                    <a:pt x="539" y="96"/>
                  </a:moveTo>
                  <a:lnTo>
                    <a:pt x="537" y="94"/>
                  </a:lnTo>
                  <a:lnTo>
                    <a:pt x="539" y="94"/>
                  </a:lnTo>
                  <a:lnTo>
                    <a:pt x="539" y="96"/>
                  </a:lnTo>
                  <a:close/>
                  <a:moveTo>
                    <a:pt x="566" y="96"/>
                  </a:moveTo>
                  <a:lnTo>
                    <a:pt x="566" y="98"/>
                  </a:lnTo>
                  <a:lnTo>
                    <a:pt x="564" y="98"/>
                  </a:lnTo>
                  <a:lnTo>
                    <a:pt x="564" y="96"/>
                  </a:lnTo>
                  <a:lnTo>
                    <a:pt x="564" y="98"/>
                  </a:lnTo>
                  <a:lnTo>
                    <a:pt x="562" y="98"/>
                  </a:lnTo>
                  <a:lnTo>
                    <a:pt x="562" y="96"/>
                  </a:lnTo>
                  <a:lnTo>
                    <a:pt x="562" y="98"/>
                  </a:lnTo>
                  <a:lnTo>
                    <a:pt x="562" y="96"/>
                  </a:lnTo>
                  <a:lnTo>
                    <a:pt x="562" y="98"/>
                  </a:lnTo>
                  <a:lnTo>
                    <a:pt x="562" y="96"/>
                  </a:lnTo>
                  <a:lnTo>
                    <a:pt x="560" y="96"/>
                  </a:lnTo>
                  <a:lnTo>
                    <a:pt x="562" y="96"/>
                  </a:lnTo>
                  <a:lnTo>
                    <a:pt x="560" y="96"/>
                  </a:lnTo>
                  <a:lnTo>
                    <a:pt x="560" y="94"/>
                  </a:lnTo>
                  <a:lnTo>
                    <a:pt x="560" y="96"/>
                  </a:lnTo>
                  <a:lnTo>
                    <a:pt x="558" y="96"/>
                  </a:lnTo>
                  <a:lnTo>
                    <a:pt x="560" y="96"/>
                  </a:lnTo>
                  <a:lnTo>
                    <a:pt x="558" y="96"/>
                  </a:lnTo>
                  <a:lnTo>
                    <a:pt x="560" y="96"/>
                  </a:lnTo>
                  <a:lnTo>
                    <a:pt x="560" y="94"/>
                  </a:lnTo>
                  <a:lnTo>
                    <a:pt x="562" y="94"/>
                  </a:lnTo>
                  <a:lnTo>
                    <a:pt x="562" y="96"/>
                  </a:lnTo>
                  <a:lnTo>
                    <a:pt x="564" y="96"/>
                  </a:lnTo>
                  <a:lnTo>
                    <a:pt x="564" y="94"/>
                  </a:lnTo>
                  <a:lnTo>
                    <a:pt x="564" y="96"/>
                  </a:lnTo>
                  <a:lnTo>
                    <a:pt x="564" y="94"/>
                  </a:lnTo>
                  <a:lnTo>
                    <a:pt x="564" y="96"/>
                  </a:lnTo>
                  <a:lnTo>
                    <a:pt x="566" y="96"/>
                  </a:lnTo>
                  <a:lnTo>
                    <a:pt x="566" y="94"/>
                  </a:lnTo>
                  <a:lnTo>
                    <a:pt x="566" y="96"/>
                  </a:lnTo>
                  <a:close/>
                  <a:moveTo>
                    <a:pt x="555" y="94"/>
                  </a:moveTo>
                  <a:lnTo>
                    <a:pt x="553" y="94"/>
                  </a:lnTo>
                  <a:lnTo>
                    <a:pt x="555" y="94"/>
                  </a:lnTo>
                  <a:close/>
                  <a:moveTo>
                    <a:pt x="507" y="90"/>
                  </a:moveTo>
                  <a:lnTo>
                    <a:pt x="507" y="92"/>
                  </a:lnTo>
                  <a:lnTo>
                    <a:pt x="507" y="90"/>
                  </a:lnTo>
                  <a:close/>
                  <a:moveTo>
                    <a:pt x="557" y="94"/>
                  </a:moveTo>
                  <a:lnTo>
                    <a:pt x="555" y="94"/>
                  </a:lnTo>
                  <a:lnTo>
                    <a:pt x="557" y="94"/>
                  </a:lnTo>
                  <a:close/>
                  <a:moveTo>
                    <a:pt x="543" y="92"/>
                  </a:moveTo>
                  <a:lnTo>
                    <a:pt x="541" y="92"/>
                  </a:lnTo>
                  <a:lnTo>
                    <a:pt x="543" y="92"/>
                  </a:lnTo>
                  <a:close/>
                  <a:moveTo>
                    <a:pt x="560" y="94"/>
                  </a:moveTo>
                  <a:lnTo>
                    <a:pt x="560" y="96"/>
                  </a:lnTo>
                  <a:lnTo>
                    <a:pt x="558" y="96"/>
                  </a:lnTo>
                  <a:lnTo>
                    <a:pt x="558" y="94"/>
                  </a:lnTo>
                  <a:lnTo>
                    <a:pt x="558" y="92"/>
                  </a:lnTo>
                  <a:lnTo>
                    <a:pt x="560" y="92"/>
                  </a:lnTo>
                  <a:lnTo>
                    <a:pt x="560" y="94"/>
                  </a:lnTo>
                  <a:close/>
                  <a:moveTo>
                    <a:pt x="543" y="92"/>
                  </a:moveTo>
                  <a:lnTo>
                    <a:pt x="543" y="90"/>
                  </a:lnTo>
                  <a:lnTo>
                    <a:pt x="543" y="92"/>
                  </a:lnTo>
                  <a:close/>
                  <a:moveTo>
                    <a:pt x="541" y="90"/>
                  </a:moveTo>
                  <a:lnTo>
                    <a:pt x="541" y="92"/>
                  </a:lnTo>
                  <a:lnTo>
                    <a:pt x="541" y="90"/>
                  </a:lnTo>
                  <a:close/>
                  <a:moveTo>
                    <a:pt x="507" y="89"/>
                  </a:moveTo>
                  <a:lnTo>
                    <a:pt x="505" y="89"/>
                  </a:lnTo>
                  <a:lnTo>
                    <a:pt x="507" y="89"/>
                  </a:lnTo>
                  <a:close/>
                  <a:moveTo>
                    <a:pt x="543" y="90"/>
                  </a:moveTo>
                  <a:lnTo>
                    <a:pt x="541" y="90"/>
                  </a:lnTo>
                  <a:lnTo>
                    <a:pt x="543" y="90"/>
                  </a:lnTo>
                  <a:close/>
                  <a:moveTo>
                    <a:pt x="545" y="89"/>
                  </a:moveTo>
                  <a:lnTo>
                    <a:pt x="545" y="90"/>
                  </a:lnTo>
                  <a:lnTo>
                    <a:pt x="545" y="89"/>
                  </a:lnTo>
                  <a:close/>
                  <a:moveTo>
                    <a:pt x="526" y="87"/>
                  </a:moveTo>
                  <a:lnTo>
                    <a:pt x="526" y="85"/>
                  </a:lnTo>
                  <a:lnTo>
                    <a:pt x="526" y="87"/>
                  </a:lnTo>
                  <a:close/>
                  <a:moveTo>
                    <a:pt x="528" y="87"/>
                  </a:moveTo>
                  <a:lnTo>
                    <a:pt x="528" y="85"/>
                  </a:lnTo>
                  <a:lnTo>
                    <a:pt x="528" y="87"/>
                  </a:lnTo>
                  <a:close/>
                  <a:moveTo>
                    <a:pt x="510" y="81"/>
                  </a:moveTo>
                  <a:lnTo>
                    <a:pt x="508" y="81"/>
                  </a:lnTo>
                  <a:lnTo>
                    <a:pt x="510" y="81"/>
                  </a:lnTo>
                  <a:close/>
                  <a:moveTo>
                    <a:pt x="508" y="81"/>
                  </a:moveTo>
                  <a:lnTo>
                    <a:pt x="508" y="79"/>
                  </a:lnTo>
                  <a:lnTo>
                    <a:pt x="508" y="81"/>
                  </a:lnTo>
                  <a:close/>
                  <a:moveTo>
                    <a:pt x="489" y="77"/>
                  </a:moveTo>
                  <a:lnTo>
                    <a:pt x="491" y="77"/>
                  </a:lnTo>
                  <a:lnTo>
                    <a:pt x="489" y="77"/>
                  </a:lnTo>
                  <a:close/>
                  <a:moveTo>
                    <a:pt x="516" y="77"/>
                  </a:moveTo>
                  <a:lnTo>
                    <a:pt x="514" y="77"/>
                  </a:lnTo>
                  <a:lnTo>
                    <a:pt x="516" y="77"/>
                  </a:lnTo>
                  <a:lnTo>
                    <a:pt x="516" y="75"/>
                  </a:lnTo>
                  <a:lnTo>
                    <a:pt x="516" y="77"/>
                  </a:lnTo>
                  <a:close/>
                  <a:moveTo>
                    <a:pt x="489" y="73"/>
                  </a:moveTo>
                  <a:lnTo>
                    <a:pt x="489" y="75"/>
                  </a:lnTo>
                  <a:lnTo>
                    <a:pt x="487" y="75"/>
                  </a:lnTo>
                  <a:lnTo>
                    <a:pt x="487" y="73"/>
                  </a:lnTo>
                  <a:lnTo>
                    <a:pt x="489" y="73"/>
                  </a:lnTo>
                  <a:close/>
                  <a:moveTo>
                    <a:pt x="447" y="60"/>
                  </a:moveTo>
                  <a:lnTo>
                    <a:pt x="447" y="62"/>
                  </a:lnTo>
                  <a:lnTo>
                    <a:pt x="447" y="64"/>
                  </a:lnTo>
                  <a:lnTo>
                    <a:pt x="447" y="65"/>
                  </a:lnTo>
                  <a:lnTo>
                    <a:pt x="447" y="67"/>
                  </a:lnTo>
                  <a:lnTo>
                    <a:pt x="445" y="67"/>
                  </a:lnTo>
                  <a:lnTo>
                    <a:pt x="445" y="65"/>
                  </a:lnTo>
                  <a:lnTo>
                    <a:pt x="443" y="65"/>
                  </a:lnTo>
                  <a:lnTo>
                    <a:pt x="443" y="64"/>
                  </a:lnTo>
                  <a:lnTo>
                    <a:pt x="443" y="62"/>
                  </a:lnTo>
                  <a:lnTo>
                    <a:pt x="443" y="60"/>
                  </a:lnTo>
                  <a:lnTo>
                    <a:pt x="441" y="60"/>
                  </a:lnTo>
                  <a:lnTo>
                    <a:pt x="443" y="60"/>
                  </a:lnTo>
                  <a:lnTo>
                    <a:pt x="445" y="60"/>
                  </a:lnTo>
                  <a:lnTo>
                    <a:pt x="447" y="60"/>
                  </a:lnTo>
                  <a:close/>
                  <a:moveTo>
                    <a:pt x="493" y="69"/>
                  </a:moveTo>
                  <a:lnTo>
                    <a:pt x="493" y="67"/>
                  </a:lnTo>
                  <a:lnTo>
                    <a:pt x="493" y="65"/>
                  </a:lnTo>
                  <a:lnTo>
                    <a:pt x="491" y="65"/>
                  </a:lnTo>
                  <a:lnTo>
                    <a:pt x="491" y="64"/>
                  </a:lnTo>
                  <a:lnTo>
                    <a:pt x="491" y="62"/>
                  </a:lnTo>
                  <a:lnTo>
                    <a:pt x="491" y="60"/>
                  </a:lnTo>
                  <a:lnTo>
                    <a:pt x="489" y="60"/>
                  </a:lnTo>
                  <a:lnTo>
                    <a:pt x="489" y="58"/>
                  </a:lnTo>
                  <a:lnTo>
                    <a:pt x="491" y="58"/>
                  </a:lnTo>
                  <a:lnTo>
                    <a:pt x="491" y="60"/>
                  </a:lnTo>
                  <a:lnTo>
                    <a:pt x="493" y="60"/>
                  </a:lnTo>
                  <a:lnTo>
                    <a:pt x="493" y="62"/>
                  </a:lnTo>
                  <a:lnTo>
                    <a:pt x="493" y="64"/>
                  </a:lnTo>
                  <a:lnTo>
                    <a:pt x="493" y="65"/>
                  </a:lnTo>
                  <a:lnTo>
                    <a:pt x="493" y="67"/>
                  </a:lnTo>
                  <a:lnTo>
                    <a:pt x="495" y="67"/>
                  </a:lnTo>
                  <a:lnTo>
                    <a:pt x="495" y="69"/>
                  </a:lnTo>
                  <a:lnTo>
                    <a:pt x="493" y="69"/>
                  </a:lnTo>
                  <a:close/>
                  <a:moveTo>
                    <a:pt x="384" y="25"/>
                  </a:moveTo>
                  <a:lnTo>
                    <a:pt x="384" y="27"/>
                  </a:lnTo>
                  <a:lnTo>
                    <a:pt x="384" y="25"/>
                  </a:lnTo>
                  <a:lnTo>
                    <a:pt x="384" y="27"/>
                  </a:lnTo>
                  <a:lnTo>
                    <a:pt x="384" y="25"/>
                  </a:lnTo>
                  <a:lnTo>
                    <a:pt x="384" y="27"/>
                  </a:lnTo>
                  <a:lnTo>
                    <a:pt x="382" y="27"/>
                  </a:lnTo>
                  <a:lnTo>
                    <a:pt x="384" y="27"/>
                  </a:lnTo>
                  <a:lnTo>
                    <a:pt x="386" y="27"/>
                  </a:lnTo>
                  <a:lnTo>
                    <a:pt x="388" y="27"/>
                  </a:lnTo>
                  <a:lnTo>
                    <a:pt x="389" y="27"/>
                  </a:lnTo>
                  <a:lnTo>
                    <a:pt x="389" y="25"/>
                  </a:lnTo>
                  <a:lnTo>
                    <a:pt x="391" y="25"/>
                  </a:lnTo>
                  <a:lnTo>
                    <a:pt x="391" y="27"/>
                  </a:lnTo>
                  <a:lnTo>
                    <a:pt x="389" y="27"/>
                  </a:lnTo>
                  <a:lnTo>
                    <a:pt x="389" y="29"/>
                  </a:lnTo>
                  <a:lnTo>
                    <a:pt x="389" y="31"/>
                  </a:lnTo>
                  <a:lnTo>
                    <a:pt x="389" y="33"/>
                  </a:lnTo>
                  <a:lnTo>
                    <a:pt x="391" y="35"/>
                  </a:lnTo>
                  <a:lnTo>
                    <a:pt x="393" y="35"/>
                  </a:lnTo>
                  <a:lnTo>
                    <a:pt x="393" y="37"/>
                  </a:lnTo>
                  <a:lnTo>
                    <a:pt x="393" y="39"/>
                  </a:lnTo>
                  <a:lnTo>
                    <a:pt x="393" y="41"/>
                  </a:lnTo>
                  <a:lnTo>
                    <a:pt x="393" y="39"/>
                  </a:lnTo>
                  <a:lnTo>
                    <a:pt x="395" y="39"/>
                  </a:lnTo>
                  <a:lnTo>
                    <a:pt x="395" y="41"/>
                  </a:lnTo>
                  <a:lnTo>
                    <a:pt x="395" y="42"/>
                  </a:lnTo>
                  <a:lnTo>
                    <a:pt x="397" y="42"/>
                  </a:lnTo>
                  <a:lnTo>
                    <a:pt x="397" y="41"/>
                  </a:lnTo>
                  <a:lnTo>
                    <a:pt x="399" y="41"/>
                  </a:lnTo>
                  <a:lnTo>
                    <a:pt x="401" y="41"/>
                  </a:lnTo>
                  <a:lnTo>
                    <a:pt x="401" y="39"/>
                  </a:lnTo>
                  <a:lnTo>
                    <a:pt x="401" y="41"/>
                  </a:lnTo>
                  <a:lnTo>
                    <a:pt x="401" y="39"/>
                  </a:lnTo>
                  <a:lnTo>
                    <a:pt x="403" y="39"/>
                  </a:lnTo>
                  <a:lnTo>
                    <a:pt x="405" y="39"/>
                  </a:lnTo>
                  <a:lnTo>
                    <a:pt x="405" y="41"/>
                  </a:lnTo>
                  <a:lnTo>
                    <a:pt x="405" y="42"/>
                  </a:lnTo>
                  <a:lnTo>
                    <a:pt x="403" y="42"/>
                  </a:lnTo>
                  <a:lnTo>
                    <a:pt x="405" y="42"/>
                  </a:lnTo>
                  <a:lnTo>
                    <a:pt x="405" y="44"/>
                  </a:lnTo>
                  <a:lnTo>
                    <a:pt x="405" y="46"/>
                  </a:lnTo>
                  <a:lnTo>
                    <a:pt x="403" y="44"/>
                  </a:lnTo>
                  <a:lnTo>
                    <a:pt x="403" y="46"/>
                  </a:lnTo>
                  <a:lnTo>
                    <a:pt x="405" y="46"/>
                  </a:lnTo>
                  <a:lnTo>
                    <a:pt x="405" y="48"/>
                  </a:lnTo>
                  <a:lnTo>
                    <a:pt x="405" y="46"/>
                  </a:lnTo>
                  <a:lnTo>
                    <a:pt x="407" y="46"/>
                  </a:lnTo>
                  <a:lnTo>
                    <a:pt x="407" y="48"/>
                  </a:lnTo>
                  <a:lnTo>
                    <a:pt x="409" y="48"/>
                  </a:lnTo>
                  <a:lnTo>
                    <a:pt x="409" y="50"/>
                  </a:lnTo>
                  <a:lnTo>
                    <a:pt x="411" y="50"/>
                  </a:lnTo>
                  <a:lnTo>
                    <a:pt x="412" y="50"/>
                  </a:lnTo>
                  <a:lnTo>
                    <a:pt x="412" y="48"/>
                  </a:lnTo>
                  <a:lnTo>
                    <a:pt x="412" y="46"/>
                  </a:lnTo>
                  <a:lnTo>
                    <a:pt x="414" y="46"/>
                  </a:lnTo>
                  <a:lnTo>
                    <a:pt x="414" y="44"/>
                  </a:lnTo>
                  <a:lnTo>
                    <a:pt x="414" y="42"/>
                  </a:lnTo>
                  <a:lnTo>
                    <a:pt x="414" y="41"/>
                  </a:lnTo>
                  <a:lnTo>
                    <a:pt x="414" y="39"/>
                  </a:lnTo>
                  <a:lnTo>
                    <a:pt x="416" y="39"/>
                  </a:lnTo>
                  <a:lnTo>
                    <a:pt x="416" y="41"/>
                  </a:lnTo>
                  <a:lnTo>
                    <a:pt x="416" y="39"/>
                  </a:lnTo>
                  <a:lnTo>
                    <a:pt x="418" y="39"/>
                  </a:lnTo>
                  <a:lnTo>
                    <a:pt x="418" y="37"/>
                  </a:lnTo>
                  <a:lnTo>
                    <a:pt x="418" y="39"/>
                  </a:lnTo>
                  <a:lnTo>
                    <a:pt x="416" y="39"/>
                  </a:lnTo>
                  <a:lnTo>
                    <a:pt x="414" y="39"/>
                  </a:lnTo>
                  <a:lnTo>
                    <a:pt x="414" y="37"/>
                  </a:lnTo>
                  <a:lnTo>
                    <a:pt x="416" y="37"/>
                  </a:lnTo>
                  <a:lnTo>
                    <a:pt x="414" y="37"/>
                  </a:lnTo>
                  <a:lnTo>
                    <a:pt x="414" y="35"/>
                  </a:lnTo>
                  <a:lnTo>
                    <a:pt x="414" y="33"/>
                  </a:lnTo>
                  <a:lnTo>
                    <a:pt x="414" y="31"/>
                  </a:lnTo>
                  <a:lnTo>
                    <a:pt x="414" y="29"/>
                  </a:lnTo>
                  <a:lnTo>
                    <a:pt x="414" y="27"/>
                  </a:lnTo>
                  <a:lnTo>
                    <a:pt x="414" y="25"/>
                  </a:lnTo>
                  <a:lnTo>
                    <a:pt x="412" y="25"/>
                  </a:lnTo>
                  <a:lnTo>
                    <a:pt x="414" y="25"/>
                  </a:lnTo>
                  <a:lnTo>
                    <a:pt x="416" y="25"/>
                  </a:lnTo>
                  <a:lnTo>
                    <a:pt x="416" y="23"/>
                  </a:lnTo>
                  <a:lnTo>
                    <a:pt x="416" y="25"/>
                  </a:lnTo>
                  <a:lnTo>
                    <a:pt x="416" y="23"/>
                  </a:lnTo>
                  <a:lnTo>
                    <a:pt x="418" y="23"/>
                  </a:lnTo>
                  <a:lnTo>
                    <a:pt x="420" y="23"/>
                  </a:lnTo>
                  <a:lnTo>
                    <a:pt x="422" y="23"/>
                  </a:lnTo>
                  <a:lnTo>
                    <a:pt x="422" y="25"/>
                  </a:lnTo>
                  <a:lnTo>
                    <a:pt x="420" y="25"/>
                  </a:lnTo>
                  <a:lnTo>
                    <a:pt x="418" y="25"/>
                  </a:lnTo>
                  <a:lnTo>
                    <a:pt x="418" y="27"/>
                  </a:lnTo>
                  <a:lnTo>
                    <a:pt x="418" y="29"/>
                  </a:lnTo>
                  <a:lnTo>
                    <a:pt x="420" y="29"/>
                  </a:lnTo>
                  <a:lnTo>
                    <a:pt x="420" y="31"/>
                  </a:lnTo>
                  <a:lnTo>
                    <a:pt x="420" y="29"/>
                  </a:lnTo>
                  <a:lnTo>
                    <a:pt x="422" y="29"/>
                  </a:lnTo>
                  <a:lnTo>
                    <a:pt x="422" y="31"/>
                  </a:lnTo>
                  <a:lnTo>
                    <a:pt x="424" y="31"/>
                  </a:lnTo>
                  <a:lnTo>
                    <a:pt x="424" y="33"/>
                  </a:lnTo>
                  <a:lnTo>
                    <a:pt x="426" y="33"/>
                  </a:lnTo>
                  <a:lnTo>
                    <a:pt x="426" y="31"/>
                  </a:lnTo>
                  <a:lnTo>
                    <a:pt x="424" y="31"/>
                  </a:lnTo>
                  <a:lnTo>
                    <a:pt x="424" y="29"/>
                  </a:lnTo>
                  <a:lnTo>
                    <a:pt x="422" y="29"/>
                  </a:lnTo>
                  <a:lnTo>
                    <a:pt x="422" y="27"/>
                  </a:lnTo>
                  <a:lnTo>
                    <a:pt x="424" y="27"/>
                  </a:lnTo>
                  <a:lnTo>
                    <a:pt x="426" y="27"/>
                  </a:lnTo>
                  <a:lnTo>
                    <a:pt x="426" y="29"/>
                  </a:lnTo>
                  <a:lnTo>
                    <a:pt x="426" y="31"/>
                  </a:lnTo>
                  <a:lnTo>
                    <a:pt x="428" y="31"/>
                  </a:lnTo>
                  <a:lnTo>
                    <a:pt x="428" y="33"/>
                  </a:lnTo>
                  <a:lnTo>
                    <a:pt x="430" y="33"/>
                  </a:lnTo>
                  <a:lnTo>
                    <a:pt x="430" y="35"/>
                  </a:lnTo>
                  <a:lnTo>
                    <a:pt x="430" y="37"/>
                  </a:lnTo>
                  <a:lnTo>
                    <a:pt x="430" y="39"/>
                  </a:lnTo>
                  <a:lnTo>
                    <a:pt x="430" y="41"/>
                  </a:lnTo>
                  <a:lnTo>
                    <a:pt x="430" y="42"/>
                  </a:lnTo>
                  <a:lnTo>
                    <a:pt x="428" y="42"/>
                  </a:lnTo>
                  <a:lnTo>
                    <a:pt x="428" y="44"/>
                  </a:lnTo>
                  <a:lnTo>
                    <a:pt x="426" y="44"/>
                  </a:lnTo>
                  <a:lnTo>
                    <a:pt x="426" y="46"/>
                  </a:lnTo>
                  <a:lnTo>
                    <a:pt x="426" y="48"/>
                  </a:lnTo>
                  <a:lnTo>
                    <a:pt x="424" y="48"/>
                  </a:lnTo>
                  <a:lnTo>
                    <a:pt x="424" y="50"/>
                  </a:lnTo>
                  <a:lnTo>
                    <a:pt x="422" y="50"/>
                  </a:lnTo>
                  <a:lnTo>
                    <a:pt x="422" y="52"/>
                  </a:lnTo>
                  <a:lnTo>
                    <a:pt x="424" y="52"/>
                  </a:lnTo>
                  <a:lnTo>
                    <a:pt x="424" y="54"/>
                  </a:lnTo>
                  <a:lnTo>
                    <a:pt x="422" y="54"/>
                  </a:lnTo>
                  <a:lnTo>
                    <a:pt x="422" y="56"/>
                  </a:lnTo>
                  <a:lnTo>
                    <a:pt x="420" y="56"/>
                  </a:lnTo>
                  <a:lnTo>
                    <a:pt x="420" y="54"/>
                  </a:lnTo>
                  <a:lnTo>
                    <a:pt x="420" y="52"/>
                  </a:lnTo>
                  <a:lnTo>
                    <a:pt x="418" y="50"/>
                  </a:lnTo>
                  <a:lnTo>
                    <a:pt x="418" y="52"/>
                  </a:lnTo>
                  <a:lnTo>
                    <a:pt x="416" y="52"/>
                  </a:lnTo>
                  <a:lnTo>
                    <a:pt x="416" y="54"/>
                  </a:lnTo>
                  <a:lnTo>
                    <a:pt x="416" y="56"/>
                  </a:lnTo>
                  <a:lnTo>
                    <a:pt x="414" y="56"/>
                  </a:lnTo>
                  <a:lnTo>
                    <a:pt x="414" y="58"/>
                  </a:lnTo>
                  <a:lnTo>
                    <a:pt x="412" y="58"/>
                  </a:lnTo>
                  <a:lnTo>
                    <a:pt x="412" y="60"/>
                  </a:lnTo>
                  <a:lnTo>
                    <a:pt x="411" y="62"/>
                  </a:lnTo>
                  <a:lnTo>
                    <a:pt x="411" y="64"/>
                  </a:lnTo>
                  <a:lnTo>
                    <a:pt x="411" y="62"/>
                  </a:lnTo>
                  <a:lnTo>
                    <a:pt x="412" y="62"/>
                  </a:lnTo>
                  <a:lnTo>
                    <a:pt x="412" y="60"/>
                  </a:lnTo>
                  <a:lnTo>
                    <a:pt x="412" y="58"/>
                  </a:lnTo>
                  <a:lnTo>
                    <a:pt x="414" y="58"/>
                  </a:lnTo>
                  <a:lnTo>
                    <a:pt x="416" y="58"/>
                  </a:lnTo>
                  <a:lnTo>
                    <a:pt x="416" y="56"/>
                  </a:lnTo>
                  <a:lnTo>
                    <a:pt x="418" y="56"/>
                  </a:lnTo>
                  <a:lnTo>
                    <a:pt x="420" y="56"/>
                  </a:lnTo>
                  <a:lnTo>
                    <a:pt x="422" y="56"/>
                  </a:lnTo>
                  <a:lnTo>
                    <a:pt x="422" y="58"/>
                  </a:lnTo>
                  <a:lnTo>
                    <a:pt x="424" y="58"/>
                  </a:lnTo>
                  <a:lnTo>
                    <a:pt x="426" y="58"/>
                  </a:lnTo>
                  <a:lnTo>
                    <a:pt x="426" y="60"/>
                  </a:lnTo>
                  <a:lnTo>
                    <a:pt x="428" y="60"/>
                  </a:lnTo>
                  <a:lnTo>
                    <a:pt x="428" y="62"/>
                  </a:lnTo>
                  <a:lnTo>
                    <a:pt x="430" y="62"/>
                  </a:lnTo>
                  <a:lnTo>
                    <a:pt x="430" y="64"/>
                  </a:lnTo>
                  <a:lnTo>
                    <a:pt x="432" y="64"/>
                  </a:lnTo>
                  <a:lnTo>
                    <a:pt x="434" y="65"/>
                  </a:lnTo>
                  <a:lnTo>
                    <a:pt x="434" y="67"/>
                  </a:lnTo>
                  <a:lnTo>
                    <a:pt x="436" y="67"/>
                  </a:lnTo>
                  <a:lnTo>
                    <a:pt x="436" y="69"/>
                  </a:lnTo>
                  <a:lnTo>
                    <a:pt x="436" y="71"/>
                  </a:lnTo>
                  <a:lnTo>
                    <a:pt x="436" y="73"/>
                  </a:lnTo>
                  <a:lnTo>
                    <a:pt x="436" y="75"/>
                  </a:lnTo>
                  <a:lnTo>
                    <a:pt x="436" y="77"/>
                  </a:lnTo>
                  <a:lnTo>
                    <a:pt x="437" y="79"/>
                  </a:lnTo>
                  <a:lnTo>
                    <a:pt x="437" y="81"/>
                  </a:lnTo>
                  <a:lnTo>
                    <a:pt x="437" y="83"/>
                  </a:lnTo>
                  <a:lnTo>
                    <a:pt x="436" y="83"/>
                  </a:lnTo>
                  <a:lnTo>
                    <a:pt x="434" y="83"/>
                  </a:lnTo>
                  <a:lnTo>
                    <a:pt x="434" y="85"/>
                  </a:lnTo>
                  <a:lnTo>
                    <a:pt x="434" y="87"/>
                  </a:lnTo>
                  <a:lnTo>
                    <a:pt x="432" y="87"/>
                  </a:lnTo>
                  <a:lnTo>
                    <a:pt x="430" y="87"/>
                  </a:lnTo>
                  <a:lnTo>
                    <a:pt x="430" y="89"/>
                  </a:lnTo>
                  <a:lnTo>
                    <a:pt x="432" y="90"/>
                  </a:lnTo>
                  <a:lnTo>
                    <a:pt x="432" y="89"/>
                  </a:lnTo>
                  <a:lnTo>
                    <a:pt x="434" y="89"/>
                  </a:lnTo>
                  <a:lnTo>
                    <a:pt x="434" y="87"/>
                  </a:lnTo>
                  <a:lnTo>
                    <a:pt x="436" y="87"/>
                  </a:lnTo>
                  <a:lnTo>
                    <a:pt x="437" y="87"/>
                  </a:lnTo>
                  <a:lnTo>
                    <a:pt x="437" y="89"/>
                  </a:lnTo>
                  <a:lnTo>
                    <a:pt x="437" y="90"/>
                  </a:lnTo>
                  <a:lnTo>
                    <a:pt x="439" y="90"/>
                  </a:lnTo>
                  <a:lnTo>
                    <a:pt x="439" y="92"/>
                  </a:lnTo>
                  <a:lnTo>
                    <a:pt x="437" y="92"/>
                  </a:lnTo>
                  <a:lnTo>
                    <a:pt x="439" y="92"/>
                  </a:lnTo>
                  <a:lnTo>
                    <a:pt x="439" y="90"/>
                  </a:lnTo>
                  <a:lnTo>
                    <a:pt x="439" y="92"/>
                  </a:lnTo>
                  <a:lnTo>
                    <a:pt x="439" y="90"/>
                  </a:lnTo>
                  <a:lnTo>
                    <a:pt x="441" y="89"/>
                  </a:lnTo>
                  <a:lnTo>
                    <a:pt x="441" y="87"/>
                  </a:lnTo>
                  <a:lnTo>
                    <a:pt x="441" y="85"/>
                  </a:lnTo>
                  <a:lnTo>
                    <a:pt x="439" y="83"/>
                  </a:lnTo>
                  <a:lnTo>
                    <a:pt x="441" y="83"/>
                  </a:lnTo>
                  <a:lnTo>
                    <a:pt x="439" y="83"/>
                  </a:lnTo>
                  <a:lnTo>
                    <a:pt x="439" y="81"/>
                  </a:lnTo>
                  <a:lnTo>
                    <a:pt x="439" y="79"/>
                  </a:lnTo>
                  <a:lnTo>
                    <a:pt x="441" y="79"/>
                  </a:lnTo>
                  <a:lnTo>
                    <a:pt x="441" y="77"/>
                  </a:lnTo>
                  <a:lnTo>
                    <a:pt x="441" y="75"/>
                  </a:lnTo>
                  <a:lnTo>
                    <a:pt x="443" y="75"/>
                  </a:lnTo>
                  <a:lnTo>
                    <a:pt x="445" y="73"/>
                  </a:lnTo>
                  <a:lnTo>
                    <a:pt x="447" y="73"/>
                  </a:lnTo>
                  <a:lnTo>
                    <a:pt x="449" y="71"/>
                  </a:lnTo>
                  <a:lnTo>
                    <a:pt x="449" y="73"/>
                  </a:lnTo>
                  <a:lnTo>
                    <a:pt x="451" y="73"/>
                  </a:lnTo>
                  <a:lnTo>
                    <a:pt x="451" y="75"/>
                  </a:lnTo>
                  <a:lnTo>
                    <a:pt x="453" y="75"/>
                  </a:lnTo>
                  <a:lnTo>
                    <a:pt x="453" y="77"/>
                  </a:lnTo>
                  <a:lnTo>
                    <a:pt x="451" y="77"/>
                  </a:lnTo>
                  <a:lnTo>
                    <a:pt x="449" y="75"/>
                  </a:lnTo>
                  <a:lnTo>
                    <a:pt x="451" y="75"/>
                  </a:lnTo>
                  <a:lnTo>
                    <a:pt x="449" y="75"/>
                  </a:lnTo>
                  <a:lnTo>
                    <a:pt x="449" y="77"/>
                  </a:lnTo>
                  <a:lnTo>
                    <a:pt x="449" y="79"/>
                  </a:lnTo>
                  <a:lnTo>
                    <a:pt x="449" y="81"/>
                  </a:lnTo>
                  <a:lnTo>
                    <a:pt x="449" y="83"/>
                  </a:lnTo>
                  <a:lnTo>
                    <a:pt x="451" y="83"/>
                  </a:lnTo>
                  <a:lnTo>
                    <a:pt x="449" y="83"/>
                  </a:lnTo>
                  <a:lnTo>
                    <a:pt x="447" y="83"/>
                  </a:lnTo>
                  <a:lnTo>
                    <a:pt x="445" y="81"/>
                  </a:lnTo>
                  <a:lnTo>
                    <a:pt x="445" y="83"/>
                  </a:lnTo>
                  <a:lnTo>
                    <a:pt x="447" y="85"/>
                  </a:lnTo>
                  <a:lnTo>
                    <a:pt x="447" y="83"/>
                  </a:lnTo>
                  <a:lnTo>
                    <a:pt x="449" y="83"/>
                  </a:lnTo>
                  <a:lnTo>
                    <a:pt x="451" y="83"/>
                  </a:lnTo>
                  <a:lnTo>
                    <a:pt x="451" y="85"/>
                  </a:lnTo>
                  <a:lnTo>
                    <a:pt x="453" y="85"/>
                  </a:lnTo>
                  <a:lnTo>
                    <a:pt x="453" y="87"/>
                  </a:lnTo>
                  <a:lnTo>
                    <a:pt x="453" y="89"/>
                  </a:lnTo>
                  <a:lnTo>
                    <a:pt x="451" y="89"/>
                  </a:lnTo>
                  <a:lnTo>
                    <a:pt x="451" y="87"/>
                  </a:lnTo>
                  <a:lnTo>
                    <a:pt x="449" y="87"/>
                  </a:lnTo>
                  <a:lnTo>
                    <a:pt x="449" y="85"/>
                  </a:lnTo>
                  <a:lnTo>
                    <a:pt x="449" y="87"/>
                  </a:lnTo>
                  <a:lnTo>
                    <a:pt x="451" y="87"/>
                  </a:lnTo>
                  <a:lnTo>
                    <a:pt x="451" y="89"/>
                  </a:lnTo>
                  <a:lnTo>
                    <a:pt x="453" y="89"/>
                  </a:lnTo>
                  <a:lnTo>
                    <a:pt x="455" y="89"/>
                  </a:lnTo>
                  <a:lnTo>
                    <a:pt x="455" y="90"/>
                  </a:lnTo>
                  <a:lnTo>
                    <a:pt x="457" y="90"/>
                  </a:lnTo>
                  <a:lnTo>
                    <a:pt x="457" y="92"/>
                  </a:lnTo>
                  <a:lnTo>
                    <a:pt x="455" y="92"/>
                  </a:lnTo>
                  <a:lnTo>
                    <a:pt x="455" y="94"/>
                  </a:lnTo>
                  <a:lnTo>
                    <a:pt x="455" y="96"/>
                  </a:lnTo>
                  <a:lnTo>
                    <a:pt x="453" y="96"/>
                  </a:lnTo>
                  <a:lnTo>
                    <a:pt x="453" y="98"/>
                  </a:lnTo>
                  <a:lnTo>
                    <a:pt x="453" y="100"/>
                  </a:lnTo>
                  <a:lnTo>
                    <a:pt x="455" y="100"/>
                  </a:lnTo>
                  <a:lnTo>
                    <a:pt x="455" y="98"/>
                  </a:lnTo>
                  <a:lnTo>
                    <a:pt x="455" y="96"/>
                  </a:lnTo>
                  <a:lnTo>
                    <a:pt x="455" y="94"/>
                  </a:lnTo>
                  <a:lnTo>
                    <a:pt x="457" y="94"/>
                  </a:lnTo>
                  <a:lnTo>
                    <a:pt x="457" y="92"/>
                  </a:lnTo>
                  <a:lnTo>
                    <a:pt x="457" y="90"/>
                  </a:lnTo>
                  <a:lnTo>
                    <a:pt x="457" y="92"/>
                  </a:lnTo>
                  <a:lnTo>
                    <a:pt x="459" y="92"/>
                  </a:lnTo>
                  <a:lnTo>
                    <a:pt x="460" y="92"/>
                  </a:lnTo>
                  <a:lnTo>
                    <a:pt x="460" y="94"/>
                  </a:lnTo>
                  <a:lnTo>
                    <a:pt x="460" y="92"/>
                  </a:lnTo>
                  <a:lnTo>
                    <a:pt x="462" y="92"/>
                  </a:lnTo>
                  <a:lnTo>
                    <a:pt x="464" y="92"/>
                  </a:lnTo>
                  <a:lnTo>
                    <a:pt x="464" y="90"/>
                  </a:lnTo>
                  <a:lnTo>
                    <a:pt x="462" y="90"/>
                  </a:lnTo>
                  <a:lnTo>
                    <a:pt x="462" y="92"/>
                  </a:lnTo>
                  <a:lnTo>
                    <a:pt x="462" y="90"/>
                  </a:lnTo>
                  <a:lnTo>
                    <a:pt x="460" y="90"/>
                  </a:lnTo>
                  <a:lnTo>
                    <a:pt x="462" y="90"/>
                  </a:lnTo>
                  <a:lnTo>
                    <a:pt x="462" y="92"/>
                  </a:lnTo>
                  <a:lnTo>
                    <a:pt x="460" y="92"/>
                  </a:lnTo>
                  <a:lnTo>
                    <a:pt x="460" y="90"/>
                  </a:lnTo>
                  <a:lnTo>
                    <a:pt x="459" y="90"/>
                  </a:lnTo>
                  <a:lnTo>
                    <a:pt x="457" y="90"/>
                  </a:lnTo>
                  <a:lnTo>
                    <a:pt x="457" y="89"/>
                  </a:lnTo>
                  <a:lnTo>
                    <a:pt x="457" y="87"/>
                  </a:lnTo>
                  <a:lnTo>
                    <a:pt x="455" y="87"/>
                  </a:lnTo>
                  <a:lnTo>
                    <a:pt x="455" y="85"/>
                  </a:lnTo>
                  <a:lnTo>
                    <a:pt x="455" y="83"/>
                  </a:lnTo>
                  <a:lnTo>
                    <a:pt x="453" y="83"/>
                  </a:lnTo>
                  <a:lnTo>
                    <a:pt x="453" y="81"/>
                  </a:lnTo>
                  <a:lnTo>
                    <a:pt x="451" y="81"/>
                  </a:lnTo>
                  <a:lnTo>
                    <a:pt x="451" y="79"/>
                  </a:lnTo>
                  <a:lnTo>
                    <a:pt x="453" y="79"/>
                  </a:lnTo>
                  <a:lnTo>
                    <a:pt x="455" y="79"/>
                  </a:lnTo>
                  <a:lnTo>
                    <a:pt x="455" y="77"/>
                  </a:lnTo>
                  <a:lnTo>
                    <a:pt x="457" y="77"/>
                  </a:lnTo>
                  <a:lnTo>
                    <a:pt x="459" y="77"/>
                  </a:lnTo>
                  <a:lnTo>
                    <a:pt x="459" y="75"/>
                  </a:lnTo>
                  <a:lnTo>
                    <a:pt x="460" y="75"/>
                  </a:lnTo>
                  <a:lnTo>
                    <a:pt x="462" y="75"/>
                  </a:lnTo>
                  <a:lnTo>
                    <a:pt x="462" y="77"/>
                  </a:lnTo>
                  <a:lnTo>
                    <a:pt x="464" y="77"/>
                  </a:lnTo>
                  <a:lnTo>
                    <a:pt x="466" y="77"/>
                  </a:lnTo>
                  <a:lnTo>
                    <a:pt x="466" y="79"/>
                  </a:lnTo>
                  <a:lnTo>
                    <a:pt x="466" y="77"/>
                  </a:lnTo>
                  <a:lnTo>
                    <a:pt x="464" y="77"/>
                  </a:lnTo>
                  <a:lnTo>
                    <a:pt x="464" y="75"/>
                  </a:lnTo>
                  <a:lnTo>
                    <a:pt x="462" y="73"/>
                  </a:lnTo>
                  <a:lnTo>
                    <a:pt x="464" y="73"/>
                  </a:lnTo>
                  <a:lnTo>
                    <a:pt x="462" y="73"/>
                  </a:lnTo>
                  <a:lnTo>
                    <a:pt x="462" y="75"/>
                  </a:lnTo>
                  <a:lnTo>
                    <a:pt x="460" y="75"/>
                  </a:lnTo>
                  <a:lnTo>
                    <a:pt x="460" y="73"/>
                  </a:lnTo>
                  <a:lnTo>
                    <a:pt x="460" y="71"/>
                  </a:lnTo>
                  <a:lnTo>
                    <a:pt x="459" y="71"/>
                  </a:lnTo>
                  <a:lnTo>
                    <a:pt x="460" y="73"/>
                  </a:lnTo>
                  <a:lnTo>
                    <a:pt x="459" y="73"/>
                  </a:lnTo>
                  <a:lnTo>
                    <a:pt x="459" y="75"/>
                  </a:lnTo>
                  <a:lnTo>
                    <a:pt x="457" y="75"/>
                  </a:lnTo>
                  <a:lnTo>
                    <a:pt x="455" y="75"/>
                  </a:lnTo>
                  <a:lnTo>
                    <a:pt x="457" y="75"/>
                  </a:lnTo>
                  <a:lnTo>
                    <a:pt x="457" y="73"/>
                  </a:lnTo>
                  <a:lnTo>
                    <a:pt x="457" y="71"/>
                  </a:lnTo>
                  <a:lnTo>
                    <a:pt x="455" y="71"/>
                  </a:lnTo>
                  <a:lnTo>
                    <a:pt x="455" y="73"/>
                  </a:lnTo>
                  <a:lnTo>
                    <a:pt x="453" y="73"/>
                  </a:lnTo>
                  <a:lnTo>
                    <a:pt x="453" y="71"/>
                  </a:lnTo>
                  <a:lnTo>
                    <a:pt x="451" y="71"/>
                  </a:lnTo>
                  <a:lnTo>
                    <a:pt x="449" y="69"/>
                  </a:lnTo>
                  <a:lnTo>
                    <a:pt x="449" y="67"/>
                  </a:lnTo>
                  <a:lnTo>
                    <a:pt x="451" y="67"/>
                  </a:lnTo>
                  <a:lnTo>
                    <a:pt x="451" y="65"/>
                  </a:lnTo>
                  <a:lnTo>
                    <a:pt x="451" y="64"/>
                  </a:lnTo>
                  <a:lnTo>
                    <a:pt x="453" y="64"/>
                  </a:lnTo>
                  <a:lnTo>
                    <a:pt x="455" y="64"/>
                  </a:lnTo>
                  <a:lnTo>
                    <a:pt x="457" y="64"/>
                  </a:lnTo>
                  <a:lnTo>
                    <a:pt x="459" y="64"/>
                  </a:lnTo>
                  <a:lnTo>
                    <a:pt x="459" y="62"/>
                  </a:lnTo>
                  <a:lnTo>
                    <a:pt x="460" y="62"/>
                  </a:lnTo>
                  <a:lnTo>
                    <a:pt x="462" y="62"/>
                  </a:lnTo>
                  <a:lnTo>
                    <a:pt x="464" y="62"/>
                  </a:lnTo>
                  <a:lnTo>
                    <a:pt x="466" y="62"/>
                  </a:lnTo>
                  <a:lnTo>
                    <a:pt x="468" y="62"/>
                  </a:lnTo>
                  <a:lnTo>
                    <a:pt x="470" y="62"/>
                  </a:lnTo>
                  <a:lnTo>
                    <a:pt x="472" y="62"/>
                  </a:lnTo>
                  <a:lnTo>
                    <a:pt x="474" y="62"/>
                  </a:lnTo>
                  <a:lnTo>
                    <a:pt x="476" y="62"/>
                  </a:lnTo>
                  <a:lnTo>
                    <a:pt x="476" y="64"/>
                  </a:lnTo>
                  <a:lnTo>
                    <a:pt x="478" y="64"/>
                  </a:lnTo>
                  <a:lnTo>
                    <a:pt x="478" y="65"/>
                  </a:lnTo>
                  <a:lnTo>
                    <a:pt x="480" y="65"/>
                  </a:lnTo>
                  <a:lnTo>
                    <a:pt x="482" y="65"/>
                  </a:lnTo>
                  <a:lnTo>
                    <a:pt x="482" y="67"/>
                  </a:lnTo>
                  <a:lnTo>
                    <a:pt x="484" y="67"/>
                  </a:lnTo>
                  <a:lnTo>
                    <a:pt x="485" y="67"/>
                  </a:lnTo>
                  <a:lnTo>
                    <a:pt x="485" y="69"/>
                  </a:lnTo>
                  <a:lnTo>
                    <a:pt x="485" y="71"/>
                  </a:lnTo>
                  <a:lnTo>
                    <a:pt x="487" y="71"/>
                  </a:lnTo>
                  <a:lnTo>
                    <a:pt x="485" y="71"/>
                  </a:lnTo>
                  <a:lnTo>
                    <a:pt x="485" y="73"/>
                  </a:lnTo>
                  <a:lnTo>
                    <a:pt x="485" y="75"/>
                  </a:lnTo>
                  <a:lnTo>
                    <a:pt x="485" y="77"/>
                  </a:lnTo>
                  <a:lnTo>
                    <a:pt x="487" y="77"/>
                  </a:lnTo>
                  <a:lnTo>
                    <a:pt x="489" y="77"/>
                  </a:lnTo>
                  <a:lnTo>
                    <a:pt x="489" y="79"/>
                  </a:lnTo>
                  <a:lnTo>
                    <a:pt x="489" y="77"/>
                  </a:lnTo>
                  <a:lnTo>
                    <a:pt x="491" y="77"/>
                  </a:lnTo>
                  <a:lnTo>
                    <a:pt x="491" y="75"/>
                  </a:lnTo>
                  <a:lnTo>
                    <a:pt x="489" y="75"/>
                  </a:lnTo>
                  <a:lnTo>
                    <a:pt x="489" y="77"/>
                  </a:lnTo>
                  <a:lnTo>
                    <a:pt x="489" y="75"/>
                  </a:lnTo>
                  <a:lnTo>
                    <a:pt x="489" y="73"/>
                  </a:lnTo>
                  <a:lnTo>
                    <a:pt x="491" y="73"/>
                  </a:lnTo>
                  <a:lnTo>
                    <a:pt x="491" y="75"/>
                  </a:lnTo>
                  <a:lnTo>
                    <a:pt x="493" y="75"/>
                  </a:lnTo>
                  <a:lnTo>
                    <a:pt x="493" y="77"/>
                  </a:lnTo>
                  <a:lnTo>
                    <a:pt x="493" y="79"/>
                  </a:lnTo>
                  <a:lnTo>
                    <a:pt x="493" y="81"/>
                  </a:lnTo>
                  <a:lnTo>
                    <a:pt x="493" y="83"/>
                  </a:lnTo>
                  <a:lnTo>
                    <a:pt x="493" y="85"/>
                  </a:lnTo>
                  <a:lnTo>
                    <a:pt x="495" y="85"/>
                  </a:lnTo>
                  <a:lnTo>
                    <a:pt x="493" y="85"/>
                  </a:lnTo>
                  <a:lnTo>
                    <a:pt x="493" y="87"/>
                  </a:lnTo>
                  <a:lnTo>
                    <a:pt x="495" y="87"/>
                  </a:lnTo>
                  <a:lnTo>
                    <a:pt x="497" y="87"/>
                  </a:lnTo>
                  <a:lnTo>
                    <a:pt x="497" y="89"/>
                  </a:lnTo>
                  <a:lnTo>
                    <a:pt x="499" y="89"/>
                  </a:lnTo>
                  <a:lnTo>
                    <a:pt x="499" y="87"/>
                  </a:lnTo>
                  <a:lnTo>
                    <a:pt x="501" y="87"/>
                  </a:lnTo>
                  <a:lnTo>
                    <a:pt x="501" y="89"/>
                  </a:lnTo>
                  <a:lnTo>
                    <a:pt x="501" y="90"/>
                  </a:lnTo>
                  <a:lnTo>
                    <a:pt x="503" y="90"/>
                  </a:lnTo>
                  <a:lnTo>
                    <a:pt x="505" y="90"/>
                  </a:lnTo>
                  <a:lnTo>
                    <a:pt x="505" y="92"/>
                  </a:lnTo>
                  <a:lnTo>
                    <a:pt x="505" y="94"/>
                  </a:lnTo>
                  <a:lnTo>
                    <a:pt x="503" y="94"/>
                  </a:lnTo>
                  <a:lnTo>
                    <a:pt x="503" y="96"/>
                  </a:lnTo>
                  <a:lnTo>
                    <a:pt x="503" y="94"/>
                  </a:lnTo>
                  <a:lnTo>
                    <a:pt x="505" y="94"/>
                  </a:lnTo>
                  <a:lnTo>
                    <a:pt x="507" y="94"/>
                  </a:lnTo>
                  <a:lnTo>
                    <a:pt x="507" y="96"/>
                  </a:lnTo>
                  <a:lnTo>
                    <a:pt x="508" y="96"/>
                  </a:lnTo>
                  <a:lnTo>
                    <a:pt x="510" y="96"/>
                  </a:lnTo>
                  <a:lnTo>
                    <a:pt x="510" y="98"/>
                  </a:lnTo>
                  <a:lnTo>
                    <a:pt x="512" y="98"/>
                  </a:lnTo>
                  <a:lnTo>
                    <a:pt x="512" y="100"/>
                  </a:lnTo>
                  <a:lnTo>
                    <a:pt x="512" y="102"/>
                  </a:lnTo>
                  <a:lnTo>
                    <a:pt x="514" y="102"/>
                  </a:lnTo>
                  <a:lnTo>
                    <a:pt x="514" y="104"/>
                  </a:lnTo>
                  <a:lnTo>
                    <a:pt x="512" y="104"/>
                  </a:lnTo>
                  <a:lnTo>
                    <a:pt x="512" y="106"/>
                  </a:lnTo>
                  <a:lnTo>
                    <a:pt x="510" y="108"/>
                  </a:lnTo>
                  <a:lnTo>
                    <a:pt x="508" y="110"/>
                  </a:lnTo>
                  <a:lnTo>
                    <a:pt x="508" y="112"/>
                  </a:lnTo>
                  <a:lnTo>
                    <a:pt x="508" y="110"/>
                  </a:lnTo>
                  <a:lnTo>
                    <a:pt x="510" y="110"/>
                  </a:lnTo>
                  <a:lnTo>
                    <a:pt x="512" y="110"/>
                  </a:lnTo>
                  <a:lnTo>
                    <a:pt x="512" y="108"/>
                  </a:lnTo>
                  <a:lnTo>
                    <a:pt x="514" y="108"/>
                  </a:lnTo>
                  <a:lnTo>
                    <a:pt x="514" y="106"/>
                  </a:lnTo>
                  <a:lnTo>
                    <a:pt x="516" y="106"/>
                  </a:lnTo>
                  <a:lnTo>
                    <a:pt x="514" y="106"/>
                  </a:lnTo>
                  <a:lnTo>
                    <a:pt x="516" y="106"/>
                  </a:lnTo>
                  <a:lnTo>
                    <a:pt x="516" y="108"/>
                  </a:lnTo>
                  <a:lnTo>
                    <a:pt x="518" y="108"/>
                  </a:lnTo>
                  <a:lnTo>
                    <a:pt x="518" y="106"/>
                  </a:lnTo>
                  <a:lnTo>
                    <a:pt x="516" y="106"/>
                  </a:lnTo>
                  <a:lnTo>
                    <a:pt x="518" y="106"/>
                  </a:lnTo>
                  <a:lnTo>
                    <a:pt x="520" y="106"/>
                  </a:lnTo>
                  <a:lnTo>
                    <a:pt x="520" y="108"/>
                  </a:lnTo>
                  <a:lnTo>
                    <a:pt x="518" y="110"/>
                  </a:lnTo>
                  <a:lnTo>
                    <a:pt x="516" y="110"/>
                  </a:lnTo>
                  <a:lnTo>
                    <a:pt x="516" y="112"/>
                  </a:lnTo>
                  <a:lnTo>
                    <a:pt x="514" y="113"/>
                  </a:lnTo>
                  <a:lnTo>
                    <a:pt x="512" y="113"/>
                  </a:lnTo>
                  <a:lnTo>
                    <a:pt x="512" y="115"/>
                  </a:lnTo>
                  <a:lnTo>
                    <a:pt x="510" y="115"/>
                  </a:lnTo>
                  <a:lnTo>
                    <a:pt x="510" y="117"/>
                  </a:lnTo>
                  <a:lnTo>
                    <a:pt x="508" y="117"/>
                  </a:lnTo>
                  <a:lnTo>
                    <a:pt x="507" y="119"/>
                  </a:lnTo>
                  <a:lnTo>
                    <a:pt x="505" y="119"/>
                  </a:lnTo>
                  <a:lnTo>
                    <a:pt x="503" y="119"/>
                  </a:lnTo>
                  <a:lnTo>
                    <a:pt x="503" y="117"/>
                  </a:lnTo>
                  <a:lnTo>
                    <a:pt x="505" y="117"/>
                  </a:lnTo>
                  <a:lnTo>
                    <a:pt x="505" y="115"/>
                  </a:lnTo>
                  <a:lnTo>
                    <a:pt x="503" y="115"/>
                  </a:lnTo>
                  <a:lnTo>
                    <a:pt x="503" y="113"/>
                  </a:lnTo>
                  <a:lnTo>
                    <a:pt x="505" y="115"/>
                  </a:lnTo>
                  <a:lnTo>
                    <a:pt x="505" y="113"/>
                  </a:lnTo>
                  <a:lnTo>
                    <a:pt x="503" y="113"/>
                  </a:lnTo>
                  <a:lnTo>
                    <a:pt x="501" y="113"/>
                  </a:lnTo>
                  <a:lnTo>
                    <a:pt x="501" y="112"/>
                  </a:lnTo>
                  <a:lnTo>
                    <a:pt x="501" y="113"/>
                  </a:lnTo>
                  <a:lnTo>
                    <a:pt x="499" y="113"/>
                  </a:lnTo>
                  <a:lnTo>
                    <a:pt x="497" y="113"/>
                  </a:lnTo>
                  <a:lnTo>
                    <a:pt x="495" y="113"/>
                  </a:lnTo>
                  <a:lnTo>
                    <a:pt x="495" y="115"/>
                  </a:lnTo>
                  <a:lnTo>
                    <a:pt x="497" y="115"/>
                  </a:lnTo>
                  <a:lnTo>
                    <a:pt x="497" y="117"/>
                  </a:lnTo>
                  <a:lnTo>
                    <a:pt x="497" y="119"/>
                  </a:lnTo>
                  <a:lnTo>
                    <a:pt x="499" y="119"/>
                  </a:lnTo>
                  <a:lnTo>
                    <a:pt x="499" y="121"/>
                  </a:lnTo>
                  <a:lnTo>
                    <a:pt x="499" y="123"/>
                  </a:lnTo>
                  <a:lnTo>
                    <a:pt x="499" y="125"/>
                  </a:lnTo>
                  <a:lnTo>
                    <a:pt x="501" y="125"/>
                  </a:lnTo>
                  <a:lnTo>
                    <a:pt x="503" y="125"/>
                  </a:lnTo>
                  <a:lnTo>
                    <a:pt x="505" y="125"/>
                  </a:lnTo>
                  <a:lnTo>
                    <a:pt x="507" y="125"/>
                  </a:lnTo>
                  <a:lnTo>
                    <a:pt x="508" y="125"/>
                  </a:lnTo>
                  <a:lnTo>
                    <a:pt x="508" y="127"/>
                  </a:lnTo>
                  <a:lnTo>
                    <a:pt x="508" y="129"/>
                  </a:lnTo>
                  <a:lnTo>
                    <a:pt x="508" y="131"/>
                  </a:lnTo>
                  <a:lnTo>
                    <a:pt x="508" y="133"/>
                  </a:lnTo>
                  <a:lnTo>
                    <a:pt x="510" y="133"/>
                  </a:lnTo>
                  <a:lnTo>
                    <a:pt x="510" y="131"/>
                  </a:lnTo>
                  <a:lnTo>
                    <a:pt x="512" y="131"/>
                  </a:lnTo>
                  <a:lnTo>
                    <a:pt x="514" y="131"/>
                  </a:lnTo>
                  <a:lnTo>
                    <a:pt x="516" y="131"/>
                  </a:lnTo>
                  <a:lnTo>
                    <a:pt x="516" y="133"/>
                  </a:lnTo>
                  <a:lnTo>
                    <a:pt x="518" y="133"/>
                  </a:lnTo>
                  <a:lnTo>
                    <a:pt x="518" y="135"/>
                  </a:lnTo>
                  <a:lnTo>
                    <a:pt x="518" y="137"/>
                  </a:lnTo>
                  <a:lnTo>
                    <a:pt x="518" y="135"/>
                  </a:lnTo>
                  <a:lnTo>
                    <a:pt x="518" y="133"/>
                  </a:lnTo>
                  <a:lnTo>
                    <a:pt x="518" y="131"/>
                  </a:lnTo>
                  <a:lnTo>
                    <a:pt x="516" y="131"/>
                  </a:lnTo>
                  <a:lnTo>
                    <a:pt x="518" y="131"/>
                  </a:lnTo>
                  <a:lnTo>
                    <a:pt x="516" y="131"/>
                  </a:lnTo>
                  <a:lnTo>
                    <a:pt x="514" y="131"/>
                  </a:lnTo>
                  <a:lnTo>
                    <a:pt x="514" y="129"/>
                  </a:lnTo>
                  <a:lnTo>
                    <a:pt x="516" y="129"/>
                  </a:lnTo>
                  <a:lnTo>
                    <a:pt x="518" y="129"/>
                  </a:lnTo>
                  <a:lnTo>
                    <a:pt x="520" y="129"/>
                  </a:lnTo>
                  <a:lnTo>
                    <a:pt x="520" y="131"/>
                  </a:lnTo>
                  <a:lnTo>
                    <a:pt x="522" y="131"/>
                  </a:lnTo>
                  <a:lnTo>
                    <a:pt x="522" y="129"/>
                  </a:lnTo>
                  <a:lnTo>
                    <a:pt x="524" y="129"/>
                  </a:lnTo>
                  <a:lnTo>
                    <a:pt x="524" y="127"/>
                  </a:lnTo>
                  <a:lnTo>
                    <a:pt x="522" y="127"/>
                  </a:lnTo>
                  <a:lnTo>
                    <a:pt x="522" y="129"/>
                  </a:lnTo>
                  <a:lnTo>
                    <a:pt x="522" y="127"/>
                  </a:lnTo>
                  <a:lnTo>
                    <a:pt x="524" y="127"/>
                  </a:lnTo>
                  <a:lnTo>
                    <a:pt x="526" y="127"/>
                  </a:lnTo>
                  <a:lnTo>
                    <a:pt x="526" y="129"/>
                  </a:lnTo>
                  <a:lnTo>
                    <a:pt x="528" y="129"/>
                  </a:lnTo>
                  <a:lnTo>
                    <a:pt x="528" y="131"/>
                  </a:lnTo>
                  <a:lnTo>
                    <a:pt x="528" y="129"/>
                  </a:lnTo>
                  <a:lnTo>
                    <a:pt x="530" y="129"/>
                  </a:lnTo>
                  <a:lnTo>
                    <a:pt x="528" y="129"/>
                  </a:lnTo>
                  <a:lnTo>
                    <a:pt x="528" y="127"/>
                  </a:lnTo>
                  <a:lnTo>
                    <a:pt x="530" y="127"/>
                  </a:lnTo>
                  <a:lnTo>
                    <a:pt x="528" y="127"/>
                  </a:lnTo>
                  <a:lnTo>
                    <a:pt x="528" y="125"/>
                  </a:lnTo>
                  <a:lnTo>
                    <a:pt x="526" y="125"/>
                  </a:lnTo>
                  <a:lnTo>
                    <a:pt x="526" y="123"/>
                  </a:lnTo>
                  <a:lnTo>
                    <a:pt x="526" y="121"/>
                  </a:lnTo>
                  <a:lnTo>
                    <a:pt x="526" y="119"/>
                  </a:lnTo>
                  <a:lnTo>
                    <a:pt x="526" y="117"/>
                  </a:lnTo>
                  <a:lnTo>
                    <a:pt x="526" y="115"/>
                  </a:lnTo>
                  <a:lnTo>
                    <a:pt x="526" y="113"/>
                  </a:lnTo>
                  <a:lnTo>
                    <a:pt x="524" y="113"/>
                  </a:lnTo>
                  <a:lnTo>
                    <a:pt x="524" y="112"/>
                  </a:lnTo>
                  <a:lnTo>
                    <a:pt x="524" y="110"/>
                  </a:lnTo>
                  <a:lnTo>
                    <a:pt x="522" y="110"/>
                  </a:lnTo>
                  <a:lnTo>
                    <a:pt x="522" y="108"/>
                  </a:lnTo>
                  <a:lnTo>
                    <a:pt x="524" y="106"/>
                  </a:lnTo>
                  <a:lnTo>
                    <a:pt x="522" y="106"/>
                  </a:lnTo>
                  <a:lnTo>
                    <a:pt x="522" y="104"/>
                  </a:lnTo>
                  <a:lnTo>
                    <a:pt x="520" y="104"/>
                  </a:lnTo>
                  <a:lnTo>
                    <a:pt x="520" y="102"/>
                  </a:lnTo>
                  <a:lnTo>
                    <a:pt x="520" y="100"/>
                  </a:lnTo>
                  <a:lnTo>
                    <a:pt x="520" y="98"/>
                  </a:lnTo>
                  <a:lnTo>
                    <a:pt x="522" y="98"/>
                  </a:lnTo>
                  <a:lnTo>
                    <a:pt x="520" y="98"/>
                  </a:lnTo>
                  <a:lnTo>
                    <a:pt x="522" y="98"/>
                  </a:lnTo>
                  <a:lnTo>
                    <a:pt x="522" y="96"/>
                  </a:lnTo>
                  <a:lnTo>
                    <a:pt x="520" y="96"/>
                  </a:lnTo>
                  <a:lnTo>
                    <a:pt x="518" y="96"/>
                  </a:lnTo>
                  <a:lnTo>
                    <a:pt x="516" y="96"/>
                  </a:lnTo>
                  <a:lnTo>
                    <a:pt x="516" y="94"/>
                  </a:lnTo>
                  <a:lnTo>
                    <a:pt x="514" y="94"/>
                  </a:lnTo>
                  <a:lnTo>
                    <a:pt x="514" y="96"/>
                  </a:lnTo>
                  <a:lnTo>
                    <a:pt x="514" y="98"/>
                  </a:lnTo>
                  <a:lnTo>
                    <a:pt x="516" y="98"/>
                  </a:lnTo>
                  <a:lnTo>
                    <a:pt x="518" y="98"/>
                  </a:lnTo>
                  <a:lnTo>
                    <a:pt x="518" y="100"/>
                  </a:lnTo>
                  <a:lnTo>
                    <a:pt x="516" y="100"/>
                  </a:lnTo>
                  <a:lnTo>
                    <a:pt x="516" y="102"/>
                  </a:lnTo>
                  <a:lnTo>
                    <a:pt x="514" y="100"/>
                  </a:lnTo>
                  <a:lnTo>
                    <a:pt x="514" y="98"/>
                  </a:lnTo>
                  <a:lnTo>
                    <a:pt x="514" y="96"/>
                  </a:lnTo>
                  <a:lnTo>
                    <a:pt x="512" y="96"/>
                  </a:lnTo>
                  <a:lnTo>
                    <a:pt x="510" y="96"/>
                  </a:lnTo>
                  <a:lnTo>
                    <a:pt x="510" y="94"/>
                  </a:lnTo>
                  <a:lnTo>
                    <a:pt x="508" y="94"/>
                  </a:lnTo>
                  <a:lnTo>
                    <a:pt x="508" y="92"/>
                  </a:lnTo>
                  <a:lnTo>
                    <a:pt x="508" y="90"/>
                  </a:lnTo>
                  <a:lnTo>
                    <a:pt x="507" y="90"/>
                  </a:lnTo>
                  <a:lnTo>
                    <a:pt x="507" y="89"/>
                  </a:lnTo>
                  <a:lnTo>
                    <a:pt x="507" y="87"/>
                  </a:lnTo>
                  <a:lnTo>
                    <a:pt x="505" y="87"/>
                  </a:lnTo>
                  <a:lnTo>
                    <a:pt x="503" y="87"/>
                  </a:lnTo>
                  <a:lnTo>
                    <a:pt x="503" y="85"/>
                  </a:lnTo>
                  <a:lnTo>
                    <a:pt x="505" y="85"/>
                  </a:lnTo>
                  <a:lnTo>
                    <a:pt x="503" y="85"/>
                  </a:lnTo>
                  <a:lnTo>
                    <a:pt x="503" y="83"/>
                  </a:lnTo>
                  <a:lnTo>
                    <a:pt x="501" y="83"/>
                  </a:lnTo>
                  <a:lnTo>
                    <a:pt x="503" y="81"/>
                  </a:lnTo>
                  <a:lnTo>
                    <a:pt x="503" y="79"/>
                  </a:lnTo>
                  <a:lnTo>
                    <a:pt x="503" y="81"/>
                  </a:lnTo>
                  <a:lnTo>
                    <a:pt x="501" y="81"/>
                  </a:lnTo>
                  <a:lnTo>
                    <a:pt x="501" y="83"/>
                  </a:lnTo>
                  <a:lnTo>
                    <a:pt x="499" y="83"/>
                  </a:lnTo>
                  <a:lnTo>
                    <a:pt x="499" y="85"/>
                  </a:lnTo>
                  <a:lnTo>
                    <a:pt x="497" y="85"/>
                  </a:lnTo>
                  <a:lnTo>
                    <a:pt x="497" y="83"/>
                  </a:lnTo>
                  <a:lnTo>
                    <a:pt x="499" y="83"/>
                  </a:lnTo>
                  <a:lnTo>
                    <a:pt x="499" y="81"/>
                  </a:lnTo>
                  <a:lnTo>
                    <a:pt x="499" y="79"/>
                  </a:lnTo>
                  <a:lnTo>
                    <a:pt x="499" y="77"/>
                  </a:lnTo>
                  <a:lnTo>
                    <a:pt x="501" y="77"/>
                  </a:lnTo>
                  <a:lnTo>
                    <a:pt x="503" y="77"/>
                  </a:lnTo>
                  <a:lnTo>
                    <a:pt x="505" y="77"/>
                  </a:lnTo>
                  <a:lnTo>
                    <a:pt x="505" y="79"/>
                  </a:lnTo>
                  <a:lnTo>
                    <a:pt x="507" y="79"/>
                  </a:lnTo>
                  <a:lnTo>
                    <a:pt x="507" y="77"/>
                  </a:lnTo>
                  <a:lnTo>
                    <a:pt x="507" y="79"/>
                  </a:lnTo>
                  <a:lnTo>
                    <a:pt x="507" y="81"/>
                  </a:lnTo>
                  <a:lnTo>
                    <a:pt x="508" y="81"/>
                  </a:lnTo>
                  <a:lnTo>
                    <a:pt x="508" y="83"/>
                  </a:lnTo>
                  <a:lnTo>
                    <a:pt x="508" y="85"/>
                  </a:lnTo>
                  <a:lnTo>
                    <a:pt x="510" y="85"/>
                  </a:lnTo>
                  <a:lnTo>
                    <a:pt x="512" y="85"/>
                  </a:lnTo>
                  <a:lnTo>
                    <a:pt x="512" y="83"/>
                  </a:lnTo>
                  <a:lnTo>
                    <a:pt x="514" y="83"/>
                  </a:lnTo>
                  <a:lnTo>
                    <a:pt x="512" y="83"/>
                  </a:lnTo>
                  <a:lnTo>
                    <a:pt x="512" y="81"/>
                  </a:lnTo>
                  <a:lnTo>
                    <a:pt x="514" y="81"/>
                  </a:lnTo>
                  <a:lnTo>
                    <a:pt x="516" y="81"/>
                  </a:lnTo>
                  <a:lnTo>
                    <a:pt x="516" y="83"/>
                  </a:lnTo>
                  <a:lnTo>
                    <a:pt x="516" y="85"/>
                  </a:lnTo>
                  <a:lnTo>
                    <a:pt x="518" y="85"/>
                  </a:lnTo>
                  <a:lnTo>
                    <a:pt x="520" y="85"/>
                  </a:lnTo>
                  <a:lnTo>
                    <a:pt x="522" y="85"/>
                  </a:lnTo>
                  <a:lnTo>
                    <a:pt x="522" y="87"/>
                  </a:lnTo>
                  <a:lnTo>
                    <a:pt x="524" y="87"/>
                  </a:lnTo>
                  <a:lnTo>
                    <a:pt x="524" y="89"/>
                  </a:lnTo>
                  <a:lnTo>
                    <a:pt x="526" y="89"/>
                  </a:lnTo>
                  <a:lnTo>
                    <a:pt x="526" y="87"/>
                  </a:lnTo>
                  <a:lnTo>
                    <a:pt x="526" y="89"/>
                  </a:lnTo>
                  <a:lnTo>
                    <a:pt x="528" y="89"/>
                  </a:lnTo>
                  <a:lnTo>
                    <a:pt x="528" y="90"/>
                  </a:lnTo>
                  <a:lnTo>
                    <a:pt x="530" y="90"/>
                  </a:lnTo>
                  <a:lnTo>
                    <a:pt x="530" y="89"/>
                  </a:lnTo>
                  <a:lnTo>
                    <a:pt x="532" y="89"/>
                  </a:lnTo>
                  <a:lnTo>
                    <a:pt x="532" y="90"/>
                  </a:lnTo>
                  <a:lnTo>
                    <a:pt x="533" y="92"/>
                  </a:lnTo>
                  <a:lnTo>
                    <a:pt x="535" y="92"/>
                  </a:lnTo>
                  <a:lnTo>
                    <a:pt x="535" y="94"/>
                  </a:lnTo>
                  <a:lnTo>
                    <a:pt x="537" y="94"/>
                  </a:lnTo>
                  <a:lnTo>
                    <a:pt x="537" y="96"/>
                  </a:lnTo>
                  <a:lnTo>
                    <a:pt x="535" y="96"/>
                  </a:lnTo>
                  <a:lnTo>
                    <a:pt x="535" y="98"/>
                  </a:lnTo>
                  <a:lnTo>
                    <a:pt x="537" y="98"/>
                  </a:lnTo>
                  <a:lnTo>
                    <a:pt x="537" y="100"/>
                  </a:lnTo>
                  <a:lnTo>
                    <a:pt x="535" y="100"/>
                  </a:lnTo>
                  <a:lnTo>
                    <a:pt x="535" y="98"/>
                  </a:lnTo>
                  <a:lnTo>
                    <a:pt x="533" y="98"/>
                  </a:lnTo>
                  <a:lnTo>
                    <a:pt x="533" y="100"/>
                  </a:lnTo>
                  <a:lnTo>
                    <a:pt x="532" y="100"/>
                  </a:lnTo>
                  <a:lnTo>
                    <a:pt x="532" y="102"/>
                  </a:lnTo>
                  <a:lnTo>
                    <a:pt x="533" y="102"/>
                  </a:lnTo>
                  <a:lnTo>
                    <a:pt x="533" y="104"/>
                  </a:lnTo>
                  <a:lnTo>
                    <a:pt x="533" y="106"/>
                  </a:lnTo>
                  <a:lnTo>
                    <a:pt x="533" y="108"/>
                  </a:lnTo>
                  <a:lnTo>
                    <a:pt x="535" y="108"/>
                  </a:lnTo>
                  <a:lnTo>
                    <a:pt x="535" y="110"/>
                  </a:lnTo>
                  <a:lnTo>
                    <a:pt x="535" y="112"/>
                  </a:lnTo>
                  <a:lnTo>
                    <a:pt x="533" y="112"/>
                  </a:lnTo>
                  <a:lnTo>
                    <a:pt x="533" y="113"/>
                  </a:lnTo>
                  <a:lnTo>
                    <a:pt x="532" y="113"/>
                  </a:lnTo>
                  <a:lnTo>
                    <a:pt x="532" y="115"/>
                  </a:lnTo>
                  <a:lnTo>
                    <a:pt x="533" y="115"/>
                  </a:lnTo>
                  <a:lnTo>
                    <a:pt x="533" y="117"/>
                  </a:lnTo>
                  <a:lnTo>
                    <a:pt x="535" y="117"/>
                  </a:lnTo>
                  <a:lnTo>
                    <a:pt x="535" y="115"/>
                  </a:lnTo>
                  <a:lnTo>
                    <a:pt x="533" y="115"/>
                  </a:lnTo>
                  <a:lnTo>
                    <a:pt x="535" y="115"/>
                  </a:lnTo>
                  <a:lnTo>
                    <a:pt x="533" y="115"/>
                  </a:lnTo>
                  <a:lnTo>
                    <a:pt x="533" y="113"/>
                  </a:lnTo>
                  <a:lnTo>
                    <a:pt x="533" y="115"/>
                  </a:lnTo>
                  <a:lnTo>
                    <a:pt x="532" y="115"/>
                  </a:lnTo>
                  <a:lnTo>
                    <a:pt x="532" y="113"/>
                  </a:lnTo>
                  <a:lnTo>
                    <a:pt x="533" y="113"/>
                  </a:lnTo>
                  <a:lnTo>
                    <a:pt x="532" y="113"/>
                  </a:lnTo>
                  <a:lnTo>
                    <a:pt x="533" y="113"/>
                  </a:lnTo>
                  <a:lnTo>
                    <a:pt x="533" y="112"/>
                  </a:lnTo>
                  <a:lnTo>
                    <a:pt x="533" y="113"/>
                  </a:lnTo>
                  <a:lnTo>
                    <a:pt x="535" y="113"/>
                  </a:lnTo>
                  <a:lnTo>
                    <a:pt x="535" y="112"/>
                  </a:lnTo>
                  <a:lnTo>
                    <a:pt x="535" y="110"/>
                  </a:lnTo>
                  <a:lnTo>
                    <a:pt x="537" y="110"/>
                  </a:lnTo>
                  <a:lnTo>
                    <a:pt x="537" y="112"/>
                  </a:lnTo>
                  <a:lnTo>
                    <a:pt x="537" y="113"/>
                  </a:lnTo>
                  <a:lnTo>
                    <a:pt x="539" y="113"/>
                  </a:lnTo>
                  <a:lnTo>
                    <a:pt x="539" y="115"/>
                  </a:lnTo>
                  <a:lnTo>
                    <a:pt x="539" y="113"/>
                  </a:lnTo>
                  <a:lnTo>
                    <a:pt x="539" y="115"/>
                  </a:lnTo>
                  <a:lnTo>
                    <a:pt x="539" y="113"/>
                  </a:lnTo>
                  <a:lnTo>
                    <a:pt x="537" y="113"/>
                  </a:lnTo>
                  <a:lnTo>
                    <a:pt x="537" y="112"/>
                  </a:lnTo>
                  <a:lnTo>
                    <a:pt x="539" y="112"/>
                  </a:lnTo>
                  <a:lnTo>
                    <a:pt x="537" y="112"/>
                  </a:lnTo>
                  <a:lnTo>
                    <a:pt x="539" y="112"/>
                  </a:lnTo>
                  <a:lnTo>
                    <a:pt x="537" y="112"/>
                  </a:lnTo>
                  <a:lnTo>
                    <a:pt x="537" y="110"/>
                  </a:lnTo>
                  <a:lnTo>
                    <a:pt x="537" y="108"/>
                  </a:lnTo>
                  <a:lnTo>
                    <a:pt x="535" y="108"/>
                  </a:lnTo>
                  <a:lnTo>
                    <a:pt x="535" y="106"/>
                  </a:lnTo>
                  <a:lnTo>
                    <a:pt x="535" y="108"/>
                  </a:lnTo>
                  <a:lnTo>
                    <a:pt x="535" y="106"/>
                  </a:lnTo>
                  <a:lnTo>
                    <a:pt x="537" y="106"/>
                  </a:lnTo>
                  <a:lnTo>
                    <a:pt x="537" y="104"/>
                  </a:lnTo>
                  <a:lnTo>
                    <a:pt x="535" y="104"/>
                  </a:lnTo>
                  <a:lnTo>
                    <a:pt x="535" y="102"/>
                  </a:lnTo>
                  <a:lnTo>
                    <a:pt x="537" y="102"/>
                  </a:lnTo>
                  <a:lnTo>
                    <a:pt x="537" y="100"/>
                  </a:lnTo>
                  <a:lnTo>
                    <a:pt x="539" y="100"/>
                  </a:lnTo>
                  <a:lnTo>
                    <a:pt x="539" y="98"/>
                  </a:lnTo>
                  <a:lnTo>
                    <a:pt x="541" y="98"/>
                  </a:lnTo>
                  <a:lnTo>
                    <a:pt x="539" y="98"/>
                  </a:lnTo>
                  <a:lnTo>
                    <a:pt x="539" y="96"/>
                  </a:lnTo>
                  <a:lnTo>
                    <a:pt x="541" y="96"/>
                  </a:lnTo>
                  <a:lnTo>
                    <a:pt x="539" y="96"/>
                  </a:lnTo>
                  <a:lnTo>
                    <a:pt x="541" y="96"/>
                  </a:lnTo>
                  <a:lnTo>
                    <a:pt x="541" y="94"/>
                  </a:lnTo>
                  <a:lnTo>
                    <a:pt x="541" y="96"/>
                  </a:lnTo>
                  <a:lnTo>
                    <a:pt x="541" y="98"/>
                  </a:lnTo>
                  <a:lnTo>
                    <a:pt x="541" y="100"/>
                  </a:lnTo>
                  <a:lnTo>
                    <a:pt x="543" y="100"/>
                  </a:lnTo>
                  <a:lnTo>
                    <a:pt x="545" y="100"/>
                  </a:lnTo>
                  <a:lnTo>
                    <a:pt x="543" y="100"/>
                  </a:lnTo>
                  <a:lnTo>
                    <a:pt x="543" y="98"/>
                  </a:lnTo>
                  <a:lnTo>
                    <a:pt x="543" y="96"/>
                  </a:lnTo>
                  <a:lnTo>
                    <a:pt x="543" y="94"/>
                  </a:lnTo>
                  <a:lnTo>
                    <a:pt x="543" y="92"/>
                  </a:lnTo>
                  <a:lnTo>
                    <a:pt x="543" y="94"/>
                  </a:lnTo>
                  <a:lnTo>
                    <a:pt x="545" y="94"/>
                  </a:lnTo>
                  <a:lnTo>
                    <a:pt x="545" y="92"/>
                  </a:lnTo>
                  <a:lnTo>
                    <a:pt x="543" y="92"/>
                  </a:lnTo>
                  <a:lnTo>
                    <a:pt x="545" y="92"/>
                  </a:lnTo>
                  <a:lnTo>
                    <a:pt x="545" y="90"/>
                  </a:lnTo>
                  <a:lnTo>
                    <a:pt x="547" y="90"/>
                  </a:lnTo>
                  <a:lnTo>
                    <a:pt x="549" y="90"/>
                  </a:lnTo>
                  <a:lnTo>
                    <a:pt x="547" y="90"/>
                  </a:lnTo>
                  <a:lnTo>
                    <a:pt x="547" y="89"/>
                  </a:lnTo>
                  <a:lnTo>
                    <a:pt x="545" y="89"/>
                  </a:lnTo>
                  <a:lnTo>
                    <a:pt x="547" y="87"/>
                  </a:lnTo>
                  <a:lnTo>
                    <a:pt x="549" y="87"/>
                  </a:lnTo>
                  <a:lnTo>
                    <a:pt x="549" y="89"/>
                  </a:lnTo>
                  <a:lnTo>
                    <a:pt x="551" y="89"/>
                  </a:lnTo>
                  <a:lnTo>
                    <a:pt x="551" y="90"/>
                  </a:lnTo>
                  <a:lnTo>
                    <a:pt x="551" y="92"/>
                  </a:lnTo>
                  <a:lnTo>
                    <a:pt x="549" y="92"/>
                  </a:lnTo>
                  <a:lnTo>
                    <a:pt x="549" y="94"/>
                  </a:lnTo>
                  <a:lnTo>
                    <a:pt x="549" y="96"/>
                  </a:lnTo>
                  <a:lnTo>
                    <a:pt x="547" y="96"/>
                  </a:lnTo>
                  <a:lnTo>
                    <a:pt x="547" y="98"/>
                  </a:lnTo>
                  <a:lnTo>
                    <a:pt x="547" y="100"/>
                  </a:lnTo>
                  <a:lnTo>
                    <a:pt x="547" y="102"/>
                  </a:lnTo>
                  <a:lnTo>
                    <a:pt x="547" y="104"/>
                  </a:lnTo>
                  <a:lnTo>
                    <a:pt x="547" y="106"/>
                  </a:lnTo>
                  <a:lnTo>
                    <a:pt x="549" y="106"/>
                  </a:lnTo>
                  <a:lnTo>
                    <a:pt x="549" y="108"/>
                  </a:lnTo>
                  <a:lnTo>
                    <a:pt x="551" y="108"/>
                  </a:lnTo>
                  <a:lnTo>
                    <a:pt x="553" y="108"/>
                  </a:lnTo>
                  <a:lnTo>
                    <a:pt x="555" y="108"/>
                  </a:lnTo>
                  <a:lnTo>
                    <a:pt x="557" y="108"/>
                  </a:lnTo>
                  <a:lnTo>
                    <a:pt x="555" y="108"/>
                  </a:lnTo>
                  <a:lnTo>
                    <a:pt x="555" y="110"/>
                  </a:lnTo>
                  <a:lnTo>
                    <a:pt x="553" y="110"/>
                  </a:lnTo>
                  <a:lnTo>
                    <a:pt x="555" y="110"/>
                  </a:lnTo>
                  <a:lnTo>
                    <a:pt x="557" y="110"/>
                  </a:lnTo>
                  <a:lnTo>
                    <a:pt x="557" y="108"/>
                  </a:lnTo>
                  <a:lnTo>
                    <a:pt x="555" y="108"/>
                  </a:lnTo>
                  <a:lnTo>
                    <a:pt x="557" y="108"/>
                  </a:lnTo>
                  <a:lnTo>
                    <a:pt x="557" y="106"/>
                  </a:lnTo>
                  <a:lnTo>
                    <a:pt x="555" y="106"/>
                  </a:lnTo>
                  <a:lnTo>
                    <a:pt x="557" y="106"/>
                  </a:lnTo>
                  <a:lnTo>
                    <a:pt x="557" y="108"/>
                  </a:lnTo>
                  <a:lnTo>
                    <a:pt x="557" y="110"/>
                  </a:lnTo>
                  <a:lnTo>
                    <a:pt x="558" y="110"/>
                  </a:lnTo>
                  <a:lnTo>
                    <a:pt x="558" y="112"/>
                  </a:lnTo>
                  <a:lnTo>
                    <a:pt x="560" y="112"/>
                  </a:lnTo>
                  <a:lnTo>
                    <a:pt x="560" y="113"/>
                  </a:lnTo>
                  <a:lnTo>
                    <a:pt x="558" y="113"/>
                  </a:lnTo>
                  <a:lnTo>
                    <a:pt x="560" y="113"/>
                  </a:lnTo>
                  <a:lnTo>
                    <a:pt x="562" y="113"/>
                  </a:lnTo>
                  <a:lnTo>
                    <a:pt x="562" y="112"/>
                  </a:lnTo>
                  <a:lnTo>
                    <a:pt x="564" y="112"/>
                  </a:lnTo>
                  <a:lnTo>
                    <a:pt x="564" y="110"/>
                  </a:lnTo>
                  <a:lnTo>
                    <a:pt x="564" y="108"/>
                  </a:lnTo>
                  <a:lnTo>
                    <a:pt x="562" y="108"/>
                  </a:lnTo>
                  <a:lnTo>
                    <a:pt x="562" y="106"/>
                  </a:lnTo>
                  <a:lnTo>
                    <a:pt x="564" y="106"/>
                  </a:lnTo>
                  <a:lnTo>
                    <a:pt x="564" y="104"/>
                  </a:lnTo>
                  <a:lnTo>
                    <a:pt x="564" y="102"/>
                  </a:lnTo>
                  <a:lnTo>
                    <a:pt x="564" y="100"/>
                  </a:lnTo>
                  <a:lnTo>
                    <a:pt x="562" y="100"/>
                  </a:lnTo>
                  <a:lnTo>
                    <a:pt x="560" y="100"/>
                  </a:lnTo>
                  <a:lnTo>
                    <a:pt x="560" y="98"/>
                  </a:lnTo>
                  <a:lnTo>
                    <a:pt x="560" y="100"/>
                  </a:lnTo>
                  <a:lnTo>
                    <a:pt x="558" y="100"/>
                  </a:lnTo>
                  <a:lnTo>
                    <a:pt x="558" y="98"/>
                  </a:lnTo>
                  <a:lnTo>
                    <a:pt x="560" y="98"/>
                  </a:lnTo>
                  <a:lnTo>
                    <a:pt x="558" y="98"/>
                  </a:lnTo>
                  <a:lnTo>
                    <a:pt x="558" y="96"/>
                  </a:lnTo>
                  <a:lnTo>
                    <a:pt x="558" y="98"/>
                  </a:lnTo>
                  <a:lnTo>
                    <a:pt x="560" y="98"/>
                  </a:lnTo>
                  <a:lnTo>
                    <a:pt x="560" y="96"/>
                  </a:lnTo>
                  <a:lnTo>
                    <a:pt x="560" y="98"/>
                  </a:lnTo>
                  <a:lnTo>
                    <a:pt x="562" y="98"/>
                  </a:lnTo>
                  <a:lnTo>
                    <a:pt x="564" y="98"/>
                  </a:lnTo>
                  <a:lnTo>
                    <a:pt x="562" y="98"/>
                  </a:lnTo>
                  <a:lnTo>
                    <a:pt x="562" y="100"/>
                  </a:lnTo>
                  <a:lnTo>
                    <a:pt x="564" y="100"/>
                  </a:lnTo>
                  <a:lnTo>
                    <a:pt x="564" y="98"/>
                  </a:lnTo>
                  <a:lnTo>
                    <a:pt x="562" y="98"/>
                  </a:lnTo>
                  <a:lnTo>
                    <a:pt x="564" y="98"/>
                  </a:lnTo>
                  <a:lnTo>
                    <a:pt x="564" y="96"/>
                  </a:lnTo>
                  <a:lnTo>
                    <a:pt x="564" y="98"/>
                  </a:lnTo>
                  <a:lnTo>
                    <a:pt x="566" y="98"/>
                  </a:lnTo>
                  <a:lnTo>
                    <a:pt x="566" y="96"/>
                  </a:lnTo>
                  <a:lnTo>
                    <a:pt x="568" y="96"/>
                  </a:lnTo>
                  <a:lnTo>
                    <a:pt x="568" y="94"/>
                  </a:lnTo>
                  <a:lnTo>
                    <a:pt x="566" y="94"/>
                  </a:lnTo>
                  <a:lnTo>
                    <a:pt x="564" y="94"/>
                  </a:lnTo>
                  <a:lnTo>
                    <a:pt x="566" y="94"/>
                  </a:lnTo>
                  <a:lnTo>
                    <a:pt x="566" y="92"/>
                  </a:lnTo>
                  <a:lnTo>
                    <a:pt x="564" y="92"/>
                  </a:lnTo>
                  <a:lnTo>
                    <a:pt x="564" y="94"/>
                  </a:lnTo>
                  <a:lnTo>
                    <a:pt x="562" y="94"/>
                  </a:lnTo>
                  <a:lnTo>
                    <a:pt x="562" y="92"/>
                  </a:lnTo>
                  <a:lnTo>
                    <a:pt x="562" y="94"/>
                  </a:lnTo>
                  <a:lnTo>
                    <a:pt x="562" y="92"/>
                  </a:lnTo>
                  <a:lnTo>
                    <a:pt x="562" y="94"/>
                  </a:lnTo>
                  <a:lnTo>
                    <a:pt x="562" y="92"/>
                  </a:lnTo>
                  <a:lnTo>
                    <a:pt x="560" y="92"/>
                  </a:lnTo>
                  <a:lnTo>
                    <a:pt x="562" y="92"/>
                  </a:lnTo>
                  <a:lnTo>
                    <a:pt x="564" y="92"/>
                  </a:lnTo>
                  <a:lnTo>
                    <a:pt x="566" y="92"/>
                  </a:lnTo>
                  <a:lnTo>
                    <a:pt x="568" y="92"/>
                  </a:lnTo>
                  <a:lnTo>
                    <a:pt x="568" y="94"/>
                  </a:lnTo>
                  <a:lnTo>
                    <a:pt x="570" y="94"/>
                  </a:lnTo>
                  <a:lnTo>
                    <a:pt x="572" y="94"/>
                  </a:lnTo>
                  <a:lnTo>
                    <a:pt x="572" y="96"/>
                  </a:lnTo>
                  <a:lnTo>
                    <a:pt x="572" y="98"/>
                  </a:lnTo>
                  <a:lnTo>
                    <a:pt x="574" y="98"/>
                  </a:lnTo>
                  <a:lnTo>
                    <a:pt x="574" y="100"/>
                  </a:lnTo>
                  <a:lnTo>
                    <a:pt x="574" y="98"/>
                  </a:lnTo>
                  <a:lnTo>
                    <a:pt x="574" y="100"/>
                  </a:lnTo>
                  <a:lnTo>
                    <a:pt x="576" y="100"/>
                  </a:lnTo>
                  <a:lnTo>
                    <a:pt x="574" y="100"/>
                  </a:lnTo>
                  <a:lnTo>
                    <a:pt x="574" y="102"/>
                  </a:lnTo>
                  <a:lnTo>
                    <a:pt x="574" y="104"/>
                  </a:lnTo>
                  <a:lnTo>
                    <a:pt x="574" y="102"/>
                  </a:lnTo>
                  <a:lnTo>
                    <a:pt x="574" y="104"/>
                  </a:lnTo>
                  <a:lnTo>
                    <a:pt x="576" y="104"/>
                  </a:lnTo>
                  <a:lnTo>
                    <a:pt x="576" y="102"/>
                  </a:lnTo>
                  <a:lnTo>
                    <a:pt x="578" y="104"/>
                  </a:lnTo>
                  <a:lnTo>
                    <a:pt x="578" y="106"/>
                  </a:lnTo>
                  <a:lnTo>
                    <a:pt x="580" y="106"/>
                  </a:lnTo>
                  <a:lnTo>
                    <a:pt x="580" y="108"/>
                  </a:lnTo>
                  <a:lnTo>
                    <a:pt x="580" y="110"/>
                  </a:lnTo>
                  <a:lnTo>
                    <a:pt x="581" y="110"/>
                  </a:lnTo>
                  <a:lnTo>
                    <a:pt x="581" y="112"/>
                  </a:lnTo>
                  <a:lnTo>
                    <a:pt x="581" y="113"/>
                  </a:lnTo>
                  <a:lnTo>
                    <a:pt x="580" y="113"/>
                  </a:lnTo>
                  <a:lnTo>
                    <a:pt x="580" y="115"/>
                  </a:lnTo>
                  <a:lnTo>
                    <a:pt x="580" y="117"/>
                  </a:lnTo>
                  <a:lnTo>
                    <a:pt x="581" y="117"/>
                  </a:lnTo>
                  <a:lnTo>
                    <a:pt x="581" y="119"/>
                  </a:lnTo>
                  <a:lnTo>
                    <a:pt x="583" y="123"/>
                  </a:lnTo>
                  <a:lnTo>
                    <a:pt x="585" y="125"/>
                  </a:lnTo>
                  <a:lnTo>
                    <a:pt x="587" y="125"/>
                  </a:lnTo>
                  <a:lnTo>
                    <a:pt x="587" y="127"/>
                  </a:lnTo>
                  <a:lnTo>
                    <a:pt x="589" y="127"/>
                  </a:lnTo>
                  <a:lnTo>
                    <a:pt x="589" y="129"/>
                  </a:lnTo>
                  <a:lnTo>
                    <a:pt x="591" y="129"/>
                  </a:lnTo>
                  <a:lnTo>
                    <a:pt x="589" y="129"/>
                  </a:lnTo>
                  <a:lnTo>
                    <a:pt x="589" y="131"/>
                  </a:lnTo>
                  <a:lnTo>
                    <a:pt x="591" y="131"/>
                  </a:lnTo>
                  <a:lnTo>
                    <a:pt x="593" y="133"/>
                  </a:lnTo>
                  <a:lnTo>
                    <a:pt x="593" y="135"/>
                  </a:lnTo>
                  <a:lnTo>
                    <a:pt x="591" y="135"/>
                  </a:lnTo>
                  <a:lnTo>
                    <a:pt x="589" y="135"/>
                  </a:lnTo>
                  <a:lnTo>
                    <a:pt x="587" y="135"/>
                  </a:lnTo>
                  <a:lnTo>
                    <a:pt x="587" y="137"/>
                  </a:lnTo>
                  <a:lnTo>
                    <a:pt x="585" y="137"/>
                  </a:lnTo>
                  <a:lnTo>
                    <a:pt x="585" y="135"/>
                  </a:lnTo>
                  <a:lnTo>
                    <a:pt x="583" y="135"/>
                  </a:lnTo>
                  <a:lnTo>
                    <a:pt x="583" y="137"/>
                  </a:lnTo>
                  <a:lnTo>
                    <a:pt x="585" y="137"/>
                  </a:lnTo>
                  <a:lnTo>
                    <a:pt x="585" y="138"/>
                  </a:lnTo>
                  <a:lnTo>
                    <a:pt x="587" y="140"/>
                  </a:lnTo>
                  <a:lnTo>
                    <a:pt x="587" y="142"/>
                  </a:lnTo>
                  <a:lnTo>
                    <a:pt x="587" y="144"/>
                  </a:lnTo>
                  <a:lnTo>
                    <a:pt x="585" y="144"/>
                  </a:lnTo>
                  <a:lnTo>
                    <a:pt x="583" y="144"/>
                  </a:lnTo>
                  <a:lnTo>
                    <a:pt x="583" y="142"/>
                  </a:lnTo>
                  <a:lnTo>
                    <a:pt x="581" y="142"/>
                  </a:lnTo>
                  <a:lnTo>
                    <a:pt x="581" y="140"/>
                  </a:lnTo>
                  <a:lnTo>
                    <a:pt x="580" y="140"/>
                  </a:lnTo>
                  <a:lnTo>
                    <a:pt x="580" y="142"/>
                  </a:lnTo>
                  <a:lnTo>
                    <a:pt x="581" y="142"/>
                  </a:lnTo>
                  <a:lnTo>
                    <a:pt x="581" y="144"/>
                  </a:lnTo>
                  <a:lnTo>
                    <a:pt x="581" y="146"/>
                  </a:lnTo>
                  <a:lnTo>
                    <a:pt x="580" y="146"/>
                  </a:lnTo>
                  <a:lnTo>
                    <a:pt x="578" y="146"/>
                  </a:lnTo>
                  <a:lnTo>
                    <a:pt x="578" y="144"/>
                  </a:lnTo>
                  <a:lnTo>
                    <a:pt x="578" y="142"/>
                  </a:lnTo>
                  <a:lnTo>
                    <a:pt x="580" y="140"/>
                  </a:lnTo>
                  <a:lnTo>
                    <a:pt x="580" y="138"/>
                  </a:lnTo>
                  <a:lnTo>
                    <a:pt x="580" y="137"/>
                  </a:lnTo>
                  <a:lnTo>
                    <a:pt x="580" y="138"/>
                  </a:lnTo>
                  <a:lnTo>
                    <a:pt x="580" y="137"/>
                  </a:lnTo>
                  <a:lnTo>
                    <a:pt x="578" y="137"/>
                  </a:lnTo>
                  <a:lnTo>
                    <a:pt x="578" y="138"/>
                  </a:lnTo>
                  <a:lnTo>
                    <a:pt x="576" y="138"/>
                  </a:lnTo>
                  <a:lnTo>
                    <a:pt x="576" y="140"/>
                  </a:lnTo>
                  <a:lnTo>
                    <a:pt x="576" y="142"/>
                  </a:lnTo>
                  <a:lnTo>
                    <a:pt x="576" y="144"/>
                  </a:lnTo>
                  <a:lnTo>
                    <a:pt x="576" y="146"/>
                  </a:lnTo>
                  <a:lnTo>
                    <a:pt x="578" y="146"/>
                  </a:lnTo>
                  <a:lnTo>
                    <a:pt x="578" y="148"/>
                  </a:lnTo>
                  <a:lnTo>
                    <a:pt x="576" y="148"/>
                  </a:lnTo>
                  <a:lnTo>
                    <a:pt x="576" y="150"/>
                  </a:lnTo>
                  <a:lnTo>
                    <a:pt x="576" y="152"/>
                  </a:lnTo>
                  <a:lnTo>
                    <a:pt x="574" y="152"/>
                  </a:lnTo>
                  <a:lnTo>
                    <a:pt x="576" y="154"/>
                  </a:lnTo>
                  <a:lnTo>
                    <a:pt x="578" y="152"/>
                  </a:lnTo>
                  <a:lnTo>
                    <a:pt x="580" y="152"/>
                  </a:lnTo>
                  <a:lnTo>
                    <a:pt x="578" y="152"/>
                  </a:lnTo>
                  <a:lnTo>
                    <a:pt x="580" y="152"/>
                  </a:lnTo>
                  <a:lnTo>
                    <a:pt x="580" y="150"/>
                  </a:lnTo>
                  <a:lnTo>
                    <a:pt x="580" y="148"/>
                  </a:lnTo>
                  <a:lnTo>
                    <a:pt x="581" y="148"/>
                  </a:lnTo>
                  <a:lnTo>
                    <a:pt x="580" y="148"/>
                  </a:lnTo>
                  <a:lnTo>
                    <a:pt x="580" y="150"/>
                  </a:lnTo>
                  <a:lnTo>
                    <a:pt x="580" y="148"/>
                  </a:lnTo>
                  <a:lnTo>
                    <a:pt x="581" y="148"/>
                  </a:lnTo>
                  <a:lnTo>
                    <a:pt x="580" y="148"/>
                  </a:lnTo>
                  <a:lnTo>
                    <a:pt x="581" y="148"/>
                  </a:lnTo>
                  <a:lnTo>
                    <a:pt x="581" y="146"/>
                  </a:lnTo>
                  <a:lnTo>
                    <a:pt x="581" y="148"/>
                  </a:lnTo>
                  <a:lnTo>
                    <a:pt x="583" y="148"/>
                  </a:lnTo>
                  <a:lnTo>
                    <a:pt x="583" y="150"/>
                  </a:lnTo>
                  <a:lnTo>
                    <a:pt x="583" y="152"/>
                  </a:lnTo>
                  <a:lnTo>
                    <a:pt x="581" y="152"/>
                  </a:lnTo>
                  <a:lnTo>
                    <a:pt x="581" y="154"/>
                  </a:lnTo>
                  <a:lnTo>
                    <a:pt x="583" y="154"/>
                  </a:lnTo>
                  <a:lnTo>
                    <a:pt x="583" y="156"/>
                  </a:lnTo>
                  <a:lnTo>
                    <a:pt x="583" y="158"/>
                  </a:lnTo>
                  <a:lnTo>
                    <a:pt x="581" y="158"/>
                  </a:lnTo>
                  <a:lnTo>
                    <a:pt x="580" y="158"/>
                  </a:lnTo>
                  <a:lnTo>
                    <a:pt x="580" y="160"/>
                  </a:lnTo>
                  <a:lnTo>
                    <a:pt x="581" y="160"/>
                  </a:lnTo>
                  <a:lnTo>
                    <a:pt x="581" y="158"/>
                  </a:lnTo>
                  <a:lnTo>
                    <a:pt x="583" y="158"/>
                  </a:lnTo>
                  <a:lnTo>
                    <a:pt x="585" y="158"/>
                  </a:lnTo>
                  <a:lnTo>
                    <a:pt x="585" y="156"/>
                  </a:lnTo>
                  <a:lnTo>
                    <a:pt x="585" y="154"/>
                  </a:lnTo>
                  <a:lnTo>
                    <a:pt x="585" y="152"/>
                  </a:lnTo>
                  <a:lnTo>
                    <a:pt x="583" y="152"/>
                  </a:lnTo>
                  <a:lnTo>
                    <a:pt x="585" y="152"/>
                  </a:lnTo>
                  <a:lnTo>
                    <a:pt x="585" y="150"/>
                  </a:lnTo>
                  <a:lnTo>
                    <a:pt x="585" y="148"/>
                  </a:lnTo>
                  <a:lnTo>
                    <a:pt x="587" y="148"/>
                  </a:lnTo>
                  <a:lnTo>
                    <a:pt x="589" y="148"/>
                  </a:lnTo>
                  <a:lnTo>
                    <a:pt x="589" y="150"/>
                  </a:lnTo>
                  <a:lnTo>
                    <a:pt x="589" y="152"/>
                  </a:lnTo>
                  <a:lnTo>
                    <a:pt x="589" y="154"/>
                  </a:lnTo>
                  <a:lnTo>
                    <a:pt x="589" y="156"/>
                  </a:lnTo>
                  <a:lnTo>
                    <a:pt x="591" y="158"/>
                  </a:lnTo>
                  <a:lnTo>
                    <a:pt x="589" y="158"/>
                  </a:lnTo>
                  <a:lnTo>
                    <a:pt x="589" y="160"/>
                  </a:lnTo>
                  <a:lnTo>
                    <a:pt x="589" y="161"/>
                  </a:lnTo>
                  <a:lnTo>
                    <a:pt x="587" y="161"/>
                  </a:lnTo>
                  <a:lnTo>
                    <a:pt x="587" y="163"/>
                  </a:lnTo>
                  <a:lnTo>
                    <a:pt x="585" y="163"/>
                  </a:lnTo>
                  <a:lnTo>
                    <a:pt x="587" y="163"/>
                  </a:lnTo>
                  <a:lnTo>
                    <a:pt x="587" y="161"/>
                  </a:lnTo>
                  <a:lnTo>
                    <a:pt x="589" y="161"/>
                  </a:lnTo>
                  <a:lnTo>
                    <a:pt x="591" y="161"/>
                  </a:lnTo>
                  <a:lnTo>
                    <a:pt x="591" y="160"/>
                  </a:lnTo>
                  <a:lnTo>
                    <a:pt x="591" y="158"/>
                  </a:lnTo>
                  <a:lnTo>
                    <a:pt x="591" y="156"/>
                  </a:lnTo>
                  <a:lnTo>
                    <a:pt x="591" y="154"/>
                  </a:lnTo>
                  <a:lnTo>
                    <a:pt x="591" y="152"/>
                  </a:lnTo>
                  <a:lnTo>
                    <a:pt x="591" y="150"/>
                  </a:lnTo>
                  <a:lnTo>
                    <a:pt x="593" y="150"/>
                  </a:lnTo>
                  <a:lnTo>
                    <a:pt x="593" y="148"/>
                  </a:lnTo>
                  <a:lnTo>
                    <a:pt x="593" y="146"/>
                  </a:lnTo>
                  <a:lnTo>
                    <a:pt x="591" y="146"/>
                  </a:lnTo>
                  <a:lnTo>
                    <a:pt x="591" y="148"/>
                  </a:lnTo>
                  <a:lnTo>
                    <a:pt x="591" y="146"/>
                  </a:lnTo>
                  <a:lnTo>
                    <a:pt x="591" y="144"/>
                  </a:lnTo>
                  <a:lnTo>
                    <a:pt x="591" y="142"/>
                  </a:lnTo>
                  <a:lnTo>
                    <a:pt x="591" y="140"/>
                  </a:lnTo>
                  <a:lnTo>
                    <a:pt x="589" y="138"/>
                  </a:lnTo>
                  <a:lnTo>
                    <a:pt x="591" y="138"/>
                  </a:lnTo>
                  <a:lnTo>
                    <a:pt x="593" y="138"/>
                  </a:lnTo>
                  <a:lnTo>
                    <a:pt x="591" y="138"/>
                  </a:lnTo>
                  <a:lnTo>
                    <a:pt x="589" y="138"/>
                  </a:lnTo>
                  <a:lnTo>
                    <a:pt x="591" y="138"/>
                  </a:lnTo>
                  <a:lnTo>
                    <a:pt x="591" y="137"/>
                  </a:lnTo>
                  <a:lnTo>
                    <a:pt x="593" y="137"/>
                  </a:lnTo>
                  <a:lnTo>
                    <a:pt x="593" y="138"/>
                  </a:lnTo>
                  <a:lnTo>
                    <a:pt x="593" y="137"/>
                  </a:lnTo>
                  <a:lnTo>
                    <a:pt x="595" y="137"/>
                  </a:lnTo>
                  <a:lnTo>
                    <a:pt x="593" y="137"/>
                  </a:lnTo>
                  <a:lnTo>
                    <a:pt x="595" y="137"/>
                  </a:lnTo>
                  <a:lnTo>
                    <a:pt x="595" y="135"/>
                  </a:lnTo>
                  <a:lnTo>
                    <a:pt x="593" y="135"/>
                  </a:lnTo>
                  <a:lnTo>
                    <a:pt x="595" y="135"/>
                  </a:lnTo>
                  <a:lnTo>
                    <a:pt x="595" y="137"/>
                  </a:lnTo>
                  <a:lnTo>
                    <a:pt x="597" y="137"/>
                  </a:lnTo>
                  <a:lnTo>
                    <a:pt x="599" y="137"/>
                  </a:lnTo>
                  <a:lnTo>
                    <a:pt x="599" y="138"/>
                  </a:lnTo>
                  <a:lnTo>
                    <a:pt x="601" y="138"/>
                  </a:lnTo>
                  <a:lnTo>
                    <a:pt x="603" y="135"/>
                  </a:lnTo>
                  <a:lnTo>
                    <a:pt x="603" y="137"/>
                  </a:lnTo>
                  <a:lnTo>
                    <a:pt x="603" y="138"/>
                  </a:lnTo>
                  <a:lnTo>
                    <a:pt x="603" y="140"/>
                  </a:lnTo>
                  <a:lnTo>
                    <a:pt x="605" y="140"/>
                  </a:lnTo>
                  <a:lnTo>
                    <a:pt x="605" y="142"/>
                  </a:lnTo>
                  <a:lnTo>
                    <a:pt x="606" y="144"/>
                  </a:lnTo>
                  <a:lnTo>
                    <a:pt x="606" y="146"/>
                  </a:lnTo>
                  <a:lnTo>
                    <a:pt x="606" y="148"/>
                  </a:lnTo>
                  <a:lnTo>
                    <a:pt x="606" y="150"/>
                  </a:lnTo>
                  <a:lnTo>
                    <a:pt x="605" y="150"/>
                  </a:lnTo>
                  <a:lnTo>
                    <a:pt x="605" y="152"/>
                  </a:lnTo>
                  <a:lnTo>
                    <a:pt x="603" y="154"/>
                  </a:lnTo>
                  <a:lnTo>
                    <a:pt x="603" y="156"/>
                  </a:lnTo>
                  <a:lnTo>
                    <a:pt x="603" y="158"/>
                  </a:lnTo>
                  <a:lnTo>
                    <a:pt x="605" y="160"/>
                  </a:lnTo>
                  <a:lnTo>
                    <a:pt x="605" y="161"/>
                  </a:lnTo>
                  <a:lnTo>
                    <a:pt x="605" y="163"/>
                  </a:lnTo>
                  <a:lnTo>
                    <a:pt x="605" y="161"/>
                  </a:lnTo>
                  <a:lnTo>
                    <a:pt x="603" y="161"/>
                  </a:lnTo>
                  <a:lnTo>
                    <a:pt x="603" y="163"/>
                  </a:lnTo>
                  <a:lnTo>
                    <a:pt x="601" y="163"/>
                  </a:lnTo>
                  <a:lnTo>
                    <a:pt x="601" y="165"/>
                  </a:lnTo>
                  <a:lnTo>
                    <a:pt x="603" y="165"/>
                  </a:lnTo>
                  <a:lnTo>
                    <a:pt x="601" y="167"/>
                  </a:lnTo>
                  <a:lnTo>
                    <a:pt x="603" y="167"/>
                  </a:lnTo>
                  <a:lnTo>
                    <a:pt x="603" y="169"/>
                  </a:lnTo>
                  <a:lnTo>
                    <a:pt x="601" y="169"/>
                  </a:lnTo>
                  <a:lnTo>
                    <a:pt x="603" y="169"/>
                  </a:lnTo>
                  <a:lnTo>
                    <a:pt x="605" y="169"/>
                  </a:lnTo>
                  <a:lnTo>
                    <a:pt x="605" y="167"/>
                  </a:lnTo>
                  <a:lnTo>
                    <a:pt x="605" y="169"/>
                  </a:lnTo>
                  <a:lnTo>
                    <a:pt x="606" y="169"/>
                  </a:lnTo>
                  <a:lnTo>
                    <a:pt x="606" y="167"/>
                  </a:lnTo>
                  <a:lnTo>
                    <a:pt x="605" y="167"/>
                  </a:lnTo>
                  <a:lnTo>
                    <a:pt x="606" y="167"/>
                  </a:lnTo>
                  <a:lnTo>
                    <a:pt x="606" y="165"/>
                  </a:lnTo>
                  <a:lnTo>
                    <a:pt x="605" y="165"/>
                  </a:lnTo>
                  <a:lnTo>
                    <a:pt x="606" y="165"/>
                  </a:lnTo>
                  <a:lnTo>
                    <a:pt x="608" y="165"/>
                  </a:lnTo>
                  <a:lnTo>
                    <a:pt x="610" y="165"/>
                  </a:lnTo>
                  <a:lnTo>
                    <a:pt x="610" y="163"/>
                  </a:lnTo>
                  <a:lnTo>
                    <a:pt x="612" y="163"/>
                  </a:lnTo>
                  <a:lnTo>
                    <a:pt x="612" y="161"/>
                  </a:lnTo>
                  <a:lnTo>
                    <a:pt x="614" y="161"/>
                  </a:lnTo>
                  <a:lnTo>
                    <a:pt x="614" y="160"/>
                  </a:lnTo>
                  <a:lnTo>
                    <a:pt x="614" y="158"/>
                  </a:lnTo>
                  <a:lnTo>
                    <a:pt x="616" y="158"/>
                  </a:lnTo>
                  <a:lnTo>
                    <a:pt x="616" y="156"/>
                  </a:lnTo>
                  <a:lnTo>
                    <a:pt x="616" y="154"/>
                  </a:lnTo>
                  <a:lnTo>
                    <a:pt x="618" y="154"/>
                  </a:lnTo>
                  <a:lnTo>
                    <a:pt x="618" y="152"/>
                  </a:lnTo>
                  <a:lnTo>
                    <a:pt x="618" y="150"/>
                  </a:lnTo>
                  <a:lnTo>
                    <a:pt x="618" y="148"/>
                  </a:lnTo>
                  <a:lnTo>
                    <a:pt x="620" y="148"/>
                  </a:lnTo>
                  <a:lnTo>
                    <a:pt x="620" y="146"/>
                  </a:lnTo>
                  <a:lnTo>
                    <a:pt x="620" y="144"/>
                  </a:lnTo>
                  <a:lnTo>
                    <a:pt x="618" y="144"/>
                  </a:lnTo>
                  <a:lnTo>
                    <a:pt x="618" y="142"/>
                  </a:lnTo>
                  <a:lnTo>
                    <a:pt x="620" y="144"/>
                  </a:lnTo>
                  <a:lnTo>
                    <a:pt x="622" y="144"/>
                  </a:lnTo>
                  <a:lnTo>
                    <a:pt x="622" y="146"/>
                  </a:lnTo>
                  <a:lnTo>
                    <a:pt x="624" y="146"/>
                  </a:lnTo>
                  <a:lnTo>
                    <a:pt x="626" y="146"/>
                  </a:lnTo>
                  <a:lnTo>
                    <a:pt x="626" y="148"/>
                  </a:lnTo>
                  <a:lnTo>
                    <a:pt x="628" y="148"/>
                  </a:lnTo>
                  <a:lnTo>
                    <a:pt x="628" y="150"/>
                  </a:lnTo>
                  <a:lnTo>
                    <a:pt x="629" y="152"/>
                  </a:lnTo>
                  <a:lnTo>
                    <a:pt x="631" y="152"/>
                  </a:lnTo>
                  <a:lnTo>
                    <a:pt x="633" y="150"/>
                  </a:lnTo>
                  <a:lnTo>
                    <a:pt x="635" y="150"/>
                  </a:lnTo>
                  <a:lnTo>
                    <a:pt x="635" y="148"/>
                  </a:lnTo>
                  <a:lnTo>
                    <a:pt x="637" y="148"/>
                  </a:lnTo>
                  <a:lnTo>
                    <a:pt x="635" y="148"/>
                  </a:lnTo>
                  <a:lnTo>
                    <a:pt x="635" y="150"/>
                  </a:lnTo>
                  <a:lnTo>
                    <a:pt x="637" y="150"/>
                  </a:lnTo>
                  <a:lnTo>
                    <a:pt x="637" y="148"/>
                  </a:lnTo>
                  <a:lnTo>
                    <a:pt x="637" y="146"/>
                  </a:lnTo>
                  <a:lnTo>
                    <a:pt x="635" y="146"/>
                  </a:lnTo>
                  <a:lnTo>
                    <a:pt x="637" y="146"/>
                  </a:lnTo>
                  <a:lnTo>
                    <a:pt x="637" y="148"/>
                  </a:lnTo>
                  <a:lnTo>
                    <a:pt x="635" y="146"/>
                  </a:lnTo>
                  <a:lnTo>
                    <a:pt x="635" y="148"/>
                  </a:lnTo>
                  <a:lnTo>
                    <a:pt x="635" y="146"/>
                  </a:lnTo>
                  <a:lnTo>
                    <a:pt x="635" y="148"/>
                  </a:lnTo>
                  <a:lnTo>
                    <a:pt x="635" y="146"/>
                  </a:lnTo>
                  <a:lnTo>
                    <a:pt x="633" y="144"/>
                  </a:lnTo>
                  <a:lnTo>
                    <a:pt x="633" y="142"/>
                  </a:lnTo>
                  <a:lnTo>
                    <a:pt x="631" y="138"/>
                  </a:lnTo>
                  <a:lnTo>
                    <a:pt x="631" y="137"/>
                  </a:lnTo>
                  <a:lnTo>
                    <a:pt x="629" y="137"/>
                  </a:lnTo>
                  <a:lnTo>
                    <a:pt x="629" y="135"/>
                  </a:lnTo>
                  <a:lnTo>
                    <a:pt x="629" y="133"/>
                  </a:lnTo>
                  <a:lnTo>
                    <a:pt x="628" y="131"/>
                  </a:lnTo>
                  <a:lnTo>
                    <a:pt x="628" y="129"/>
                  </a:lnTo>
                  <a:lnTo>
                    <a:pt x="628" y="127"/>
                  </a:lnTo>
                  <a:lnTo>
                    <a:pt x="628" y="125"/>
                  </a:lnTo>
                  <a:lnTo>
                    <a:pt x="628" y="123"/>
                  </a:lnTo>
                  <a:lnTo>
                    <a:pt x="628" y="125"/>
                  </a:lnTo>
                  <a:lnTo>
                    <a:pt x="628" y="127"/>
                  </a:lnTo>
                  <a:lnTo>
                    <a:pt x="629" y="127"/>
                  </a:lnTo>
                  <a:lnTo>
                    <a:pt x="629" y="125"/>
                  </a:lnTo>
                  <a:lnTo>
                    <a:pt x="631" y="123"/>
                  </a:lnTo>
                  <a:lnTo>
                    <a:pt x="629" y="123"/>
                  </a:lnTo>
                  <a:lnTo>
                    <a:pt x="629" y="121"/>
                  </a:lnTo>
                  <a:lnTo>
                    <a:pt x="631" y="121"/>
                  </a:lnTo>
                  <a:lnTo>
                    <a:pt x="631" y="123"/>
                  </a:lnTo>
                  <a:lnTo>
                    <a:pt x="631" y="121"/>
                  </a:lnTo>
                  <a:lnTo>
                    <a:pt x="629" y="121"/>
                  </a:lnTo>
                  <a:lnTo>
                    <a:pt x="631" y="121"/>
                  </a:lnTo>
                  <a:lnTo>
                    <a:pt x="631" y="119"/>
                  </a:lnTo>
                  <a:lnTo>
                    <a:pt x="629" y="119"/>
                  </a:lnTo>
                  <a:lnTo>
                    <a:pt x="629" y="121"/>
                  </a:lnTo>
                  <a:lnTo>
                    <a:pt x="628" y="121"/>
                  </a:lnTo>
                  <a:lnTo>
                    <a:pt x="628" y="119"/>
                  </a:lnTo>
                  <a:lnTo>
                    <a:pt x="628" y="117"/>
                  </a:lnTo>
                  <a:lnTo>
                    <a:pt x="628" y="119"/>
                  </a:lnTo>
                  <a:lnTo>
                    <a:pt x="628" y="117"/>
                  </a:lnTo>
                  <a:lnTo>
                    <a:pt x="629" y="117"/>
                  </a:lnTo>
                  <a:lnTo>
                    <a:pt x="629" y="119"/>
                  </a:lnTo>
                  <a:lnTo>
                    <a:pt x="631" y="119"/>
                  </a:lnTo>
                  <a:lnTo>
                    <a:pt x="633" y="123"/>
                  </a:lnTo>
                  <a:lnTo>
                    <a:pt x="635" y="125"/>
                  </a:lnTo>
                  <a:lnTo>
                    <a:pt x="637" y="127"/>
                  </a:lnTo>
                  <a:lnTo>
                    <a:pt x="641" y="129"/>
                  </a:lnTo>
                  <a:lnTo>
                    <a:pt x="641" y="131"/>
                  </a:lnTo>
                  <a:lnTo>
                    <a:pt x="643" y="131"/>
                  </a:lnTo>
                  <a:lnTo>
                    <a:pt x="645" y="133"/>
                  </a:lnTo>
                  <a:lnTo>
                    <a:pt x="647" y="133"/>
                  </a:lnTo>
                  <a:lnTo>
                    <a:pt x="649" y="135"/>
                  </a:lnTo>
                  <a:lnTo>
                    <a:pt x="651" y="135"/>
                  </a:lnTo>
                  <a:lnTo>
                    <a:pt x="653" y="137"/>
                  </a:lnTo>
                  <a:lnTo>
                    <a:pt x="653" y="138"/>
                  </a:lnTo>
                  <a:lnTo>
                    <a:pt x="654" y="140"/>
                  </a:lnTo>
                  <a:lnTo>
                    <a:pt x="654" y="142"/>
                  </a:lnTo>
                  <a:lnTo>
                    <a:pt x="654" y="144"/>
                  </a:lnTo>
                  <a:lnTo>
                    <a:pt x="653" y="146"/>
                  </a:lnTo>
                  <a:lnTo>
                    <a:pt x="651" y="148"/>
                  </a:lnTo>
                  <a:lnTo>
                    <a:pt x="649" y="146"/>
                  </a:lnTo>
                  <a:lnTo>
                    <a:pt x="647" y="146"/>
                  </a:lnTo>
                  <a:lnTo>
                    <a:pt x="645" y="146"/>
                  </a:lnTo>
                  <a:lnTo>
                    <a:pt x="643" y="148"/>
                  </a:lnTo>
                  <a:lnTo>
                    <a:pt x="643" y="150"/>
                  </a:lnTo>
                  <a:lnTo>
                    <a:pt x="643" y="152"/>
                  </a:lnTo>
                  <a:lnTo>
                    <a:pt x="643" y="154"/>
                  </a:lnTo>
                  <a:lnTo>
                    <a:pt x="643" y="158"/>
                  </a:lnTo>
                  <a:lnTo>
                    <a:pt x="643" y="160"/>
                  </a:lnTo>
                  <a:lnTo>
                    <a:pt x="645" y="160"/>
                  </a:lnTo>
                  <a:lnTo>
                    <a:pt x="645" y="158"/>
                  </a:lnTo>
                  <a:lnTo>
                    <a:pt x="645" y="156"/>
                  </a:lnTo>
                  <a:lnTo>
                    <a:pt x="645" y="154"/>
                  </a:lnTo>
                  <a:lnTo>
                    <a:pt x="643" y="154"/>
                  </a:lnTo>
                  <a:lnTo>
                    <a:pt x="645" y="154"/>
                  </a:lnTo>
                  <a:lnTo>
                    <a:pt x="645" y="152"/>
                  </a:lnTo>
                  <a:lnTo>
                    <a:pt x="647" y="152"/>
                  </a:lnTo>
                  <a:lnTo>
                    <a:pt x="649" y="152"/>
                  </a:lnTo>
                  <a:lnTo>
                    <a:pt x="649" y="150"/>
                  </a:lnTo>
                  <a:lnTo>
                    <a:pt x="649" y="152"/>
                  </a:lnTo>
                  <a:lnTo>
                    <a:pt x="649" y="154"/>
                  </a:lnTo>
                  <a:lnTo>
                    <a:pt x="647" y="156"/>
                  </a:lnTo>
                  <a:lnTo>
                    <a:pt x="647" y="158"/>
                  </a:lnTo>
                  <a:lnTo>
                    <a:pt x="647" y="160"/>
                  </a:lnTo>
                  <a:lnTo>
                    <a:pt x="647" y="161"/>
                  </a:lnTo>
                  <a:lnTo>
                    <a:pt x="647" y="163"/>
                  </a:lnTo>
                  <a:lnTo>
                    <a:pt x="645" y="163"/>
                  </a:lnTo>
                  <a:lnTo>
                    <a:pt x="643" y="163"/>
                  </a:lnTo>
                  <a:lnTo>
                    <a:pt x="641" y="163"/>
                  </a:lnTo>
                  <a:lnTo>
                    <a:pt x="641" y="165"/>
                  </a:lnTo>
                  <a:lnTo>
                    <a:pt x="639" y="165"/>
                  </a:lnTo>
                  <a:lnTo>
                    <a:pt x="637" y="165"/>
                  </a:lnTo>
                  <a:lnTo>
                    <a:pt x="637" y="167"/>
                  </a:lnTo>
                  <a:lnTo>
                    <a:pt x="635" y="167"/>
                  </a:lnTo>
                  <a:lnTo>
                    <a:pt x="633" y="167"/>
                  </a:lnTo>
                  <a:lnTo>
                    <a:pt x="631" y="169"/>
                  </a:lnTo>
                  <a:lnTo>
                    <a:pt x="629" y="169"/>
                  </a:lnTo>
                  <a:lnTo>
                    <a:pt x="628" y="169"/>
                  </a:lnTo>
                  <a:lnTo>
                    <a:pt x="628" y="171"/>
                  </a:lnTo>
                  <a:lnTo>
                    <a:pt x="626" y="171"/>
                  </a:lnTo>
                  <a:lnTo>
                    <a:pt x="624" y="173"/>
                  </a:lnTo>
                  <a:lnTo>
                    <a:pt x="624" y="175"/>
                  </a:lnTo>
                  <a:lnTo>
                    <a:pt x="624" y="177"/>
                  </a:lnTo>
                  <a:lnTo>
                    <a:pt x="626" y="177"/>
                  </a:lnTo>
                  <a:lnTo>
                    <a:pt x="624" y="179"/>
                  </a:lnTo>
                  <a:lnTo>
                    <a:pt x="624" y="181"/>
                  </a:lnTo>
                  <a:lnTo>
                    <a:pt x="622" y="183"/>
                  </a:lnTo>
                  <a:lnTo>
                    <a:pt x="620" y="183"/>
                  </a:lnTo>
                  <a:lnTo>
                    <a:pt x="620" y="185"/>
                  </a:lnTo>
                  <a:lnTo>
                    <a:pt x="618" y="185"/>
                  </a:lnTo>
                  <a:lnTo>
                    <a:pt x="618" y="186"/>
                  </a:lnTo>
                  <a:lnTo>
                    <a:pt x="616" y="186"/>
                  </a:lnTo>
                  <a:lnTo>
                    <a:pt x="614" y="186"/>
                  </a:lnTo>
                  <a:lnTo>
                    <a:pt x="614" y="188"/>
                  </a:lnTo>
                  <a:lnTo>
                    <a:pt x="612" y="188"/>
                  </a:lnTo>
                  <a:lnTo>
                    <a:pt x="612" y="190"/>
                  </a:lnTo>
                  <a:lnTo>
                    <a:pt x="612" y="192"/>
                  </a:lnTo>
                  <a:lnTo>
                    <a:pt x="610" y="194"/>
                  </a:lnTo>
                  <a:lnTo>
                    <a:pt x="608" y="196"/>
                  </a:lnTo>
                  <a:lnTo>
                    <a:pt x="608" y="194"/>
                  </a:lnTo>
                  <a:lnTo>
                    <a:pt x="610" y="194"/>
                  </a:lnTo>
                  <a:lnTo>
                    <a:pt x="610" y="192"/>
                  </a:lnTo>
                  <a:lnTo>
                    <a:pt x="608" y="192"/>
                  </a:lnTo>
                  <a:lnTo>
                    <a:pt x="608" y="194"/>
                  </a:lnTo>
                  <a:lnTo>
                    <a:pt x="608" y="196"/>
                  </a:lnTo>
                  <a:lnTo>
                    <a:pt x="606" y="196"/>
                  </a:lnTo>
                  <a:lnTo>
                    <a:pt x="605" y="196"/>
                  </a:lnTo>
                  <a:lnTo>
                    <a:pt x="605" y="194"/>
                  </a:lnTo>
                  <a:lnTo>
                    <a:pt x="603" y="194"/>
                  </a:lnTo>
                  <a:lnTo>
                    <a:pt x="603" y="196"/>
                  </a:lnTo>
                  <a:lnTo>
                    <a:pt x="605" y="196"/>
                  </a:lnTo>
                  <a:lnTo>
                    <a:pt x="605" y="198"/>
                  </a:lnTo>
                  <a:lnTo>
                    <a:pt x="603" y="198"/>
                  </a:lnTo>
                  <a:lnTo>
                    <a:pt x="601" y="196"/>
                  </a:lnTo>
                  <a:lnTo>
                    <a:pt x="599" y="196"/>
                  </a:lnTo>
                  <a:lnTo>
                    <a:pt x="597" y="196"/>
                  </a:lnTo>
                  <a:lnTo>
                    <a:pt x="597" y="194"/>
                  </a:lnTo>
                  <a:lnTo>
                    <a:pt x="595" y="194"/>
                  </a:lnTo>
                  <a:lnTo>
                    <a:pt x="595" y="196"/>
                  </a:lnTo>
                  <a:lnTo>
                    <a:pt x="597" y="196"/>
                  </a:lnTo>
                  <a:lnTo>
                    <a:pt x="599" y="196"/>
                  </a:lnTo>
                  <a:lnTo>
                    <a:pt x="599" y="198"/>
                  </a:lnTo>
                  <a:lnTo>
                    <a:pt x="597" y="198"/>
                  </a:lnTo>
                  <a:lnTo>
                    <a:pt x="599" y="198"/>
                  </a:lnTo>
                  <a:lnTo>
                    <a:pt x="601" y="198"/>
                  </a:lnTo>
                  <a:lnTo>
                    <a:pt x="601" y="200"/>
                  </a:lnTo>
                  <a:lnTo>
                    <a:pt x="599" y="200"/>
                  </a:lnTo>
                  <a:lnTo>
                    <a:pt x="601" y="200"/>
                  </a:lnTo>
                  <a:lnTo>
                    <a:pt x="599" y="200"/>
                  </a:lnTo>
                  <a:lnTo>
                    <a:pt x="601" y="200"/>
                  </a:lnTo>
                  <a:lnTo>
                    <a:pt x="601" y="202"/>
                  </a:lnTo>
                  <a:lnTo>
                    <a:pt x="599" y="202"/>
                  </a:lnTo>
                  <a:lnTo>
                    <a:pt x="599" y="204"/>
                  </a:lnTo>
                  <a:lnTo>
                    <a:pt x="601" y="204"/>
                  </a:lnTo>
                  <a:lnTo>
                    <a:pt x="603" y="204"/>
                  </a:lnTo>
                  <a:lnTo>
                    <a:pt x="603" y="202"/>
                  </a:lnTo>
                  <a:lnTo>
                    <a:pt x="605" y="202"/>
                  </a:lnTo>
                  <a:lnTo>
                    <a:pt x="606" y="202"/>
                  </a:lnTo>
                  <a:lnTo>
                    <a:pt x="608" y="202"/>
                  </a:lnTo>
                  <a:lnTo>
                    <a:pt x="608" y="204"/>
                  </a:lnTo>
                  <a:lnTo>
                    <a:pt x="606" y="204"/>
                  </a:lnTo>
                  <a:lnTo>
                    <a:pt x="605" y="204"/>
                  </a:lnTo>
                  <a:lnTo>
                    <a:pt x="606" y="204"/>
                  </a:lnTo>
                  <a:lnTo>
                    <a:pt x="608" y="204"/>
                  </a:lnTo>
                  <a:lnTo>
                    <a:pt x="610" y="204"/>
                  </a:lnTo>
                  <a:lnTo>
                    <a:pt x="608" y="204"/>
                  </a:lnTo>
                  <a:lnTo>
                    <a:pt x="608" y="202"/>
                  </a:lnTo>
                  <a:lnTo>
                    <a:pt x="610" y="202"/>
                  </a:lnTo>
                  <a:lnTo>
                    <a:pt x="612" y="202"/>
                  </a:lnTo>
                  <a:lnTo>
                    <a:pt x="614" y="202"/>
                  </a:lnTo>
                  <a:lnTo>
                    <a:pt x="616" y="202"/>
                  </a:lnTo>
                  <a:lnTo>
                    <a:pt x="618" y="202"/>
                  </a:lnTo>
                  <a:lnTo>
                    <a:pt x="620" y="200"/>
                  </a:lnTo>
                  <a:lnTo>
                    <a:pt x="622" y="200"/>
                  </a:lnTo>
                  <a:lnTo>
                    <a:pt x="624" y="198"/>
                  </a:lnTo>
                  <a:lnTo>
                    <a:pt x="626" y="198"/>
                  </a:lnTo>
                  <a:lnTo>
                    <a:pt x="626" y="196"/>
                  </a:lnTo>
                  <a:lnTo>
                    <a:pt x="628" y="196"/>
                  </a:lnTo>
                  <a:lnTo>
                    <a:pt x="628" y="194"/>
                  </a:lnTo>
                  <a:lnTo>
                    <a:pt x="629" y="194"/>
                  </a:lnTo>
                  <a:lnTo>
                    <a:pt x="629" y="192"/>
                  </a:lnTo>
                  <a:lnTo>
                    <a:pt x="631" y="192"/>
                  </a:lnTo>
                  <a:lnTo>
                    <a:pt x="631" y="190"/>
                  </a:lnTo>
                  <a:lnTo>
                    <a:pt x="629" y="190"/>
                  </a:lnTo>
                  <a:lnTo>
                    <a:pt x="629" y="192"/>
                  </a:lnTo>
                  <a:lnTo>
                    <a:pt x="628" y="192"/>
                  </a:lnTo>
                  <a:lnTo>
                    <a:pt x="629" y="192"/>
                  </a:lnTo>
                  <a:lnTo>
                    <a:pt x="629" y="190"/>
                  </a:lnTo>
                  <a:lnTo>
                    <a:pt x="631" y="188"/>
                  </a:lnTo>
                  <a:lnTo>
                    <a:pt x="633" y="188"/>
                  </a:lnTo>
                  <a:lnTo>
                    <a:pt x="635" y="188"/>
                  </a:lnTo>
                  <a:lnTo>
                    <a:pt x="635" y="186"/>
                  </a:lnTo>
                  <a:lnTo>
                    <a:pt x="639" y="185"/>
                  </a:lnTo>
                  <a:lnTo>
                    <a:pt x="639" y="183"/>
                  </a:lnTo>
                  <a:lnTo>
                    <a:pt x="639" y="181"/>
                  </a:lnTo>
                  <a:lnTo>
                    <a:pt x="641" y="181"/>
                  </a:lnTo>
                  <a:lnTo>
                    <a:pt x="643" y="181"/>
                  </a:lnTo>
                  <a:lnTo>
                    <a:pt x="643" y="179"/>
                  </a:lnTo>
                  <a:lnTo>
                    <a:pt x="645" y="179"/>
                  </a:lnTo>
                  <a:lnTo>
                    <a:pt x="647" y="177"/>
                  </a:lnTo>
                  <a:lnTo>
                    <a:pt x="647" y="175"/>
                  </a:lnTo>
                  <a:lnTo>
                    <a:pt x="649" y="175"/>
                  </a:lnTo>
                  <a:lnTo>
                    <a:pt x="651" y="175"/>
                  </a:lnTo>
                  <a:lnTo>
                    <a:pt x="651" y="173"/>
                  </a:lnTo>
                  <a:lnTo>
                    <a:pt x="653" y="173"/>
                  </a:lnTo>
                  <a:lnTo>
                    <a:pt x="654" y="171"/>
                  </a:lnTo>
                  <a:lnTo>
                    <a:pt x="656" y="171"/>
                  </a:lnTo>
                  <a:lnTo>
                    <a:pt x="656" y="169"/>
                  </a:lnTo>
                  <a:lnTo>
                    <a:pt x="658" y="169"/>
                  </a:lnTo>
                  <a:lnTo>
                    <a:pt x="660" y="169"/>
                  </a:lnTo>
                  <a:lnTo>
                    <a:pt x="662" y="169"/>
                  </a:lnTo>
                  <a:lnTo>
                    <a:pt x="664" y="167"/>
                  </a:lnTo>
                  <a:lnTo>
                    <a:pt x="666" y="167"/>
                  </a:lnTo>
                  <a:lnTo>
                    <a:pt x="668" y="167"/>
                  </a:lnTo>
                  <a:lnTo>
                    <a:pt x="670" y="167"/>
                  </a:lnTo>
                  <a:lnTo>
                    <a:pt x="672" y="165"/>
                  </a:lnTo>
                  <a:lnTo>
                    <a:pt x="674" y="165"/>
                  </a:lnTo>
                  <a:lnTo>
                    <a:pt x="676" y="165"/>
                  </a:lnTo>
                  <a:lnTo>
                    <a:pt x="677" y="165"/>
                  </a:lnTo>
                  <a:lnTo>
                    <a:pt x="679" y="163"/>
                  </a:lnTo>
                  <a:lnTo>
                    <a:pt x="681" y="163"/>
                  </a:lnTo>
                  <a:lnTo>
                    <a:pt x="681" y="161"/>
                  </a:lnTo>
                  <a:lnTo>
                    <a:pt x="683" y="160"/>
                  </a:lnTo>
                  <a:lnTo>
                    <a:pt x="685" y="160"/>
                  </a:lnTo>
                  <a:lnTo>
                    <a:pt x="687" y="160"/>
                  </a:lnTo>
                  <a:lnTo>
                    <a:pt x="687" y="161"/>
                  </a:lnTo>
                  <a:lnTo>
                    <a:pt x="687" y="163"/>
                  </a:lnTo>
                  <a:lnTo>
                    <a:pt x="687" y="165"/>
                  </a:lnTo>
                  <a:lnTo>
                    <a:pt x="687" y="167"/>
                  </a:lnTo>
                  <a:lnTo>
                    <a:pt x="689" y="167"/>
                  </a:lnTo>
                  <a:lnTo>
                    <a:pt x="689" y="169"/>
                  </a:lnTo>
                  <a:lnTo>
                    <a:pt x="687" y="171"/>
                  </a:lnTo>
                  <a:lnTo>
                    <a:pt x="685" y="173"/>
                  </a:lnTo>
                  <a:lnTo>
                    <a:pt x="683" y="173"/>
                  </a:lnTo>
                  <a:lnTo>
                    <a:pt x="683" y="171"/>
                  </a:lnTo>
                  <a:lnTo>
                    <a:pt x="681" y="169"/>
                  </a:lnTo>
                  <a:lnTo>
                    <a:pt x="681" y="167"/>
                  </a:lnTo>
                  <a:lnTo>
                    <a:pt x="679" y="167"/>
                  </a:lnTo>
                  <a:lnTo>
                    <a:pt x="677" y="167"/>
                  </a:lnTo>
                  <a:lnTo>
                    <a:pt x="676" y="167"/>
                  </a:lnTo>
                  <a:lnTo>
                    <a:pt x="676" y="169"/>
                  </a:lnTo>
                  <a:lnTo>
                    <a:pt x="674" y="169"/>
                  </a:lnTo>
                  <a:lnTo>
                    <a:pt x="674" y="171"/>
                  </a:lnTo>
                  <a:lnTo>
                    <a:pt x="672" y="171"/>
                  </a:lnTo>
                  <a:lnTo>
                    <a:pt x="672" y="169"/>
                  </a:lnTo>
                  <a:lnTo>
                    <a:pt x="672" y="171"/>
                  </a:lnTo>
                  <a:lnTo>
                    <a:pt x="670" y="171"/>
                  </a:lnTo>
                  <a:lnTo>
                    <a:pt x="670" y="173"/>
                  </a:lnTo>
                  <a:lnTo>
                    <a:pt x="668" y="173"/>
                  </a:lnTo>
                  <a:lnTo>
                    <a:pt x="666" y="173"/>
                  </a:lnTo>
                  <a:lnTo>
                    <a:pt x="664" y="173"/>
                  </a:lnTo>
                  <a:lnTo>
                    <a:pt x="662" y="175"/>
                  </a:lnTo>
                  <a:lnTo>
                    <a:pt x="660" y="175"/>
                  </a:lnTo>
                  <a:lnTo>
                    <a:pt x="660" y="177"/>
                  </a:lnTo>
                  <a:lnTo>
                    <a:pt x="660" y="179"/>
                  </a:lnTo>
                  <a:lnTo>
                    <a:pt x="658" y="179"/>
                  </a:lnTo>
                  <a:lnTo>
                    <a:pt x="658" y="181"/>
                  </a:lnTo>
                  <a:lnTo>
                    <a:pt x="658" y="183"/>
                  </a:lnTo>
                  <a:lnTo>
                    <a:pt x="658" y="185"/>
                  </a:lnTo>
                  <a:lnTo>
                    <a:pt x="658" y="186"/>
                  </a:lnTo>
                  <a:lnTo>
                    <a:pt x="658" y="188"/>
                  </a:lnTo>
                  <a:lnTo>
                    <a:pt x="656" y="188"/>
                  </a:lnTo>
                  <a:lnTo>
                    <a:pt x="656" y="190"/>
                  </a:lnTo>
                  <a:lnTo>
                    <a:pt x="656" y="192"/>
                  </a:lnTo>
                  <a:lnTo>
                    <a:pt x="656" y="194"/>
                  </a:lnTo>
                  <a:lnTo>
                    <a:pt x="656" y="196"/>
                  </a:lnTo>
                  <a:lnTo>
                    <a:pt x="654" y="196"/>
                  </a:lnTo>
                  <a:lnTo>
                    <a:pt x="654" y="198"/>
                  </a:lnTo>
                  <a:lnTo>
                    <a:pt x="654" y="200"/>
                  </a:lnTo>
                  <a:lnTo>
                    <a:pt x="656" y="200"/>
                  </a:lnTo>
                  <a:lnTo>
                    <a:pt x="656" y="198"/>
                  </a:lnTo>
                  <a:lnTo>
                    <a:pt x="658" y="198"/>
                  </a:lnTo>
                  <a:lnTo>
                    <a:pt x="660" y="198"/>
                  </a:lnTo>
                  <a:lnTo>
                    <a:pt x="660" y="196"/>
                  </a:lnTo>
                  <a:lnTo>
                    <a:pt x="662" y="196"/>
                  </a:lnTo>
                  <a:lnTo>
                    <a:pt x="664" y="196"/>
                  </a:lnTo>
                  <a:lnTo>
                    <a:pt x="666" y="194"/>
                  </a:lnTo>
                  <a:lnTo>
                    <a:pt x="668" y="194"/>
                  </a:lnTo>
                  <a:lnTo>
                    <a:pt x="670" y="194"/>
                  </a:lnTo>
                  <a:lnTo>
                    <a:pt x="672" y="194"/>
                  </a:lnTo>
                  <a:lnTo>
                    <a:pt x="674" y="194"/>
                  </a:lnTo>
                  <a:lnTo>
                    <a:pt x="674" y="192"/>
                  </a:lnTo>
                  <a:lnTo>
                    <a:pt x="676" y="192"/>
                  </a:lnTo>
                  <a:lnTo>
                    <a:pt x="677" y="192"/>
                  </a:lnTo>
                  <a:lnTo>
                    <a:pt x="679" y="192"/>
                  </a:lnTo>
                  <a:lnTo>
                    <a:pt x="679" y="190"/>
                  </a:lnTo>
                  <a:lnTo>
                    <a:pt x="681" y="190"/>
                  </a:lnTo>
                  <a:lnTo>
                    <a:pt x="681" y="192"/>
                  </a:lnTo>
                  <a:lnTo>
                    <a:pt x="683" y="192"/>
                  </a:lnTo>
                  <a:lnTo>
                    <a:pt x="683" y="194"/>
                  </a:lnTo>
                  <a:lnTo>
                    <a:pt x="683" y="196"/>
                  </a:lnTo>
                  <a:lnTo>
                    <a:pt x="685" y="196"/>
                  </a:lnTo>
                  <a:lnTo>
                    <a:pt x="685" y="198"/>
                  </a:lnTo>
                  <a:lnTo>
                    <a:pt x="685" y="196"/>
                  </a:lnTo>
                  <a:lnTo>
                    <a:pt x="683" y="196"/>
                  </a:lnTo>
                  <a:lnTo>
                    <a:pt x="683" y="194"/>
                  </a:lnTo>
                  <a:lnTo>
                    <a:pt x="681" y="194"/>
                  </a:lnTo>
                  <a:lnTo>
                    <a:pt x="681" y="196"/>
                  </a:lnTo>
                  <a:lnTo>
                    <a:pt x="681" y="194"/>
                  </a:lnTo>
                  <a:lnTo>
                    <a:pt x="679" y="194"/>
                  </a:lnTo>
                  <a:lnTo>
                    <a:pt x="679" y="196"/>
                  </a:lnTo>
                  <a:lnTo>
                    <a:pt x="681" y="196"/>
                  </a:lnTo>
                  <a:lnTo>
                    <a:pt x="681" y="198"/>
                  </a:lnTo>
                  <a:lnTo>
                    <a:pt x="683" y="198"/>
                  </a:lnTo>
                  <a:lnTo>
                    <a:pt x="683" y="200"/>
                  </a:lnTo>
                  <a:lnTo>
                    <a:pt x="681" y="200"/>
                  </a:lnTo>
                  <a:lnTo>
                    <a:pt x="681" y="202"/>
                  </a:lnTo>
                  <a:lnTo>
                    <a:pt x="683" y="202"/>
                  </a:lnTo>
                  <a:lnTo>
                    <a:pt x="683" y="204"/>
                  </a:lnTo>
                  <a:lnTo>
                    <a:pt x="685" y="204"/>
                  </a:lnTo>
                  <a:lnTo>
                    <a:pt x="685" y="202"/>
                  </a:lnTo>
                  <a:lnTo>
                    <a:pt x="683" y="202"/>
                  </a:lnTo>
                  <a:lnTo>
                    <a:pt x="683" y="200"/>
                  </a:lnTo>
                  <a:lnTo>
                    <a:pt x="685" y="200"/>
                  </a:lnTo>
                  <a:lnTo>
                    <a:pt x="687" y="200"/>
                  </a:lnTo>
                  <a:lnTo>
                    <a:pt x="689" y="202"/>
                  </a:lnTo>
                  <a:lnTo>
                    <a:pt x="689" y="204"/>
                  </a:lnTo>
                  <a:lnTo>
                    <a:pt x="691" y="204"/>
                  </a:lnTo>
                  <a:lnTo>
                    <a:pt x="691" y="206"/>
                  </a:lnTo>
                  <a:lnTo>
                    <a:pt x="689" y="206"/>
                  </a:lnTo>
                  <a:lnTo>
                    <a:pt x="689" y="208"/>
                  </a:lnTo>
                  <a:lnTo>
                    <a:pt x="687" y="208"/>
                  </a:lnTo>
                  <a:lnTo>
                    <a:pt x="687" y="209"/>
                  </a:lnTo>
                  <a:lnTo>
                    <a:pt x="685" y="209"/>
                  </a:lnTo>
                  <a:lnTo>
                    <a:pt x="685" y="211"/>
                  </a:lnTo>
                  <a:lnTo>
                    <a:pt x="683" y="213"/>
                  </a:lnTo>
                  <a:lnTo>
                    <a:pt x="681" y="213"/>
                  </a:lnTo>
                  <a:lnTo>
                    <a:pt x="679" y="213"/>
                  </a:lnTo>
                  <a:lnTo>
                    <a:pt x="679" y="215"/>
                  </a:lnTo>
                  <a:lnTo>
                    <a:pt x="679" y="217"/>
                  </a:lnTo>
                  <a:lnTo>
                    <a:pt x="679" y="219"/>
                  </a:lnTo>
                  <a:lnTo>
                    <a:pt x="679" y="221"/>
                  </a:lnTo>
                  <a:lnTo>
                    <a:pt x="677" y="221"/>
                  </a:lnTo>
                  <a:lnTo>
                    <a:pt x="677" y="223"/>
                  </a:lnTo>
                  <a:lnTo>
                    <a:pt x="676" y="223"/>
                  </a:lnTo>
                  <a:lnTo>
                    <a:pt x="677" y="223"/>
                  </a:lnTo>
                  <a:lnTo>
                    <a:pt x="676" y="223"/>
                  </a:lnTo>
                  <a:lnTo>
                    <a:pt x="676" y="221"/>
                  </a:lnTo>
                  <a:lnTo>
                    <a:pt x="674" y="221"/>
                  </a:lnTo>
                  <a:lnTo>
                    <a:pt x="672" y="221"/>
                  </a:lnTo>
                  <a:lnTo>
                    <a:pt x="670" y="221"/>
                  </a:lnTo>
                  <a:lnTo>
                    <a:pt x="668" y="221"/>
                  </a:lnTo>
                  <a:lnTo>
                    <a:pt x="668" y="223"/>
                  </a:lnTo>
                  <a:lnTo>
                    <a:pt x="666" y="223"/>
                  </a:lnTo>
                  <a:lnTo>
                    <a:pt x="666" y="225"/>
                  </a:lnTo>
                  <a:lnTo>
                    <a:pt x="666" y="227"/>
                  </a:lnTo>
                  <a:lnTo>
                    <a:pt x="664" y="227"/>
                  </a:lnTo>
                  <a:lnTo>
                    <a:pt x="664" y="229"/>
                  </a:lnTo>
                  <a:lnTo>
                    <a:pt x="662" y="229"/>
                  </a:lnTo>
                  <a:lnTo>
                    <a:pt x="662" y="227"/>
                  </a:lnTo>
                  <a:lnTo>
                    <a:pt x="662" y="229"/>
                  </a:lnTo>
                  <a:lnTo>
                    <a:pt x="660" y="229"/>
                  </a:lnTo>
                  <a:lnTo>
                    <a:pt x="658" y="231"/>
                  </a:lnTo>
                  <a:lnTo>
                    <a:pt x="656" y="233"/>
                  </a:lnTo>
                  <a:lnTo>
                    <a:pt x="656" y="234"/>
                  </a:lnTo>
                  <a:lnTo>
                    <a:pt x="658" y="234"/>
                  </a:lnTo>
                  <a:lnTo>
                    <a:pt x="660" y="234"/>
                  </a:lnTo>
                  <a:lnTo>
                    <a:pt x="662" y="234"/>
                  </a:lnTo>
                  <a:lnTo>
                    <a:pt x="662" y="236"/>
                  </a:lnTo>
                  <a:lnTo>
                    <a:pt x="662" y="238"/>
                  </a:lnTo>
                  <a:lnTo>
                    <a:pt x="664" y="238"/>
                  </a:lnTo>
                  <a:lnTo>
                    <a:pt x="666" y="238"/>
                  </a:lnTo>
                  <a:lnTo>
                    <a:pt x="668" y="236"/>
                  </a:lnTo>
                  <a:lnTo>
                    <a:pt x="670" y="238"/>
                  </a:lnTo>
                  <a:lnTo>
                    <a:pt x="670" y="236"/>
                  </a:lnTo>
                  <a:lnTo>
                    <a:pt x="670" y="238"/>
                  </a:lnTo>
                  <a:lnTo>
                    <a:pt x="670" y="236"/>
                  </a:lnTo>
                  <a:lnTo>
                    <a:pt x="672" y="236"/>
                  </a:lnTo>
                  <a:lnTo>
                    <a:pt x="674" y="236"/>
                  </a:lnTo>
                  <a:lnTo>
                    <a:pt x="676" y="236"/>
                  </a:lnTo>
                  <a:lnTo>
                    <a:pt x="676" y="234"/>
                  </a:lnTo>
                  <a:lnTo>
                    <a:pt x="677" y="234"/>
                  </a:lnTo>
                  <a:lnTo>
                    <a:pt x="677" y="233"/>
                  </a:lnTo>
                  <a:lnTo>
                    <a:pt x="679" y="233"/>
                  </a:lnTo>
                  <a:lnTo>
                    <a:pt x="681" y="233"/>
                  </a:lnTo>
                  <a:lnTo>
                    <a:pt x="681" y="234"/>
                  </a:lnTo>
                  <a:lnTo>
                    <a:pt x="683" y="234"/>
                  </a:lnTo>
                  <a:lnTo>
                    <a:pt x="683" y="233"/>
                  </a:lnTo>
                  <a:lnTo>
                    <a:pt x="685" y="233"/>
                  </a:lnTo>
                  <a:lnTo>
                    <a:pt x="687" y="233"/>
                  </a:lnTo>
                  <a:lnTo>
                    <a:pt x="689" y="231"/>
                  </a:lnTo>
                  <a:lnTo>
                    <a:pt x="691" y="229"/>
                  </a:lnTo>
                  <a:lnTo>
                    <a:pt x="693" y="229"/>
                  </a:lnTo>
                  <a:lnTo>
                    <a:pt x="695" y="229"/>
                  </a:lnTo>
                  <a:lnTo>
                    <a:pt x="697" y="229"/>
                  </a:lnTo>
                  <a:lnTo>
                    <a:pt x="699" y="229"/>
                  </a:lnTo>
                  <a:lnTo>
                    <a:pt x="701" y="229"/>
                  </a:lnTo>
                  <a:lnTo>
                    <a:pt x="701" y="227"/>
                  </a:lnTo>
                  <a:lnTo>
                    <a:pt x="702" y="227"/>
                  </a:lnTo>
                  <a:lnTo>
                    <a:pt x="704" y="227"/>
                  </a:lnTo>
                  <a:lnTo>
                    <a:pt x="706" y="227"/>
                  </a:lnTo>
                  <a:lnTo>
                    <a:pt x="708" y="227"/>
                  </a:lnTo>
                  <a:lnTo>
                    <a:pt x="710" y="227"/>
                  </a:lnTo>
                  <a:lnTo>
                    <a:pt x="710" y="225"/>
                  </a:lnTo>
                  <a:lnTo>
                    <a:pt x="712" y="225"/>
                  </a:lnTo>
                  <a:lnTo>
                    <a:pt x="714" y="225"/>
                  </a:lnTo>
                  <a:lnTo>
                    <a:pt x="716" y="225"/>
                  </a:lnTo>
                  <a:lnTo>
                    <a:pt x="716" y="223"/>
                  </a:lnTo>
                  <a:lnTo>
                    <a:pt x="718" y="223"/>
                  </a:lnTo>
                  <a:lnTo>
                    <a:pt x="718" y="225"/>
                  </a:lnTo>
                  <a:lnTo>
                    <a:pt x="718" y="227"/>
                  </a:lnTo>
                  <a:lnTo>
                    <a:pt x="716" y="227"/>
                  </a:lnTo>
                  <a:lnTo>
                    <a:pt x="714" y="229"/>
                  </a:lnTo>
                  <a:lnTo>
                    <a:pt x="714" y="231"/>
                  </a:lnTo>
                  <a:lnTo>
                    <a:pt x="712" y="233"/>
                  </a:lnTo>
                  <a:lnTo>
                    <a:pt x="710" y="233"/>
                  </a:lnTo>
                  <a:lnTo>
                    <a:pt x="710" y="234"/>
                  </a:lnTo>
                  <a:lnTo>
                    <a:pt x="708" y="234"/>
                  </a:lnTo>
                  <a:lnTo>
                    <a:pt x="710" y="234"/>
                  </a:lnTo>
                  <a:lnTo>
                    <a:pt x="708" y="234"/>
                  </a:lnTo>
                  <a:lnTo>
                    <a:pt x="706" y="234"/>
                  </a:lnTo>
                  <a:lnTo>
                    <a:pt x="708" y="234"/>
                  </a:lnTo>
                  <a:lnTo>
                    <a:pt x="708" y="236"/>
                  </a:lnTo>
                  <a:lnTo>
                    <a:pt x="710" y="236"/>
                  </a:lnTo>
                  <a:lnTo>
                    <a:pt x="712" y="238"/>
                  </a:lnTo>
                  <a:lnTo>
                    <a:pt x="714" y="238"/>
                  </a:lnTo>
                  <a:lnTo>
                    <a:pt x="716" y="238"/>
                  </a:lnTo>
                  <a:lnTo>
                    <a:pt x="716" y="240"/>
                  </a:lnTo>
                  <a:lnTo>
                    <a:pt x="718" y="242"/>
                  </a:lnTo>
                  <a:lnTo>
                    <a:pt x="720" y="244"/>
                  </a:lnTo>
                  <a:lnTo>
                    <a:pt x="722" y="246"/>
                  </a:lnTo>
                  <a:lnTo>
                    <a:pt x="722" y="248"/>
                  </a:lnTo>
                  <a:lnTo>
                    <a:pt x="722" y="250"/>
                  </a:lnTo>
                  <a:lnTo>
                    <a:pt x="724" y="250"/>
                  </a:lnTo>
                  <a:lnTo>
                    <a:pt x="724" y="252"/>
                  </a:lnTo>
                  <a:lnTo>
                    <a:pt x="725" y="252"/>
                  </a:lnTo>
                  <a:lnTo>
                    <a:pt x="725" y="254"/>
                  </a:lnTo>
                  <a:lnTo>
                    <a:pt x="727" y="254"/>
                  </a:lnTo>
                  <a:lnTo>
                    <a:pt x="729" y="254"/>
                  </a:lnTo>
                  <a:lnTo>
                    <a:pt x="731" y="254"/>
                  </a:lnTo>
                  <a:lnTo>
                    <a:pt x="733" y="254"/>
                  </a:lnTo>
                  <a:lnTo>
                    <a:pt x="735" y="254"/>
                  </a:lnTo>
                  <a:lnTo>
                    <a:pt x="737" y="252"/>
                  </a:lnTo>
                  <a:lnTo>
                    <a:pt x="739" y="252"/>
                  </a:lnTo>
                  <a:lnTo>
                    <a:pt x="741" y="252"/>
                  </a:lnTo>
                  <a:lnTo>
                    <a:pt x="743" y="252"/>
                  </a:lnTo>
                  <a:lnTo>
                    <a:pt x="745" y="252"/>
                  </a:lnTo>
                  <a:lnTo>
                    <a:pt x="747" y="252"/>
                  </a:lnTo>
                  <a:lnTo>
                    <a:pt x="747" y="254"/>
                  </a:lnTo>
                  <a:lnTo>
                    <a:pt x="747" y="256"/>
                  </a:lnTo>
                  <a:lnTo>
                    <a:pt x="747" y="257"/>
                  </a:lnTo>
                  <a:lnTo>
                    <a:pt x="747" y="259"/>
                  </a:lnTo>
                  <a:lnTo>
                    <a:pt x="747" y="261"/>
                  </a:lnTo>
                  <a:lnTo>
                    <a:pt x="749" y="263"/>
                  </a:lnTo>
                  <a:lnTo>
                    <a:pt x="749" y="265"/>
                  </a:lnTo>
                  <a:lnTo>
                    <a:pt x="749" y="267"/>
                  </a:lnTo>
                  <a:lnTo>
                    <a:pt x="750" y="267"/>
                  </a:lnTo>
                  <a:lnTo>
                    <a:pt x="752" y="267"/>
                  </a:lnTo>
                  <a:lnTo>
                    <a:pt x="752" y="269"/>
                  </a:lnTo>
                  <a:lnTo>
                    <a:pt x="754" y="269"/>
                  </a:lnTo>
                  <a:lnTo>
                    <a:pt x="756" y="269"/>
                  </a:lnTo>
                  <a:lnTo>
                    <a:pt x="756" y="271"/>
                  </a:lnTo>
                  <a:lnTo>
                    <a:pt x="758" y="271"/>
                  </a:lnTo>
                  <a:lnTo>
                    <a:pt x="758" y="273"/>
                  </a:lnTo>
                  <a:lnTo>
                    <a:pt x="760" y="273"/>
                  </a:lnTo>
                  <a:lnTo>
                    <a:pt x="760" y="275"/>
                  </a:lnTo>
                  <a:lnTo>
                    <a:pt x="760" y="277"/>
                  </a:lnTo>
                  <a:lnTo>
                    <a:pt x="760" y="279"/>
                  </a:lnTo>
                  <a:lnTo>
                    <a:pt x="762" y="279"/>
                  </a:lnTo>
                  <a:lnTo>
                    <a:pt x="762" y="281"/>
                  </a:lnTo>
                  <a:lnTo>
                    <a:pt x="762" y="282"/>
                  </a:lnTo>
                  <a:lnTo>
                    <a:pt x="764" y="282"/>
                  </a:lnTo>
                  <a:lnTo>
                    <a:pt x="764" y="284"/>
                  </a:lnTo>
                  <a:lnTo>
                    <a:pt x="766" y="284"/>
                  </a:lnTo>
                  <a:lnTo>
                    <a:pt x="766" y="286"/>
                  </a:lnTo>
                  <a:lnTo>
                    <a:pt x="768" y="288"/>
                  </a:lnTo>
                  <a:lnTo>
                    <a:pt x="768" y="290"/>
                  </a:lnTo>
                  <a:lnTo>
                    <a:pt x="768" y="292"/>
                  </a:lnTo>
                  <a:lnTo>
                    <a:pt x="770" y="292"/>
                  </a:lnTo>
                  <a:lnTo>
                    <a:pt x="770" y="294"/>
                  </a:lnTo>
                  <a:lnTo>
                    <a:pt x="772" y="296"/>
                  </a:lnTo>
                  <a:lnTo>
                    <a:pt x="772" y="298"/>
                  </a:lnTo>
                  <a:lnTo>
                    <a:pt x="772" y="300"/>
                  </a:lnTo>
                  <a:lnTo>
                    <a:pt x="772" y="302"/>
                  </a:lnTo>
                  <a:lnTo>
                    <a:pt x="772" y="304"/>
                  </a:lnTo>
                  <a:lnTo>
                    <a:pt x="774" y="305"/>
                  </a:lnTo>
                  <a:lnTo>
                    <a:pt x="775" y="307"/>
                  </a:lnTo>
                  <a:lnTo>
                    <a:pt x="775" y="311"/>
                  </a:lnTo>
                  <a:lnTo>
                    <a:pt x="775" y="313"/>
                  </a:lnTo>
                  <a:lnTo>
                    <a:pt x="775" y="315"/>
                  </a:lnTo>
                  <a:lnTo>
                    <a:pt x="775" y="317"/>
                  </a:lnTo>
                  <a:lnTo>
                    <a:pt x="777" y="317"/>
                  </a:lnTo>
                  <a:lnTo>
                    <a:pt x="777" y="319"/>
                  </a:lnTo>
                  <a:lnTo>
                    <a:pt x="777" y="317"/>
                  </a:lnTo>
                  <a:lnTo>
                    <a:pt x="775" y="317"/>
                  </a:lnTo>
                  <a:lnTo>
                    <a:pt x="775" y="315"/>
                  </a:lnTo>
                  <a:lnTo>
                    <a:pt x="775" y="313"/>
                  </a:lnTo>
                  <a:lnTo>
                    <a:pt x="775" y="311"/>
                  </a:lnTo>
                  <a:lnTo>
                    <a:pt x="775" y="309"/>
                  </a:lnTo>
                  <a:lnTo>
                    <a:pt x="775" y="307"/>
                  </a:lnTo>
                  <a:lnTo>
                    <a:pt x="774" y="307"/>
                  </a:lnTo>
                  <a:lnTo>
                    <a:pt x="774" y="305"/>
                  </a:lnTo>
                  <a:lnTo>
                    <a:pt x="772" y="305"/>
                  </a:lnTo>
                  <a:lnTo>
                    <a:pt x="772" y="304"/>
                  </a:lnTo>
                  <a:lnTo>
                    <a:pt x="772" y="302"/>
                  </a:lnTo>
                  <a:lnTo>
                    <a:pt x="772" y="300"/>
                  </a:lnTo>
                  <a:lnTo>
                    <a:pt x="772" y="298"/>
                  </a:lnTo>
                  <a:lnTo>
                    <a:pt x="772" y="296"/>
                  </a:lnTo>
                  <a:lnTo>
                    <a:pt x="770" y="296"/>
                  </a:lnTo>
                  <a:lnTo>
                    <a:pt x="770" y="294"/>
                  </a:lnTo>
                  <a:lnTo>
                    <a:pt x="770" y="292"/>
                  </a:lnTo>
                  <a:lnTo>
                    <a:pt x="768" y="292"/>
                  </a:lnTo>
                  <a:lnTo>
                    <a:pt x="768" y="290"/>
                  </a:lnTo>
                  <a:lnTo>
                    <a:pt x="768" y="288"/>
                  </a:lnTo>
                  <a:lnTo>
                    <a:pt x="766" y="286"/>
                  </a:lnTo>
                  <a:lnTo>
                    <a:pt x="766" y="284"/>
                  </a:lnTo>
                  <a:lnTo>
                    <a:pt x="764" y="284"/>
                  </a:lnTo>
                  <a:lnTo>
                    <a:pt x="764" y="282"/>
                  </a:lnTo>
                  <a:lnTo>
                    <a:pt x="762" y="282"/>
                  </a:lnTo>
                  <a:lnTo>
                    <a:pt x="762" y="281"/>
                  </a:lnTo>
                  <a:lnTo>
                    <a:pt x="762" y="282"/>
                  </a:lnTo>
                  <a:lnTo>
                    <a:pt x="762" y="284"/>
                  </a:lnTo>
                  <a:lnTo>
                    <a:pt x="762" y="282"/>
                  </a:lnTo>
                  <a:lnTo>
                    <a:pt x="760" y="282"/>
                  </a:lnTo>
                  <a:lnTo>
                    <a:pt x="760" y="284"/>
                  </a:lnTo>
                  <a:lnTo>
                    <a:pt x="758" y="284"/>
                  </a:lnTo>
                  <a:lnTo>
                    <a:pt x="760" y="284"/>
                  </a:lnTo>
                  <a:lnTo>
                    <a:pt x="762" y="284"/>
                  </a:lnTo>
                  <a:lnTo>
                    <a:pt x="762" y="286"/>
                  </a:lnTo>
                  <a:lnTo>
                    <a:pt x="760" y="286"/>
                  </a:lnTo>
                  <a:lnTo>
                    <a:pt x="762" y="286"/>
                  </a:lnTo>
                  <a:lnTo>
                    <a:pt x="760" y="286"/>
                  </a:lnTo>
                  <a:lnTo>
                    <a:pt x="760" y="288"/>
                  </a:lnTo>
                  <a:lnTo>
                    <a:pt x="760" y="290"/>
                  </a:lnTo>
                  <a:lnTo>
                    <a:pt x="758" y="290"/>
                  </a:lnTo>
                  <a:lnTo>
                    <a:pt x="758" y="292"/>
                  </a:lnTo>
                  <a:lnTo>
                    <a:pt x="758" y="290"/>
                  </a:lnTo>
                  <a:lnTo>
                    <a:pt x="758" y="292"/>
                  </a:lnTo>
                  <a:lnTo>
                    <a:pt x="756" y="292"/>
                  </a:lnTo>
                  <a:lnTo>
                    <a:pt x="758" y="292"/>
                  </a:lnTo>
                  <a:lnTo>
                    <a:pt x="758" y="294"/>
                  </a:lnTo>
                  <a:lnTo>
                    <a:pt x="756" y="294"/>
                  </a:lnTo>
                  <a:lnTo>
                    <a:pt x="756" y="296"/>
                  </a:lnTo>
                  <a:lnTo>
                    <a:pt x="758" y="296"/>
                  </a:lnTo>
                  <a:lnTo>
                    <a:pt x="760" y="296"/>
                  </a:lnTo>
                  <a:lnTo>
                    <a:pt x="760" y="294"/>
                  </a:lnTo>
                  <a:lnTo>
                    <a:pt x="762" y="294"/>
                  </a:lnTo>
                  <a:lnTo>
                    <a:pt x="762" y="296"/>
                  </a:lnTo>
                  <a:lnTo>
                    <a:pt x="764" y="296"/>
                  </a:lnTo>
                  <a:lnTo>
                    <a:pt x="764" y="298"/>
                  </a:lnTo>
                  <a:lnTo>
                    <a:pt x="764" y="296"/>
                  </a:lnTo>
                  <a:lnTo>
                    <a:pt x="766" y="296"/>
                  </a:lnTo>
                  <a:lnTo>
                    <a:pt x="766" y="298"/>
                  </a:lnTo>
                  <a:lnTo>
                    <a:pt x="768" y="298"/>
                  </a:lnTo>
                  <a:lnTo>
                    <a:pt x="768" y="300"/>
                  </a:lnTo>
                  <a:lnTo>
                    <a:pt x="766" y="300"/>
                  </a:lnTo>
                  <a:lnTo>
                    <a:pt x="768" y="300"/>
                  </a:lnTo>
                  <a:lnTo>
                    <a:pt x="766" y="300"/>
                  </a:lnTo>
                  <a:lnTo>
                    <a:pt x="766" y="302"/>
                  </a:lnTo>
                  <a:lnTo>
                    <a:pt x="764" y="302"/>
                  </a:lnTo>
                  <a:lnTo>
                    <a:pt x="766" y="302"/>
                  </a:lnTo>
                  <a:lnTo>
                    <a:pt x="766" y="304"/>
                  </a:lnTo>
                  <a:lnTo>
                    <a:pt x="768" y="304"/>
                  </a:lnTo>
                  <a:lnTo>
                    <a:pt x="770" y="304"/>
                  </a:lnTo>
                  <a:lnTo>
                    <a:pt x="768" y="304"/>
                  </a:lnTo>
                  <a:lnTo>
                    <a:pt x="770" y="304"/>
                  </a:lnTo>
                  <a:lnTo>
                    <a:pt x="770" y="305"/>
                  </a:lnTo>
                  <a:lnTo>
                    <a:pt x="768" y="305"/>
                  </a:lnTo>
                  <a:lnTo>
                    <a:pt x="770" y="305"/>
                  </a:lnTo>
                  <a:lnTo>
                    <a:pt x="770" y="307"/>
                  </a:lnTo>
                  <a:lnTo>
                    <a:pt x="772" y="307"/>
                  </a:lnTo>
                  <a:lnTo>
                    <a:pt x="772" y="309"/>
                  </a:lnTo>
                  <a:lnTo>
                    <a:pt x="772" y="307"/>
                  </a:lnTo>
                  <a:lnTo>
                    <a:pt x="772" y="309"/>
                  </a:lnTo>
                  <a:lnTo>
                    <a:pt x="770" y="309"/>
                  </a:lnTo>
                  <a:lnTo>
                    <a:pt x="772" y="309"/>
                  </a:lnTo>
                  <a:lnTo>
                    <a:pt x="770" y="309"/>
                  </a:lnTo>
                  <a:lnTo>
                    <a:pt x="772" y="309"/>
                  </a:lnTo>
                  <a:lnTo>
                    <a:pt x="770" y="309"/>
                  </a:lnTo>
                  <a:lnTo>
                    <a:pt x="770" y="311"/>
                  </a:lnTo>
                  <a:lnTo>
                    <a:pt x="772" y="311"/>
                  </a:lnTo>
                  <a:lnTo>
                    <a:pt x="772" y="313"/>
                  </a:lnTo>
                  <a:lnTo>
                    <a:pt x="772" y="315"/>
                  </a:lnTo>
                  <a:lnTo>
                    <a:pt x="772" y="313"/>
                  </a:lnTo>
                  <a:lnTo>
                    <a:pt x="770" y="313"/>
                  </a:lnTo>
                  <a:lnTo>
                    <a:pt x="770" y="315"/>
                  </a:lnTo>
                  <a:lnTo>
                    <a:pt x="772" y="315"/>
                  </a:lnTo>
                  <a:lnTo>
                    <a:pt x="772" y="317"/>
                  </a:lnTo>
                  <a:lnTo>
                    <a:pt x="774" y="317"/>
                  </a:lnTo>
                  <a:lnTo>
                    <a:pt x="772" y="317"/>
                  </a:lnTo>
                  <a:lnTo>
                    <a:pt x="774" y="317"/>
                  </a:lnTo>
                  <a:lnTo>
                    <a:pt x="775" y="317"/>
                  </a:lnTo>
                  <a:lnTo>
                    <a:pt x="774" y="317"/>
                  </a:lnTo>
                  <a:lnTo>
                    <a:pt x="774" y="319"/>
                  </a:lnTo>
                  <a:lnTo>
                    <a:pt x="775" y="319"/>
                  </a:lnTo>
                  <a:lnTo>
                    <a:pt x="775" y="321"/>
                  </a:lnTo>
                  <a:lnTo>
                    <a:pt x="775" y="323"/>
                  </a:lnTo>
                  <a:lnTo>
                    <a:pt x="777" y="323"/>
                  </a:lnTo>
                  <a:lnTo>
                    <a:pt x="777" y="325"/>
                  </a:lnTo>
                  <a:lnTo>
                    <a:pt x="775" y="325"/>
                  </a:lnTo>
                  <a:lnTo>
                    <a:pt x="775" y="327"/>
                  </a:lnTo>
                  <a:lnTo>
                    <a:pt x="775" y="329"/>
                  </a:lnTo>
                  <a:lnTo>
                    <a:pt x="777" y="329"/>
                  </a:lnTo>
                  <a:lnTo>
                    <a:pt x="775" y="329"/>
                  </a:lnTo>
                  <a:lnTo>
                    <a:pt x="777" y="329"/>
                  </a:lnTo>
                  <a:lnTo>
                    <a:pt x="777" y="330"/>
                  </a:lnTo>
                  <a:lnTo>
                    <a:pt x="777" y="332"/>
                  </a:lnTo>
                  <a:lnTo>
                    <a:pt x="775" y="332"/>
                  </a:lnTo>
                  <a:lnTo>
                    <a:pt x="777" y="332"/>
                  </a:lnTo>
                  <a:lnTo>
                    <a:pt x="777" y="334"/>
                  </a:lnTo>
                  <a:lnTo>
                    <a:pt x="777" y="336"/>
                  </a:lnTo>
                  <a:lnTo>
                    <a:pt x="777" y="334"/>
                  </a:lnTo>
                  <a:lnTo>
                    <a:pt x="779" y="334"/>
                  </a:lnTo>
                  <a:lnTo>
                    <a:pt x="779" y="336"/>
                  </a:lnTo>
                  <a:lnTo>
                    <a:pt x="777" y="336"/>
                  </a:lnTo>
                  <a:lnTo>
                    <a:pt x="779" y="336"/>
                  </a:lnTo>
                  <a:lnTo>
                    <a:pt x="779" y="334"/>
                  </a:lnTo>
                  <a:lnTo>
                    <a:pt x="779" y="336"/>
                  </a:lnTo>
                  <a:lnTo>
                    <a:pt x="779" y="338"/>
                  </a:lnTo>
                  <a:lnTo>
                    <a:pt x="779" y="340"/>
                  </a:lnTo>
                  <a:lnTo>
                    <a:pt x="777" y="340"/>
                  </a:lnTo>
                  <a:lnTo>
                    <a:pt x="775" y="342"/>
                  </a:lnTo>
                  <a:lnTo>
                    <a:pt x="775" y="344"/>
                  </a:lnTo>
                  <a:lnTo>
                    <a:pt x="774" y="344"/>
                  </a:lnTo>
                  <a:lnTo>
                    <a:pt x="774" y="346"/>
                  </a:lnTo>
                  <a:lnTo>
                    <a:pt x="772" y="346"/>
                  </a:lnTo>
                  <a:lnTo>
                    <a:pt x="770" y="348"/>
                  </a:lnTo>
                  <a:lnTo>
                    <a:pt x="768" y="348"/>
                  </a:lnTo>
                  <a:lnTo>
                    <a:pt x="766" y="348"/>
                  </a:lnTo>
                  <a:lnTo>
                    <a:pt x="764" y="348"/>
                  </a:lnTo>
                  <a:lnTo>
                    <a:pt x="762" y="350"/>
                  </a:lnTo>
                  <a:lnTo>
                    <a:pt x="760" y="350"/>
                  </a:lnTo>
                  <a:lnTo>
                    <a:pt x="758" y="352"/>
                  </a:lnTo>
                  <a:lnTo>
                    <a:pt x="756" y="353"/>
                  </a:lnTo>
                  <a:lnTo>
                    <a:pt x="754" y="353"/>
                  </a:lnTo>
                  <a:lnTo>
                    <a:pt x="754" y="355"/>
                  </a:lnTo>
                  <a:lnTo>
                    <a:pt x="752" y="355"/>
                  </a:lnTo>
                  <a:lnTo>
                    <a:pt x="752" y="357"/>
                  </a:lnTo>
                  <a:lnTo>
                    <a:pt x="750" y="357"/>
                  </a:lnTo>
                  <a:lnTo>
                    <a:pt x="749" y="357"/>
                  </a:lnTo>
                  <a:lnTo>
                    <a:pt x="749" y="359"/>
                  </a:lnTo>
                  <a:lnTo>
                    <a:pt x="749" y="361"/>
                  </a:lnTo>
                  <a:lnTo>
                    <a:pt x="749" y="363"/>
                  </a:lnTo>
                  <a:lnTo>
                    <a:pt x="749" y="365"/>
                  </a:lnTo>
                  <a:lnTo>
                    <a:pt x="749" y="367"/>
                  </a:lnTo>
                  <a:lnTo>
                    <a:pt x="749" y="365"/>
                  </a:lnTo>
                  <a:lnTo>
                    <a:pt x="749" y="367"/>
                  </a:lnTo>
                  <a:lnTo>
                    <a:pt x="749" y="369"/>
                  </a:lnTo>
                  <a:lnTo>
                    <a:pt x="747" y="371"/>
                  </a:lnTo>
                  <a:lnTo>
                    <a:pt x="747" y="373"/>
                  </a:lnTo>
                  <a:lnTo>
                    <a:pt x="747" y="375"/>
                  </a:lnTo>
                  <a:lnTo>
                    <a:pt x="745" y="375"/>
                  </a:lnTo>
                  <a:lnTo>
                    <a:pt x="745" y="373"/>
                  </a:lnTo>
                  <a:lnTo>
                    <a:pt x="743" y="373"/>
                  </a:lnTo>
                  <a:lnTo>
                    <a:pt x="741" y="373"/>
                  </a:lnTo>
                  <a:lnTo>
                    <a:pt x="739" y="373"/>
                  </a:lnTo>
                  <a:lnTo>
                    <a:pt x="741" y="373"/>
                  </a:lnTo>
                  <a:lnTo>
                    <a:pt x="741" y="375"/>
                  </a:lnTo>
                  <a:lnTo>
                    <a:pt x="739" y="375"/>
                  </a:lnTo>
                  <a:lnTo>
                    <a:pt x="739" y="377"/>
                  </a:lnTo>
                  <a:lnTo>
                    <a:pt x="737" y="377"/>
                  </a:lnTo>
                  <a:lnTo>
                    <a:pt x="735" y="378"/>
                  </a:lnTo>
                  <a:lnTo>
                    <a:pt x="733" y="378"/>
                  </a:lnTo>
                  <a:lnTo>
                    <a:pt x="731" y="378"/>
                  </a:lnTo>
                  <a:lnTo>
                    <a:pt x="731" y="380"/>
                  </a:lnTo>
                  <a:lnTo>
                    <a:pt x="733" y="382"/>
                  </a:lnTo>
                  <a:lnTo>
                    <a:pt x="735" y="382"/>
                  </a:lnTo>
                  <a:lnTo>
                    <a:pt x="735" y="384"/>
                  </a:lnTo>
                  <a:lnTo>
                    <a:pt x="735" y="386"/>
                  </a:lnTo>
                  <a:lnTo>
                    <a:pt x="737" y="386"/>
                  </a:lnTo>
                  <a:lnTo>
                    <a:pt x="735" y="386"/>
                  </a:lnTo>
                  <a:lnTo>
                    <a:pt x="737" y="388"/>
                  </a:lnTo>
                  <a:lnTo>
                    <a:pt x="739" y="388"/>
                  </a:lnTo>
                  <a:lnTo>
                    <a:pt x="739" y="390"/>
                  </a:lnTo>
                  <a:lnTo>
                    <a:pt x="741" y="390"/>
                  </a:lnTo>
                  <a:lnTo>
                    <a:pt x="743" y="388"/>
                  </a:lnTo>
                  <a:lnTo>
                    <a:pt x="743" y="390"/>
                  </a:lnTo>
                  <a:lnTo>
                    <a:pt x="745" y="390"/>
                  </a:lnTo>
                  <a:lnTo>
                    <a:pt x="747" y="390"/>
                  </a:lnTo>
                  <a:lnTo>
                    <a:pt x="749" y="390"/>
                  </a:lnTo>
                  <a:lnTo>
                    <a:pt x="749" y="388"/>
                  </a:lnTo>
                  <a:lnTo>
                    <a:pt x="750" y="388"/>
                  </a:lnTo>
                  <a:lnTo>
                    <a:pt x="752" y="388"/>
                  </a:lnTo>
                  <a:lnTo>
                    <a:pt x="752" y="390"/>
                  </a:lnTo>
                  <a:lnTo>
                    <a:pt x="754" y="390"/>
                  </a:lnTo>
                  <a:lnTo>
                    <a:pt x="756" y="390"/>
                  </a:lnTo>
                  <a:lnTo>
                    <a:pt x="758" y="390"/>
                  </a:lnTo>
                  <a:lnTo>
                    <a:pt x="760" y="390"/>
                  </a:lnTo>
                  <a:lnTo>
                    <a:pt x="760" y="388"/>
                  </a:lnTo>
                  <a:lnTo>
                    <a:pt x="762" y="388"/>
                  </a:lnTo>
                  <a:lnTo>
                    <a:pt x="764" y="388"/>
                  </a:lnTo>
                  <a:lnTo>
                    <a:pt x="764" y="386"/>
                  </a:lnTo>
                  <a:lnTo>
                    <a:pt x="766" y="384"/>
                  </a:lnTo>
                  <a:lnTo>
                    <a:pt x="764" y="382"/>
                  </a:lnTo>
                  <a:lnTo>
                    <a:pt x="764" y="380"/>
                  </a:lnTo>
                  <a:lnTo>
                    <a:pt x="764" y="378"/>
                  </a:lnTo>
                  <a:lnTo>
                    <a:pt x="762" y="378"/>
                  </a:lnTo>
                  <a:lnTo>
                    <a:pt x="762" y="377"/>
                  </a:lnTo>
                  <a:lnTo>
                    <a:pt x="762" y="375"/>
                  </a:lnTo>
                  <a:lnTo>
                    <a:pt x="760" y="375"/>
                  </a:lnTo>
                  <a:lnTo>
                    <a:pt x="760" y="373"/>
                  </a:lnTo>
                  <a:lnTo>
                    <a:pt x="760" y="371"/>
                  </a:lnTo>
                  <a:lnTo>
                    <a:pt x="760" y="369"/>
                  </a:lnTo>
                  <a:lnTo>
                    <a:pt x="758" y="369"/>
                  </a:lnTo>
                  <a:lnTo>
                    <a:pt x="758" y="367"/>
                  </a:lnTo>
                  <a:lnTo>
                    <a:pt x="760" y="369"/>
                  </a:lnTo>
                  <a:lnTo>
                    <a:pt x="760" y="371"/>
                  </a:lnTo>
                  <a:lnTo>
                    <a:pt x="760" y="373"/>
                  </a:lnTo>
                  <a:lnTo>
                    <a:pt x="762" y="375"/>
                  </a:lnTo>
                  <a:lnTo>
                    <a:pt x="762" y="377"/>
                  </a:lnTo>
                  <a:lnTo>
                    <a:pt x="762" y="378"/>
                  </a:lnTo>
                  <a:lnTo>
                    <a:pt x="764" y="378"/>
                  </a:lnTo>
                  <a:lnTo>
                    <a:pt x="764" y="380"/>
                  </a:lnTo>
                  <a:lnTo>
                    <a:pt x="766" y="382"/>
                  </a:lnTo>
                  <a:lnTo>
                    <a:pt x="766" y="384"/>
                  </a:lnTo>
                  <a:lnTo>
                    <a:pt x="768" y="386"/>
                  </a:lnTo>
                  <a:lnTo>
                    <a:pt x="768" y="388"/>
                  </a:lnTo>
                  <a:lnTo>
                    <a:pt x="770" y="388"/>
                  </a:lnTo>
                  <a:lnTo>
                    <a:pt x="770" y="390"/>
                  </a:lnTo>
                  <a:lnTo>
                    <a:pt x="772" y="390"/>
                  </a:lnTo>
                  <a:lnTo>
                    <a:pt x="772" y="392"/>
                  </a:lnTo>
                  <a:lnTo>
                    <a:pt x="774" y="392"/>
                  </a:lnTo>
                  <a:lnTo>
                    <a:pt x="774" y="394"/>
                  </a:lnTo>
                  <a:lnTo>
                    <a:pt x="775" y="394"/>
                  </a:lnTo>
                  <a:lnTo>
                    <a:pt x="775" y="396"/>
                  </a:lnTo>
                  <a:lnTo>
                    <a:pt x="777" y="396"/>
                  </a:lnTo>
                  <a:lnTo>
                    <a:pt x="777" y="398"/>
                  </a:lnTo>
                  <a:lnTo>
                    <a:pt x="779" y="398"/>
                  </a:lnTo>
                  <a:lnTo>
                    <a:pt x="779" y="400"/>
                  </a:lnTo>
                  <a:lnTo>
                    <a:pt x="781" y="400"/>
                  </a:lnTo>
                  <a:lnTo>
                    <a:pt x="783" y="401"/>
                  </a:lnTo>
                  <a:lnTo>
                    <a:pt x="785" y="401"/>
                  </a:lnTo>
                  <a:lnTo>
                    <a:pt x="787" y="401"/>
                  </a:lnTo>
                  <a:lnTo>
                    <a:pt x="789" y="401"/>
                  </a:lnTo>
                  <a:lnTo>
                    <a:pt x="791" y="400"/>
                  </a:lnTo>
                  <a:lnTo>
                    <a:pt x="791" y="401"/>
                  </a:lnTo>
                  <a:lnTo>
                    <a:pt x="791" y="400"/>
                  </a:lnTo>
                  <a:lnTo>
                    <a:pt x="793" y="400"/>
                  </a:lnTo>
                  <a:lnTo>
                    <a:pt x="793" y="398"/>
                  </a:lnTo>
                  <a:lnTo>
                    <a:pt x="795" y="398"/>
                  </a:lnTo>
                  <a:lnTo>
                    <a:pt x="798" y="400"/>
                  </a:lnTo>
                  <a:lnTo>
                    <a:pt x="800" y="400"/>
                  </a:lnTo>
                  <a:lnTo>
                    <a:pt x="802" y="400"/>
                  </a:lnTo>
                  <a:lnTo>
                    <a:pt x="804" y="400"/>
                  </a:lnTo>
                  <a:lnTo>
                    <a:pt x="806" y="400"/>
                  </a:lnTo>
                  <a:lnTo>
                    <a:pt x="806" y="401"/>
                  </a:lnTo>
                  <a:lnTo>
                    <a:pt x="808" y="403"/>
                  </a:lnTo>
                  <a:lnTo>
                    <a:pt x="810" y="403"/>
                  </a:lnTo>
                  <a:lnTo>
                    <a:pt x="810" y="405"/>
                  </a:lnTo>
                  <a:lnTo>
                    <a:pt x="812" y="405"/>
                  </a:lnTo>
                  <a:lnTo>
                    <a:pt x="814" y="405"/>
                  </a:lnTo>
                  <a:lnTo>
                    <a:pt x="814" y="407"/>
                  </a:lnTo>
                  <a:lnTo>
                    <a:pt x="816" y="407"/>
                  </a:lnTo>
                  <a:lnTo>
                    <a:pt x="816" y="409"/>
                  </a:lnTo>
                  <a:lnTo>
                    <a:pt x="818" y="409"/>
                  </a:lnTo>
                  <a:lnTo>
                    <a:pt x="818" y="411"/>
                  </a:lnTo>
                  <a:lnTo>
                    <a:pt x="820" y="411"/>
                  </a:lnTo>
                  <a:lnTo>
                    <a:pt x="822" y="413"/>
                  </a:lnTo>
                  <a:lnTo>
                    <a:pt x="823" y="413"/>
                  </a:lnTo>
                  <a:lnTo>
                    <a:pt x="825" y="415"/>
                  </a:lnTo>
                  <a:lnTo>
                    <a:pt x="825" y="417"/>
                  </a:lnTo>
                  <a:lnTo>
                    <a:pt x="827" y="417"/>
                  </a:lnTo>
                  <a:lnTo>
                    <a:pt x="829" y="417"/>
                  </a:lnTo>
                  <a:lnTo>
                    <a:pt x="829" y="419"/>
                  </a:lnTo>
                  <a:lnTo>
                    <a:pt x="831" y="419"/>
                  </a:lnTo>
                  <a:lnTo>
                    <a:pt x="833" y="419"/>
                  </a:lnTo>
                  <a:lnTo>
                    <a:pt x="835" y="419"/>
                  </a:lnTo>
                  <a:lnTo>
                    <a:pt x="835" y="421"/>
                  </a:lnTo>
                  <a:lnTo>
                    <a:pt x="837" y="421"/>
                  </a:lnTo>
                  <a:lnTo>
                    <a:pt x="837" y="423"/>
                  </a:lnTo>
                  <a:lnTo>
                    <a:pt x="839" y="423"/>
                  </a:lnTo>
                  <a:lnTo>
                    <a:pt x="841" y="423"/>
                  </a:lnTo>
                  <a:lnTo>
                    <a:pt x="843" y="425"/>
                  </a:lnTo>
                  <a:lnTo>
                    <a:pt x="845" y="425"/>
                  </a:lnTo>
                  <a:lnTo>
                    <a:pt x="846" y="425"/>
                  </a:lnTo>
                  <a:lnTo>
                    <a:pt x="846" y="426"/>
                  </a:lnTo>
                  <a:lnTo>
                    <a:pt x="848" y="426"/>
                  </a:lnTo>
                  <a:lnTo>
                    <a:pt x="850" y="428"/>
                  </a:lnTo>
                  <a:lnTo>
                    <a:pt x="852" y="430"/>
                  </a:lnTo>
                  <a:lnTo>
                    <a:pt x="850" y="430"/>
                  </a:lnTo>
                  <a:lnTo>
                    <a:pt x="848" y="432"/>
                  </a:lnTo>
                  <a:lnTo>
                    <a:pt x="848" y="434"/>
                  </a:lnTo>
                  <a:lnTo>
                    <a:pt x="846" y="434"/>
                  </a:lnTo>
                  <a:lnTo>
                    <a:pt x="845" y="434"/>
                  </a:lnTo>
                  <a:lnTo>
                    <a:pt x="843" y="434"/>
                  </a:lnTo>
                  <a:lnTo>
                    <a:pt x="841" y="436"/>
                  </a:lnTo>
                  <a:lnTo>
                    <a:pt x="839" y="436"/>
                  </a:lnTo>
                  <a:lnTo>
                    <a:pt x="837" y="436"/>
                  </a:lnTo>
                  <a:lnTo>
                    <a:pt x="835" y="436"/>
                  </a:lnTo>
                  <a:lnTo>
                    <a:pt x="837" y="436"/>
                  </a:lnTo>
                  <a:lnTo>
                    <a:pt x="837" y="438"/>
                  </a:lnTo>
                  <a:lnTo>
                    <a:pt x="837" y="440"/>
                  </a:lnTo>
                  <a:lnTo>
                    <a:pt x="839" y="440"/>
                  </a:lnTo>
                  <a:lnTo>
                    <a:pt x="841" y="440"/>
                  </a:lnTo>
                  <a:lnTo>
                    <a:pt x="843" y="440"/>
                  </a:lnTo>
                  <a:lnTo>
                    <a:pt x="845" y="440"/>
                  </a:lnTo>
                  <a:lnTo>
                    <a:pt x="846" y="440"/>
                  </a:lnTo>
                  <a:lnTo>
                    <a:pt x="848" y="440"/>
                  </a:lnTo>
                  <a:lnTo>
                    <a:pt x="848" y="442"/>
                  </a:lnTo>
                  <a:lnTo>
                    <a:pt x="850" y="442"/>
                  </a:lnTo>
                  <a:lnTo>
                    <a:pt x="850" y="444"/>
                  </a:lnTo>
                  <a:lnTo>
                    <a:pt x="850" y="442"/>
                  </a:lnTo>
                  <a:lnTo>
                    <a:pt x="852" y="442"/>
                  </a:lnTo>
                  <a:lnTo>
                    <a:pt x="854" y="440"/>
                  </a:lnTo>
                  <a:lnTo>
                    <a:pt x="854" y="438"/>
                  </a:lnTo>
                  <a:lnTo>
                    <a:pt x="856" y="438"/>
                  </a:lnTo>
                  <a:lnTo>
                    <a:pt x="856" y="436"/>
                  </a:lnTo>
                  <a:lnTo>
                    <a:pt x="858" y="436"/>
                  </a:lnTo>
                  <a:lnTo>
                    <a:pt x="858" y="438"/>
                  </a:lnTo>
                  <a:lnTo>
                    <a:pt x="860" y="438"/>
                  </a:lnTo>
                  <a:lnTo>
                    <a:pt x="862" y="438"/>
                  </a:lnTo>
                  <a:lnTo>
                    <a:pt x="864" y="438"/>
                  </a:lnTo>
                  <a:lnTo>
                    <a:pt x="866" y="438"/>
                  </a:lnTo>
                  <a:lnTo>
                    <a:pt x="868" y="438"/>
                  </a:lnTo>
                  <a:lnTo>
                    <a:pt x="870" y="438"/>
                  </a:lnTo>
                  <a:lnTo>
                    <a:pt x="870" y="436"/>
                  </a:lnTo>
                  <a:lnTo>
                    <a:pt x="871" y="436"/>
                  </a:lnTo>
                  <a:lnTo>
                    <a:pt x="873" y="436"/>
                  </a:lnTo>
                  <a:lnTo>
                    <a:pt x="875" y="436"/>
                  </a:lnTo>
                  <a:lnTo>
                    <a:pt x="875" y="434"/>
                  </a:lnTo>
                  <a:lnTo>
                    <a:pt x="877" y="434"/>
                  </a:lnTo>
                  <a:lnTo>
                    <a:pt x="877" y="436"/>
                  </a:lnTo>
                  <a:lnTo>
                    <a:pt x="879" y="436"/>
                  </a:lnTo>
                  <a:lnTo>
                    <a:pt x="879" y="438"/>
                  </a:lnTo>
                  <a:lnTo>
                    <a:pt x="877" y="438"/>
                  </a:lnTo>
                  <a:lnTo>
                    <a:pt x="875" y="438"/>
                  </a:lnTo>
                  <a:lnTo>
                    <a:pt x="877" y="438"/>
                  </a:lnTo>
                  <a:lnTo>
                    <a:pt x="879" y="438"/>
                  </a:lnTo>
                  <a:lnTo>
                    <a:pt x="881" y="438"/>
                  </a:lnTo>
                  <a:lnTo>
                    <a:pt x="883" y="438"/>
                  </a:lnTo>
                  <a:lnTo>
                    <a:pt x="881" y="438"/>
                  </a:lnTo>
                  <a:lnTo>
                    <a:pt x="881" y="436"/>
                  </a:lnTo>
                  <a:lnTo>
                    <a:pt x="883" y="436"/>
                  </a:lnTo>
                  <a:lnTo>
                    <a:pt x="881" y="436"/>
                  </a:lnTo>
                  <a:lnTo>
                    <a:pt x="881" y="434"/>
                  </a:lnTo>
                  <a:lnTo>
                    <a:pt x="881" y="432"/>
                  </a:lnTo>
                  <a:lnTo>
                    <a:pt x="883" y="432"/>
                  </a:lnTo>
                  <a:lnTo>
                    <a:pt x="883" y="434"/>
                  </a:lnTo>
                  <a:lnTo>
                    <a:pt x="885" y="434"/>
                  </a:lnTo>
                  <a:lnTo>
                    <a:pt x="887" y="434"/>
                  </a:lnTo>
                  <a:lnTo>
                    <a:pt x="885" y="434"/>
                  </a:lnTo>
                  <a:lnTo>
                    <a:pt x="885" y="432"/>
                  </a:lnTo>
                  <a:lnTo>
                    <a:pt x="883" y="430"/>
                  </a:lnTo>
                  <a:lnTo>
                    <a:pt x="881" y="430"/>
                  </a:lnTo>
                  <a:lnTo>
                    <a:pt x="881" y="428"/>
                  </a:lnTo>
                  <a:lnTo>
                    <a:pt x="883" y="428"/>
                  </a:lnTo>
                  <a:lnTo>
                    <a:pt x="883" y="426"/>
                  </a:lnTo>
                  <a:lnTo>
                    <a:pt x="883" y="425"/>
                  </a:lnTo>
                  <a:lnTo>
                    <a:pt x="885" y="425"/>
                  </a:lnTo>
                  <a:lnTo>
                    <a:pt x="885" y="423"/>
                  </a:lnTo>
                  <a:lnTo>
                    <a:pt x="885" y="421"/>
                  </a:lnTo>
                  <a:lnTo>
                    <a:pt x="883" y="421"/>
                  </a:lnTo>
                  <a:lnTo>
                    <a:pt x="881" y="419"/>
                  </a:lnTo>
                  <a:lnTo>
                    <a:pt x="879" y="419"/>
                  </a:lnTo>
                  <a:lnTo>
                    <a:pt x="877" y="419"/>
                  </a:lnTo>
                  <a:lnTo>
                    <a:pt x="875" y="419"/>
                  </a:lnTo>
                  <a:lnTo>
                    <a:pt x="875" y="417"/>
                  </a:lnTo>
                  <a:lnTo>
                    <a:pt x="873" y="417"/>
                  </a:lnTo>
                  <a:lnTo>
                    <a:pt x="873" y="415"/>
                  </a:lnTo>
                  <a:lnTo>
                    <a:pt x="871" y="415"/>
                  </a:lnTo>
                  <a:lnTo>
                    <a:pt x="870" y="415"/>
                  </a:lnTo>
                  <a:lnTo>
                    <a:pt x="870" y="413"/>
                  </a:lnTo>
                  <a:lnTo>
                    <a:pt x="868" y="415"/>
                  </a:lnTo>
                  <a:lnTo>
                    <a:pt x="866" y="415"/>
                  </a:lnTo>
                  <a:lnTo>
                    <a:pt x="866" y="417"/>
                  </a:lnTo>
                  <a:lnTo>
                    <a:pt x="868" y="417"/>
                  </a:lnTo>
                  <a:lnTo>
                    <a:pt x="870" y="417"/>
                  </a:lnTo>
                  <a:lnTo>
                    <a:pt x="868" y="417"/>
                  </a:lnTo>
                  <a:lnTo>
                    <a:pt x="866" y="417"/>
                  </a:lnTo>
                  <a:lnTo>
                    <a:pt x="866" y="419"/>
                  </a:lnTo>
                  <a:lnTo>
                    <a:pt x="868" y="419"/>
                  </a:lnTo>
                  <a:lnTo>
                    <a:pt x="868" y="421"/>
                  </a:lnTo>
                  <a:lnTo>
                    <a:pt x="870" y="421"/>
                  </a:lnTo>
                  <a:lnTo>
                    <a:pt x="870" y="419"/>
                  </a:lnTo>
                  <a:lnTo>
                    <a:pt x="871" y="419"/>
                  </a:lnTo>
                  <a:lnTo>
                    <a:pt x="870" y="419"/>
                  </a:lnTo>
                  <a:lnTo>
                    <a:pt x="870" y="421"/>
                  </a:lnTo>
                  <a:lnTo>
                    <a:pt x="868" y="421"/>
                  </a:lnTo>
                  <a:lnTo>
                    <a:pt x="868" y="419"/>
                  </a:lnTo>
                  <a:lnTo>
                    <a:pt x="866" y="419"/>
                  </a:lnTo>
                  <a:lnTo>
                    <a:pt x="866" y="417"/>
                  </a:lnTo>
                  <a:lnTo>
                    <a:pt x="866" y="415"/>
                  </a:lnTo>
                  <a:lnTo>
                    <a:pt x="864" y="415"/>
                  </a:lnTo>
                  <a:lnTo>
                    <a:pt x="864" y="413"/>
                  </a:lnTo>
                  <a:lnTo>
                    <a:pt x="864" y="411"/>
                  </a:lnTo>
                  <a:lnTo>
                    <a:pt x="862" y="411"/>
                  </a:lnTo>
                  <a:lnTo>
                    <a:pt x="862" y="409"/>
                  </a:lnTo>
                  <a:lnTo>
                    <a:pt x="862" y="407"/>
                  </a:lnTo>
                  <a:lnTo>
                    <a:pt x="860" y="407"/>
                  </a:lnTo>
                  <a:lnTo>
                    <a:pt x="860" y="405"/>
                  </a:lnTo>
                  <a:lnTo>
                    <a:pt x="860" y="403"/>
                  </a:lnTo>
                  <a:lnTo>
                    <a:pt x="858" y="403"/>
                  </a:lnTo>
                  <a:lnTo>
                    <a:pt x="858" y="401"/>
                  </a:lnTo>
                  <a:lnTo>
                    <a:pt x="856" y="401"/>
                  </a:lnTo>
                  <a:lnTo>
                    <a:pt x="856" y="400"/>
                  </a:lnTo>
                  <a:lnTo>
                    <a:pt x="856" y="398"/>
                  </a:lnTo>
                  <a:lnTo>
                    <a:pt x="854" y="398"/>
                  </a:lnTo>
                  <a:lnTo>
                    <a:pt x="854" y="396"/>
                  </a:lnTo>
                  <a:lnTo>
                    <a:pt x="852" y="396"/>
                  </a:lnTo>
                  <a:lnTo>
                    <a:pt x="852" y="394"/>
                  </a:lnTo>
                  <a:lnTo>
                    <a:pt x="850" y="394"/>
                  </a:lnTo>
                  <a:lnTo>
                    <a:pt x="850" y="392"/>
                  </a:lnTo>
                  <a:lnTo>
                    <a:pt x="848" y="392"/>
                  </a:lnTo>
                  <a:lnTo>
                    <a:pt x="848" y="390"/>
                  </a:lnTo>
                  <a:lnTo>
                    <a:pt x="846" y="388"/>
                  </a:lnTo>
                  <a:lnTo>
                    <a:pt x="846" y="390"/>
                  </a:lnTo>
                  <a:lnTo>
                    <a:pt x="846" y="392"/>
                  </a:lnTo>
                  <a:lnTo>
                    <a:pt x="848" y="392"/>
                  </a:lnTo>
                  <a:lnTo>
                    <a:pt x="848" y="394"/>
                  </a:lnTo>
                  <a:lnTo>
                    <a:pt x="850" y="394"/>
                  </a:lnTo>
                  <a:lnTo>
                    <a:pt x="850" y="396"/>
                  </a:lnTo>
                  <a:lnTo>
                    <a:pt x="852" y="396"/>
                  </a:lnTo>
                  <a:lnTo>
                    <a:pt x="850" y="396"/>
                  </a:lnTo>
                  <a:lnTo>
                    <a:pt x="850" y="398"/>
                  </a:lnTo>
                  <a:lnTo>
                    <a:pt x="848" y="396"/>
                  </a:lnTo>
                  <a:lnTo>
                    <a:pt x="848" y="394"/>
                  </a:lnTo>
                  <a:lnTo>
                    <a:pt x="846" y="394"/>
                  </a:lnTo>
                  <a:lnTo>
                    <a:pt x="846" y="392"/>
                  </a:lnTo>
                  <a:lnTo>
                    <a:pt x="846" y="390"/>
                  </a:lnTo>
                  <a:lnTo>
                    <a:pt x="845" y="388"/>
                  </a:lnTo>
                  <a:lnTo>
                    <a:pt x="845" y="386"/>
                  </a:lnTo>
                  <a:lnTo>
                    <a:pt x="845" y="384"/>
                  </a:lnTo>
                  <a:lnTo>
                    <a:pt x="843" y="384"/>
                  </a:lnTo>
                  <a:lnTo>
                    <a:pt x="843" y="382"/>
                  </a:lnTo>
                  <a:lnTo>
                    <a:pt x="843" y="380"/>
                  </a:lnTo>
                  <a:lnTo>
                    <a:pt x="841" y="380"/>
                  </a:lnTo>
                  <a:lnTo>
                    <a:pt x="841" y="378"/>
                  </a:lnTo>
                  <a:lnTo>
                    <a:pt x="839" y="378"/>
                  </a:lnTo>
                  <a:lnTo>
                    <a:pt x="839" y="380"/>
                  </a:lnTo>
                  <a:lnTo>
                    <a:pt x="837" y="380"/>
                  </a:lnTo>
                  <a:lnTo>
                    <a:pt x="837" y="382"/>
                  </a:lnTo>
                  <a:lnTo>
                    <a:pt x="837" y="380"/>
                  </a:lnTo>
                  <a:lnTo>
                    <a:pt x="835" y="378"/>
                  </a:lnTo>
                  <a:lnTo>
                    <a:pt x="835" y="377"/>
                  </a:lnTo>
                  <a:lnTo>
                    <a:pt x="835" y="375"/>
                  </a:lnTo>
                  <a:lnTo>
                    <a:pt x="835" y="373"/>
                  </a:lnTo>
                  <a:lnTo>
                    <a:pt x="833" y="373"/>
                  </a:lnTo>
                  <a:lnTo>
                    <a:pt x="833" y="371"/>
                  </a:lnTo>
                  <a:lnTo>
                    <a:pt x="831" y="371"/>
                  </a:lnTo>
                  <a:lnTo>
                    <a:pt x="831" y="369"/>
                  </a:lnTo>
                  <a:lnTo>
                    <a:pt x="829" y="369"/>
                  </a:lnTo>
                  <a:lnTo>
                    <a:pt x="829" y="367"/>
                  </a:lnTo>
                  <a:lnTo>
                    <a:pt x="829" y="365"/>
                  </a:lnTo>
                  <a:lnTo>
                    <a:pt x="827" y="365"/>
                  </a:lnTo>
                  <a:lnTo>
                    <a:pt x="827" y="363"/>
                  </a:lnTo>
                  <a:lnTo>
                    <a:pt x="825" y="361"/>
                  </a:lnTo>
                  <a:lnTo>
                    <a:pt x="825" y="359"/>
                  </a:lnTo>
                  <a:lnTo>
                    <a:pt x="823" y="357"/>
                  </a:lnTo>
                  <a:lnTo>
                    <a:pt x="822" y="355"/>
                  </a:lnTo>
                  <a:lnTo>
                    <a:pt x="822" y="353"/>
                  </a:lnTo>
                  <a:lnTo>
                    <a:pt x="820" y="352"/>
                  </a:lnTo>
                  <a:lnTo>
                    <a:pt x="820" y="350"/>
                  </a:lnTo>
                  <a:lnTo>
                    <a:pt x="818" y="350"/>
                  </a:lnTo>
                  <a:lnTo>
                    <a:pt x="818" y="348"/>
                  </a:lnTo>
                  <a:lnTo>
                    <a:pt x="818" y="346"/>
                  </a:lnTo>
                  <a:lnTo>
                    <a:pt x="816" y="344"/>
                  </a:lnTo>
                  <a:lnTo>
                    <a:pt x="816" y="342"/>
                  </a:lnTo>
                  <a:lnTo>
                    <a:pt x="814" y="340"/>
                  </a:lnTo>
                  <a:lnTo>
                    <a:pt x="814" y="338"/>
                  </a:lnTo>
                  <a:lnTo>
                    <a:pt x="812" y="338"/>
                  </a:lnTo>
                  <a:lnTo>
                    <a:pt x="812" y="336"/>
                  </a:lnTo>
                  <a:lnTo>
                    <a:pt x="810" y="336"/>
                  </a:lnTo>
                  <a:lnTo>
                    <a:pt x="810" y="334"/>
                  </a:lnTo>
                  <a:lnTo>
                    <a:pt x="808" y="332"/>
                  </a:lnTo>
                  <a:lnTo>
                    <a:pt x="808" y="330"/>
                  </a:lnTo>
                  <a:lnTo>
                    <a:pt x="806" y="329"/>
                  </a:lnTo>
                  <a:lnTo>
                    <a:pt x="804" y="327"/>
                  </a:lnTo>
                  <a:lnTo>
                    <a:pt x="804" y="325"/>
                  </a:lnTo>
                  <a:lnTo>
                    <a:pt x="802" y="323"/>
                  </a:lnTo>
                  <a:lnTo>
                    <a:pt x="802" y="321"/>
                  </a:lnTo>
                  <a:lnTo>
                    <a:pt x="800" y="321"/>
                  </a:lnTo>
                  <a:lnTo>
                    <a:pt x="800" y="319"/>
                  </a:lnTo>
                  <a:lnTo>
                    <a:pt x="798" y="319"/>
                  </a:lnTo>
                  <a:lnTo>
                    <a:pt x="797" y="317"/>
                  </a:lnTo>
                  <a:lnTo>
                    <a:pt x="797" y="315"/>
                  </a:lnTo>
                  <a:lnTo>
                    <a:pt x="795" y="315"/>
                  </a:lnTo>
                  <a:lnTo>
                    <a:pt x="793" y="313"/>
                  </a:lnTo>
                  <a:lnTo>
                    <a:pt x="793" y="311"/>
                  </a:lnTo>
                  <a:lnTo>
                    <a:pt x="791" y="311"/>
                  </a:lnTo>
                  <a:lnTo>
                    <a:pt x="791" y="309"/>
                  </a:lnTo>
                  <a:lnTo>
                    <a:pt x="791" y="307"/>
                  </a:lnTo>
                  <a:lnTo>
                    <a:pt x="791" y="305"/>
                  </a:lnTo>
                  <a:lnTo>
                    <a:pt x="789" y="305"/>
                  </a:lnTo>
                  <a:lnTo>
                    <a:pt x="789" y="304"/>
                  </a:lnTo>
                  <a:lnTo>
                    <a:pt x="789" y="302"/>
                  </a:lnTo>
                  <a:lnTo>
                    <a:pt x="787" y="302"/>
                  </a:lnTo>
                  <a:lnTo>
                    <a:pt x="787" y="300"/>
                  </a:lnTo>
                  <a:lnTo>
                    <a:pt x="785" y="300"/>
                  </a:lnTo>
                  <a:lnTo>
                    <a:pt x="785" y="298"/>
                  </a:lnTo>
                  <a:lnTo>
                    <a:pt x="783" y="298"/>
                  </a:lnTo>
                  <a:lnTo>
                    <a:pt x="783" y="296"/>
                  </a:lnTo>
                  <a:lnTo>
                    <a:pt x="781" y="296"/>
                  </a:lnTo>
                  <a:lnTo>
                    <a:pt x="781" y="294"/>
                  </a:lnTo>
                  <a:lnTo>
                    <a:pt x="779" y="294"/>
                  </a:lnTo>
                  <a:lnTo>
                    <a:pt x="779" y="292"/>
                  </a:lnTo>
                  <a:lnTo>
                    <a:pt x="777" y="292"/>
                  </a:lnTo>
                  <a:lnTo>
                    <a:pt x="777" y="290"/>
                  </a:lnTo>
                  <a:lnTo>
                    <a:pt x="777" y="288"/>
                  </a:lnTo>
                  <a:lnTo>
                    <a:pt x="777" y="286"/>
                  </a:lnTo>
                  <a:lnTo>
                    <a:pt x="775" y="286"/>
                  </a:lnTo>
                  <a:lnTo>
                    <a:pt x="777" y="286"/>
                  </a:lnTo>
                  <a:lnTo>
                    <a:pt x="775" y="286"/>
                  </a:lnTo>
                  <a:lnTo>
                    <a:pt x="775" y="284"/>
                  </a:lnTo>
                  <a:lnTo>
                    <a:pt x="777" y="284"/>
                  </a:lnTo>
                  <a:lnTo>
                    <a:pt x="775" y="284"/>
                  </a:lnTo>
                  <a:lnTo>
                    <a:pt x="774" y="284"/>
                  </a:lnTo>
                  <a:lnTo>
                    <a:pt x="775" y="284"/>
                  </a:lnTo>
                  <a:lnTo>
                    <a:pt x="774" y="284"/>
                  </a:lnTo>
                  <a:lnTo>
                    <a:pt x="774" y="282"/>
                  </a:lnTo>
                  <a:lnTo>
                    <a:pt x="774" y="281"/>
                  </a:lnTo>
                  <a:lnTo>
                    <a:pt x="772" y="279"/>
                  </a:lnTo>
                  <a:lnTo>
                    <a:pt x="770" y="279"/>
                  </a:lnTo>
                  <a:lnTo>
                    <a:pt x="768" y="279"/>
                  </a:lnTo>
                  <a:lnTo>
                    <a:pt x="768" y="277"/>
                  </a:lnTo>
                  <a:lnTo>
                    <a:pt x="768" y="275"/>
                  </a:lnTo>
                  <a:lnTo>
                    <a:pt x="768" y="273"/>
                  </a:lnTo>
                  <a:lnTo>
                    <a:pt x="766" y="271"/>
                  </a:lnTo>
                  <a:lnTo>
                    <a:pt x="766" y="269"/>
                  </a:lnTo>
                  <a:lnTo>
                    <a:pt x="766" y="267"/>
                  </a:lnTo>
                  <a:lnTo>
                    <a:pt x="764" y="267"/>
                  </a:lnTo>
                  <a:lnTo>
                    <a:pt x="764" y="265"/>
                  </a:lnTo>
                  <a:lnTo>
                    <a:pt x="764" y="263"/>
                  </a:lnTo>
                  <a:lnTo>
                    <a:pt x="762" y="263"/>
                  </a:lnTo>
                  <a:lnTo>
                    <a:pt x="762" y="261"/>
                  </a:lnTo>
                  <a:lnTo>
                    <a:pt x="762" y="259"/>
                  </a:lnTo>
                  <a:lnTo>
                    <a:pt x="760" y="259"/>
                  </a:lnTo>
                  <a:lnTo>
                    <a:pt x="760" y="257"/>
                  </a:lnTo>
                  <a:lnTo>
                    <a:pt x="758" y="256"/>
                  </a:lnTo>
                  <a:lnTo>
                    <a:pt x="756" y="254"/>
                  </a:lnTo>
                  <a:lnTo>
                    <a:pt x="754" y="254"/>
                  </a:lnTo>
                  <a:lnTo>
                    <a:pt x="754" y="256"/>
                  </a:lnTo>
                  <a:lnTo>
                    <a:pt x="754" y="254"/>
                  </a:lnTo>
                  <a:lnTo>
                    <a:pt x="752" y="254"/>
                  </a:lnTo>
                  <a:lnTo>
                    <a:pt x="752" y="252"/>
                  </a:lnTo>
                  <a:lnTo>
                    <a:pt x="752" y="250"/>
                  </a:lnTo>
                  <a:lnTo>
                    <a:pt x="752" y="248"/>
                  </a:lnTo>
                  <a:lnTo>
                    <a:pt x="752" y="246"/>
                  </a:lnTo>
                  <a:lnTo>
                    <a:pt x="752" y="244"/>
                  </a:lnTo>
                  <a:lnTo>
                    <a:pt x="750" y="244"/>
                  </a:lnTo>
                  <a:lnTo>
                    <a:pt x="750" y="242"/>
                  </a:lnTo>
                  <a:lnTo>
                    <a:pt x="749" y="240"/>
                  </a:lnTo>
                  <a:lnTo>
                    <a:pt x="749" y="238"/>
                  </a:lnTo>
                  <a:lnTo>
                    <a:pt x="747" y="236"/>
                  </a:lnTo>
                  <a:lnTo>
                    <a:pt x="747" y="234"/>
                  </a:lnTo>
                  <a:lnTo>
                    <a:pt x="747" y="233"/>
                  </a:lnTo>
                  <a:lnTo>
                    <a:pt x="747" y="231"/>
                  </a:lnTo>
                  <a:lnTo>
                    <a:pt x="745" y="229"/>
                  </a:lnTo>
                  <a:lnTo>
                    <a:pt x="745" y="227"/>
                  </a:lnTo>
                  <a:lnTo>
                    <a:pt x="745" y="225"/>
                  </a:lnTo>
                  <a:lnTo>
                    <a:pt x="745" y="223"/>
                  </a:lnTo>
                  <a:lnTo>
                    <a:pt x="745" y="221"/>
                  </a:lnTo>
                  <a:lnTo>
                    <a:pt x="743" y="221"/>
                  </a:lnTo>
                  <a:lnTo>
                    <a:pt x="743" y="219"/>
                  </a:lnTo>
                  <a:lnTo>
                    <a:pt x="741" y="219"/>
                  </a:lnTo>
                  <a:lnTo>
                    <a:pt x="741" y="217"/>
                  </a:lnTo>
                  <a:lnTo>
                    <a:pt x="739" y="217"/>
                  </a:lnTo>
                  <a:lnTo>
                    <a:pt x="739" y="215"/>
                  </a:lnTo>
                  <a:lnTo>
                    <a:pt x="739" y="213"/>
                  </a:lnTo>
                  <a:lnTo>
                    <a:pt x="737" y="211"/>
                  </a:lnTo>
                  <a:lnTo>
                    <a:pt x="737" y="209"/>
                  </a:lnTo>
                  <a:lnTo>
                    <a:pt x="737" y="208"/>
                  </a:lnTo>
                  <a:lnTo>
                    <a:pt x="737" y="206"/>
                  </a:lnTo>
                  <a:lnTo>
                    <a:pt x="735" y="206"/>
                  </a:lnTo>
                  <a:lnTo>
                    <a:pt x="735" y="204"/>
                  </a:lnTo>
                  <a:lnTo>
                    <a:pt x="735" y="200"/>
                  </a:lnTo>
                  <a:lnTo>
                    <a:pt x="735" y="198"/>
                  </a:lnTo>
                  <a:lnTo>
                    <a:pt x="735" y="196"/>
                  </a:lnTo>
                  <a:lnTo>
                    <a:pt x="733" y="196"/>
                  </a:lnTo>
                  <a:lnTo>
                    <a:pt x="733" y="194"/>
                  </a:lnTo>
                  <a:lnTo>
                    <a:pt x="733" y="192"/>
                  </a:lnTo>
                  <a:lnTo>
                    <a:pt x="731" y="188"/>
                  </a:lnTo>
                  <a:lnTo>
                    <a:pt x="733" y="190"/>
                  </a:lnTo>
                  <a:lnTo>
                    <a:pt x="735" y="190"/>
                  </a:lnTo>
                  <a:lnTo>
                    <a:pt x="737" y="194"/>
                  </a:lnTo>
                  <a:lnTo>
                    <a:pt x="739" y="200"/>
                  </a:lnTo>
                  <a:lnTo>
                    <a:pt x="741" y="204"/>
                  </a:lnTo>
                  <a:lnTo>
                    <a:pt x="741" y="208"/>
                  </a:lnTo>
                  <a:lnTo>
                    <a:pt x="743" y="211"/>
                  </a:lnTo>
                  <a:lnTo>
                    <a:pt x="745" y="215"/>
                  </a:lnTo>
                  <a:lnTo>
                    <a:pt x="747" y="219"/>
                  </a:lnTo>
                  <a:lnTo>
                    <a:pt x="749" y="227"/>
                  </a:lnTo>
                  <a:lnTo>
                    <a:pt x="750" y="227"/>
                  </a:lnTo>
                  <a:lnTo>
                    <a:pt x="750" y="229"/>
                  </a:lnTo>
                  <a:lnTo>
                    <a:pt x="750" y="231"/>
                  </a:lnTo>
                  <a:lnTo>
                    <a:pt x="750" y="233"/>
                  </a:lnTo>
                  <a:lnTo>
                    <a:pt x="752" y="234"/>
                  </a:lnTo>
                  <a:lnTo>
                    <a:pt x="754" y="240"/>
                  </a:lnTo>
                  <a:lnTo>
                    <a:pt x="756" y="242"/>
                  </a:lnTo>
                  <a:lnTo>
                    <a:pt x="756" y="244"/>
                  </a:lnTo>
                  <a:lnTo>
                    <a:pt x="758" y="246"/>
                  </a:lnTo>
                  <a:lnTo>
                    <a:pt x="758" y="248"/>
                  </a:lnTo>
                  <a:lnTo>
                    <a:pt x="760" y="250"/>
                  </a:lnTo>
                  <a:lnTo>
                    <a:pt x="760" y="252"/>
                  </a:lnTo>
                  <a:lnTo>
                    <a:pt x="762" y="256"/>
                  </a:lnTo>
                  <a:lnTo>
                    <a:pt x="764" y="259"/>
                  </a:lnTo>
                  <a:lnTo>
                    <a:pt x="766" y="261"/>
                  </a:lnTo>
                  <a:lnTo>
                    <a:pt x="766" y="265"/>
                  </a:lnTo>
                  <a:lnTo>
                    <a:pt x="768" y="265"/>
                  </a:lnTo>
                  <a:lnTo>
                    <a:pt x="768" y="267"/>
                  </a:lnTo>
                  <a:lnTo>
                    <a:pt x="768" y="269"/>
                  </a:lnTo>
                  <a:lnTo>
                    <a:pt x="770" y="269"/>
                  </a:lnTo>
                  <a:lnTo>
                    <a:pt x="772" y="273"/>
                  </a:lnTo>
                  <a:lnTo>
                    <a:pt x="772" y="275"/>
                  </a:lnTo>
                  <a:lnTo>
                    <a:pt x="774" y="279"/>
                  </a:lnTo>
                  <a:lnTo>
                    <a:pt x="775" y="279"/>
                  </a:lnTo>
                  <a:lnTo>
                    <a:pt x="775" y="281"/>
                  </a:lnTo>
                  <a:lnTo>
                    <a:pt x="779" y="286"/>
                  </a:lnTo>
                  <a:lnTo>
                    <a:pt x="779" y="288"/>
                  </a:lnTo>
                  <a:lnTo>
                    <a:pt x="781" y="290"/>
                  </a:lnTo>
                  <a:lnTo>
                    <a:pt x="783" y="292"/>
                  </a:lnTo>
                  <a:lnTo>
                    <a:pt x="785" y="296"/>
                  </a:lnTo>
                  <a:lnTo>
                    <a:pt x="787" y="296"/>
                  </a:lnTo>
                  <a:lnTo>
                    <a:pt x="787" y="298"/>
                  </a:lnTo>
                  <a:lnTo>
                    <a:pt x="787" y="300"/>
                  </a:lnTo>
                  <a:lnTo>
                    <a:pt x="789" y="300"/>
                  </a:lnTo>
                  <a:lnTo>
                    <a:pt x="789" y="302"/>
                  </a:lnTo>
                  <a:lnTo>
                    <a:pt x="791" y="302"/>
                  </a:lnTo>
                  <a:lnTo>
                    <a:pt x="791" y="304"/>
                  </a:lnTo>
                  <a:lnTo>
                    <a:pt x="793" y="304"/>
                  </a:lnTo>
                  <a:lnTo>
                    <a:pt x="793" y="305"/>
                  </a:lnTo>
                  <a:lnTo>
                    <a:pt x="793" y="307"/>
                  </a:lnTo>
                  <a:lnTo>
                    <a:pt x="795" y="307"/>
                  </a:lnTo>
                  <a:lnTo>
                    <a:pt x="795" y="309"/>
                  </a:lnTo>
                  <a:lnTo>
                    <a:pt x="797" y="309"/>
                  </a:lnTo>
                  <a:lnTo>
                    <a:pt x="798" y="313"/>
                  </a:lnTo>
                  <a:lnTo>
                    <a:pt x="800" y="315"/>
                  </a:lnTo>
                  <a:lnTo>
                    <a:pt x="802" y="317"/>
                  </a:lnTo>
                  <a:lnTo>
                    <a:pt x="804" y="321"/>
                  </a:lnTo>
                  <a:lnTo>
                    <a:pt x="806" y="323"/>
                  </a:lnTo>
                  <a:lnTo>
                    <a:pt x="806" y="325"/>
                  </a:lnTo>
                  <a:lnTo>
                    <a:pt x="808" y="325"/>
                  </a:lnTo>
                  <a:lnTo>
                    <a:pt x="808" y="327"/>
                  </a:lnTo>
                  <a:lnTo>
                    <a:pt x="808" y="329"/>
                  </a:lnTo>
                  <a:lnTo>
                    <a:pt x="810" y="329"/>
                  </a:lnTo>
                  <a:lnTo>
                    <a:pt x="810" y="330"/>
                  </a:lnTo>
                  <a:lnTo>
                    <a:pt x="810" y="332"/>
                  </a:lnTo>
                  <a:lnTo>
                    <a:pt x="812" y="332"/>
                  </a:lnTo>
                  <a:lnTo>
                    <a:pt x="812" y="334"/>
                  </a:lnTo>
                  <a:lnTo>
                    <a:pt x="814" y="336"/>
                  </a:lnTo>
                  <a:lnTo>
                    <a:pt x="814" y="338"/>
                  </a:lnTo>
                  <a:lnTo>
                    <a:pt x="816" y="338"/>
                  </a:lnTo>
                  <a:lnTo>
                    <a:pt x="816" y="340"/>
                  </a:lnTo>
                  <a:lnTo>
                    <a:pt x="816" y="342"/>
                  </a:lnTo>
                  <a:lnTo>
                    <a:pt x="818" y="342"/>
                  </a:lnTo>
                  <a:lnTo>
                    <a:pt x="818" y="344"/>
                  </a:lnTo>
                  <a:lnTo>
                    <a:pt x="818" y="346"/>
                  </a:lnTo>
                  <a:lnTo>
                    <a:pt x="820" y="346"/>
                  </a:lnTo>
                  <a:lnTo>
                    <a:pt x="820" y="348"/>
                  </a:lnTo>
                  <a:lnTo>
                    <a:pt x="822" y="348"/>
                  </a:lnTo>
                  <a:lnTo>
                    <a:pt x="822" y="350"/>
                  </a:lnTo>
                  <a:lnTo>
                    <a:pt x="822" y="352"/>
                  </a:lnTo>
                  <a:lnTo>
                    <a:pt x="823" y="352"/>
                  </a:lnTo>
                  <a:lnTo>
                    <a:pt x="823" y="353"/>
                  </a:lnTo>
                  <a:lnTo>
                    <a:pt x="825" y="355"/>
                  </a:lnTo>
                  <a:lnTo>
                    <a:pt x="825" y="357"/>
                  </a:lnTo>
                  <a:lnTo>
                    <a:pt x="827" y="357"/>
                  </a:lnTo>
                  <a:lnTo>
                    <a:pt x="827" y="359"/>
                  </a:lnTo>
                  <a:lnTo>
                    <a:pt x="829" y="361"/>
                  </a:lnTo>
                  <a:lnTo>
                    <a:pt x="831" y="365"/>
                  </a:lnTo>
                  <a:lnTo>
                    <a:pt x="833" y="369"/>
                  </a:lnTo>
                  <a:lnTo>
                    <a:pt x="835" y="369"/>
                  </a:lnTo>
                  <a:lnTo>
                    <a:pt x="835" y="371"/>
                  </a:lnTo>
                  <a:lnTo>
                    <a:pt x="837" y="373"/>
                  </a:lnTo>
                  <a:lnTo>
                    <a:pt x="839" y="375"/>
                  </a:lnTo>
                  <a:lnTo>
                    <a:pt x="839" y="377"/>
                  </a:lnTo>
                  <a:lnTo>
                    <a:pt x="841" y="378"/>
                  </a:lnTo>
                  <a:lnTo>
                    <a:pt x="843" y="380"/>
                  </a:lnTo>
                  <a:lnTo>
                    <a:pt x="845" y="382"/>
                  </a:lnTo>
                  <a:lnTo>
                    <a:pt x="845" y="384"/>
                  </a:lnTo>
                  <a:lnTo>
                    <a:pt x="846" y="384"/>
                  </a:lnTo>
                  <a:lnTo>
                    <a:pt x="846" y="386"/>
                  </a:lnTo>
                  <a:lnTo>
                    <a:pt x="848" y="388"/>
                  </a:lnTo>
                  <a:lnTo>
                    <a:pt x="850" y="390"/>
                  </a:lnTo>
                  <a:lnTo>
                    <a:pt x="852" y="392"/>
                  </a:lnTo>
                  <a:lnTo>
                    <a:pt x="854" y="394"/>
                  </a:lnTo>
                  <a:lnTo>
                    <a:pt x="856" y="396"/>
                  </a:lnTo>
                  <a:lnTo>
                    <a:pt x="858" y="398"/>
                  </a:lnTo>
                  <a:lnTo>
                    <a:pt x="858" y="400"/>
                  </a:lnTo>
                  <a:lnTo>
                    <a:pt x="860" y="400"/>
                  </a:lnTo>
                  <a:lnTo>
                    <a:pt x="860" y="401"/>
                  </a:lnTo>
                  <a:lnTo>
                    <a:pt x="862" y="401"/>
                  </a:lnTo>
                  <a:lnTo>
                    <a:pt x="862" y="403"/>
                  </a:lnTo>
                  <a:lnTo>
                    <a:pt x="864" y="403"/>
                  </a:lnTo>
                  <a:lnTo>
                    <a:pt x="864" y="405"/>
                  </a:lnTo>
                  <a:lnTo>
                    <a:pt x="866" y="405"/>
                  </a:lnTo>
                  <a:lnTo>
                    <a:pt x="868" y="407"/>
                  </a:lnTo>
                  <a:lnTo>
                    <a:pt x="870" y="409"/>
                  </a:lnTo>
                  <a:lnTo>
                    <a:pt x="871" y="411"/>
                  </a:lnTo>
                  <a:lnTo>
                    <a:pt x="873" y="413"/>
                  </a:lnTo>
                  <a:lnTo>
                    <a:pt x="875" y="415"/>
                  </a:lnTo>
                  <a:lnTo>
                    <a:pt x="877" y="415"/>
                  </a:lnTo>
                  <a:lnTo>
                    <a:pt x="879" y="417"/>
                  </a:lnTo>
                  <a:lnTo>
                    <a:pt x="881" y="419"/>
                  </a:lnTo>
                  <a:lnTo>
                    <a:pt x="883" y="421"/>
                  </a:lnTo>
                  <a:lnTo>
                    <a:pt x="885" y="421"/>
                  </a:lnTo>
                  <a:lnTo>
                    <a:pt x="887" y="423"/>
                  </a:lnTo>
                  <a:lnTo>
                    <a:pt x="889" y="423"/>
                  </a:lnTo>
                  <a:lnTo>
                    <a:pt x="889" y="425"/>
                  </a:lnTo>
                  <a:lnTo>
                    <a:pt x="891" y="425"/>
                  </a:lnTo>
                  <a:lnTo>
                    <a:pt x="893" y="426"/>
                  </a:lnTo>
                  <a:lnTo>
                    <a:pt x="894" y="426"/>
                  </a:lnTo>
                  <a:lnTo>
                    <a:pt x="896" y="428"/>
                  </a:lnTo>
                  <a:lnTo>
                    <a:pt x="898" y="428"/>
                  </a:lnTo>
                  <a:lnTo>
                    <a:pt x="900" y="428"/>
                  </a:lnTo>
                  <a:lnTo>
                    <a:pt x="902" y="428"/>
                  </a:lnTo>
                  <a:lnTo>
                    <a:pt x="902" y="426"/>
                  </a:lnTo>
                  <a:lnTo>
                    <a:pt x="904" y="426"/>
                  </a:lnTo>
                  <a:lnTo>
                    <a:pt x="904" y="425"/>
                  </a:lnTo>
                  <a:lnTo>
                    <a:pt x="906" y="425"/>
                  </a:lnTo>
                  <a:lnTo>
                    <a:pt x="908" y="425"/>
                  </a:lnTo>
                  <a:lnTo>
                    <a:pt x="910" y="423"/>
                  </a:lnTo>
                  <a:lnTo>
                    <a:pt x="912" y="423"/>
                  </a:lnTo>
                  <a:lnTo>
                    <a:pt x="914" y="421"/>
                  </a:lnTo>
                  <a:lnTo>
                    <a:pt x="916" y="421"/>
                  </a:lnTo>
                  <a:lnTo>
                    <a:pt x="918" y="419"/>
                  </a:lnTo>
                  <a:lnTo>
                    <a:pt x="919" y="419"/>
                  </a:lnTo>
                  <a:lnTo>
                    <a:pt x="921" y="419"/>
                  </a:lnTo>
                  <a:lnTo>
                    <a:pt x="921" y="417"/>
                  </a:lnTo>
                  <a:lnTo>
                    <a:pt x="923" y="417"/>
                  </a:lnTo>
                  <a:lnTo>
                    <a:pt x="925" y="417"/>
                  </a:lnTo>
                  <a:lnTo>
                    <a:pt x="925" y="415"/>
                  </a:lnTo>
                  <a:lnTo>
                    <a:pt x="925" y="417"/>
                  </a:lnTo>
                  <a:lnTo>
                    <a:pt x="925" y="415"/>
                  </a:lnTo>
                  <a:lnTo>
                    <a:pt x="927" y="415"/>
                  </a:lnTo>
                  <a:lnTo>
                    <a:pt x="929" y="415"/>
                  </a:lnTo>
                  <a:lnTo>
                    <a:pt x="931" y="415"/>
                  </a:lnTo>
                  <a:lnTo>
                    <a:pt x="933" y="415"/>
                  </a:lnTo>
                  <a:lnTo>
                    <a:pt x="933" y="413"/>
                  </a:lnTo>
                  <a:lnTo>
                    <a:pt x="933" y="415"/>
                  </a:lnTo>
                  <a:lnTo>
                    <a:pt x="933" y="413"/>
                  </a:lnTo>
                  <a:lnTo>
                    <a:pt x="935" y="413"/>
                  </a:lnTo>
                  <a:lnTo>
                    <a:pt x="937" y="413"/>
                  </a:lnTo>
                  <a:lnTo>
                    <a:pt x="939" y="413"/>
                  </a:lnTo>
                  <a:lnTo>
                    <a:pt x="941" y="413"/>
                  </a:lnTo>
                  <a:lnTo>
                    <a:pt x="942" y="413"/>
                  </a:lnTo>
                  <a:lnTo>
                    <a:pt x="942" y="411"/>
                  </a:lnTo>
                  <a:lnTo>
                    <a:pt x="944" y="411"/>
                  </a:lnTo>
                  <a:lnTo>
                    <a:pt x="946" y="411"/>
                  </a:lnTo>
                  <a:lnTo>
                    <a:pt x="948" y="411"/>
                  </a:lnTo>
                  <a:lnTo>
                    <a:pt x="950" y="411"/>
                  </a:lnTo>
                  <a:lnTo>
                    <a:pt x="952" y="409"/>
                  </a:lnTo>
                  <a:lnTo>
                    <a:pt x="954" y="409"/>
                  </a:lnTo>
                  <a:lnTo>
                    <a:pt x="956" y="409"/>
                  </a:lnTo>
                  <a:lnTo>
                    <a:pt x="958" y="409"/>
                  </a:lnTo>
                  <a:lnTo>
                    <a:pt x="960" y="409"/>
                  </a:lnTo>
                  <a:lnTo>
                    <a:pt x="960" y="407"/>
                  </a:lnTo>
                  <a:lnTo>
                    <a:pt x="960" y="405"/>
                  </a:lnTo>
                  <a:lnTo>
                    <a:pt x="962" y="405"/>
                  </a:lnTo>
                  <a:lnTo>
                    <a:pt x="960" y="405"/>
                  </a:lnTo>
                  <a:lnTo>
                    <a:pt x="960" y="403"/>
                  </a:lnTo>
                  <a:lnTo>
                    <a:pt x="960" y="401"/>
                  </a:lnTo>
                  <a:lnTo>
                    <a:pt x="962" y="401"/>
                  </a:lnTo>
                  <a:lnTo>
                    <a:pt x="964" y="401"/>
                  </a:lnTo>
                  <a:lnTo>
                    <a:pt x="964" y="400"/>
                  </a:lnTo>
                  <a:lnTo>
                    <a:pt x="966" y="400"/>
                  </a:lnTo>
                  <a:lnTo>
                    <a:pt x="967" y="398"/>
                  </a:lnTo>
                  <a:lnTo>
                    <a:pt x="969" y="396"/>
                  </a:lnTo>
                  <a:lnTo>
                    <a:pt x="971" y="394"/>
                  </a:lnTo>
                  <a:lnTo>
                    <a:pt x="971" y="392"/>
                  </a:lnTo>
                  <a:lnTo>
                    <a:pt x="971" y="390"/>
                  </a:lnTo>
                  <a:lnTo>
                    <a:pt x="969" y="390"/>
                  </a:lnTo>
                  <a:lnTo>
                    <a:pt x="969" y="388"/>
                  </a:lnTo>
                  <a:lnTo>
                    <a:pt x="967" y="388"/>
                  </a:lnTo>
                  <a:lnTo>
                    <a:pt x="967" y="386"/>
                  </a:lnTo>
                  <a:lnTo>
                    <a:pt x="967" y="384"/>
                  </a:lnTo>
                  <a:lnTo>
                    <a:pt x="969" y="384"/>
                  </a:lnTo>
                  <a:lnTo>
                    <a:pt x="969" y="382"/>
                  </a:lnTo>
                  <a:lnTo>
                    <a:pt x="971" y="382"/>
                  </a:lnTo>
                  <a:lnTo>
                    <a:pt x="973" y="382"/>
                  </a:lnTo>
                  <a:lnTo>
                    <a:pt x="973" y="380"/>
                  </a:lnTo>
                  <a:lnTo>
                    <a:pt x="975" y="380"/>
                  </a:lnTo>
                  <a:lnTo>
                    <a:pt x="975" y="378"/>
                  </a:lnTo>
                  <a:lnTo>
                    <a:pt x="977" y="378"/>
                  </a:lnTo>
                  <a:lnTo>
                    <a:pt x="979" y="378"/>
                  </a:lnTo>
                  <a:lnTo>
                    <a:pt x="979" y="377"/>
                  </a:lnTo>
                  <a:lnTo>
                    <a:pt x="981" y="377"/>
                  </a:lnTo>
                  <a:lnTo>
                    <a:pt x="981" y="375"/>
                  </a:lnTo>
                  <a:lnTo>
                    <a:pt x="983" y="375"/>
                  </a:lnTo>
                  <a:lnTo>
                    <a:pt x="983" y="373"/>
                  </a:lnTo>
                  <a:lnTo>
                    <a:pt x="985" y="373"/>
                  </a:lnTo>
                  <a:lnTo>
                    <a:pt x="987" y="373"/>
                  </a:lnTo>
                  <a:lnTo>
                    <a:pt x="987" y="371"/>
                  </a:lnTo>
                  <a:lnTo>
                    <a:pt x="989" y="371"/>
                  </a:lnTo>
                  <a:lnTo>
                    <a:pt x="989" y="369"/>
                  </a:lnTo>
                  <a:lnTo>
                    <a:pt x="990" y="369"/>
                  </a:lnTo>
                  <a:lnTo>
                    <a:pt x="990" y="367"/>
                  </a:lnTo>
                  <a:lnTo>
                    <a:pt x="992" y="365"/>
                  </a:lnTo>
                  <a:lnTo>
                    <a:pt x="992" y="363"/>
                  </a:lnTo>
                  <a:lnTo>
                    <a:pt x="990" y="363"/>
                  </a:lnTo>
                  <a:lnTo>
                    <a:pt x="989" y="363"/>
                  </a:lnTo>
                  <a:lnTo>
                    <a:pt x="989" y="361"/>
                  </a:lnTo>
                  <a:lnTo>
                    <a:pt x="990" y="361"/>
                  </a:lnTo>
                  <a:lnTo>
                    <a:pt x="989" y="361"/>
                  </a:lnTo>
                  <a:lnTo>
                    <a:pt x="990" y="361"/>
                  </a:lnTo>
                  <a:lnTo>
                    <a:pt x="989" y="361"/>
                  </a:lnTo>
                  <a:lnTo>
                    <a:pt x="990" y="361"/>
                  </a:lnTo>
                  <a:lnTo>
                    <a:pt x="989" y="361"/>
                  </a:lnTo>
                  <a:lnTo>
                    <a:pt x="990" y="361"/>
                  </a:lnTo>
                  <a:lnTo>
                    <a:pt x="989" y="361"/>
                  </a:lnTo>
                  <a:lnTo>
                    <a:pt x="989" y="359"/>
                  </a:lnTo>
                  <a:lnTo>
                    <a:pt x="989" y="357"/>
                  </a:lnTo>
                  <a:lnTo>
                    <a:pt x="990" y="357"/>
                  </a:lnTo>
                  <a:lnTo>
                    <a:pt x="990" y="355"/>
                  </a:lnTo>
                  <a:lnTo>
                    <a:pt x="992" y="355"/>
                  </a:lnTo>
                  <a:lnTo>
                    <a:pt x="992" y="353"/>
                  </a:lnTo>
                  <a:lnTo>
                    <a:pt x="994" y="353"/>
                  </a:lnTo>
                  <a:lnTo>
                    <a:pt x="996" y="353"/>
                  </a:lnTo>
                  <a:lnTo>
                    <a:pt x="998" y="353"/>
                  </a:lnTo>
                  <a:lnTo>
                    <a:pt x="998" y="352"/>
                  </a:lnTo>
                  <a:lnTo>
                    <a:pt x="998" y="353"/>
                  </a:lnTo>
                  <a:lnTo>
                    <a:pt x="1000" y="353"/>
                  </a:lnTo>
                  <a:lnTo>
                    <a:pt x="1002" y="353"/>
                  </a:lnTo>
                  <a:lnTo>
                    <a:pt x="1004" y="353"/>
                  </a:lnTo>
                  <a:lnTo>
                    <a:pt x="1004" y="355"/>
                  </a:lnTo>
                  <a:lnTo>
                    <a:pt x="1006" y="355"/>
                  </a:lnTo>
                  <a:lnTo>
                    <a:pt x="1006" y="357"/>
                  </a:lnTo>
                  <a:lnTo>
                    <a:pt x="1004" y="357"/>
                  </a:lnTo>
                  <a:lnTo>
                    <a:pt x="1006" y="357"/>
                  </a:lnTo>
                  <a:lnTo>
                    <a:pt x="1004" y="357"/>
                  </a:lnTo>
                  <a:lnTo>
                    <a:pt x="1004" y="359"/>
                  </a:lnTo>
                  <a:lnTo>
                    <a:pt x="1002" y="359"/>
                  </a:lnTo>
                  <a:lnTo>
                    <a:pt x="1002" y="361"/>
                  </a:lnTo>
                  <a:lnTo>
                    <a:pt x="1000" y="361"/>
                  </a:lnTo>
                  <a:lnTo>
                    <a:pt x="998" y="361"/>
                  </a:lnTo>
                  <a:lnTo>
                    <a:pt x="996" y="361"/>
                  </a:lnTo>
                  <a:lnTo>
                    <a:pt x="996" y="363"/>
                  </a:lnTo>
                  <a:lnTo>
                    <a:pt x="998" y="365"/>
                  </a:lnTo>
                  <a:lnTo>
                    <a:pt x="998" y="367"/>
                  </a:lnTo>
                  <a:lnTo>
                    <a:pt x="998" y="369"/>
                  </a:lnTo>
                  <a:lnTo>
                    <a:pt x="1000" y="371"/>
                  </a:lnTo>
                  <a:lnTo>
                    <a:pt x="1002" y="373"/>
                  </a:lnTo>
                  <a:lnTo>
                    <a:pt x="1004" y="375"/>
                  </a:lnTo>
                  <a:lnTo>
                    <a:pt x="1004" y="377"/>
                  </a:lnTo>
                  <a:lnTo>
                    <a:pt x="1006" y="378"/>
                  </a:lnTo>
                  <a:lnTo>
                    <a:pt x="1008" y="380"/>
                  </a:lnTo>
                  <a:lnTo>
                    <a:pt x="1010" y="382"/>
                  </a:lnTo>
                  <a:lnTo>
                    <a:pt x="1012" y="384"/>
                  </a:lnTo>
                  <a:lnTo>
                    <a:pt x="1014" y="386"/>
                  </a:lnTo>
                  <a:lnTo>
                    <a:pt x="1015" y="388"/>
                  </a:lnTo>
                  <a:lnTo>
                    <a:pt x="1017" y="388"/>
                  </a:lnTo>
                  <a:lnTo>
                    <a:pt x="1019" y="390"/>
                  </a:lnTo>
                  <a:lnTo>
                    <a:pt x="1021" y="390"/>
                  </a:lnTo>
                  <a:lnTo>
                    <a:pt x="1021" y="392"/>
                  </a:lnTo>
                  <a:lnTo>
                    <a:pt x="1023" y="392"/>
                  </a:lnTo>
                  <a:lnTo>
                    <a:pt x="1025" y="394"/>
                  </a:lnTo>
                  <a:lnTo>
                    <a:pt x="1029" y="396"/>
                  </a:lnTo>
                  <a:lnTo>
                    <a:pt x="1031" y="396"/>
                  </a:lnTo>
                  <a:lnTo>
                    <a:pt x="1033" y="396"/>
                  </a:lnTo>
                  <a:lnTo>
                    <a:pt x="1035" y="398"/>
                  </a:lnTo>
                  <a:lnTo>
                    <a:pt x="1037" y="398"/>
                  </a:lnTo>
                  <a:lnTo>
                    <a:pt x="1039" y="398"/>
                  </a:lnTo>
                  <a:lnTo>
                    <a:pt x="1040" y="398"/>
                  </a:lnTo>
                  <a:lnTo>
                    <a:pt x="1042" y="398"/>
                  </a:lnTo>
                  <a:lnTo>
                    <a:pt x="1044" y="398"/>
                  </a:lnTo>
                  <a:lnTo>
                    <a:pt x="1046" y="398"/>
                  </a:lnTo>
                  <a:lnTo>
                    <a:pt x="1046" y="396"/>
                  </a:lnTo>
                  <a:lnTo>
                    <a:pt x="1048" y="396"/>
                  </a:lnTo>
                  <a:lnTo>
                    <a:pt x="1050" y="396"/>
                  </a:lnTo>
                  <a:lnTo>
                    <a:pt x="1052" y="394"/>
                  </a:lnTo>
                  <a:lnTo>
                    <a:pt x="1056" y="392"/>
                  </a:lnTo>
                  <a:lnTo>
                    <a:pt x="1058" y="390"/>
                  </a:lnTo>
                  <a:lnTo>
                    <a:pt x="1060" y="390"/>
                  </a:lnTo>
                  <a:lnTo>
                    <a:pt x="1060" y="388"/>
                  </a:lnTo>
                  <a:lnTo>
                    <a:pt x="1062" y="386"/>
                  </a:lnTo>
                  <a:lnTo>
                    <a:pt x="1063" y="384"/>
                  </a:lnTo>
                  <a:lnTo>
                    <a:pt x="1063" y="382"/>
                  </a:lnTo>
                  <a:lnTo>
                    <a:pt x="1063" y="380"/>
                  </a:lnTo>
                  <a:lnTo>
                    <a:pt x="1063" y="378"/>
                  </a:lnTo>
                  <a:lnTo>
                    <a:pt x="1063" y="377"/>
                  </a:lnTo>
                  <a:lnTo>
                    <a:pt x="1065" y="377"/>
                  </a:lnTo>
                  <a:lnTo>
                    <a:pt x="1063" y="377"/>
                  </a:lnTo>
                  <a:lnTo>
                    <a:pt x="1063" y="375"/>
                  </a:lnTo>
                  <a:lnTo>
                    <a:pt x="1063" y="373"/>
                  </a:lnTo>
                  <a:lnTo>
                    <a:pt x="1063" y="371"/>
                  </a:lnTo>
                  <a:lnTo>
                    <a:pt x="1063" y="369"/>
                  </a:lnTo>
                  <a:lnTo>
                    <a:pt x="1065" y="367"/>
                  </a:lnTo>
                  <a:lnTo>
                    <a:pt x="1067" y="367"/>
                  </a:lnTo>
                  <a:lnTo>
                    <a:pt x="1067" y="365"/>
                  </a:lnTo>
                  <a:lnTo>
                    <a:pt x="1069" y="365"/>
                  </a:lnTo>
                  <a:lnTo>
                    <a:pt x="1071" y="365"/>
                  </a:lnTo>
                  <a:lnTo>
                    <a:pt x="1071" y="363"/>
                  </a:lnTo>
                  <a:lnTo>
                    <a:pt x="1073" y="363"/>
                  </a:lnTo>
                  <a:lnTo>
                    <a:pt x="1075" y="363"/>
                  </a:lnTo>
                  <a:lnTo>
                    <a:pt x="1077" y="363"/>
                  </a:lnTo>
                  <a:lnTo>
                    <a:pt x="1077" y="361"/>
                  </a:lnTo>
                  <a:lnTo>
                    <a:pt x="1079" y="361"/>
                  </a:lnTo>
                  <a:lnTo>
                    <a:pt x="1081" y="361"/>
                  </a:lnTo>
                  <a:lnTo>
                    <a:pt x="1081" y="359"/>
                  </a:lnTo>
                  <a:lnTo>
                    <a:pt x="1083" y="359"/>
                  </a:lnTo>
                  <a:lnTo>
                    <a:pt x="1085" y="359"/>
                  </a:lnTo>
                  <a:lnTo>
                    <a:pt x="1087" y="359"/>
                  </a:lnTo>
                  <a:lnTo>
                    <a:pt x="1088" y="359"/>
                  </a:lnTo>
                  <a:lnTo>
                    <a:pt x="1088" y="357"/>
                  </a:lnTo>
                  <a:lnTo>
                    <a:pt x="1090" y="357"/>
                  </a:lnTo>
                  <a:lnTo>
                    <a:pt x="1092" y="357"/>
                  </a:lnTo>
                  <a:lnTo>
                    <a:pt x="1094" y="357"/>
                  </a:lnTo>
                  <a:lnTo>
                    <a:pt x="1096" y="357"/>
                  </a:lnTo>
                  <a:lnTo>
                    <a:pt x="1098" y="357"/>
                  </a:lnTo>
                  <a:lnTo>
                    <a:pt x="1100" y="357"/>
                  </a:lnTo>
                  <a:lnTo>
                    <a:pt x="1102" y="357"/>
                  </a:lnTo>
                  <a:lnTo>
                    <a:pt x="1104" y="357"/>
                  </a:lnTo>
                  <a:lnTo>
                    <a:pt x="1106" y="357"/>
                  </a:lnTo>
                  <a:lnTo>
                    <a:pt x="1108" y="357"/>
                  </a:lnTo>
                  <a:lnTo>
                    <a:pt x="1110" y="357"/>
                  </a:lnTo>
                  <a:lnTo>
                    <a:pt x="1111" y="357"/>
                  </a:lnTo>
                  <a:lnTo>
                    <a:pt x="1113" y="357"/>
                  </a:lnTo>
                  <a:lnTo>
                    <a:pt x="1113" y="355"/>
                  </a:lnTo>
                  <a:lnTo>
                    <a:pt x="1113" y="357"/>
                  </a:lnTo>
                  <a:lnTo>
                    <a:pt x="1113" y="355"/>
                  </a:lnTo>
                  <a:lnTo>
                    <a:pt x="1115" y="355"/>
                  </a:lnTo>
                  <a:lnTo>
                    <a:pt x="1117" y="355"/>
                  </a:lnTo>
                  <a:lnTo>
                    <a:pt x="1119" y="355"/>
                  </a:lnTo>
                  <a:lnTo>
                    <a:pt x="1121" y="355"/>
                  </a:lnTo>
                  <a:lnTo>
                    <a:pt x="1123" y="355"/>
                  </a:lnTo>
                  <a:lnTo>
                    <a:pt x="1125" y="355"/>
                  </a:lnTo>
                  <a:lnTo>
                    <a:pt x="1125" y="353"/>
                  </a:lnTo>
                  <a:lnTo>
                    <a:pt x="1127" y="353"/>
                  </a:lnTo>
                  <a:lnTo>
                    <a:pt x="1129" y="353"/>
                  </a:lnTo>
                  <a:lnTo>
                    <a:pt x="1129" y="355"/>
                  </a:lnTo>
                  <a:lnTo>
                    <a:pt x="1129" y="353"/>
                  </a:lnTo>
                  <a:lnTo>
                    <a:pt x="1131" y="353"/>
                  </a:lnTo>
                  <a:lnTo>
                    <a:pt x="1131" y="355"/>
                  </a:lnTo>
                  <a:lnTo>
                    <a:pt x="1133" y="355"/>
                  </a:lnTo>
                  <a:lnTo>
                    <a:pt x="1133" y="357"/>
                  </a:lnTo>
                  <a:lnTo>
                    <a:pt x="1135" y="357"/>
                  </a:lnTo>
                  <a:lnTo>
                    <a:pt x="1136" y="357"/>
                  </a:lnTo>
                  <a:lnTo>
                    <a:pt x="1136" y="359"/>
                  </a:lnTo>
                  <a:lnTo>
                    <a:pt x="1138" y="359"/>
                  </a:lnTo>
                  <a:lnTo>
                    <a:pt x="1140" y="359"/>
                  </a:lnTo>
                  <a:lnTo>
                    <a:pt x="1142" y="357"/>
                  </a:lnTo>
                  <a:lnTo>
                    <a:pt x="1144" y="357"/>
                  </a:lnTo>
                  <a:lnTo>
                    <a:pt x="1144" y="355"/>
                  </a:lnTo>
                  <a:lnTo>
                    <a:pt x="1144" y="353"/>
                  </a:lnTo>
                  <a:lnTo>
                    <a:pt x="1144" y="355"/>
                  </a:lnTo>
                  <a:lnTo>
                    <a:pt x="1146" y="355"/>
                  </a:lnTo>
                  <a:lnTo>
                    <a:pt x="1146" y="357"/>
                  </a:lnTo>
                  <a:lnTo>
                    <a:pt x="1148" y="357"/>
                  </a:lnTo>
                  <a:lnTo>
                    <a:pt x="1148" y="359"/>
                  </a:lnTo>
                  <a:lnTo>
                    <a:pt x="1150" y="359"/>
                  </a:lnTo>
                  <a:lnTo>
                    <a:pt x="1152" y="359"/>
                  </a:lnTo>
                  <a:lnTo>
                    <a:pt x="1152" y="361"/>
                  </a:lnTo>
                  <a:lnTo>
                    <a:pt x="1154" y="361"/>
                  </a:lnTo>
                  <a:lnTo>
                    <a:pt x="1154" y="363"/>
                  </a:lnTo>
                  <a:lnTo>
                    <a:pt x="1156" y="363"/>
                  </a:lnTo>
                  <a:lnTo>
                    <a:pt x="1156" y="365"/>
                  </a:lnTo>
                  <a:lnTo>
                    <a:pt x="1158" y="365"/>
                  </a:lnTo>
                  <a:lnTo>
                    <a:pt x="1158" y="367"/>
                  </a:lnTo>
                  <a:lnTo>
                    <a:pt x="1159" y="367"/>
                  </a:lnTo>
                  <a:lnTo>
                    <a:pt x="1161" y="367"/>
                  </a:lnTo>
                  <a:lnTo>
                    <a:pt x="1161" y="369"/>
                  </a:lnTo>
                  <a:lnTo>
                    <a:pt x="1163" y="369"/>
                  </a:lnTo>
                  <a:lnTo>
                    <a:pt x="1165" y="371"/>
                  </a:lnTo>
                  <a:lnTo>
                    <a:pt x="1167" y="371"/>
                  </a:lnTo>
                  <a:lnTo>
                    <a:pt x="1169" y="371"/>
                  </a:lnTo>
                  <a:lnTo>
                    <a:pt x="1171" y="371"/>
                  </a:lnTo>
                  <a:lnTo>
                    <a:pt x="1171" y="369"/>
                  </a:lnTo>
                  <a:lnTo>
                    <a:pt x="1173" y="369"/>
                  </a:lnTo>
                  <a:lnTo>
                    <a:pt x="1173" y="367"/>
                  </a:lnTo>
                  <a:lnTo>
                    <a:pt x="1175" y="367"/>
                  </a:lnTo>
                  <a:lnTo>
                    <a:pt x="1175" y="365"/>
                  </a:lnTo>
                  <a:lnTo>
                    <a:pt x="1177" y="365"/>
                  </a:lnTo>
                  <a:lnTo>
                    <a:pt x="1177" y="367"/>
                  </a:lnTo>
                  <a:lnTo>
                    <a:pt x="1179" y="367"/>
                  </a:lnTo>
                  <a:lnTo>
                    <a:pt x="1181" y="367"/>
                  </a:lnTo>
                  <a:lnTo>
                    <a:pt x="1181" y="365"/>
                  </a:lnTo>
                  <a:lnTo>
                    <a:pt x="1183" y="365"/>
                  </a:lnTo>
                  <a:lnTo>
                    <a:pt x="1183" y="367"/>
                  </a:lnTo>
                  <a:lnTo>
                    <a:pt x="1184" y="367"/>
                  </a:lnTo>
                  <a:lnTo>
                    <a:pt x="1186" y="367"/>
                  </a:lnTo>
                  <a:lnTo>
                    <a:pt x="1186" y="369"/>
                  </a:lnTo>
                  <a:lnTo>
                    <a:pt x="1188" y="369"/>
                  </a:lnTo>
                  <a:lnTo>
                    <a:pt x="1190" y="371"/>
                  </a:lnTo>
                  <a:lnTo>
                    <a:pt x="1190" y="373"/>
                  </a:lnTo>
                  <a:lnTo>
                    <a:pt x="1192" y="373"/>
                  </a:lnTo>
                  <a:lnTo>
                    <a:pt x="1192" y="375"/>
                  </a:lnTo>
                  <a:lnTo>
                    <a:pt x="1194" y="375"/>
                  </a:lnTo>
                  <a:lnTo>
                    <a:pt x="1196" y="377"/>
                  </a:lnTo>
                  <a:lnTo>
                    <a:pt x="1198" y="378"/>
                  </a:lnTo>
                  <a:lnTo>
                    <a:pt x="1200" y="378"/>
                  </a:lnTo>
                  <a:lnTo>
                    <a:pt x="1200" y="380"/>
                  </a:lnTo>
                  <a:lnTo>
                    <a:pt x="1202" y="380"/>
                  </a:lnTo>
                  <a:lnTo>
                    <a:pt x="1204" y="380"/>
                  </a:lnTo>
                  <a:lnTo>
                    <a:pt x="1206" y="380"/>
                  </a:lnTo>
                  <a:lnTo>
                    <a:pt x="1207" y="380"/>
                  </a:lnTo>
                  <a:lnTo>
                    <a:pt x="1209" y="380"/>
                  </a:lnTo>
                  <a:lnTo>
                    <a:pt x="1209" y="378"/>
                  </a:lnTo>
                  <a:lnTo>
                    <a:pt x="1211" y="378"/>
                  </a:lnTo>
                  <a:lnTo>
                    <a:pt x="1209" y="378"/>
                  </a:lnTo>
                  <a:lnTo>
                    <a:pt x="1209" y="377"/>
                  </a:lnTo>
                  <a:lnTo>
                    <a:pt x="1209" y="375"/>
                  </a:lnTo>
                  <a:lnTo>
                    <a:pt x="1211" y="375"/>
                  </a:lnTo>
                  <a:lnTo>
                    <a:pt x="1213" y="375"/>
                  </a:lnTo>
                  <a:lnTo>
                    <a:pt x="1213" y="373"/>
                  </a:lnTo>
                  <a:lnTo>
                    <a:pt x="1213" y="375"/>
                  </a:lnTo>
                  <a:lnTo>
                    <a:pt x="1215" y="375"/>
                  </a:lnTo>
                  <a:lnTo>
                    <a:pt x="1217" y="375"/>
                  </a:lnTo>
                  <a:lnTo>
                    <a:pt x="1219" y="375"/>
                  </a:lnTo>
                  <a:lnTo>
                    <a:pt x="1219" y="377"/>
                  </a:lnTo>
                  <a:lnTo>
                    <a:pt x="1221" y="377"/>
                  </a:lnTo>
                  <a:lnTo>
                    <a:pt x="1221" y="378"/>
                  </a:lnTo>
                  <a:lnTo>
                    <a:pt x="1221" y="380"/>
                  </a:lnTo>
                  <a:lnTo>
                    <a:pt x="1223" y="380"/>
                  </a:lnTo>
                  <a:lnTo>
                    <a:pt x="1223" y="382"/>
                  </a:lnTo>
                  <a:lnTo>
                    <a:pt x="1223" y="384"/>
                  </a:lnTo>
                  <a:lnTo>
                    <a:pt x="1223" y="386"/>
                  </a:lnTo>
                  <a:lnTo>
                    <a:pt x="1221" y="386"/>
                  </a:lnTo>
                  <a:lnTo>
                    <a:pt x="1221" y="388"/>
                  </a:lnTo>
                  <a:lnTo>
                    <a:pt x="1223" y="388"/>
                  </a:lnTo>
                  <a:lnTo>
                    <a:pt x="1223" y="390"/>
                  </a:lnTo>
                  <a:lnTo>
                    <a:pt x="1225" y="390"/>
                  </a:lnTo>
                  <a:lnTo>
                    <a:pt x="1227" y="392"/>
                  </a:lnTo>
                  <a:lnTo>
                    <a:pt x="1227" y="394"/>
                  </a:lnTo>
                  <a:lnTo>
                    <a:pt x="1229" y="394"/>
                  </a:lnTo>
                  <a:lnTo>
                    <a:pt x="1229" y="396"/>
                  </a:lnTo>
                  <a:lnTo>
                    <a:pt x="1231" y="396"/>
                  </a:lnTo>
                  <a:lnTo>
                    <a:pt x="1232" y="396"/>
                  </a:lnTo>
                  <a:lnTo>
                    <a:pt x="1232" y="398"/>
                  </a:lnTo>
                  <a:lnTo>
                    <a:pt x="1232" y="400"/>
                  </a:lnTo>
                  <a:lnTo>
                    <a:pt x="1231" y="400"/>
                  </a:lnTo>
                  <a:lnTo>
                    <a:pt x="1231" y="401"/>
                  </a:lnTo>
                  <a:lnTo>
                    <a:pt x="1229" y="401"/>
                  </a:lnTo>
                  <a:lnTo>
                    <a:pt x="1227" y="401"/>
                  </a:lnTo>
                  <a:lnTo>
                    <a:pt x="1227" y="403"/>
                  </a:lnTo>
                  <a:lnTo>
                    <a:pt x="1229" y="403"/>
                  </a:lnTo>
                  <a:lnTo>
                    <a:pt x="1229" y="405"/>
                  </a:lnTo>
                  <a:lnTo>
                    <a:pt x="1227" y="405"/>
                  </a:lnTo>
                  <a:lnTo>
                    <a:pt x="1229" y="405"/>
                  </a:lnTo>
                  <a:lnTo>
                    <a:pt x="1227" y="405"/>
                  </a:lnTo>
                  <a:lnTo>
                    <a:pt x="1229" y="405"/>
                  </a:lnTo>
                  <a:lnTo>
                    <a:pt x="1227" y="405"/>
                  </a:lnTo>
                  <a:lnTo>
                    <a:pt x="1229" y="405"/>
                  </a:lnTo>
                  <a:lnTo>
                    <a:pt x="1229" y="407"/>
                  </a:lnTo>
                  <a:lnTo>
                    <a:pt x="1229" y="405"/>
                  </a:lnTo>
                  <a:lnTo>
                    <a:pt x="1227" y="405"/>
                  </a:lnTo>
                  <a:lnTo>
                    <a:pt x="1227" y="407"/>
                  </a:lnTo>
                  <a:lnTo>
                    <a:pt x="1229" y="407"/>
                  </a:lnTo>
                  <a:lnTo>
                    <a:pt x="1227" y="407"/>
                  </a:lnTo>
                  <a:lnTo>
                    <a:pt x="1225" y="407"/>
                  </a:lnTo>
                  <a:lnTo>
                    <a:pt x="1223" y="409"/>
                  </a:lnTo>
                  <a:lnTo>
                    <a:pt x="1221" y="409"/>
                  </a:lnTo>
                  <a:lnTo>
                    <a:pt x="1223" y="409"/>
                  </a:lnTo>
                  <a:lnTo>
                    <a:pt x="1221" y="409"/>
                  </a:lnTo>
                  <a:lnTo>
                    <a:pt x="1221" y="411"/>
                  </a:lnTo>
                  <a:lnTo>
                    <a:pt x="1221" y="413"/>
                  </a:lnTo>
                  <a:lnTo>
                    <a:pt x="1219" y="413"/>
                  </a:lnTo>
                  <a:lnTo>
                    <a:pt x="1217" y="413"/>
                  </a:lnTo>
                  <a:lnTo>
                    <a:pt x="1215" y="413"/>
                  </a:lnTo>
                  <a:lnTo>
                    <a:pt x="1213" y="413"/>
                  </a:lnTo>
                  <a:lnTo>
                    <a:pt x="1211" y="413"/>
                  </a:lnTo>
                  <a:lnTo>
                    <a:pt x="1209" y="413"/>
                  </a:lnTo>
                  <a:lnTo>
                    <a:pt x="1207" y="413"/>
                  </a:lnTo>
                  <a:lnTo>
                    <a:pt x="1206" y="413"/>
                  </a:lnTo>
                  <a:lnTo>
                    <a:pt x="1204" y="413"/>
                  </a:lnTo>
                  <a:lnTo>
                    <a:pt x="1202" y="413"/>
                  </a:lnTo>
                  <a:lnTo>
                    <a:pt x="1200" y="413"/>
                  </a:lnTo>
                  <a:lnTo>
                    <a:pt x="1200" y="411"/>
                  </a:lnTo>
                  <a:lnTo>
                    <a:pt x="1198" y="411"/>
                  </a:lnTo>
                  <a:lnTo>
                    <a:pt x="1196" y="411"/>
                  </a:lnTo>
                  <a:lnTo>
                    <a:pt x="1194" y="411"/>
                  </a:lnTo>
                  <a:lnTo>
                    <a:pt x="1194" y="409"/>
                  </a:lnTo>
                  <a:lnTo>
                    <a:pt x="1194" y="407"/>
                  </a:lnTo>
                  <a:lnTo>
                    <a:pt x="1192" y="407"/>
                  </a:lnTo>
                  <a:lnTo>
                    <a:pt x="1190" y="407"/>
                  </a:lnTo>
                  <a:lnTo>
                    <a:pt x="1190" y="405"/>
                  </a:lnTo>
                  <a:lnTo>
                    <a:pt x="1188" y="405"/>
                  </a:lnTo>
                  <a:lnTo>
                    <a:pt x="1186" y="405"/>
                  </a:lnTo>
                  <a:lnTo>
                    <a:pt x="1186" y="407"/>
                  </a:lnTo>
                  <a:lnTo>
                    <a:pt x="1186" y="405"/>
                  </a:lnTo>
                  <a:lnTo>
                    <a:pt x="1184" y="405"/>
                  </a:lnTo>
                  <a:lnTo>
                    <a:pt x="1184" y="407"/>
                  </a:lnTo>
                  <a:lnTo>
                    <a:pt x="1183" y="407"/>
                  </a:lnTo>
                  <a:lnTo>
                    <a:pt x="1183" y="409"/>
                  </a:lnTo>
                  <a:lnTo>
                    <a:pt x="1183" y="407"/>
                  </a:lnTo>
                  <a:lnTo>
                    <a:pt x="1183" y="409"/>
                  </a:lnTo>
                  <a:lnTo>
                    <a:pt x="1183" y="411"/>
                  </a:lnTo>
                  <a:lnTo>
                    <a:pt x="1184" y="411"/>
                  </a:lnTo>
                  <a:lnTo>
                    <a:pt x="1184" y="409"/>
                  </a:lnTo>
                  <a:lnTo>
                    <a:pt x="1184" y="411"/>
                  </a:lnTo>
                  <a:lnTo>
                    <a:pt x="1183" y="411"/>
                  </a:lnTo>
                  <a:lnTo>
                    <a:pt x="1181" y="411"/>
                  </a:lnTo>
                  <a:lnTo>
                    <a:pt x="1181" y="413"/>
                  </a:lnTo>
                  <a:lnTo>
                    <a:pt x="1181" y="415"/>
                  </a:lnTo>
                  <a:lnTo>
                    <a:pt x="1181" y="417"/>
                  </a:lnTo>
                  <a:lnTo>
                    <a:pt x="1181" y="419"/>
                  </a:lnTo>
                  <a:lnTo>
                    <a:pt x="1181" y="421"/>
                  </a:lnTo>
                  <a:lnTo>
                    <a:pt x="1183" y="421"/>
                  </a:lnTo>
                  <a:lnTo>
                    <a:pt x="1183" y="423"/>
                  </a:lnTo>
                  <a:lnTo>
                    <a:pt x="1184" y="423"/>
                  </a:lnTo>
                  <a:lnTo>
                    <a:pt x="1184" y="425"/>
                  </a:lnTo>
                  <a:lnTo>
                    <a:pt x="1186" y="425"/>
                  </a:lnTo>
                  <a:lnTo>
                    <a:pt x="1186" y="423"/>
                  </a:lnTo>
                  <a:lnTo>
                    <a:pt x="1186" y="425"/>
                  </a:lnTo>
                  <a:lnTo>
                    <a:pt x="1186" y="426"/>
                  </a:lnTo>
                  <a:lnTo>
                    <a:pt x="1184" y="426"/>
                  </a:lnTo>
                  <a:lnTo>
                    <a:pt x="1183" y="426"/>
                  </a:lnTo>
                  <a:lnTo>
                    <a:pt x="1183" y="428"/>
                  </a:lnTo>
                  <a:lnTo>
                    <a:pt x="1184" y="428"/>
                  </a:lnTo>
                  <a:lnTo>
                    <a:pt x="1183" y="428"/>
                  </a:lnTo>
                  <a:lnTo>
                    <a:pt x="1183" y="430"/>
                  </a:lnTo>
                  <a:lnTo>
                    <a:pt x="1181" y="430"/>
                  </a:lnTo>
                  <a:lnTo>
                    <a:pt x="1179" y="430"/>
                  </a:lnTo>
                  <a:lnTo>
                    <a:pt x="1177" y="430"/>
                  </a:lnTo>
                  <a:lnTo>
                    <a:pt x="1175" y="432"/>
                  </a:lnTo>
                  <a:lnTo>
                    <a:pt x="1173" y="432"/>
                  </a:lnTo>
                  <a:lnTo>
                    <a:pt x="1171" y="432"/>
                  </a:lnTo>
                  <a:lnTo>
                    <a:pt x="1169" y="432"/>
                  </a:lnTo>
                  <a:lnTo>
                    <a:pt x="1169" y="434"/>
                  </a:lnTo>
                  <a:lnTo>
                    <a:pt x="1167" y="434"/>
                  </a:lnTo>
                  <a:lnTo>
                    <a:pt x="1167" y="436"/>
                  </a:lnTo>
                  <a:lnTo>
                    <a:pt x="1165" y="436"/>
                  </a:lnTo>
                  <a:lnTo>
                    <a:pt x="1163" y="438"/>
                  </a:lnTo>
                  <a:lnTo>
                    <a:pt x="1163" y="440"/>
                  </a:lnTo>
                  <a:lnTo>
                    <a:pt x="1163" y="442"/>
                  </a:lnTo>
                  <a:lnTo>
                    <a:pt x="1163" y="444"/>
                  </a:lnTo>
                  <a:lnTo>
                    <a:pt x="1165" y="444"/>
                  </a:lnTo>
                  <a:lnTo>
                    <a:pt x="1167" y="446"/>
                  </a:lnTo>
                  <a:lnTo>
                    <a:pt x="1165" y="446"/>
                  </a:lnTo>
                  <a:lnTo>
                    <a:pt x="1165" y="448"/>
                  </a:lnTo>
                  <a:lnTo>
                    <a:pt x="1167" y="448"/>
                  </a:lnTo>
                  <a:lnTo>
                    <a:pt x="1167" y="449"/>
                  </a:lnTo>
                  <a:lnTo>
                    <a:pt x="1165" y="449"/>
                  </a:lnTo>
                  <a:lnTo>
                    <a:pt x="1163" y="449"/>
                  </a:lnTo>
                  <a:lnTo>
                    <a:pt x="1163" y="448"/>
                  </a:lnTo>
                  <a:lnTo>
                    <a:pt x="1161" y="448"/>
                  </a:lnTo>
                  <a:lnTo>
                    <a:pt x="1163" y="449"/>
                  </a:lnTo>
                  <a:lnTo>
                    <a:pt x="1165" y="449"/>
                  </a:lnTo>
                  <a:lnTo>
                    <a:pt x="1165" y="451"/>
                  </a:lnTo>
                  <a:lnTo>
                    <a:pt x="1165" y="453"/>
                  </a:lnTo>
                  <a:lnTo>
                    <a:pt x="1163" y="453"/>
                  </a:lnTo>
                  <a:lnTo>
                    <a:pt x="1163" y="455"/>
                  </a:lnTo>
                  <a:lnTo>
                    <a:pt x="1161" y="455"/>
                  </a:lnTo>
                  <a:lnTo>
                    <a:pt x="1163" y="455"/>
                  </a:lnTo>
                  <a:lnTo>
                    <a:pt x="1165" y="453"/>
                  </a:lnTo>
                  <a:lnTo>
                    <a:pt x="1165" y="451"/>
                  </a:lnTo>
                  <a:lnTo>
                    <a:pt x="1167" y="451"/>
                  </a:lnTo>
                  <a:lnTo>
                    <a:pt x="1167" y="449"/>
                  </a:lnTo>
                  <a:lnTo>
                    <a:pt x="1167" y="448"/>
                  </a:lnTo>
                  <a:lnTo>
                    <a:pt x="1169" y="448"/>
                  </a:lnTo>
                  <a:lnTo>
                    <a:pt x="1169" y="446"/>
                  </a:lnTo>
                  <a:lnTo>
                    <a:pt x="1169" y="444"/>
                  </a:lnTo>
                  <a:lnTo>
                    <a:pt x="1167" y="444"/>
                  </a:lnTo>
                  <a:lnTo>
                    <a:pt x="1167" y="442"/>
                  </a:lnTo>
                  <a:lnTo>
                    <a:pt x="1169" y="442"/>
                  </a:lnTo>
                  <a:lnTo>
                    <a:pt x="1169" y="444"/>
                  </a:lnTo>
                  <a:lnTo>
                    <a:pt x="1169" y="446"/>
                  </a:lnTo>
                  <a:lnTo>
                    <a:pt x="1169" y="448"/>
                  </a:lnTo>
                  <a:lnTo>
                    <a:pt x="1169" y="449"/>
                  </a:lnTo>
                  <a:lnTo>
                    <a:pt x="1167" y="449"/>
                  </a:lnTo>
                  <a:lnTo>
                    <a:pt x="1167" y="451"/>
                  </a:lnTo>
                  <a:lnTo>
                    <a:pt x="1165" y="451"/>
                  </a:lnTo>
                  <a:lnTo>
                    <a:pt x="1165" y="453"/>
                  </a:lnTo>
                  <a:lnTo>
                    <a:pt x="1165" y="455"/>
                  </a:lnTo>
                  <a:lnTo>
                    <a:pt x="1163" y="455"/>
                  </a:lnTo>
                  <a:lnTo>
                    <a:pt x="1163" y="457"/>
                  </a:lnTo>
                  <a:lnTo>
                    <a:pt x="1165" y="457"/>
                  </a:lnTo>
                  <a:lnTo>
                    <a:pt x="1163" y="457"/>
                  </a:lnTo>
                  <a:lnTo>
                    <a:pt x="1163" y="459"/>
                  </a:lnTo>
                  <a:lnTo>
                    <a:pt x="1163" y="461"/>
                  </a:lnTo>
                  <a:lnTo>
                    <a:pt x="1161" y="461"/>
                  </a:lnTo>
                  <a:lnTo>
                    <a:pt x="1161" y="463"/>
                  </a:lnTo>
                  <a:lnTo>
                    <a:pt x="1159" y="463"/>
                  </a:lnTo>
                  <a:lnTo>
                    <a:pt x="1159" y="465"/>
                  </a:lnTo>
                  <a:lnTo>
                    <a:pt x="1159" y="467"/>
                  </a:lnTo>
                  <a:lnTo>
                    <a:pt x="1158" y="467"/>
                  </a:lnTo>
                  <a:lnTo>
                    <a:pt x="1158" y="469"/>
                  </a:lnTo>
                  <a:lnTo>
                    <a:pt x="1158" y="471"/>
                  </a:lnTo>
                  <a:lnTo>
                    <a:pt x="1159" y="471"/>
                  </a:lnTo>
                  <a:lnTo>
                    <a:pt x="1159" y="473"/>
                  </a:lnTo>
                  <a:lnTo>
                    <a:pt x="1159" y="474"/>
                  </a:lnTo>
                  <a:lnTo>
                    <a:pt x="1159" y="476"/>
                  </a:lnTo>
                  <a:lnTo>
                    <a:pt x="1159" y="478"/>
                  </a:lnTo>
                  <a:lnTo>
                    <a:pt x="1159" y="480"/>
                  </a:lnTo>
                  <a:lnTo>
                    <a:pt x="1159" y="482"/>
                  </a:lnTo>
                  <a:lnTo>
                    <a:pt x="1159" y="484"/>
                  </a:lnTo>
                  <a:lnTo>
                    <a:pt x="1159" y="486"/>
                  </a:lnTo>
                  <a:lnTo>
                    <a:pt x="1159" y="488"/>
                  </a:lnTo>
                  <a:lnTo>
                    <a:pt x="1161" y="488"/>
                  </a:lnTo>
                  <a:lnTo>
                    <a:pt x="1161" y="490"/>
                  </a:lnTo>
                  <a:lnTo>
                    <a:pt x="1161" y="492"/>
                  </a:lnTo>
                  <a:lnTo>
                    <a:pt x="1163" y="492"/>
                  </a:lnTo>
                  <a:lnTo>
                    <a:pt x="1163" y="494"/>
                  </a:lnTo>
                  <a:lnTo>
                    <a:pt x="1161" y="496"/>
                  </a:lnTo>
                  <a:lnTo>
                    <a:pt x="1163" y="496"/>
                  </a:lnTo>
                  <a:lnTo>
                    <a:pt x="1163" y="497"/>
                  </a:lnTo>
                  <a:lnTo>
                    <a:pt x="1163" y="499"/>
                  </a:lnTo>
                  <a:lnTo>
                    <a:pt x="1163" y="501"/>
                  </a:lnTo>
                  <a:lnTo>
                    <a:pt x="1163" y="503"/>
                  </a:lnTo>
                  <a:lnTo>
                    <a:pt x="1163" y="505"/>
                  </a:lnTo>
                  <a:lnTo>
                    <a:pt x="1165" y="505"/>
                  </a:lnTo>
                  <a:lnTo>
                    <a:pt x="1165" y="507"/>
                  </a:lnTo>
                  <a:lnTo>
                    <a:pt x="1165" y="509"/>
                  </a:lnTo>
                  <a:lnTo>
                    <a:pt x="1167" y="509"/>
                  </a:lnTo>
                  <a:lnTo>
                    <a:pt x="1169" y="511"/>
                  </a:lnTo>
                  <a:lnTo>
                    <a:pt x="1171" y="511"/>
                  </a:lnTo>
                  <a:lnTo>
                    <a:pt x="1171" y="513"/>
                  </a:lnTo>
                  <a:lnTo>
                    <a:pt x="1173" y="513"/>
                  </a:lnTo>
                  <a:lnTo>
                    <a:pt x="1171" y="515"/>
                  </a:lnTo>
                  <a:lnTo>
                    <a:pt x="1173" y="515"/>
                  </a:lnTo>
                  <a:lnTo>
                    <a:pt x="1171" y="515"/>
                  </a:lnTo>
                  <a:lnTo>
                    <a:pt x="1173" y="515"/>
                  </a:lnTo>
                  <a:lnTo>
                    <a:pt x="1173" y="517"/>
                  </a:lnTo>
                  <a:lnTo>
                    <a:pt x="1171" y="517"/>
                  </a:lnTo>
                  <a:lnTo>
                    <a:pt x="1171" y="519"/>
                  </a:lnTo>
                  <a:lnTo>
                    <a:pt x="1169" y="519"/>
                  </a:lnTo>
                  <a:lnTo>
                    <a:pt x="1171" y="519"/>
                  </a:lnTo>
                  <a:lnTo>
                    <a:pt x="1169" y="519"/>
                  </a:lnTo>
                  <a:lnTo>
                    <a:pt x="1169" y="520"/>
                  </a:lnTo>
                  <a:lnTo>
                    <a:pt x="1167" y="520"/>
                  </a:lnTo>
                  <a:lnTo>
                    <a:pt x="1167" y="522"/>
                  </a:lnTo>
                  <a:lnTo>
                    <a:pt x="1165" y="522"/>
                  </a:lnTo>
                  <a:lnTo>
                    <a:pt x="1165" y="524"/>
                  </a:lnTo>
                  <a:lnTo>
                    <a:pt x="1163" y="524"/>
                  </a:lnTo>
                  <a:lnTo>
                    <a:pt x="1161" y="524"/>
                  </a:lnTo>
                  <a:lnTo>
                    <a:pt x="1161" y="526"/>
                  </a:lnTo>
                  <a:lnTo>
                    <a:pt x="1159" y="526"/>
                  </a:lnTo>
                  <a:lnTo>
                    <a:pt x="1158" y="526"/>
                  </a:lnTo>
                  <a:lnTo>
                    <a:pt x="1158" y="528"/>
                  </a:lnTo>
                  <a:lnTo>
                    <a:pt x="1156" y="528"/>
                  </a:lnTo>
                  <a:lnTo>
                    <a:pt x="1154" y="528"/>
                  </a:lnTo>
                  <a:lnTo>
                    <a:pt x="1152" y="528"/>
                  </a:lnTo>
                  <a:lnTo>
                    <a:pt x="1152" y="530"/>
                  </a:lnTo>
                  <a:lnTo>
                    <a:pt x="1150" y="530"/>
                  </a:lnTo>
                  <a:lnTo>
                    <a:pt x="1150" y="532"/>
                  </a:lnTo>
                  <a:lnTo>
                    <a:pt x="1148" y="532"/>
                  </a:lnTo>
                  <a:lnTo>
                    <a:pt x="1146" y="532"/>
                  </a:lnTo>
                  <a:lnTo>
                    <a:pt x="1144" y="532"/>
                  </a:lnTo>
                  <a:lnTo>
                    <a:pt x="1142" y="532"/>
                  </a:lnTo>
                  <a:lnTo>
                    <a:pt x="1140" y="532"/>
                  </a:lnTo>
                  <a:lnTo>
                    <a:pt x="1138" y="532"/>
                  </a:lnTo>
                  <a:lnTo>
                    <a:pt x="1136" y="532"/>
                  </a:lnTo>
                  <a:lnTo>
                    <a:pt x="1135" y="532"/>
                  </a:lnTo>
                  <a:lnTo>
                    <a:pt x="1133" y="532"/>
                  </a:lnTo>
                  <a:lnTo>
                    <a:pt x="1131" y="532"/>
                  </a:lnTo>
                  <a:lnTo>
                    <a:pt x="1129" y="532"/>
                  </a:lnTo>
                  <a:lnTo>
                    <a:pt x="1127" y="532"/>
                  </a:lnTo>
                  <a:lnTo>
                    <a:pt x="1125" y="532"/>
                  </a:lnTo>
                  <a:lnTo>
                    <a:pt x="1123" y="532"/>
                  </a:lnTo>
                  <a:lnTo>
                    <a:pt x="1121" y="532"/>
                  </a:lnTo>
                  <a:lnTo>
                    <a:pt x="1119" y="532"/>
                  </a:lnTo>
                  <a:lnTo>
                    <a:pt x="1119" y="534"/>
                  </a:lnTo>
                  <a:lnTo>
                    <a:pt x="1117" y="534"/>
                  </a:lnTo>
                  <a:lnTo>
                    <a:pt x="1115" y="534"/>
                  </a:lnTo>
                  <a:lnTo>
                    <a:pt x="1113" y="534"/>
                  </a:lnTo>
                  <a:lnTo>
                    <a:pt x="1111" y="534"/>
                  </a:lnTo>
                  <a:lnTo>
                    <a:pt x="1111" y="536"/>
                  </a:lnTo>
                  <a:lnTo>
                    <a:pt x="1110" y="536"/>
                  </a:lnTo>
                  <a:lnTo>
                    <a:pt x="1110" y="538"/>
                  </a:lnTo>
                  <a:lnTo>
                    <a:pt x="1110" y="540"/>
                  </a:lnTo>
                  <a:lnTo>
                    <a:pt x="1108" y="540"/>
                  </a:lnTo>
                  <a:lnTo>
                    <a:pt x="1106" y="540"/>
                  </a:lnTo>
                  <a:lnTo>
                    <a:pt x="1106" y="542"/>
                  </a:lnTo>
                  <a:lnTo>
                    <a:pt x="1104" y="542"/>
                  </a:lnTo>
                  <a:lnTo>
                    <a:pt x="1104" y="544"/>
                  </a:lnTo>
                  <a:lnTo>
                    <a:pt x="1102" y="544"/>
                  </a:lnTo>
                  <a:lnTo>
                    <a:pt x="1100" y="544"/>
                  </a:lnTo>
                  <a:lnTo>
                    <a:pt x="1100" y="542"/>
                  </a:lnTo>
                  <a:lnTo>
                    <a:pt x="1098" y="542"/>
                  </a:lnTo>
                  <a:lnTo>
                    <a:pt x="1096" y="542"/>
                  </a:lnTo>
                  <a:lnTo>
                    <a:pt x="1094" y="540"/>
                  </a:lnTo>
                  <a:lnTo>
                    <a:pt x="1092" y="540"/>
                  </a:lnTo>
                  <a:lnTo>
                    <a:pt x="1090" y="540"/>
                  </a:lnTo>
                  <a:lnTo>
                    <a:pt x="1088" y="540"/>
                  </a:lnTo>
                  <a:lnTo>
                    <a:pt x="1087" y="540"/>
                  </a:lnTo>
                  <a:lnTo>
                    <a:pt x="1085" y="540"/>
                  </a:lnTo>
                  <a:lnTo>
                    <a:pt x="1081" y="538"/>
                  </a:lnTo>
                  <a:lnTo>
                    <a:pt x="1079" y="538"/>
                  </a:lnTo>
                  <a:lnTo>
                    <a:pt x="1077" y="538"/>
                  </a:lnTo>
                  <a:lnTo>
                    <a:pt x="1075" y="538"/>
                  </a:lnTo>
                  <a:lnTo>
                    <a:pt x="1073" y="536"/>
                  </a:lnTo>
                  <a:lnTo>
                    <a:pt x="1071" y="536"/>
                  </a:lnTo>
                  <a:lnTo>
                    <a:pt x="1069" y="536"/>
                  </a:lnTo>
                  <a:lnTo>
                    <a:pt x="1067" y="536"/>
                  </a:lnTo>
                  <a:lnTo>
                    <a:pt x="1065" y="534"/>
                  </a:lnTo>
                  <a:lnTo>
                    <a:pt x="1063" y="534"/>
                  </a:lnTo>
                  <a:lnTo>
                    <a:pt x="1062" y="534"/>
                  </a:lnTo>
                  <a:lnTo>
                    <a:pt x="1060" y="534"/>
                  </a:lnTo>
                  <a:lnTo>
                    <a:pt x="1058" y="534"/>
                  </a:lnTo>
                  <a:lnTo>
                    <a:pt x="1056" y="534"/>
                  </a:lnTo>
                  <a:lnTo>
                    <a:pt x="1056" y="532"/>
                  </a:lnTo>
                  <a:lnTo>
                    <a:pt x="1054" y="532"/>
                  </a:lnTo>
                  <a:lnTo>
                    <a:pt x="1052" y="532"/>
                  </a:lnTo>
                  <a:lnTo>
                    <a:pt x="1050" y="532"/>
                  </a:lnTo>
                  <a:lnTo>
                    <a:pt x="1048" y="532"/>
                  </a:lnTo>
                  <a:lnTo>
                    <a:pt x="1046" y="532"/>
                  </a:lnTo>
                  <a:lnTo>
                    <a:pt x="1044" y="532"/>
                  </a:lnTo>
                  <a:lnTo>
                    <a:pt x="1042" y="532"/>
                  </a:lnTo>
                  <a:lnTo>
                    <a:pt x="1042" y="534"/>
                  </a:lnTo>
                  <a:lnTo>
                    <a:pt x="1040" y="534"/>
                  </a:lnTo>
                  <a:lnTo>
                    <a:pt x="1039" y="534"/>
                  </a:lnTo>
                  <a:lnTo>
                    <a:pt x="1037" y="536"/>
                  </a:lnTo>
                  <a:lnTo>
                    <a:pt x="1035" y="536"/>
                  </a:lnTo>
                  <a:lnTo>
                    <a:pt x="1035" y="538"/>
                  </a:lnTo>
                  <a:lnTo>
                    <a:pt x="1033" y="538"/>
                  </a:lnTo>
                  <a:lnTo>
                    <a:pt x="1033" y="540"/>
                  </a:lnTo>
                  <a:lnTo>
                    <a:pt x="1033" y="542"/>
                  </a:lnTo>
                  <a:lnTo>
                    <a:pt x="1031" y="542"/>
                  </a:lnTo>
                  <a:lnTo>
                    <a:pt x="1031" y="544"/>
                  </a:lnTo>
                  <a:lnTo>
                    <a:pt x="1029" y="544"/>
                  </a:lnTo>
                  <a:lnTo>
                    <a:pt x="1027" y="544"/>
                  </a:lnTo>
                  <a:lnTo>
                    <a:pt x="1027" y="545"/>
                  </a:lnTo>
                  <a:lnTo>
                    <a:pt x="1025" y="545"/>
                  </a:lnTo>
                  <a:lnTo>
                    <a:pt x="1023" y="545"/>
                  </a:lnTo>
                  <a:lnTo>
                    <a:pt x="1023" y="547"/>
                  </a:lnTo>
                  <a:lnTo>
                    <a:pt x="1021" y="547"/>
                  </a:lnTo>
                  <a:lnTo>
                    <a:pt x="1021" y="545"/>
                  </a:lnTo>
                  <a:lnTo>
                    <a:pt x="1019" y="545"/>
                  </a:lnTo>
                  <a:lnTo>
                    <a:pt x="1017" y="545"/>
                  </a:lnTo>
                  <a:lnTo>
                    <a:pt x="1017" y="544"/>
                  </a:lnTo>
                  <a:lnTo>
                    <a:pt x="1015" y="544"/>
                  </a:lnTo>
                  <a:lnTo>
                    <a:pt x="1014" y="544"/>
                  </a:lnTo>
                  <a:lnTo>
                    <a:pt x="1012" y="544"/>
                  </a:lnTo>
                  <a:lnTo>
                    <a:pt x="1010" y="544"/>
                  </a:lnTo>
                  <a:lnTo>
                    <a:pt x="1008" y="544"/>
                  </a:lnTo>
                  <a:lnTo>
                    <a:pt x="1006" y="545"/>
                  </a:lnTo>
                  <a:lnTo>
                    <a:pt x="1004" y="545"/>
                  </a:lnTo>
                  <a:lnTo>
                    <a:pt x="1002" y="545"/>
                  </a:lnTo>
                  <a:lnTo>
                    <a:pt x="1002" y="547"/>
                  </a:lnTo>
                  <a:lnTo>
                    <a:pt x="1000" y="547"/>
                  </a:lnTo>
                  <a:lnTo>
                    <a:pt x="998" y="547"/>
                  </a:lnTo>
                  <a:lnTo>
                    <a:pt x="998" y="549"/>
                  </a:lnTo>
                  <a:lnTo>
                    <a:pt x="996" y="549"/>
                  </a:lnTo>
                  <a:lnTo>
                    <a:pt x="994" y="549"/>
                  </a:lnTo>
                  <a:lnTo>
                    <a:pt x="994" y="551"/>
                  </a:lnTo>
                  <a:lnTo>
                    <a:pt x="992" y="551"/>
                  </a:lnTo>
                  <a:lnTo>
                    <a:pt x="990" y="551"/>
                  </a:lnTo>
                  <a:lnTo>
                    <a:pt x="989" y="551"/>
                  </a:lnTo>
                  <a:lnTo>
                    <a:pt x="987" y="551"/>
                  </a:lnTo>
                  <a:lnTo>
                    <a:pt x="987" y="549"/>
                  </a:lnTo>
                  <a:lnTo>
                    <a:pt x="985" y="549"/>
                  </a:lnTo>
                  <a:lnTo>
                    <a:pt x="987" y="549"/>
                  </a:lnTo>
                  <a:lnTo>
                    <a:pt x="987" y="547"/>
                  </a:lnTo>
                  <a:lnTo>
                    <a:pt x="987" y="545"/>
                  </a:lnTo>
                  <a:lnTo>
                    <a:pt x="985" y="545"/>
                  </a:lnTo>
                  <a:lnTo>
                    <a:pt x="985" y="544"/>
                  </a:lnTo>
                  <a:lnTo>
                    <a:pt x="983" y="542"/>
                  </a:lnTo>
                  <a:lnTo>
                    <a:pt x="981" y="542"/>
                  </a:lnTo>
                  <a:lnTo>
                    <a:pt x="981" y="540"/>
                  </a:lnTo>
                  <a:lnTo>
                    <a:pt x="981" y="538"/>
                  </a:lnTo>
                  <a:lnTo>
                    <a:pt x="981" y="536"/>
                  </a:lnTo>
                  <a:lnTo>
                    <a:pt x="981" y="534"/>
                  </a:lnTo>
                  <a:lnTo>
                    <a:pt x="979" y="534"/>
                  </a:lnTo>
                  <a:lnTo>
                    <a:pt x="979" y="532"/>
                  </a:lnTo>
                  <a:lnTo>
                    <a:pt x="979" y="530"/>
                  </a:lnTo>
                  <a:lnTo>
                    <a:pt x="977" y="530"/>
                  </a:lnTo>
                  <a:lnTo>
                    <a:pt x="977" y="528"/>
                  </a:lnTo>
                  <a:lnTo>
                    <a:pt x="975" y="528"/>
                  </a:lnTo>
                  <a:lnTo>
                    <a:pt x="975" y="526"/>
                  </a:lnTo>
                  <a:lnTo>
                    <a:pt x="973" y="526"/>
                  </a:lnTo>
                  <a:lnTo>
                    <a:pt x="973" y="524"/>
                  </a:lnTo>
                  <a:lnTo>
                    <a:pt x="971" y="524"/>
                  </a:lnTo>
                  <a:lnTo>
                    <a:pt x="971" y="522"/>
                  </a:lnTo>
                  <a:lnTo>
                    <a:pt x="969" y="522"/>
                  </a:lnTo>
                  <a:lnTo>
                    <a:pt x="969" y="520"/>
                  </a:lnTo>
                  <a:lnTo>
                    <a:pt x="967" y="519"/>
                  </a:lnTo>
                  <a:lnTo>
                    <a:pt x="966" y="519"/>
                  </a:lnTo>
                  <a:lnTo>
                    <a:pt x="964" y="517"/>
                  </a:lnTo>
                  <a:lnTo>
                    <a:pt x="962" y="515"/>
                  </a:lnTo>
                  <a:lnTo>
                    <a:pt x="960" y="515"/>
                  </a:lnTo>
                  <a:lnTo>
                    <a:pt x="958" y="513"/>
                  </a:lnTo>
                  <a:lnTo>
                    <a:pt x="958" y="511"/>
                  </a:lnTo>
                  <a:lnTo>
                    <a:pt x="956" y="511"/>
                  </a:lnTo>
                  <a:lnTo>
                    <a:pt x="954" y="509"/>
                  </a:lnTo>
                  <a:lnTo>
                    <a:pt x="952" y="509"/>
                  </a:lnTo>
                  <a:lnTo>
                    <a:pt x="952" y="507"/>
                  </a:lnTo>
                  <a:lnTo>
                    <a:pt x="950" y="507"/>
                  </a:lnTo>
                  <a:lnTo>
                    <a:pt x="948" y="507"/>
                  </a:lnTo>
                  <a:lnTo>
                    <a:pt x="948" y="505"/>
                  </a:lnTo>
                  <a:lnTo>
                    <a:pt x="946" y="505"/>
                  </a:lnTo>
                  <a:lnTo>
                    <a:pt x="944" y="503"/>
                  </a:lnTo>
                  <a:lnTo>
                    <a:pt x="942" y="503"/>
                  </a:lnTo>
                  <a:lnTo>
                    <a:pt x="941" y="501"/>
                  </a:lnTo>
                  <a:lnTo>
                    <a:pt x="939" y="501"/>
                  </a:lnTo>
                  <a:lnTo>
                    <a:pt x="937" y="501"/>
                  </a:lnTo>
                  <a:lnTo>
                    <a:pt x="937" y="499"/>
                  </a:lnTo>
                  <a:lnTo>
                    <a:pt x="935" y="499"/>
                  </a:lnTo>
                  <a:lnTo>
                    <a:pt x="933" y="499"/>
                  </a:lnTo>
                  <a:lnTo>
                    <a:pt x="931" y="497"/>
                  </a:lnTo>
                  <a:lnTo>
                    <a:pt x="929" y="497"/>
                  </a:lnTo>
                  <a:lnTo>
                    <a:pt x="927" y="497"/>
                  </a:lnTo>
                  <a:lnTo>
                    <a:pt x="927" y="496"/>
                  </a:lnTo>
                  <a:lnTo>
                    <a:pt x="925" y="496"/>
                  </a:lnTo>
                  <a:lnTo>
                    <a:pt x="923" y="496"/>
                  </a:lnTo>
                  <a:lnTo>
                    <a:pt x="919" y="494"/>
                  </a:lnTo>
                  <a:lnTo>
                    <a:pt x="918" y="494"/>
                  </a:lnTo>
                  <a:lnTo>
                    <a:pt x="916" y="494"/>
                  </a:lnTo>
                  <a:lnTo>
                    <a:pt x="914" y="494"/>
                  </a:lnTo>
                  <a:lnTo>
                    <a:pt x="912" y="494"/>
                  </a:lnTo>
                  <a:lnTo>
                    <a:pt x="910" y="494"/>
                  </a:lnTo>
                  <a:lnTo>
                    <a:pt x="908" y="494"/>
                  </a:lnTo>
                  <a:lnTo>
                    <a:pt x="906" y="494"/>
                  </a:lnTo>
                  <a:lnTo>
                    <a:pt x="904" y="494"/>
                  </a:lnTo>
                  <a:lnTo>
                    <a:pt x="902" y="494"/>
                  </a:lnTo>
                  <a:lnTo>
                    <a:pt x="900" y="494"/>
                  </a:lnTo>
                  <a:lnTo>
                    <a:pt x="898" y="494"/>
                  </a:lnTo>
                  <a:lnTo>
                    <a:pt x="898" y="496"/>
                  </a:lnTo>
                  <a:lnTo>
                    <a:pt x="896" y="496"/>
                  </a:lnTo>
                  <a:lnTo>
                    <a:pt x="894" y="496"/>
                  </a:lnTo>
                  <a:lnTo>
                    <a:pt x="893" y="496"/>
                  </a:lnTo>
                  <a:lnTo>
                    <a:pt x="893" y="497"/>
                  </a:lnTo>
                  <a:lnTo>
                    <a:pt x="891" y="497"/>
                  </a:lnTo>
                  <a:lnTo>
                    <a:pt x="889" y="497"/>
                  </a:lnTo>
                  <a:lnTo>
                    <a:pt x="887" y="497"/>
                  </a:lnTo>
                  <a:lnTo>
                    <a:pt x="889" y="497"/>
                  </a:lnTo>
                  <a:lnTo>
                    <a:pt x="887" y="497"/>
                  </a:lnTo>
                  <a:lnTo>
                    <a:pt x="889" y="499"/>
                  </a:lnTo>
                  <a:lnTo>
                    <a:pt x="887" y="499"/>
                  </a:lnTo>
                  <a:lnTo>
                    <a:pt x="887" y="497"/>
                  </a:lnTo>
                  <a:lnTo>
                    <a:pt x="887" y="499"/>
                  </a:lnTo>
                  <a:lnTo>
                    <a:pt x="885" y="499"/>
                  </a:lnTo>
                  <a:lnTo>
                    <a:pt x="883" y="499"/>
                  </a:lnTo>
                  <a:lnTo>
                    <a:pt x="881" y="499"/>
                  </a:lnTo>
                  <a:lnTo>
                    <a:pt x="881" y="501"/>
                  </a:lnTo>
                  <a:lnTo>
                    <a:pt x="879" y="501"/>
                  </a:lnTo>
                  <a:lnTo>
                    <a:pt x="877" y="501"/>
                  </a:lnTo>
                  <a:lnTo>
                    <a:pt x="877" y="503"/>
                  </a:lnTo>
                  <a:lnTo>
                    <a:pt x="875" y="503"/>
                  </a:lnTo>
                  <a:lnTo>
                    <a:pt x="875" y="505"/>
                  </a:lnTo>
                  <a:lnTo>
                    <a:pt x="873" y="505"/>
                  </a:lnTo>
                  <a:lnTo>
                    <a:pt x="871" y="505"/>
                  </a:lnTo>
                  <a:lnTo>
                    <a:pt x="871" y="507"/>
                  </a:lnTo>
                  <a:lnTo>
                    <a:pt x="870" y="507"/>
                  </a:lnTo>
                  <a:lnTo>
                    <a:pt x="870" y="509"/>
                  </a:lnTo>
                  <a:lnTo>
                    <a:pt x="868" y="509"/>
                  </a:lnTo>
                  <a:lnTo>
                    <a:pt x="866" y="509"/>
                  </a:lnTo>
                  <a:lnTo>
                    <a:pt x="866" y="511"/>
                  </a:lnTo>
                  <a:lnTo>
                    <a:pt x="864" y="511"/>
                  </a:lnTo>
                  <a:lnTo>
                    <a:pt x="864" y="513"/>
                  </a:lnTo>
                  <a:lnTo>
                    <a:pt x="862" y="513"/>
                  </a:lnTo>
                  <a:lnTo>
                    <a:pt x="862" y="515"/>
                  </a:lnTo>
                  <a:lnTo>
                    <a:pt x="860" y="515"/>
                  </a:lnTo>
                  <a:lnTo>
                    <a:pt x="860" y="517"/>
                  </a:lnTo>
                  <a:lnTo>
                    <a:pt x="858" y="519"/>
                  </a:lnTo>
                  <a:lnTo>
                    <a:pt x="858" y="520"/>
                  </a:lnTo>
                  <a:lnTo>
                    <a:pt x="856" y="520"/>
                  </a:lnTo>
                  <a:lnTo>
                    <a:pt x="856" y="522"/>
                  </a:lnTo>
                  <a:lnTo>
                    <a:pt x="854" y="522"/>
                  </a:lnTo>
                  <a:lnTo>
                    <a:pt x="854" y="524"/>
                  </a:lnTo>
                  <a:lnTo>
                    <a:pt x="854" y="526"/>
                  </a:lnTo>
                  <a:lnTo>
                    <a:pt x="852" y="526"/>
                  </a:lnTo>
                  <a:lnTo>
                    <a:pt x="852" y="528"/>
                  </a:lnTo>
                  <a:lnTo>
                    <a:pt x="852" y="530"/>
                  </a:lnTo>
                  <a:lnTo>
                    <a:pt x="852" y="532"/>
                  </a:lnTo>
                  <a:lnTo>
                    <a:pt x="854" y="532"/>
                  </a:lnTo>
                  <a:lnTo>
                    <a:pt x="854" y="534"/>
                  </a:lnTo>
                  <a:lnTo>
                    <a:pt x="856" y="534"/>
                  </a:lnTo>
                  <a:lnTo>
                    <a:pt x="854" y="534"/>
                  </a:lnTo>
                  <a:lnTo>
                    <a:pt x="854" y="536"/>
                  </a:lnTo>
                  <a:lnTo>
                    <a:pt x="856" y="536"/>
                  </a:lnTo>
                  <a:lnTo>
                    <a:pt x="856" y="534"/>
                  </a:lnTo>
                  <a:lnTo>
                    <a:pt x="856" y="536"/>
                  </a:lnTo>
                  <a:lnTo>
                    <a:pt x="858" y="536"/>
                  </a:lnTo>
                  <a:lnTo>
                    <a:pt x="860" y="536"/>
                  </a:lnTo>
                  <a:lnTo>
                    <a:pt x="862" y="536"/>
                  </a:lnTo>
                  <a:lnTo>
                    <a:pt x="862" y="538"/>
                  </a:lnTo>
                  <a:lnTo>
                    <a:pt x="862" y="540"/>
                  </a:lnTo>
                  <a:lnTo>
                    <a:pt x="864" y="540"/>
                  </a:lnTo>
                  <a:lnTo>
                    <a:pt x="864" y="542"/>
                  </a:lnTo>
                  <a:lnTo>
                    <a:pt x="862" y="542"/>
                  </a:lnTo>
                  <a:lnTo>
                    <a:pt x="862" y="544"/>
                  </a:lnTo>
                  <a:lnTo>
                    <a:pt x="860" y="544"/>
                  </a:lnTo>
                  <a:lnTo>
                    <a:pt x="858" y="544"/>
                  </a:lnTo>
                  <a:lnTo>
                    <a:pt x="856" y="544"/>
                  </a:lnTo>
                  <a:lnTo>
                    <a:pt x="856" y="545"/>
                  </a:lnTo>
                  <a:lnTo>
                    <a:pt x="854" y="545"/>
                  </a:lnTo>
                  <a:lnTo>
                    <a:pt x="852" y="545"/>
                  </a:lnTo>
                  <a:lnTo>
                    <a:pt x="850" y="545"/>
                  </a:lnTo>
                  <a:lnTo>
                    <a:pt x="850" y="547"/>
                  </a:lnTo>
                  <a:lnTo>
                    <a:pt x="850" y="545"/>
                  </a:lnTo>
                  <a:lnTo>
                    <a:pt x="850" y="547"/>
                  </a:lnTo>
                  <a:lnTo>
                    <a:pt x="848" y="547"/>
                  </a:lnTo>
                  <a:lnTo>
                    <a:pt x="846" y="547"/>
                  </a:lnTo>
                  <a:lnTo>
                    <a:pt x="846" y="549"/>
                  </a:lnTo>
                  <a:lnTo>
                    <a:pt x="845" y="549"/>
                  </a:lnTo>
                  <a:lnTo>
                    <a:pt x="845" y="551"/>
                  </a:lnTo>
                  <a:lnTo>
                    <a:pt x="843" y="551"/>
                  </a:lnTo>
                  <a:lnTo>
                    <a:pt x="843" y="553"/>
                  </a:lnTo>
                  <a:lnTo>
                    <a:pt x="843" y="555"/>
                  </a:lnTo>
                  <a:lnTo>
                    <a:pt x="843" y="557"/>
                  </a:lnTo>
                  <a:lnTo>
                    <a:pt x="845" y="557"/>
                  </a:lnTo>
                  <a:lnTo>
                    <a:pt x="845" y="559"/>
                  </a:lnTo>
                  <a:lnTo>
                    <a:pt x="846" y="559"/>
                  </a:lnTo>
                  <a:lnTo>
                    <a:pt x="845" y="559"/>
                  </a:lnTo>
                  <a:lnTo>
                    <a:pt x="846" y="559"/>
                  </a:lnTo>
                  <a:lnTo>
                    <a:pt x="846" y="561"/>
                  </a:lnTo>
                  <a:lnTo>
                    <a:pt x="845" y="561"/>
                  </a:lnTo>
                  <a:lnTo>
                    <a:pt x="846" y="561"/>
                  </a:lnTo>
                  <a:lnTo>
                    <a:pt x="846" y="563"/>
                  </a:lnTo>
                  <a:lnTo>
                    <a:pt x="846" y="565"/>
                  </a:lnTo>
                  <a:lnTo>
                    <a:pt x="848" y="565"/>
                  </a:lnTo>
                  <a:lnTo>
                    <a:pt x="846" y="565"/>
                  </a:lnTo>
                  <a:lnTo>
                    <a:pt x="848" y="565"/>
                  </a:lnTo>
                  <a:lnTo>
                    <a:pt x="850" y="565"/>
                  </a:lnTo>
                  <a:lnTo>
                    <a:pt x="852" y="565"/>
                  </a:lnTo>
                  <a:lnTo>
                    <a:pt x="854" y="565"/>
                  </a:lnTo>
                  <a:lnTo>
                    <a:pt x="852" y="565"/>
                  </a:lnTo>
                  <a:lnTo>
                    <a:pt x="852" y="567"/>
                  </a:lnTo>
                  <a:lnTo>
                    <a:pt x="850" y="567"/>
                  </a:lnTo>
                  <a:lnTo>
                    <a:pt x="850" y="568"/>
                  </a:lnTo>
                  <a:lnTo>
                    <a:pt x="850" y="567"/>
                  </a:lnTo>
                  <a:lnTo>
                    <a:pt x="848" y="567"/>
                  </a:lnTo>
                  <a:lnTo>
                    <a:pt x="848" y="565"/>
                  </a:lnTo>
                  <a:lnTo>
                    <a:pt x="846" y="565"/>
                  </a:lnTo>
                  <a:lnTo>
                    <a:pt x="845" y="565"/>
                  </a:lnTo>
                  <a:lnTo>
                    <a:pt x="845" y="563"/>
                  </a:lnTo>
                  <a:lnTo>
                    <a:pt x="843" y="563"/>
                  </a:lnTo>
                  <a:lnTo>
                    <a:pt x="843" y="561"/>
                  </a:lnTo>
                  <a:lnTo>
                    <a:pt x="841" y="561"/>
                  </a:lnTo>
                  <a:lnTo>
                    <a:pt x="841" y="559"/>
                  </a:lnTo>
                  <a:lnTo>
                    <a:pt x="839" y="559"/>
                  </a:lnTo>
                  <a:lnTo>
                    <a:pt x="837" y="559"/>
                  </a:lnTo>
                  <a:lnTo>
                    <a:pt x="835" y="559"/>
                  </a:lnTo>
                  <a:lnTo>
                    <a:pt x="833" y="559"/>
                  </a:lnTo>
                  <a:lnTo>
                    <a:pt x="833" y="557"/>
                  </a:lnTo>
                  <a:lnTo>
                    <a:pt x="831" y="557"/>
                  </a:lnTo>
                  <a:lnTo>
                    <a:pt x="829" y="557"/>
                  </a:lnTo>
                  <a:lnTo>
                    <a:pt x="827" y="557"/>
                  </a:lnTo>
                  <a:lnTo>
                    <a:pt x="827" y="559"/>
                  </a:lnTo>
                  <a:lnTo>
                    <a:pt x="825" y="559"/>
                  </a:lnTo>
                  <a:lnTo>
                    <a:pt x="825" y="561"/>
                  </a:lnTo>
                  <a:lnTo>
                    <a:pt x="825" y="559"/>
                  </a:lnTo>
                  <a:lnTo>
                    <a:pt x="823" y="559"/>
                  </a:lnTo>
                  <a:lnTo>
                    <a:pt x="822" y="559"/>
                  </a:lnTo>
                  <a:lnTo>
                    <a:pt x="822" y="557"/>
                  </a:lnTo>
                  <a:lnTo>
                    <a:pt x="820" y="557"/>
                  </a:lnTo>
                  <a:lnTo>
                    <a:pt x="818" y="557"/>
                  </a:lnTo>
                  <a:lnTo>
                    <a:pt x="816" y="557"/>
                  </a:lnTo>
                  <a:lnTo>
                    <a:pt x="816" y="559"/>
                  </a:lnTo>
                  <a:lnTo>
                    <a:pt x="814" y="559"/>
                  </a:lnTo>
                  <a:lnTo>
                    <a:pt x="812" y="561"/>
                  </a:lnTo>
                  <a:lnTo>
                    <a:pt x="814" y="561"/>
                  </a:lnTo>
                  <a:lnTo>
                    <a:pt x="812" y="561"/>
                  </a:lnTo>
                  <a:lnTo>
                    <a:pt x="812" y="563"/>
                  </a:lnTo>
                  <a:lnTo>
                    <a:pt x="810" y="563"/>
                  </a:lnTo>
                  <a:lnTo>
                    <a:pt x="810" y="565"/>
                  </a:lnTo>
                  <a:lnTo>
                    <a:pt x="810" y="567"/>
                  </a:lnTo>
                  <a:lnTo>
                    <a:pt x="810" y="568"/>
                  </a:lnTo>
                  <a:lnTo>
                    <a:pt x="812" y="568"/>
                  </a:lnTo>
                  <a:lnTo>
                    <a:pt x="812" y="570"/>
                  </a:lnTo>
                  <a:lnTo>
                    <a:pt x="810" y="570"/>
                  </a:lnTo>
                  <a:lnTo>
                    <a:pt x="810" y="572"/>
                  </a:lnTo>
                  <a:lnTo>
                    <a:pt x="810" y="574"/>
                  </a:lnTo>
                  <a:lnTo>
                    <a:pt x="808" y="574"/>
                  </a:lnTo>
                  <a:lnTo>
                    <a:pt x="810" y="574"/>
                  </a:lnTo>
                  <a:lnTo>
                    <a:pt x="808" y="574"/>
                  </a:lnTo>
                  <a:lnTo>
                    <a:pt x="808" y="576"/>
                  </a:lnTo>
                  <a:lnTo>
                    <a:pt x="808" y="578"/>
                  </a:lnTo>
                  <a:lnTo>
                    <a:pt x="806" y="578"/>
                  </a:lnTo>
                  <a:lnTo>
                    <a:pt x="804" y="578"/>
                  </a:lnTo>
                  <a:lnTo>
                    <a:pt x="804" y="580"/>
                  </a:lnTo>
                  <a:lnTo>
                    <a:pt x="804" y="578"/>
                  </a:lnTo>
                  <a:lnTo>
                    <a:pt x="804" y="580"/>
                  </a:lnTo>
                  <a:lnTo>
                    <a:pt x="802" y="580"/>
                  </a:lnTo>
                  <a:lnTo>
                    <a:pt x="800" y="580"/>
                  </a:lnTo>
                  <a:lnTo>
                    <a:pt x="798" y="580"/>
                  </a:lnTo>
                  <a:lnTo>
                    <a:pt x="797" y="580"/>
                  </a:lnTo>
                  <a:lnTo>
                    <a:pt x="795" y="580"/>
                  </a:lnTo>
                  <a:lnTo>
                    <a:pt x="793" y="580"/>
                  </a:lnTo>
                  <a:lnTo>
                    <a:pt x="793" y="582"/>
                  </a:lnTo>
                  <a:lnTo>
                    <a:pt x="791" y="582"/>
                  </a:lnTo>
                  <a:lnTo>
                    <a:pt x="789" y="582"/>
                  </a:lnTo>
                  <a:lnTo>
                    <a:pt x="789" y="584"/>
                  </a:lnTo>
                  <a:lnTo>
                    <a:pt x="787" y="584"/>
                  </a:lnTo>
                  <a:lnTo>
                    <a:pt x="785" y="584"/>
                  </a:lnTo>
                  <a:lnTo>
                    <a:pt x="785" y="586"/>
                  </a:lnTo>
                  <a:lnTo>
                    <a:pt x="783" y="586"/>
                  </a:lnTo>
                  <a:lnTo>
                    <a:pt x="783" y="588"/>
                  </a:lnTo>
                  <a:lnTo>
                    <a:pt x="781" y="588"/>
                  </a:lnTo>
                  <a:lnTo>
                    <a:pt x="781" y="590"/>
                  </a:lnTo>
                  <a:lnTo>
                    <a:pt x="779" y="590"/>
                  </a:lnTo>
                  <a:lnTo>
                    <a:pt x="779" y="592"/>
                  </a:lnTo>
                  <a:lnTo>
                    <a:pt x="779" y="593"/>
                  </a:lnTo>
                  <a:lnTo>
                    <a:pt x="777" y="593"/>
                  </a:lnTo>
                  <a:lnTo>
                    <a:pt x="777" y="595"/>
                  </a:lnTo>
                  <a:lnTo>
                    <a:pt x="777" y="597"/>
                  </a:lnTo>
                  <a:lnTo>
                    <a:pt x="777" y="599"/>
                  </a:lnTo>
                  <a:lnTo>
                    <a:pt x="775" y="599"/>
                  </a:lnTo>
                  <a:lnTo>
                    <a:pt x="775" y="601"/>
                  </a:lnTo>
                  <a:lnTo>
                    <a:pt x="775" y="603"/>
                  </a:lnTo>
                  <a:lnTo>
                    <a:pt x="775" y="605"/>
                  </a:lnTo>
                  <a:lnTo>
                    <a:pt x="774" y="605"/>
                  </a:lnTo>
                  <a:lnTo>
                    <a:pt x="774" y="607"/>
                  </a:lnTo>
                  <a:lnTo>
                    <a:pt x="774" y="609"/>
                  </a:lnTo>
                  <a:lnTo>
                    <a:pt x="774" y="611"/>
                  </a:lnTo>
                  <a:lnTo>
                    <a:pt x="774" y="613"/>
                  </a:lnTo>
                  <a:lnTo>
                    <a:pt x="772" y="613"/>
                  </a:lnTo>
                  <a:lnTo>
                    <a:pt x="772" y="615"/>
                  </a:lnTo>
                  <a:lnTo>
                    <a:pt x="774" y="615"/>
                  </a:lnTo>
                  <a:lnTo>
                    <a:pt x="774" y="616"/>
                  </a:lnTo>
                  <a:lnTo>
                    <a:pt x="772" y="616"/>
                  </a:lnTo>
                  <a:lnTo>
                    <a:pt x="770" y="616"/>
                  </a:lnTo>
                  <a:lnTo>
                    <a:pt x="770" y="618"/>
                  </a:lnTo>
                  <a:lnTo>
                    <a:pt x="768" y="618"/>
                  </a:lnTo>
                  <a:lnTo>
                    <a:pt x="768" y="620"/>
                  </a:lnTo>
                  <a:lnTo>
                    <a:pt x="766" y="620"/>
                  </a:lnTo>
                  <a:lnTo>
                    <a:pt x="766" y="622"/>
                  </a:lnTo>
                  <a:lnTo>
                    <a:pt x="764" y="622"/>
                  </a:lnTo>
                  <a:lnTo>
                    <a:pt x="764" y="624"/>
                  </a:lnTo>
                  <a:lnTo>
                    <a:pt x="762" y="624"/>
                  </a:lnTo>
                  <a:lnTo>
                    <a:pt x="764" y="624"/>
                  </a:lnTo>
                  <a:lnTo>
                    <a:pt x="762" y="624"/>
                  </a:lnTo>
                  <a:lnTo>
                    <a:pt x="760" y="624"/>
                  </a:lnTo>
                  <a:lnTo>
                    <a:pt x="760" y="626"/>
                  </a:lnTo>
                  <a:lnTo>
                    <a:pt x="758" y="626"/>
                  </a:lnTo>
                  <a:lnTo>
                    <a:pt x="758" y="628"/>
                  </a:lnTo>
                  <a:lnTo>
                    <a:pt x="756" y="628"/>
                  </a:lnTo>
                  <a:lnTo>
                    <a:pt x="756" y="626"/>
                  </a:lnTo>
                  <a:lnTo>
                    <a:pt x="754" y="626"/>
                  </a:lnTo>
                  <a:lnTo>
                    <a:pt x="752" y="626"/>
                  </a:lnTo>
                  <a:lnTo>
                    <a:pt x="750" y="626"/>
                  </a:lnTo>
                  <a:lnTo>
                    <a:pt x="750" y="624"/>
                  </a:lnTo>
                  <a:lnTo>
                    <a:pt x="749" y="624"/>
                  </a:lnTo>
                  <a:lnTo>
                    <a:pt x="749" y="622"/>
                  </a:lnTo>
                  <a:lnTo>
                    <a:pt x="749" y="620"/>
                  </a:lnTo>
                  <a:lnTo>
                    <a:pt x="749" y="618"/>
                  </a:lnTo>
                  <a:lnTo>
                    <a:pt x="749" y="616"/>
                  </a:lnTo>
                  <a:lnTo>
                    <a:pt x="747" y="616"/>
                  </a:lnTo>
                  <a:lnTo>
                    <a:pt x="747" y="615"/>
                  </a:lnTo>
                  <a:lnTo>
                    <a:pt x="745" y="615"/>
                  </a:lnTo>
                  <a:lnTo>
                    <a:pt x="745" y="613"/>
                  </a:lnTo>
                  <a:lnTo>
                    <a:pt x="743" y="613"/>
                  </a:lnTo>
                  <a:lnTo>
                    <a:pt x="743" y="611"/>
                  </a:lnTo>
                  <a:lnTo>
                    <a:pt x="743" y="613"/>
                  </a:lnTo>
                  <a:lnTo>
                    <a:pt x="741" y="613"/>
                  </a:lnTo>
                  <a:lnTo>
                    <a:pt x="741" y="611"/>
                  </a:lnTo>
                  <a:lnTo>
                    <a:pt x="739" y="611"/>
                  </a:lnTo>
                  <a:lnTo>
                    <a:pt x="737" y="611"/>
                  </a:lnTo>
                  <a:lnTo>
                    <a:pt x="735" y="611"/>
                  </a:lnTo>
                  <a:lnTo>
                    <a:pt x="737" y="611"/>
                  </a:lnTo>
                  <a:lnTo>
                    <a:pt x="735" y="611"/>
                  </a:lnTo>
                  <a:lnTo>
                    <a:pt x="735" y="609"/>
                  </a:lnTo>
                  <a:lnTo>
                    <a:pt x="735" y="611"/>
                  </a:lnTo>
                  <a:lnTo>
                    <a:pt x="735" y="609"/>
                  </a:lnTo>
                  <a:lnTo>
                    <a:pt x="733" y="609"/>
                  </a:lnTo>
                  <a:lnTo>
                    <a:pt x="733" y="611"/>
                  </a:lnTo>
                  <a:lnTo>
                    <a:pt x="731" y="611"/>
                  </a:lnTo>
                  <a:lnTo>
                    <a:pt x="731" y="609"/>
                  </a:lnTo>
                  <a:lnTo>
                    <a:pt x="729" y="609"/>
                  </a:lnTo>
                  <a:lnTo>
                    <a:pt x="727" y="609"/>
                  </a:lnTo>
                  <a:lnTo>
                    <a:pt x="727" y="607"/>
                  </a:lnTo>
                  <a:lnTo>
                    <a:pt x="725" y="607"/>
                  </a:lnTo>
                  <a:lnTo>
                    <a:pt x="724" y="607"/>
                  </a:lnTo>
                  <a:lnTo>
                    <a:pt x="722" y="607"/>
                  </a:lnTo>
                  <a:lnTo>
                    <a:pt x="720" y="607"/>
                  </a:lnTo>
                  <a:lnTo>
                    <a:pt x="718" y="607"/>
                  </a:lnTo>
                  <a:lnTo>
                    <a:pt x="720" y="607"/>
                  </a:lnTo>
                  <a:lnTo>
                    <a:pt x="718" y="607"/>
                  </a:lnTo>
                  <a:lnTo>
                    <a:pt x="718" y="609"/>
                  </a:lnTo>
                  <a:lnTo>
                    <a:pt x="716" y="609"/>
                  </a:lnTo>
                  <a:lnTo>
                    <a:pt x="714" y="609"/>
                  </a:lnTo>
                  <a:lnTo>
                    <a:pt x="714" y="611"/>
                  </a:lnTo>
                  <a:lnTo>
                    <a:pt x="714" y="609"/>
                  </a:lnTo>
                  <a:lnTo>
                    <a:pt x="712" y="609"/>
                  </a:lnTo>
                  <a:lnTo>
                    <a:pt x="712" y="611"/>
                  </a:lnTo>
                  <a:lnTo>
                    <a:pt x="710" y="611"/>
                  </a:lnTo>
                  <a:lnTo>
                    <a:pt x="708" y="611"/>
                  </a:lnTo>
                  <a:lnTo>
                    <a:pt x="708" y="613"/>
                  </a:lnTo>
                  <a:lnTo>
                    <a:pt x="710" y="613"/>
                  </a:lnTo>
                  <a:lnTo>
                    <a:pt x="710" y="615"/>
                  </a:lnTo>
                  <a:lnTo>
                    <a:pt x="708" y="615"/>
                  </a:lnTo>
                  <a:lnTo>
                    <a:pt x="706" y="615"/>
                  </a:lnTo>
                  <a:lnTo>
                    <a:pt x="706" y="616"/>
                  </a:lnTo>
                  <a:lnTo>
                    <a:pt x="706" y="615"/>
                  </a:lnTo>
                  <a:lnTo>
                    <a:pt x="704" y="615"/>
                  </a:lnTo>
                  <a:lnTo>
                    <a:pt x="702" y="615"/>
                  </a:lnTo>
                  <a:lnTo>
                    <a:pt x="702" y="616"/>
                  </a:lnTo>
                  <a:lnTo>
                    <a:pt x="701" y="616"/>
                  </a:lnTo>
                  <a:lnTo>
                    <a:pt x="701" y="615"/>
                  </a:lnTo>
                  <a:lnTo>
                    <a:pt x="699" y="615"/>
                  </a:lnTo>
                  <a:lnTo>
                    <a:pt x="699" y="613"/>
                  </a:lnTo>
                  <a:lnTo>
                    <a:pt x="697" y="613"/>
                  </a:lnTo>
                  <a:lnTo>
                    <a:pt x="695" y="613"/>
                  </a:lnTo>
                  <a:lnTo>
                    <a:pt x="693" y="613"/>
                  </a:lnTo>
                  <a:lnTo>
                    <a:pt x="693" y="615"/>
                  </a:lnTo>
                  <a:lnTo>
                    <a:pt x="691" y="615"/>
                  </a:lnTo>
                  <a:lnTo>
                    <a:pt x="689" y="615"/>
                  </a:lnTo>
                  <a:lnTo>
                    <a:pt x="687" y="615"/>
                  </a:lnTo>
                  <a:lnTo>
                    <a:pt x="685" y="615"/>
                  </a:lnTo>
                  <a:lnTo>
                    <a:pt x="683" y="615"/>
                  </a:lnTo>
                  <a:lnTo>
                    <a:pt x="683" y="613"/>
                  </a:lnTo>
                  <a:lnTo>
                    <a:pt x="681" y="615"/>
                  </a:lnTo>
                  <a:lnTo>
                    <a:pt x="681" y="613"/>
                  </a:lnTo>
                  <a:lnTo>
                    <a:pt x="679" y="613"/>
                  </a:lnTo>
                  <a:lnTo>
                    <a:pt x="677" y="613"/>
                  </a:lnTo>
                  <a:lnTo>
                    <a:pt x="676" y="613"/>
                  </a:lnTo>
                  <a:lnTo>
                    <a:pt x="674" y="613"/>
                  </a:lnTo>
                  <a:lnTo>
                    <a:pt x="672" y="613"/>
                  </a:lnTo>
                  <a:lnTo>
                    <a:pt x="670" y="613"/>
                  </a:lnTo>
                  <a:lnTo>
                    <a:pt x="668" y="613"/>
                  </a:lnTo>
                  <a:lnTo>
                    <a:pt x="666" y="613"/>
                  </a:lnTo>
                  <a:lnTo>
                    <a:pt x="664" y="613"/>
                  </a:lnTo>
                  <a:lnTo>
                    <a:pt x="662" y="613"/>
                  </a:lnTo>
                  <a:lnTo>
                    <a:pt x="662" y="615"/>
                  </a:lnTo>
                  <a:lnTo>
                    <a:pt x="660" y="615"/>
                  </a:lnTo>
                  <a:lnTo>
                    <a:pt x="658" y="616"/>
                  </a:lnTo>
                  <a:lnTo>
                    <a:pt x="656" y="616"/>
                  </a:lnTo>
                  <a:lnTo>
                    <a:pt x="656" y="615"/>
                  </a:lnTo>
                  <a:lnTo>
                    <a:pt x="654" y="615"/>
                  </a:lnTo>
                  <a:lnTo>
                    <a:pt x="653" y="615"/>
                  </a:lnTo>
                  <a:lnTo>
                    <a:pt x="651" y="615"/>
                  </a:lnTo>
                  <a:lnTo>
                    <a:pt x="651" y="616"/>
                  </a:lnTo>
                  <a:lnTo>
                    <a:pt x="649" y="616"/>
                  </a:lnTo>
                  <a:lnTo>
                    <a:pt x="647" y="616"/>
                  </a:lnTo>
                  <a:lnTo>
                    <a:pt x="647" y="618"/>
                  </a:lnTo>
                  <a:lnTo>
                    <a:pt x="645" y="618"/>
                  </a:lnTo>
                  <a:lnTo>
                    <a:pt x="643" y="618"/>
                  </a:lnTo>
                  <a:lnTo>
                    <a:pt x="643" y="620"/>
                  </a:lnTo>
                  <a:lnTo>
                    <a:pt x="641" y="620"/>
                  </a:lnTo>
                  <a:lnTo>
                    <a:pt x="639" y="620"/>
                  </a:lnTo>
                  <a:lnTo>
                    <a:pt x="639" y="622"/>
                  </a:lnTo>
                  <a:lnTo>
                    <a:pt x="637" y="622"/>
                  </a:lnTo>
                  <a:lnTo>
                    <a:pt x="635" y="624"/>
                  </a:lnTo>
                  <a:lnTo>
                    <a:pt x="633" y="624"/>
                  </a:lnTo>
                  <a:lnTo>
                    <a:pt x="631" y="624"/>
                  </a:lnTo>
                  <a:lnTo>
                    <a:pt x="629" y="624"/>
                  </a:lnTo>
                  <a:lnTo>
                    <a:pt x="628" y="624"/>
                  </a:lnTo>
                  <a:lnTo>
                    <a:pt x="626" y="624"/>
                  </a:lnTo>
                  <a:lnTo>
                    <a:pt x="626" y="626"/>
                  </a:lnTo>
                  <a:lnTo>
                    <a:pt x="624" y="626"/>
                  </a:lnTo>
                  <a:lnTo>
                    <a:pt x="624" y="628"/>
                  </a:lnTo>
                  <a:lnTo>
                    <a:pt x="622" y="628"/>
                  </a:lnTo>
                  <a:lnTo>
                    <a:pt x="620" y="628"/>
                  </a:lnTo>
                  <a:lnTo>
                    <a:pt x="618" y="628"/>
                  </a:lnTo>
                  <a:lnTo>
                    <a:pt x="618" y="630"/>
                  </a:lnTo>
                  <a:lnTo>
                    <a:pt x="618" y="628"/>
                  </a:lnTo>
                  <a:lnTo>
                    <a:pt x="616" y="628"/>
                  </a:lnTo>
                  <a:lnTo>
                    <a:pt x="616" y="630"/>
                  </a:lnTo>
                  <a:lnTo>
                    <a:pt x="614" y="630"/>
                  </a:lnTo>
                  <a:lnTo>
                    <a:pt x="612" y="630"/>
                  </a:lnTo>
                  <a:lnTo>
                    <a:pt x="612" y="632"/>
                  </a:lnTo>
                  <a:lnTo>
                    <a:pt x="610" y="632"/>
                  </a:lnTo>
                  <a:lnTo>
                    <a:pt x="610" y="634"/>
                  </a:lnTo>
                  <a:lnTo>
                    <a:pt x="608" y="634"/>
                  </a:lnTo>
                  <a:lnTo>
                    <a:pt x="608" y="636"/>
                  </a:lnTo>
                  <a:lnTo>
                    <a:pt x="608" y="634"/>
                  </a:lnTo>
                  <a:lnTo>
                    <a:pt x="608" y="636"/>
                  </a:lnTo>
                  <a:lnTo>
                    <a:pt x="606" y="636"/>
                  </a:lnTo>
                  <a:lnTo>
                    <a:pt x="605" y="636"/>
                  </a:lnTo>
                  <a:lnTo>
                    <a:pt x="603" y="636"/>
                  </a:lnTo>
                  <a:lnTo>
                    <a:pt x="601" y="636"/>
                  </a:lnTo>
                  <a:lnTo>
                    <a:pt x="599" y="638"/>
                  </a:lnTo>
                  <a:lnTo>
                    <a:pt x="597" y="638"/>
                  </a:lnTo>
                  <a:lnTo>
                    <a:pt x="597" y="640"/>
                  </a:lnTo>
                  <a:lnTo>
                    <a:pt x="595" y="640"/>
                  </a:lnTo>
                  <a:lnTo>
                    <a:pt x="595" y="641"/>
                  </a:lnTo>
                  <a:lnTo>
                    <a:pt x="593" y="641"/>
                  </a:lnTo>
                  <a:lnTo>
                    <a:pt x="593" y="643"/>
                  </a:lnTo>
                  <a:lnTo>
                    <a:pt x="591" y="643"/>
                  </a:lnTo>
                  <a:lnTo>
                    <a:pt x="589" y="643"/>
                  </a:lnTo>
                  <a:lnTo>
                    <a:pt x="587" y="643"/>
                  </a:lnTo>
                  <a:lnTo>
                    <a:pt x="585" y="643"/>
                  </a:lnTo>
                  <a:lnTo>
                    <a:pt x="585" y="645"/>
                  </a:lnTo>
                  <a:lnTo>
                    <a:pt x="585" y="643"/>
                  </a:lnTo>
                  <a:lnTo>
                    <a:pt x="585" y="645"/>
                  </a:lnTo>
                  <a:lnTo>
                    <a:pt x="583" y="645"/>
                  </a:lnTo>
                  <a:lnTo>
                    <a:pt x="585" y="645"/>
                  </a:lnTo>
                  <a:lnTo>
                    <a:pt x="583" y="645"/>
                  </a:lnTo>
                  <a:lnTo>
                    <a:pt x="581" y="645"/>
                  </a:lnTo>
                  <a:lnTo>
                    <a:pt x="581" y="647"/>
                  </a:lnTo>
                  <a:lnTo>
                    <a:pt x="580" y="647"/>
                  </a:lnTo>
                  <a:lnTo>
                    <a:pt x="578" y="647"/>
                  </a:lnTo>
                  <a:lnTo>
                    <a:pt x="580" y="647"/>
                  </a:lnTo>
                  <a:lnTo>
                    <a:pt x="578" y="647"/>
                  </a:lnTo>
                  <a:lnTo>
                    <a:pt x="578" y="649"/>
                  </a:lnTo>
                  <a:lnTo>
                    <a:pt x="576" y="649"/>
                  </a:lnTo>
                  <a:lnTo>
                    <a:pt x="574" y="649"/>
                  </a:lnTo>
                  <a:lnTo>
                    <a:pt x="574" y="651"/>
                  </a:lnTo>
                  <a:lnTo>
                    <a:pt x="572" y="651"/>
                  </a:lnTo>
                  <a:lnTo>
                    <a:pt x="570" y="651"/>
                  </a:lnTo>
                  <a:lnTo>
                    <a:pt x="570" y="653"/>
                  </a:lnTo>
                  <a:lnTo>
                    <a:pt x="568" y="653"/>
                  </a:lnTo>
                  <a:lnTo>
                    <a:pt x="568" y="655"/>
                  </a:lnTo>
                  <a:lnTo>
                    <a:pt x="566" y="655"/>
                  </a:lnTo>
                  <a:lnTo>
                    <a:pt x="566" y="657"/>
                  </a:lnTo>
                  <a:lnTo>
                    <a:pt x="566" y="659"/>
                  </a:lnTo>
                  <a:lnTo>
                    <a:pt x="564" y="659"/>
                  </a:lnTo>
                  <a:lnTo>
                    <a:pt x="564" y="661"/>
                  </a:lnTo>
                  <a:lnTo>
                    <a:pt x="562" y="661"/>
                  </a:lnTo>
                  <a:lnTo>
                    <a:pt x="562" y="663"/>
                  </a:lnTo>
                  <a:lnTo>
                    <a:pt x="560" y="663"/>
                  </a:lnTo>
                  <a:lnTo>
                    <a:pt x="560" y="664"/>
                  </a:lnTo>
                  <a:lnTo>
                    <a:pt x="558" y="664"/>
                  </a:lnTo>
                  <a:lnTo>
                    <a:pt x="558" y="666"/>
                  </a:lnTo>
                  <a:lnTo>
                    <a:pt x="558" y="664"/>
                  </a:lnTo>
                  <a:lnTo>
                    <a:pt x="558" y="666"/>
                  </a:lnTo>
                  <a:lnTo>
                    <a:pt x="557" y="666"/>
                  </a:lnTo>
                  <a:lnTo>
                    <a:pt x="558" y="666"/>
                  </a:lnTo>
                  <a:lnTo>
                    <a:pt x="557" y="666"/>
                  </a:lnTo>
                  <a:lnTo>
                    <a:pt x="557" y="668"/>
                  </a:lnTo>
                  <a:lnTo>
                    <a:pt x="557" y="666"/>
                  </a:lnTo>
                  <a:lnTo>
                    <a:pt x="557" y="668"/>
                  </a:lnTo>
                  <a:lnTo>
                    <a:pt x="555" y="668"/>
                  </a:lnTo>
                  <a:lnTo>
                    <a:pt x="555" y="670"/>
                  </a:lnTo>
                  <a:lnTo>
                    <a:pt x="555" y="672"/>
                  </a:lnTo>
                  <a:lnTo>
                    <a:pt x="553" y="672"/>
                  </a:lnTo>
                  <a:lnTo>
                    <a:pt x="553" y="674"/>
                  </a:lnTo>
                  <a:lnTo>
                    <a:pt x="553" y="676"/>
                  </a:lnTo>
                  <a:lnTo>
                    <a:pt x="551" y="676"/>
                  </a:lnTo>
                  <a:lnTo>
                    <a:pt x="551" y="678"/>
                  </a:lnTo>
                  <a:lnTo>
                    <a:pt x="551" y="680"/>
                  </a:lnTo>
                  <a:lnTo>
                    <a:pt x="551" y="682"/>
                  </a:lnTo>
                  <a:lnTo>
                    <a:pt x="549" y="682"/>
                  </a:lnTo>
                  <a:lnTo>
                    <a:pt x="549" y="684"/>
                  </a:lnTo>
                  <a:lnTo>
                    <a:pt x="547" y="684"/>
                  </a:lnTo>
                  <a:lnTo>
                    <a:pt x="547" y="686"/>
                  </a:lnTo>
                  <a:lnTo>
                    <a:pt x="545" y="686"/>
                  </a:lnTo>
                  <a:lnTo>
                    <a:pt x="545" y="688"/>
                  </a:lnTo>
                  <a:lnTo>
                    <a:pt x="545" y="689"/>
                  </a:lnTo>
                  <a:lnTo>
                    <a:pt x="543" y="691"/>
                  </a:lnTo>
                  <a:lnTo>
                    <a:pt x="543" y="693"/>
                  </a:lnTo>
                  <a:lnTo>
                    <a:pt x="541" y="693"/>
                  </a:lnTo>
                  <a:lnTo>
                    <a:pt x="541" y="695"/>
                  </a:lnTo>
                  <a:lnTo>
                    <a:pt x="541" y="697"/>
                  </a:lnTo>
                  <a:lnTo>
                    <a:pt x="541" y="699"/>
                  </a:lnTo>
                  <a:lnTo>
                    <a:pt x="541" y="701"/>
                  </a:lnTo>
                  <a:lnTo>
                    <a:pt x="539" y="701"/>
                  </a:lnTo>
                  <a:lnTo>
                    <a:pt x="539" y="703"/>
                  </a:lnTo>
                  <a:lnTo>
                    <a:pt x="539" y="701"/>
                  </a:lnTo>
                  <a:lnTo>
                    <a:pt x="537" y="701"/>
                  </a:lnTo>
                  <a:lnTo>
                    <a:pt x="537" y="703"/>
                  </a:lnTo>
                  <a:lnTo>
                    <a:pt x="535" y="703"/>
                  </a:lnTo>
                  <a:lnTo>
                    <a:pt x="533" y="703"/>
                  </a:lnTo>
                  <a:lnTo>
                    <a:pt x="533" y="705"/>
                  </a:lnTo>
                  <a:lnTo>
                    <a:pt x="533" y="707"/>
                  </a:lnTo>
                  <a:lnTo>
                    <a:pt x="533" y="709"/>
                  </a:lnTo>
                  <a:lnTo>
                    <a:pt x="532" y="711"/>
                  </a:lnTo>
                  <a:lnTo>
                    <a:pt x="533" y="711"/>
                  </a:lnTo>
                  <a:lnTo>
                    <a:pt x="533" y="712"/>
                  </a:lnTo>
                  <a:lnTo>
                    <a:pt x="533" y="714"/>
                  </a:lnTo>
                  <a:lnTo>
                    <a:pt x="532" y="714"/>
                  </a:lnTo>
                  <a:lnTo>
                    <a:pt x="532" y="716"/>
                  </a:lnTo>
                  <a:lnTo>
                    <a:pt x="532" y="718"/>
                  </a:lnTo>
                  <a:lnTo>
                    <a:pt x="532" y="720"/>
                  </a:lnTo>
                  <a:lnTo>
                    <a:pt x="530" y="720"/>
                  </a:lnTo>
                  <a:lnTo>
                    <a:pt x="528" y="720"/>
                  </a:lnTo>
                  <a:lnTo>
                    <a:pt x="528" y="718"/>
                  </a:lnTo>
                  <a:lnTo>
                    <a:pt x="526" y="718"/>
                  </a:lnTo>
                  <a:lnTo>
                    <a:pt x="524" y="718"/>
                  </a:lnTo>
                  <a:lnTo>
                    <a:pt x="524" y="716"/>
                  </a:lnTo>
                  <a:lnTo>
                    <a:pt x="522" y="716"/>
                  </a:lnTo>
                  <a:lnTo>
                    <a:pt x="520" y="716"/>
                  </a:lnTo>
                  <a:lnTo>
                    <a:pt x="518" y="716"/>
                  </a:lnTo>
                  <a:lnTo>
                    <a:pt x="518" y="718"/>
                  </a:lnTo>
                  <a:lnTo>
                    <a:pt x="520" y="718"/>
                  </a:lnTo>
                  <a:lnTo>
                    <a:pt x="518" y="718"/>
                  </a:lnTo>
                  <a:lnTo>
                    <a:pt x="516" y="718"/>
                  </a:lnTo>
                  <a:lnTo>
                    <a:pt x="516" y="720"/>
                  </a:lnTo>
                  <a:lnTo>
                    <a:pt x="514" y="720"/>
                  </a:lnTo>
                  <a:lnTo>
                    <a:pt x="512" y="720"/>
                  </a:lnTo>
                  <a:lnTo>
                    <a:pt x="512" y="722"/>
                  </a:lnTo>
                  <a:lnTo>
                    <a:pt x="512" y="720"/>
                  </a:lnTo>
                  <a:lnTo>
                    <a:pt x="510" y="720"/>
                  </a:lnTo>
                  <a:lnTo>
                    <a:pt x="510" y="722"/>
                  </a:lnTo>
                  <a:lnTo>
                    <a:pt x="510" y="724"/>
                  </a:lnTo>
                  <a:lnTo>
                    <a:pt x="508" y="726"/>
                  </a:lnTo>
                  <a:lnTo>
                    <a:pt x="508" y="728"/>
                  </a:lnTo>
                  <a:lnTo>
                    <a:pt x="508" y="730"/>
                  </a:lnTo>
                  <a:lnTo>
                    <a:pt x="507" y="730"/>
                  </a:lnTo>
                  <a:lnTo>
                    <a:pt x="507" y="732"/>
                  </a:lnTo>
                  <a:lnTo>
                    <a:pt x="505" y="732"/>
                  </a:lnTo>
                  <a:lnTo>
                    <a:pt x="505" y="734"/>
                  </a:lnTo>
                  <a:lnTo>
                    <a:pt x="503" y="734"/>
                  </a:lnTo>
                  <a:lnTo>
                    <a:pt x="503" y="736"/>
                  </a:lnTo>
                  <a:lnTo>
                    <a:pt x="501" y="736"/>
                  </a:lnTo>
                  <a:lnTo>
                    <a:pt x="499" y="736"/>
                  </a:lnTo>
                  <a:lnTo>
                    <a:pt x="497" y="736"/>
                  </a:lnTo>
                  <a:lnTo>
                    <a:pt x="495" y="736"/>
                  </a:lnTo>
                  <a:lnTo>
                    <a:pt x="493" y="736"/>
                  </a:lnTo>
                  <a:lnTo>
                    <a:pt x="491" y="736"/>
                  </a:lnTo>
                  <a:lnTo>
                    <a:pt x="489" y="736"/>
                  </a:lnTo>
                  <a:lnTo>
                    <a:pt x="489" y="737"/>
                  </a:lnTo>
                  <a:lnTo>
                    <a:pt x="487" y="737"/>
                  </a:lnTo>
                  <a:lnTo>
                    <a:pt x="489" y="737"/>
                  </a:lnTo>
                  <a:lnTo>
                    <a:pt x="487" y="737"/>
                  </a:lnTo>
                  <a:lnTo>
                    <a:pt x="485" y="737"/>
                  </a:lnTo>
                  <a:lnTo>
                    <a:pt x="484" y="737"/>
                  </a:lnTo>
                  <a:lnTo>
                    <a:pt x="482" y="737"/>
                  </a:lnTo>
                  <a:lnTo>
                    <a:pt x="480" y="737"/>
                  </a:lnTo>
                  <a:lnTo>
                    <a:pt x="480" y="739"/>
                  </a:lnTo>
                  <a:lnTo>
                    <a:pt x="478" y="739"/>
                  </a:lnTo>
                  <a:lnTo>
                    <a:pt x="478" y="741"/>
                  </a:lnTo>
                  <a:lnTo>
                    <a:pt x="478" y="739"/>
                  </a:lnTo>
                  <a:lnTo>
                    <a:pt x="476" y="739"/>
                  </a:lnTo>
                  <a:lnTo>
                    <a:pt x="476" y="741"/>
                  </a:lnTo>
                  <a:lnTo>
                    <a:pt x="474" y="741"/>
                  </a:lnTo>
                  <a:lnTo>
                    <a:pt x="474" y="743"/>
                  </a:lnTo>
                  <a:lnTo>
                    <a:pt x="474" y="745"/>
                  </a:lnTo>
                  <a:lnTo>
                    <a:pt x="472" y="747"/>
                  </a:lnTo>
                  <a:lnTo>
                    <a:pt x="472" y="749"/>
                  </a:lnTo>
                  <a:lnTo>
                    <a:pt x="470" y="749"/>
                  </a:lnTo>
                  <a:lnTo>
                    <a:pt x="470" y="751"/>
                  </a:lnTo>
                  <a:lnTo>
                    <a:pt x="470" y="753"/>
                  </a:lnTo>
                  <a:lnTo>
                    <a:pt x="468" y="753"/>
                  </a:lnTo>
                  <a:lnTo>
                    <a:pt x="468" y="755"/>
                  </a:lnTo>
                  <a:lnTo>
                    <a:pt x="468" y="757"/>
                  </a:lnTo>
                  <a:lnTo>
                    <a:pt x="466" y="757"/>
                  </a:lnTo>
                  <a:lnTo>
                    <a:pt x="466" y="759"/>
                  </a:lnTo>
                  <a:lnTo>
                    <a:pt x="466" y="760"/>
                  </a:lnTo>
                  <a:lnTo>
                    <a:pt x="464" y="760"/>
                  </a:lnTo>
                  <a:lnTo>
                    <a:pt x="464" y="762"/>
                  </a:lnTo>
                  <a:lnTo>
                    <a:pt x="464" y="764"/>
                  </a:lnTo>
                  <a:lnTo>
                    <a:pt x="462" y="764"/>
                  </a:lnTo>
                  <a:lnTo>
                    <a:pt x="464" y="764"/>
                  </a:lnTo>
                  <a:lnTo>
                    <a:pt x="462" y="764"/>
                  </a:lnTo>
                  <a:lnTo>
                    <a:pt x="464" y="764"/>
                  </a:lnTo>
                  <a:lnTo>
                    <a:pt x="462" y="766"/>
                  </a:lnTo>
                  <a:lnTo>
                    <a:pt x="460" y="766"/>
                  </a:lnTo>
                  <a:lnTo>
                    <a:pt x="459" y="766"/>
                  </a:lnTo>
                  <a:lnTo>
                    <a:pt x="457" y="766"/>
                  </a:lnTo>
                  <a:lnTo>
                    <a:pt x="455" y="766"/>
                  </a:lnTo>
                  <a:lnTo>
                    <a:pt x="453" y="766"/>
                  </a:lnTo>
                  <a:lnTo>
                    <a:pt x="451" y="766"/>
                  </a:lnTo>
                  <a:lnTo>
                    <a:pt x="449" y="766"/>
                  </a:lnTo>
                  <a:lnTo>
                    <a:pt x="449" y="768"/>
                  </a:lnTo>
                  <a:lnTo>
                    <a:pt x="447" y="768"/>
                  </a:lnTo>
                  <a:lnTo>
                    <a:pt x="445" y="768"/>
                  </a:lnTo>
                  <a:lnTo>
                    <a:pt x="443" y="768"/>
                  </a:lnTo>
                  <a:lnTo>
                    <a:pt x="441" y="768"/>
                  </a:lnTo>
                  <a:lnTo>
                    <a:pt x="441" y="770"/>
                  </a:lnTo>
                  <a:lnTo>
                    <a:pt x="441" y="768"/>
                  </a:lnTo>
                  <a:lnTo>
                    <a:pt x="441" y="770"/>
                  </a:lnTo>
                  <a:lnTo>
                    <a:pt x="441" y="768"/>
                  </a:lnTo>
                  <a:lnTo>
                    <a:pt x="439" y="768"/>
                  </a:lnTo>
                  <a:lnTo>
                    <a:pt x="441" y="768"/>
                  </a:lnTo>
                  <a:lnTo>
                    <a:pt x="439" y="770"/>
                  </a:lnTo>
                  <a:lnTo>
                    <a:pt x="439" y="768"/>
                  </a:lnTo>
                  <a:lnTo>
                    <a:pt x="439" y="770"/>
                  </a:lnTo>
                  <a:lnTo>
                    <a:pt x="437" y="770"/>
                  </a:lnTo>
                  <a:lnTo>
                    <a:pt x="437" y="772"/>
                  </a:lnTo>
                  <a:lnTo>
                    <a:pt x="436" y="772"/>
                  </a:lnTo>
                  <a:lnTo>
                    <a:pt x="436" y="774"/>
                  </a:lnTo>
                  <a:lnTo>
                    <a:pt x="434" y="774"/>
                  </a:lnTo>
                  <a:lnTo>
                    <a:pt x="432" y="774"/>
                  </a:lnTo>
                  <a:lnTo>
                    <a:pt x="430" y="774"/>
                  </a:lnTo>
                  <a:lnTo>
                    <a:pt x="430" y="772"/>
                  </a:lnTo>
                  <a:lnTo>
                    <a:pt x="428" y="774"/>
                  </a:lnTo>
                  <a:lnTo>
                    <a:pt x="426" y="774"/>
                  </a:lnTo>
                  <a:lnTo>
                    <a:pt x="424" y="774"/>
                  </a:lnTo>
                  <a:lnTo>
                    <a:pt x="424" y="776"/>
                  </a:lnTo>
                  <a:lnTo>
                    <a:pt x="422" y="776"/>
                  </a:lnTo>
                  <a:lnTo>
                    <a:pt x="420" y="776"/>
                  </a:lnTo>
                  <a:lnTo>
                    <a:pt x="418" y="776"/>
                  </a:lnTo>
                  <a:lnTo>
                    <a:pt x="418" y="778"/>
                  </a:lnTo>
                  <a:lnTo>
                    <a:pt x="416" y="778"/>
                  </a:lnTo>
                  <a:lnTo>
                    <a:pt x="414" y="778"/>
                  </a:lnTo>
                  <a:lnTo>
                    <a:pt x="412" y="778"/>
                  </a:lnTo>
                  <a:lnTo>
                    <a:pt x="411" y="778"/>
                  </a:lnTo>
                  <a:lnTo>
                    <a:pt x="409" y="778"/>
                  </a:lnTo>
                  <a:lnTo>
                    <a:pt x="407" y="778"/>
                  </a:lnTo>
                  <a:lnTo>
                    <a:pt x="405" y="778"/>
                  </a:lnTo>
                  <a:lnTo>
                    <a:pt x="405" y="776"/>
                  </a:lnTo>
                  <a:lnTo>
                    <a:pt x="403" y="776"/>
                  </a:lnTo>
                  <a:lnTo>
                    <a:pt x="401" y="776"/>
                  </a:lnTo>
                  <a:lnTo>
                    <a:pt x="399" y="774"/>
                  </a:lnTo>
                  <a:lnTo>
                    <a:pt x="397" y="774"/>
                  </a:lnTo>
                  <a:lnTo>
                    <a:pt x="395" y="774"/>
                  </a:lnTo>
                  <a:lnTo>
                    <a:pt x="393" y="774"/>
                  </a:lnTo>
                  <a:lnTo>
                    <a:pt x="393" y="772"/>
                  </a:lnTo>
                  <a:lnTo>
                    <a:pt x="391" y="772"/>
                  </a:lnTo>
                  <a:lnTo>
                    <a:pt x="389" y="772"/>
                  </a:lnTo>
                  <a:lnTo>
                    <a:pt x="388" y="772"/>
                  </a:lnTo>
                  <a:lnTo>
                    <a:pt x="386" y="772"/>
                  </a:lnTo>
                  <a:lnTo>
                    <a:pt x="384" y="772"/>
                  </a:lnTo>
                  <a:lnTo>
                    <a:pt x="384" y="770"/>
                  </a:lnTo>
                  <a:lnTo>
                    <a:pt x="382" y="770"/>
                  </a:lnTo>
                  <a:lnTo>
                    <a:pt x="380" y="770"/>
                  </a:lnTo>
                  <a:lnTo>
                    <a:pt x="378" y="770"/>
                  </a:lnTo>
                  <a:lnTo>
                    <a:pt x="376" y="770"/>
                  </a:lnTo>
                  <a:lnTo>
                    <a:pt x="376" y="772"/>
                  </a:lnTo>
                  <a:lnTo>
                    <a:pt x="374" y="772"/>
                  </a:lnTo>
                  <a:lnTo>
                    <a:pt x="372" y="772"/>
                  </a:lnTo>
                  <a:lnTo>
                    <a:pt x="370" y="772"/>
                  </a:lnTo>
                  <a:lnTo>
                    <a:pt x="370" y="774"/>
                  </a:lnTo>
                  <a:lnTo>
                    <a:pt x="368" y="774"/>
                  </a:lnTo>
                  <a:lnTo>
                    <a:pt x="366" y="774"/>
                  </a:lnTo>
                  <a:lnTo>
                    <a:pt x="364" y="774"/>
                  </a:lnTo>
                  <a:lnTo>
                    <a:pt x="363" y="774"/>
                  </a:lnTo>
                  <a:lnTo>
                    <a:pt x="364" y="774"/>
                  </a:lnTo>
                  <a:lnTo>
                    <a:pt x="363" y="774"/>
                  </a:lnTo>
                  <a:lnTo>
                    <a:pt x="363" y="776"/>
                  </a:lnTo>
                  <a:lnTo>
                    <a:pt x="361" y="776"/>
                  </a:lnTo>
                  <a:lnTo>
                    <a:pt x="359" y="776"/>
                  </a:lnTo>
                  <a:lnTo>
                    <a:pt x="357" y="776"/>
                  </a:lnTo>
                  <a:lnTo>
                    <a:pt x="357" y="778"/>
                  </a:lnTo>
                  <a:lnTo>
                    <a:pt x="357" y="776"/>
                  </a:lnTo>
                  <a:lnTo>
                    <a:pt x="355" y="776"/>
                  </a:lnTo>
                  <a:lnTo>
                    <a:pt x="353" y="776"/>
                  </a:lnTo>
                  <a:lnTo>
                    <a:pt x="351" y="776"/>
                  </a:lnTo>
                  <a:lnTo>
                    <a:pt x="351" y="774"/>
                  </a:lnTo>
                  <a:lnTo>
                    <a:pt x="351" y="776"/>
                  </a:lnTo>
                  <a:lnTo>
                    <a:pt x="351" y="774"/>
                  </a:lnTo>
                  <a:lnTo>
                    <a:pt x="351" y="776"/>
                  </a:lnTo>
                  <a:lnTo>
                    <a:pt x="349" y="776"/>
                  </a:lnTo>
                  <a:lnTo>
                    <a:pt x="347" y="776"/>
                  </a:lnTo>
                  <a:lnTo>
                    <a:pt x="345" y="776"/>
                  </a:lnTo>
                  <a:lnTo>
                    <a:pt x="343" y="776"/>
                  </a:lnTo>
                  <a:lnTo>
                    <a:pt x="343" y="774"/>
                  </a:lnTo>
                  <a:lnTo>
                    <a:pt x="341" y="774"/>
                  </a:lnTo>
                  <a:lnTo>
                    <a:pt x="341" y="772"/>
                  </a:lnTo>
                  <a:lnTo>
                    <a:pt x="341" y="770"/>
                  </a:lnTo>
                  <a:lnTo>
                    <a:pt x="340" y="770"/>
                  </a:lnTo>
                  <a:lnTo>
                    <a:pt x="340" y="768"/>
                  </a:lnTo>
                  <a:lnTo>
                    <a:pt x="340" y="766"/>
                  </a:lnTo>
                  <a:lnTo>
                    <a:pt x="340" y="764"/>
                  </a:lnTo>
                  <a:lnTo>
                    <a:pt x="338" y="764"/>
                  </a:lnTo>
                  <a:lnTo>
                    <a:pt x="338" y="762"/>
                  </a:lnTo>
                  <a:lnTo>
                    <a:pt x="336" y="762"/>
                  </a:lnTo>
                  <a:lnTo>
                    <a:pt x="338" y="762"/>
                  </a:lnTo>
                  <a:lnTo>
                    <a:pt x="338" y="760"/>
                  </a:lnTo>
                  <a:lnTo>
                    <a:pt x="336" y="760"/>
                  </a:lnTo>
                  <a:lnTo>
                    <a:pt x="334" y="760"/>
                  </a:lnTo>
                  <a:lnTo>
                    <a:pt x="334" y="762"/>
                  </a:lnTo>
                  <a:lnTo>
                    <a:pt x="332" y="762"/>
                  </a:lnTo>
                  <a:lnTo>
                    <a:pt x="330" y="762"/>
                  </a:lnTo>
                  <a:lnTo>
                    <a:pt x="328" y="762"/>
                  </a:lnTo>
                  <a:lnTo>
                    <a:pt x="326" y="762"/>
                  </a:lnTo>
                  <a:lnTo>
                    <a:pt x="324" y="762"/>
                  </a:lnTo>
                  <a:lnTo>
                    <a:pt x="324" y="760"/>
                  </a:lnTo>
                  <a:lnTo>
                    <a:pt x="322" y="760"/>
                  </a:lnTo>
                  <a:lnTo>
                    <a:pt x="322" y="759"/>
                  </a:lnTo>
                  <a:lnTo>
                    <a:pt x="320" y="759"/>
                  </a:lnTo>
                  <a:lnTo>
                    <a:pt x="318" y="759"/>
                  </a:lnTo>
                  <a:lnTo>
                    <a:pt x="318" y="757"/>
                  </a:lnTo>
                  <a:lnTo>
                    <a:pt x="318" y="755"/>
                  </a:lnTo>
                  <a:lnTo>
                    <a:pt x="318" y="753"/>
                  </a:lnTo>
                  <a:lnTo>
                    <a:pt x="316" y="751"/>
                  </a:lnTo>
                  <a:lnTo>
                    <a:pt x="318" y="751"/>
                  </a:lnTo>
                  <a:lnTo>
                    <a:pt x="318" y="749"/>
                  </a:lnTo>
                  <a:lnTo>
                    <a:pt x="316" y="749"/>
                  </a:lnTo>
                  <a:lnTo>
                    <a:pt x="316" y="747"/>
                  </a:lnTo>
                  <a:lnTo>
                    <a:pt x="318" y="747"/>
                  </a:lnTo>
                  <a:lnTo>
                    <a:pt x="318" y="745"/>
                  </a:lnTo>
                  <a:lnTo>
                    <a:pt x="316" y="745"/>
                  </a:lnTo>
                  <a:lnTo>
                    <a:pt x="318" y="745"/>
                  </a:lnTo>
                  <a:lnTo>
                    <a:pt x="318" y="743"/>
                  </a:lnTo>
                  <a:lnTo>
                    <a:pt x="316" y="743"/>
                  </a:lnTo>
                  <a:lnTo>
                    <a:pt x="316" y="741"/>
                  </a:lnTo>
                  <a:lnTo>
                    <a:pt x="316" y="739"/>
                  </a:lnTo>
                  <a:lnTo>
                    <a:pt x="316" y="737"/>
                  </a:lnTo>
                  <a:lnTo>
                    <a:pt x="315" y="737"/>
                  </a:lnTo>
                  <a:lnTo>
                    <a:pt x="315" y="736"/>
                  </a:lnTo>
                  <a:lnTo>
                    <a:pt x="315" y="734"/>
                  </a:lnTo>
                  <a:lnTo>
                    <a:pt x="313" y="734"/>
                  </a:lnTo>
                  <a:lnTo>
                    <a:pt x="311" y="734"/>
                  </a:lnTo>
                  <a:lnTo>
                    <a:pt x="311" y="732"/>
                  </a:lnTo>
                  <a:lnTo>
                    <a:pt x="311" y="730"/>
                  </a:lnTo>
                  <a:lnTo>
                    <a:pt x="309" y="730"/>
                  </a:lnTo>
                  <a:lnTo>
                    <a:pt x="307" y="730"/>
                  </a:lnTo>
                  <a:lnTo>
                    <a:pt x="307" y="728"/>
                  </a:lnTo>
                  <a:lnTo>
                    <a:pt x="305" y="728"/>
                  </a:lnTo>
                  <a:lnTo>
                    <a:pt x="307" y="728"/>
                  </a:lnTo>
                  <a:lnTo>
                    <a:pt x="307" y="726"/>
                  </a:lnTo>
                  <a:lnTo>
                    <a:pt x="307" y="724"/>
                  </a:lnTo>
                  <a:lnTo>
                    <a:pt x="309" y="724"/>
                  </a:lnTo>
                  <a:lnTo>
                    <a:pt x="309" y="722"/>
                  </a:lnTo>
                  <a:lnTo>
                    <a:pt x="311" y="722"/>
                  </a:lnTo>
                  <a:lnTo>
                    <a:pt x="309" y="722"/>
                  </a:lnTo>
                  <a:lnTo>
                    <a:pt x="309" y="720"/>
                  </a:lnTo>
                  <a:lnTo>
                    <a:pt x="311" y="720"/>
                  </a:lnTo>
                  <a:lnTo>
                    <a:pt x="311" y="722"/>
                  </a:lnTo>
                  <a:lnTo>
                    <a:pt x="313" y="720"/>
                  </a:lnTo>
                  <a:lnTo>
                    <a:pt x="311" y="720"/>
                  </a:lnTo>
                  <a:lnTo>
                    <a:pt x="311" y="718"/>
                  </a:lnTo>
                  <a:lnTo>
                    <a:pt x="309" y="718"/>
                  </a:lnTo>
                  <a:lnTo>
                    <a:pt x="307" y="718"/>
                  </a:lnTo>
                  <a:lnTo>
                    <a:pt x="307" y="716"/>
                  </a:lnTo>
                  <a:lnTo>
                    <a:pt x="305" y="716"/>
                  </a:lnTo>
                  <a:lnTo>
                    <a:pt x="303" y="716"/>
                  </a:lnTo>
                  <a:lnTo>
                    <a:pt x="305" y="716"/>
                  </a:lnTo>
                  <a:lnTo>
                    <a:pt x="305" y="718"/>
                  </a:lnTo>
                  <a:lnTo>
                    <a:pt x="303" y="718"/>
                  </a:lnTo>
                  <a:lnTo>
                    <a:pt x="301" y="720"/>
                  </a:lnTo>
                  <a:lnTo>
                    <a:pt x="301" y="718"/>
                  </a:lnTo>
                  <a:lnTo>
                    <a:pt x="301" y="720"/>
                  </a:lnTo>
                  <a:lnTo>
                    <a:pt x="301" y="722"/>
                  </a:lnTo>
                  <a:lnTo>
                    <a:pt x="303" y="722"/>
                  </a:lnTo>
                  <a:lnTo>
                    <a:pt x="303" y="720"/>
                  </a:lnTo>
                  <a:lnTo>
                    <a:pt x="305" y="720"/>
                  </a:lnTo>
                  <a:lnTo>
                    <a:pt x="305" y="722"/>
                  </a:lnTo>
                  <a:lnTo>
                    <a:pt x="305" y="724"/>
                  </a:lnTo>
                  <a:lnTo>
                    <a:pt x="305" y="726"/>
                  </a:lnTo>
                  <a:lnTo>
                    <a:pt x="305" y="728"/>
                  </a:lnTo>
                  <a:lnTo>
                    <a:pt x="303" y="728"/>
                  </a:lnTo>
                  <a:lnTo>
                    <a:pt x="305" y="728"/>
                  </a:lnTo>
                  <a:lnTo>
                    <a:pt x="305" y="730"/>
                  </a:lnTo>
                  <a:lnTo>
                    <a:pt x="303" y="730"/>
                  </a:lnTo>
                  <a:lnTo>
                    <a:pt x="301" y="730"/>
                  </a:lnTo>
                  <a:lnTo>
                    <a:pt x="299" y="730"/>
                  </a:lnTo>
                  <a:lnTo>
                    <a:pt x="297" y="730"/>
                  </a:lnTo>
                  <a:lnTo>
                    <a:pt x="295" y="730"/>
                  </a:lnTo>
                  <a:lnTo>
                    <a:pt x="293" y="730"/>
                  </a:lnTo>
                  <a:lnTo>
                    <a:pt x="292" y="730"/>
                  </a:lnTo>
                  <a:lnTo>
                    <a:pt x="290" y="730"/>
                  </a:lnTo>
                  <a:lnTo>
                    <a:pt x="290" y="728"/>
                  </a:lnTo>
                  <a:lnTo>
                    <a:pt x="288" y="728"/>
                  </a:lnTo>
                  <a:lnTo>
                    <a:pt x="288" y="726"/>
                  </a:lnTo>
                  <a:lnTo>
                    <a:pt x="286" y="726"/>
                  </a:lnTo>
                  <a:lnTo>
                    <a:pt x="284" y="726"/>
                  </a:lnTo>
                  <a:lnTo>
                    <a:pt x="284" y="724"/>
                  </a:lnTo>
                  <a:lnTo>
                    <a:pt x="282" y="724"/>
                  </a:lnTo>
                  <a:lnTo>
                    <a:pt x="280" y="724"/>
                  </a:lnTo>
                  <a:lnTo>
                    <a:pt x="280" y="722"/>
                  </a:lnTo>
                  <a:lnTo>
                    <a:pt x="278" y="722"/>
                  </a:lnTo>
                  <a:lnTo>
                    <a:pt x="276" y="722"/>
                  </a:lnTo>
                  <a:lnTo>
                    <a:pt x="274" y="722"/>
                  </a:lnTo>
                  <a:lnTo>
                    <a:pt x="274" y="724"/>
                  </a:lnTo>
                  <a:lnTo>
                    <a:pt x="272" y="724"/>
                  </a:lnTo>
                  <a:lnTo>
                    <a:pt x="272" y="722"/>
                  </a:lnTo>
                  <a:lnTo>
                    <a:pt x="270" y="722"/>
                  </a:lnTo>
                  <a:lnTo>
                    <a:pt x="270" y="720"/>
                  </a:lnTo>
                  <a:lnTo>
                    <a:pt x="270" y="718"/>
                  </a:lnTo>
                  <a:lnTo>
                    <a:pt x="268" y="718"/>
                  </a:lnTo>
                  <a:lnTo>
                    <a:pt x="268" y="716"/>
                  </a:lnTo>
                  <a:lnTo>
                    <a:pt x="267" y="716"/>
                  </a:lnTo>
                  <a:lnTo>
                    <a:pt x="268" y="716"/>
                  </a:lnTo>
                  <a:lnTo>
                    <a:pt x="268" y="714"/>
                  </a:lnTo>
                  <a:lnTo>
                    <a:pt x="267" y="714"/>
                  </a:lnTo>
                  <a:lnTo>
                    <a:pt x="267" y="712"/>
                  </a:lnTo>
                  <a:lnTo>
                    <a:pt x="265" y="712"/>
                  </a:lnTo>
                  <a:lnTo>
                    <a:pt x="265" y="711"/>
                  </a:lnTo>
                  <a:lnTo>
                    <a:pt x="263" y="711"/>
                  </a:lnTo>
                  <a:lnTo>
                    <a:pt x="263" y="709"/>
                  </a:lnTo>
                  <a:lnTo>
                    <a:pt x="261" y="709"/>
                  </a:lnTo>
                  <a:lnTo>
                    <a:pt x="261" y="707"/>
                  </a:lnTo>
                  <a:lnTo>
                    <a:pt x="259" y="707"/>
                  </a:lnTo>
                  <a:lnTo>
                    <a:pt x="259" y="705"/>
                  </a:lnTo>
                  <a:lnTo>
                    <a:pt x="257" y="705"/>
                  </a:lnTo>
                  <a:lnTo>
                    <a:pt x="259" y="705"/>
                  </a:lnTo>
                  <a:lnTo>
                    <a:pt x="257" y="705"/>
                  </a:lnTo>
                  <a:lnTo>
                    <a:pt x="255" y="705"/>
                  </a:lnTo>
                  <a:lnTo>
                    <a:pt x="257" y="705"/>
                  </a:lnTo>
                  <a:lnTo>
                    <a:pt x="257" y="703"/>
                  </a:lnTo>
                  <a:lnTo>
                    <a:pt x="255" y="703"/>
                  </a:lnTo>
                  <a:lnTo>
                    <a:pt x="253" y="703"/>
                  </a:lnTo>
                  <a:lnTo>
                    <a:pt x="253" y="701"/>
                  </a:lnTo>
                  <a:lnTo>
                    <a:pt x="251" y="701"/>
                  </a:lnTo>
                  <a:lnTo>
                    <a:pt x="253" y="701"/>
                  </a:lnTo>
                  <a:lnTo>
                    <a:pt x="251" y="701"/>
                  </a:lnTo>
                  <a:lnTo>
                    <a:pt x="253" y="701"/>
                  </a:lnTo>
                  <a:lnTo>
                    <a:pt x="253" y="699"/>
                  </a:lnTo>
                  <a:lnTo>
                    <a:pt x="251" y="699"/>
                  </a:lnTo>
                  <a:lnTo>
                    <a:pt x="249" y="699"/>
                  </a:lnTo>
                  <a:lnTo>
                    <a:pt x="251" y="699"/>
                  </a:lnTo>
                  <a:lnTo>
                    <a:pt x="249" y="699"/>
                  </a:lnTo>
                  <a:lnTo>
                    <a:pt x="249" y="697"/>
                  </a:lnTo>
                  <a:lnTo>
                    <a:pt x="247" y="697"/>
                  </a:lnTo>
                  <a:lnTo>
                    <a:pt x="249" y="697"/>
                  </a:lnTo>
                  <a:lnTo>
                    <a:pt x="247" y="697"/>
                  </a:lnTo>
                  <a:lnTo>
                    <a:pt x="249" y="697"/>
                  </a:lnTo>
                  <a:lnTo>
                    <a:pt x="249" y="695"/>
                  </a:lnTo>
                  <a:lnTo>
                    <a:pt x="247" y="695"/>
                  </a:lnTo>
                  <a:lnTo>
                    <a:pt x="247" y="693"/>
                  </a:lnTo>
                  <a:lnTo>
                    <a:pt x="245" y="693"/>
                  </a:lnTo>
                  <a:lnTo>
                    <a:pt x="245" y="691"/>
                  </a:lnTo>
                  <a:lnTo>
                    <a:pt x="245" y="689"/>
                  </a:lnTo>
                  <a:lnTo>
                    <a:pt x="243" y="689"/>
                  </a:lnTo>
                  <a:lnTo>
                    <a:pt x="243" y="688"/>
                  </a:lnTo>
                  <a:lnTo>
                    <a:pt x="242" y="688"/>
                  </a:lnTo>
                  <a:lnTo>
                    <a:pt x="242" y="686"/>
                  </a:lnTo>
                  <a:lnTo>
                    <a:pt x="243" y="686"/>
                  </a:lnTo>
                  <a:lnTo>
                    <a:pt x="245" y="686"/>
                  </a:lnTo>
                  <a:lnTo>
                    <a:pt x="247" y="686"/>
                  </a:lnTo>
                  <a:lnTo>
                    <a:pt x="247" y="684"/>
                  </a:lnTo>
                  <a:lnTo>
                    <a:pt x="249" y="684"/>
                  </a:lnTo>
                  <a:lnTo>
                    <a:pt x="249" y="686"/>
                  </a:lnTo>
                  <a:lnTo>
                    <a:pt x="249" y="688"/>
                  </a:lnTo>
                  <a:lnTo>
                    <a:pt x="249" y="689"/>
                  </a:lnTo>
                  <a:lnTo>
                    <a:pt x="249" y="691"/>
                  </a:lnTo>
                  <a:lnTo>
                    <a:pt x="249" y="693"/>
                  </a:lnTo>
                  <a:lnTo>
                    <a:pt x="249" y="691"/>
                  </a:lnTo>
                  <a:lnTo>
                    <a:pt x="249" y="689"/>
                  </a:lnTo>
                  <a:lnTo>
                    <a:pt x="251" y="689"/>
                  </a:lnTo>
                  <a:lnTo>
                    <a:pt x="251" y="691"/>
                  </a:lnTo>
                  <a:lnTo>
                    <a:pt x="251" y="693"/>
                  </a:lnTo>
                  <a:lnTo>
                    <a:pt x="251" y="695"/>
                  </a:lnTo>
                  <a:lnTo>
                    <a:pt x="251" y="693"/>
                  </a:lnTo>
                  <a:lnTo>
                    <a:pt x="253" y="693"/>
                  </a:lnTo>
                  <a:lnTo>
                    <a:pt x="251" y="693"/>
                  </a:lnTo>
                  <a:lnTo>
                    <a:pt x="251" y="691"/>
                  </a:lnTo>
                  <a:lnTo>
                    <a:pt x="253" y="691"/>
                  </a:lnTo>
                  <a:lnTo>
                    <a:pt x="253" y="689"/>
                  </a:lnTo>
                  <a:lnTo>
                    <a:pt x="253" y="688"/>
                  </a:lnTo>
                  <a:lnTo>
                    <a:pt x="253" y="686"/>
                  </a:lnTo>
                  <a:lnTo>
                    <a:pt x="255" y="686"/>
                  </a:lnTo>
                  <a:lnTo>
                    <a:pt x="255" y="688"/>
                  </a:lnTo>
                  <a:lnTo>
                    <a:pt x="255" y="689"/>
                  </a:lnTo>
                  <a:lnTo>
                    <a:pt x="257" y="689"/>
                  </a:lnTo>
                  <a:lnTo>
                    <a:pt x="257" y="691"/>
                  </a:lnTo>
                  <a:lnTo>
                    <a:pt x="259" y="691"/>
                  </a:lnTo>
                  <a:lnTo>
                    <a:pt x="259" y="693"/>
                  </a:lnTo>
                  <a:lnTo>
                    <a:pt x="259" y="691"/>
                  </a:lnTo>
                  <a:lnTo>
                    <a:pt x="257" y="691"/>
                  </a:lnTo>
                  <a:lnTo>
                    <a:pt x="257" y="689"/>
                  </a:lnTo>
                  <a:lnTo>
                    <a:pt x="257" y="688"/>
                  </a:lnTo>
                  <a:lnTo>
                    <a:pt x="257" y="686"/>
                  </a:lnTo>
                  <a:lnTo>
                    <a:pt x="257" y="684"/>
                  </a:lnTo>
                  <a:lnTo>
                    <a:pt x="257" y="682"/>
                  </a:lnTo>
                  <a:lnTo>
                    <a:pt x="255" y="682"/>
                  </a:lnTo>
                  <a:lnTo>
                    <a:pt x="255" y="684"/>
                  </a:lnTo>
                  <a:lnTo>
                    <a:pt x="255" y="682"/>
                  </a:lnTo>
                  <a:lnTo>
                    <a:pt x="257" y="682"/>
                  </a:lnTo>
                  <a:lnTo>
                    <a:pt x="259" y="682"/>
                  </a:lnTo>
                  <a:lnTo>
                    <a:pt x="259" y="684"/>
                  </a:lnTo>
                  <a:lnTo>
                    <a:pt x="259" y="682"/>
                  </a:lnTo>
                  <a:lnTo>
                    <a:pt x="261" y="682"/>
                  </a:lnTo>
                  <a:lnTo>
                    <a:pt x="261" y="684"/>
                  </a:lnTo>
                  <a:lnTo>
                    <a:pt x="259" y="684"/>
                  </a:lnTo>
                  <a:lnTo>
                    <a:pt x="261" y="684"/>
                  </a:lnTo>
                  <a:lnTo>
                    <a:pt x="259" y="686"/>
                  </a:lnTo>
                  <a:lnTo>
                    <a:pt x="259" y="688"/>
                  </a:lnTo>
                  <a:lnTo>
                    <a:pt x="259" y="689"/>
                  </a:lnTo>
                  <a:lnTo>
                    <a:pt x="259" y="691"/>
                  </a:lnTo>
                  <a:lnTo>
                    <a:pt x="261" y="691"/>
                  </a:lnTo>
                  <a:lnTo>
                    <a:pt x="263" y="693"/>
                  </a:lnTo>
                  <a:lnTo>
                    <a:pt x="263" y="691"/>
                  </a:lnTo>
                  <a:lnTo>
                    <a:pt x="263" y="689"/>
                  </a:lnTo>
                  <a:lnTo>
                    <a:pt x="263" y="688"/>
                  </a:lnTo>
                  <a:lnTo>
                    <a:pt x="265" y="688"/>
                  </a:lnTo>
                  <a:lnTo>
                    <a:pt x="265" y="689"/>
                  </a:lnTo>
                  <a:lnTo>
                    <a:pt x="267" y="689"/>
                  </a:lnTo>
                  <a:lnTo>
                    <a:pt x="265" y="689"/>
                  </a:lnTo>
                  <a:lnTo>
                    <a:pt x="265" y="691"/>
                  </a:lnTo>
                  <a:lnTo>
                    <a:pt x="265" y="693"/>
                  </a:lnTo>
                  <a:lnTo>
                    <a:pt x="267" y="693"/>
                  </a:lnTo>
                  <a:lnTo>
                    <a:pt x="268" y="693"/>
                  </a:lnTo>
                  <a:lnTo>
                    <a:pt x="270" y="695"/>
                  </a:lnTo>
                  <a:lnTo>
                    <a:pt x="270" y="693"/>
                  </a:lnTo>
                  <a:lnTo>
                    <a:pt x="270" y="691"/>
                  </a:lnTo>
                  <a:lnTo>
                    <a:pt x="272" y="691"/>
                  </a:lnTo>
                  <a:lnTo>
                    <a:pt x="272" y="693"/>
                  </a:lnTo>
                  <a:lnTo>
                    <a:pt x="274" y="693"/>
                  </a:lnTo>
                  <a:lnTo>
                    <a:pt x="274" y="695"/>
                  </a:lnTo>
                  <a:lnTo>
                    <a:pt x="274" y="693"/>
                  </a:lnTo>
                  <a:lnTo>
                    <a:pt x="276" y="693"/>
                  </a:lnTo>
                  <a:lnTo>
                    <a:pt x="278" y="693"/>
                  </a:lnTo>
                  <a:lnTo>
                    <a:pt x="278" y="691"/>
                  </a:lnTo>
                  <a:lnTo>
                    <a:pt x="280" y="691"/>
                  </a:lnTo>
                  <a:lnTo>
                    <a:pt x="280" y="693"/>
                  </a:lnTo>
                  <a:lnTo>
                    <a:pt x="280" y="695"/>
                  </a:lnTo>
                  <a:lnTo>
                    <a:pt x="280" y="697"/>
                  </a:lnTo>
                  <a:lnTo>
                    <a:pt x="282" y="697"/>
                  </a:lnTo>
                  <a:lnTo>
                    <a:pt x="284" y="697"/>
                  </a:lnTo>
                  <a:lnTo>
                    <a:pt x="284" y="699"/>
                  </a:lnTo>
                  <a:lnTo>
                    <a:pt x="286" y="701"/>
                  </a:lnTo>
                  <a:lnTo>
                    <a:pt x="284" y="703"/>
                  </a:lnTo>
                  <a:lnTo>
                    <a:pt x="286" y="703"/>
                  </a:lnTo>
                  <a:lnTo>
                    <a:pt x="288" y="703"/>
                  </a:lnTo>
                  <a:lnTo>
                    <a:pt x="288" y="701"/>
                  </a:lnTo>
                  <a:lnTo>
                    <a:pt x="290" y="701"/>
                  </a:lnTo>
                  <a:lnTo>
                    <a:pt x="288" y="701"/>
                  </a:lnTo>
                  <a:lnTo>
                    <a:pt x="288" y="699"/>
                  </a:lnTo>
                  <a:lnTo>
                    <a:pt x="288" y="697"/>
                  </a:lnTo>
                  <a:lnTo>
                    <a:pt x="290" y="697"/>
                  </a:lnTo>
                  <a:lnTo>
                    <a:pt x="288" y="695"/>
                  </a:lnTo>
                  <a:lnTo>
                    <a:pt x="290" y="693"/>
                  </a:lnTo>
                  <a:lnTo>
                    <a:pt x="288" y="693"/>
                  </a:lnTo>
                  <a:lnTo>
                    <a:pt x="288" y="691"/>
                  </a:lnTo>
                  <a:lnTo>
                    <a:pt x="288" y="689"/>
                  </a:lnTo>
                  <a:lnTo>
                    <a:pt x="290" y="689"/>
                  </a:lnTo>
                  <a:lnTo>
                    <a:pt x="288" y="689"/>
                  </a:lnTo>
                  <a:lnTo>
                    <a:pt x="288" y="688"/>
                  </a:lnTo>
                  <a:lnTo>
                    <a:pt x="288" y="689"/>
                  </a:lnTo>
                  <a:lnTo>
                    <a:pt x="290" y="689"/>
                  </a:lnTo>
                  <a:lnTo>
                    <a:pt x="292" y="689"/>
                  </a:lnTo>
                  <a:lnTo>
                    <a:pt x="292" y="688"/>
                  </a:lnTo>
                  <a:lnTo>
                    <a:pt x="293" y="688"/>
                  </a:lnTo>
                  <a:lnTo>
                    <a:pt x="293" y="689"/>
                  </a:lnTo>
                  <a:lnTo>
                    <a:pt x="293" y="688"/>
                  </a:lnTo>
                  <a:lnTo>
                    <a:pt x="295" y="689"/>
                  </a:lnTo>
                  <a:lnTo>
                    <a:pt x="295" y="688"/>
                  </a:lnTo>
                  <a:lnTo>
                    <a:pt x="297" y="691"/>
                  </a:lnTo>
                  <a:lnTo>
                    <a:pt x="299" y="693"/>
                  </a:lnTo>
                  <a:lnTo>
                    <a:pt x="299" y="695"/>
                  </a:lnTo>
                  <a:lnTo>
                    <a:pt x="301" y="695"/>
                  </a:lnTo>
                  <a:lnTo>
                    <a:pt x="303" y="695"/>
                  </a:lnTo>
                  <a:lnTo>
                    <a:pt x="303" y="693"/>
                  </a:lnTo>
                  <a:lnTo>
                    <a:pt x="301" y="691"/>
                  </a:lnTo>
                  <a:lnTo>
                    <a:pt x="301" y="689"/>
                  </a:lnTo>
                  <a:lnTo>
                    <a:pt x="299" y="688"/>
                  </a:lnTo>
                  <a:lnTo>
                    <a:pt x="301" y="686"/>
                  </a:lnTo>
                  <a:lnTo>
                    <a:pt x="301" y="684"/>
                  </a:lnTo>
                  <a:lnTo>
                    <a:pt x="303" y="682"/>
                  </a:lnTo>
                  <a:lnTo>
                    <a:pt x="301" y="682"/>
                  </a:lnTo>
                  <a:lnTo>
                    <a:pt x="301" y="680"/>
                  </a:lnTo>
                  <a:lnTo>
                    <a:pt x="299" y="680"/>
                  </a:lnTo>
                  <a:lnTo>
                    <a:pt x="299" y="678"/>
                  </a:lnTo>
                  <a:lnTo>
                    <a:pt x="301" y="678"/>
                  </a:lnTo>
                  <a:lnTo>
                    <a:pt x="303" y="678"/>
                  </a:lnTo>
                  <a:lnTo>
                    <a:pt x="305" y="678"/>
                  </a:lnTo>
                  <a:lnTo>
                    <a:pt x="305" y="680"/>
                  </a:lnTo>
                  <a:lnTo>
                    <a:pt x="305" y="678"/>
                  </a:lnTo>
                  <a:lnTo>
                    <a:pt x="305" y="680"/>
                  </a:lnTo>
                  <a:lnTo>
                    <a:pt x="305" y="678"/>
                  </a:lnTo>
                  <a:lnTo>
                    <a:pt x="305" y="680"/>
                  </a:lnTo>
                  <a:lnTo>
                    <a:pt x="305" y="678"/>
                  </a:lnTo>
                  <a:lnTo>
                    <a:pt x="307" y="678"/>
                  </a:lnTo>
                  <a:lnTo>
                    <a:pt x="307" y="680"/>
                  </a:lnTo>
                  <a:lnTo>
                    <a:pt x="309" y="680"/>
                  </a:lnTo>
                  <a:lnTo>
                    <a:pt x="311" y="680"/>
                  </a:lnTo>
                  <a:lnTo>
                    <a:pt x="309" y="680"/>
                  </a:lnTo>
                  <a:lnTo>
                    <a:pt x="309" y="678"/>
                  </a:lnTo>
                  <a:lnTo>
                    <a:pt x="311" y="678"/>
                  </a:lnTo>
                  <a:lnTo>
                    <a:pt x="309" y="678"/>
                  </a:lnTo>
                  <a:lnTo>
                    <a:pt x="309" y="680"/>
                  </a:lnTo>
                  <a:lnTo>
                    <a:pt x="307" y="680"/>
                  </a:lnTo>
                  <a:lnTo>
                    <a:pt x="307" y="678"/>
                  </a:lnTo>
                  <a:lnTo>
                    <a:pt x="305" y="678"/>
                  </a:lnTo>
                  <a:lnTo>
                    <a:pt x="307" y="678"/>
                  </a:lnTo>
                  <a:lnTo>
                    <a:pt x="307" y="676"/>
                  </a:lnTo>
                  <a:lnTo>
                    <a:pt x="305" y="676"/>
                  </a:lnTo>
                  <a:lnTo>
                    <a:pt x="303" y="676"/>
                  </a:lnTo>
                  <a:lnTo>
                    <a:pt x="303" y="674"/>
                  </a:lnTo>
                  <a:lnTo>
                    <a:pt x="301" y="674"/>
                  </a:lnTo>
                  <a:lnTo>
                    <a:pt x="299" y="674"/>
                  </a:lnTo>
                  <a:lnTo>
                    <a:pt x="301" y="674"/>
                  </a:lnTo>
                  <a:lnTo>
                    <a:pt x="301" y="672"/>
                  </a:lnTo>
                  <a:lnTo>
                    <a:pt x="301" y="670"/>
                  </a:lnTo>
                  <a:lnTo>
                    <a:pt x="301" y="672"/>
                  </a:lnTo>
                  <a:lnTo>
                    <a:pt x="299" y="672"/>
                  </a:lnTo>
                  <a:lnTo>
                    <a:pt x="299" y="670"/>
                  </a:lnTo>
                  <a:lnTo>
                    <a:pt x="297" y="670"/>
                  </a:lnTo>
                  <a:lnTo>
                    <a:pt x="299" y="670"/>
                  </a:lnTo>
                  <a:lnTo>
                    <a:pt x="299" y="668"/>
                  </a:lnTo>
                  <a:lnTo>
                    <a:pt x="297" y="668"/>
                  </a:lnTo>
                  <a:lnTo>
                    <a:pt x="299" y="666"/>
                  </a:lnTo>
                  <a:lnTo>
                    <a:pt x="297" y="666"/>
                  </a:lnTo>
                  <a:lnTo>
                    <a:pt x="297" y="664"/>
                  </a:lnTo>
                  <a:lnTo>
                    <a:pt x="295" y="664"/>
                  </a:lnTo>
                  <a:lnTo>
                    <a:pt x="293" y="664"/>
                  </a:lnTo>
                  <a:lnTo>
                    <a:pt x="293" y="666"/>
                  </a:lnTo>
                  <a:lnTo>
                    <a:pt x="293" y="664"/>
                  </a:lnTo>
                  <a:lnTo>
                    <a:pt x="292" y="663"/>
                  </a:lnTo>
                  <a:lnTo>
                    <a:pt x="292" y="661"/>
                  </a:lnTo>
                  <a:lnTo>
                    <a:pt x="293" y="661"/>
                  </a:lnTo>
                  <a:lnTo>
                    <a:pt x="293" y="659"/>
                  </a:lnTo>
                  <a:lnTo>
                    <a:pt x="293" y="657"/>
                  </a:lnTo>
                  <a:lnTo>
                    <a:pt x="295" y="655"/>
                  </a:lnTo>
                  <a:lnTo>
                    <a:pt x="295" y="653"/>
                  </a:lnTo>
                  <a:lnTo>
                    <a:pt x="295" y="651"/>
                  </a:lnTo>
                  <a:lnTo>
                    <a:pt x="295" y="649"/>
                  </a:lnTo>
                  <a:lnTo>
                    <a:pt x="295" y="647"/>
                  </a:lnTo>
                  <a:lnTo>
                    <a:pt x="295" y="645"/>
                  </a:lnTo>
                  <a:lnTo>
                    <a:pt x="295" y="643"/>
                  </a:lnTo>
                  <a:lnTo>
                    <a:pt x="297" y="643"/>
                  </a:lnTo>
                  <a:lnTo>
                    <a:pt x="297" y="641"/>
                  </a:lnTo>
                  <a:lnTo>
                    <a:pt x="297" y="640"/>
                  </a:lnTo>
                  <a:lnTo>
                    <a:pt x="295" y="640"/>
                  </a:lnTo>
                  <a:lnTo>
                    <a:pt x="295" y="638"/>
                  </a:lnTo>
                  <a:lnTo>
                    <a:pt x="295" y="636"/>
                  </a:lnTo>
                  <a:lnTo>
                    <a:pt x="297" y="636"/>
                  </a:lnTo>
                  <a:lnTo>
                    <a:pt x="297" y="634"/>
                  </a:lnTo>
                  <a:lnTo>
                    <a:pt x="297" y="632"/>
                  </a:lnTo>
                  <a:lnTo>
                    <a:pt x="297" y="630"/>
                  </a:lnTo>
                  <a:lnTo>
                    <a:pt x="297" y="628"/>
                  </a:lnTo>
                  <a:lnTo>
                    <a:pt x="295" y="626"/>
                  </a:lnTo>
                  <a:lnTo>
                    <a:pt x="295" y="624"/>
                  </a:lnTo>
                  <a:lnTo>
                    <a:pt x="295" y="622"/>
                  </a:lnTo>
                  <a:lnTo>
                    <a:pt x="295" y="620"/>
                  </a:lnTo>
                  <a:lnTo>
                    <a:pt x="295" y="618"/>
                  </a:lnTo>
                  <a:lnTo>
                    <a:pt x="295" y="616"/>
                  </a:lnTo>
                  <a:lnTo>
                    <a:pt x="295" y="615"/>
                  </a:lnTo>
                  <a:lnTo>
                    <a:pt x="295" y="613"/>
                  </a:lnTo>
                  <a:lnTo>
                    <a:pt x="295" y="611"/>
                  </a:lnTo>
                  <a:lnTo>
                    <a:pt x="295" y="609"/>
                  </a:lnTo>
                  <a:lnTo>
                    <a:pt x="295" y="607"/>
                  </a:lnTo>
                  <a:lnTo>
                    <a:pt x="295" y="605"/>
                  </a:lnTo>
                  <a:lnTo>
                    <a:pt x="295" y="603"/>
                  </a:lnTo>
                  <a:lnTo>
                    <a:pt x="295" y="601"/>
                  </a:lnTo>
                  <a:lnTo>
                    <a:pt x="295" y="599"/>
                  </a:lnTo>
                  <a:lnTo>
                    <a:pt x="297" y="599"/>
                  </a:lnTo>
                  <a:lnTo>
                    <a:pt x="297" y="597"/>
                  </a:lnTo>
                  <a:lnTo>
                    <a:pt x="299" y="597"/>
                  </a:lnTo>
                  <a:lnTo>
                    <a:pt x="299" y="595"/>
                  </a:lnTo>
                  <a:lnTo>
                    <a:pt x="299" y="593"/>
                  </a:lnTo>
                  <a:lnTo>
                    <a:pt x="301" y="593"/>
                  </a:lnTo>
                  <a:lnTo>
                    <a:pt x="301" y="592"/>
                  </a:lnTo>
                  <a:lnTo>
                    <a:pt x="301" y="590"/>
                  </a:lnTo>
                  <a:lnTo>
                    <a:pt x="301" y="588"/>
                  </a:lnTo>
                  <a:lnTo>
                    <a:pt x="301" y="586"/>
                  </a:lnTo>
                  <a:lnTo>
                    <a:pt x="301" y="584"/>
                  </a:lnTo>
                  <a:lnTo>
                    <a:pt x="301" y="582"/>
                  </a:lnTo>
                  <a:lnTo>
                    <a:pt x="303" y="582"/>
                  </a:lnTo>
                  <a:lnTo>
                    <a:pt x="305" y="582"/>
                  </a:lnTo>
                  <a:lnTo>
                    <a:pt x="305" y="584"/>
                  </a:lnTo>
                  <a:lnTo>
                    <a:pt x="307" y="584"/>
                  </a:lnTo>
                  <a:lnTo>
                    <a:pt x="309" y="584"/>
                  </a:lnTo>
                  <a:lnTo>
                    <a:pt x="309" y="582"/>
                  </a:lnTo>
                  <a:lnTo>
                    <a:pt x="311" y="582"/>
                  </a:lnTo>
                  <a:lnTo>
                    <a:pt x="311" y="580"/>
                  </a:lnTo>
                  <a:lnTo>
                    <a:pt x="313" y="580"/>
                  </a:lnTo>
                  <a:lnTo>
                    <a:pt x="315" y="580"/>
                  </a:lnTo>
                  <a:lnTo>
                    <a:pt x="316" y="578"/>
                  </a:lnTo>
                  <a:lnTo>
                    <a:pt x="316" y="576"/>
                  </a:lnTo>
                  <a:lnTo>
                    <a:pt x="318" y="574"/>
                  </a:lnTo>
                  <a:lnTo>
                    <a:pt x="318" y="572"/>
                  </a:lnTo>
                  <a:lnTo>
                    <a:pt x="318" y="570"/>
                  </a:lnTo>
                  <a:lnTo>
                    <a:pt x="318" y="568"/>
                  </a:lnTo>
                  <a:lnTo>
                    <a:pt x="320" y="567"/>
                  </a:lnTo>
                  <a:lnTo>
                    <a:pt x="320" y="565"/>
                  </a:lnTo>
                  <a:lnTo>
                    <a:pt x="320" y="563"/>
                  </a:lnTo>
                  <a:lnTo>
                    <a:pt x="320" y="561"/>
                  </a:lnTo>
                  <a:lnTo>
                    <a:pt x="320" y="559"/>
                  </a:lnTo>
                  <a:lnTo>
                    <a:pt x="320" y="557"/>
                  </a:lnTo>
                  <a:lnTo>
                    <a:pt x="322" y="557"/>
                  </a:lnTo>
                  <a:lnTo>
                    <a:pt x="322" y="555"/>
                  </a:lnTo>
                  <a:lnTo>
                    <a:pt x="322" y="553"/>
                  </a:lnTo>
                  <a:lnTo>
                    <a:pt x="322" y="551"/>
                  </a:lnTo>
                  <a:lnTo>
                    <a:pt x="322" y="549"/>
                  </a:lnTo>
                  <a:lnTo>
                    <a:pt x="322" y="547"/>
                  </a:lnTo>
                  <a:lnTo>
                    <a:pt x="322" y="545"/>
                  </a:lnTo>
                  <a:lnTo>
                    <a:pt x="322" y="544"/>
                  </a:lnTo>
                  <a:lnTo>
                    <a:pt x="322" y="542"/>
                  </a:lnTo>
                  <a:lnTo>
                    <a:pt x="322" y="540"/>
                  </a:lnTo>
                  <a:lnTo>
                    <a:pt x="322" y="538"/>
                  </a:lnTo>
                  <a:lnTo>
                    <a:pt x="320" y="538"/>
                  </a:lnTo>
                  <a:lnTo>
                    <a:pt x="320" y="536"/>
                  </a:lnTo>
                  <a:lnTo>
                    <a:pt x="320" y="534"/>
                  </a:lnTo>
                  <a:lnTo>
                    <a:pt x="320" y="532"/>
                  </a:lnTo>
                  <a:lnTo>
                    <a:pt x="320" y="530"/>
                  </a:lnTo>
                  <a:lnTo>
                    <a:pt x="320" y="528"/>
                  </a:lnTo>
                  <a:lnTo>
                    <a:pt x="318" y="526"/>
                  </a:lnTo>
                  <a:lnTo>
                    <a:pt x="320" y="526"/>
                  </a:lnTo>
                  <a:lnTo>
                    <a:pt x="320" y="524"/>
                  </a:lnTo>
                  <a:lnTo>
                    <a:pt x="322" y="524"/>
                  </a:lnTo>
                  <a:lnTo>
                    <a:pt x="322" y="522"/>
                  </a:lnTo>
                  <a:lnTo>
                    <a:pt x="322" y="520"/>
                  </a:lnTo>
                  <a:lnTo>
                    <a:pt x="322" y="519"/>
                  </a:lnTo>
                  <a:lnTo>
                    <a:pt x="320" y="517"/>
                  </a:lnTo>
                  <a:lnTo>
                    <a:pt x="320" y="515"/>
                  </a:lnTo>
                  <a:lnTo>
                    <a:pt x="320" y="513"/>
                  </a:lnTo>
                  <a:lnTo>
                    <a:pt x="320" y="511"/>
                  </a:lnTo>
                  <a:lnTo>
                    <a:pt x="320" y="507"/>
                  </a:lnTo>
                  <a:lnTo>
                    <a:pt x="318" y="505"/>
                  </a:lnTo>
                  <a:lnTo>
                    <a:pt x="318" y="501"/>
                  </a:lnTo>
                  <a:lnTo>
                    <a:pt x="318" y="499"/>
                  </a:lnTo>
                  <a:lnTo>
                    <a:pt x="316" y="497"/>
                  </a:lnTo>
                  <a:lnTo>
                    <a:pt x="316" y="494"/>
                  </a:lnTo>
                  <a:lnTo>
                    <a:pt x="315" y="490"/>
                  </a:lnTo>
                  <a:lnTo>
                    <a:pt x="315" y="488"/>
                  </a:lnTo>
                  <a:lnTo>
                    <a:pt x="315" y="486"/>
                  </a:lnTo>
                  <a:lnTo>
                    <a:pt x="313" y="486"/>
                  </a:lnTo>
                  <a:lnTo>
                    <a:pt x="313" y="484"/>
                  </a:lnTo>
                  <a:lnTo>
                    <a:pt x="313" y="482"/>
                  </a:lnTo>
                  <a:lnTo>
                    <a:pt x="313" y="480"/>
                  </a:lnTo>
                  <a:lnTo>
                    <a:pt x="311" y="478"/>
                  </a:lnTo>
                  <a:lnTo>
                    <a:pt x="307" y="473"/>
                  </a:lnTo>
                  <a:lnTo>
                    <a:pt x="307" y="471"/>
                  </a:lnTo>
                  <a:lnTo>
                    <a:pt x="305" y="471"/>
                  </a:lnTo>
                  <a:lnTo>
                    <a:pt x="305" y="469"/>
                  </a:lnTo>
                  <a:lnTo>
                    <a:pt x="305" y="467"/>
                  </a:lnTo>
                  <a:lnTo>
                    <a:pt x="303" y="467"/>
                  </a:lnTo>
                  <a:lnTo>
                    <a:pt x="303" y="465"/>
                  </a:lnTo>
                  <a:lnTo>
                    <a:pt x="301" y="463"/>
                  </a:lnTo>
                  <a:lnTo>
                    <a:pt x="301" y="461"/>
                  </a:lnTo>
                  <a:lnTo>
                    <a:pt x="299" y="461"/>
                  </a:lnTo>
                  <a:lnTo>
                    <a:pt x="299" y="459"/>
                  </a:lnTo>
                  <a:lnTo>
                    <a:pt x="297" y="457"/>
                  </a:lnTo>
                  <a:lnTo>
                    <a:pt x="297" y="455"/>
                  </a:lnTo>
                  <a:lnTo>
                    <a:pt x="295" y="455"/>
                  </a:lnTo>
                  <a:lnTo>
                    <a:pt x="295" y="453"/>
                  </a:lnTo>
                  <a:lnTo>
                    <a:pt x="293" y="453"/>
                  </a:lnTo>
                  <a:lnTo>
                    <a:pt x="293" y="451"/>
                  </a:lnTo>
                  <a:lnTo>
                    <a:pt x="292" y="449"/>
                  </a:lnTo>
                  <a:lnTo>
                    <a:pt x="290" y="449"/>
                  </a:lnTo>
                  <a:lnTo>
                    <a:pt x="290" y="448"/>
                  </a:lnTo>
                  <a:lnTo>
                    <a:pt x="288" y="448"/>
                  </a:lnTo>
                  <a:lnTo>
                    <a:pt x="288" y="446"/>
                  </a:lnTo>
                  <a:lnTo>
                    <a:pt x="286" y="446"/>
                  </a:lnTo>
                  <a:lnTo>
                    <a:pt x="286" y="444"/>
                  </a:lnTo>
                  <a:lnTo>
                    <a:pt x="284" y="442"/>
                  </a:lnTo>
                  <a:lnTo>
                    <a:pt x="282" y="442"/>
                  </a:lnTo>
                  <a:lnTo>
                    <a:pt x="282" y="440"/>
                  </a:lnTo>
                  <a:lnTo>
                    <a:pt x="280" y="440"/>
                  </a:lnTo>
                  <a:lnTo>
                    <a:pt x="280" y="438"/>
                  </a:lnTo>
                  <a:lnTo>
                    <a:pt x="278" y="438"/>
                  </a:lnTo>
                  <a:lnTo>
                    <a:pt x="278" y="436"/>
                  </a:lnTo>
                  <a:lnTo>
                    <a:pt x="276" y="436"/>
                  </a:lnTo>
                  <a:lnTo>
                    <a:pt x="274" y="434"/>
                  </a:lnTo>
                  <a:lnTo>
                    <a:pt x="272" y="432"/>
                  </a:lnTo>
                  <a:lnTo>
                    <a:pt x="270" y="432"/>
                  </a:lnTo>
                  <a:lnTo>
                    <a:pt x="270" y="430"/>
                  </a:lnTo>
                  <a:lnTo>
                    <a:pt x="268" y="430"/>
                  </a:lnTo>
                  <a:lnTo>
                    <a:pt x="267" y="430"/>
                  </a:lnTo>
                  <a:lnTo>
                    <a:pt x="267" y="428"/>
                  </a:lnTo>
                  <a:lnTo>
                    <a:pt x="265" y="428"/>
                  </a:lnTo>
                  <a:lnTo>
                    <a:pt x="263" y="428"/>
                  </a:lnTo>
                  <a:lnTo>
                    <a:pt x="261" y="428"/>
                  </a:lnTo>
                  <a:lnTo>
                    <a:pt x="261" y="430"/>
                  </a:lnTo>
                  <a:lnTo>
                    <a:pt x="259" y="430"/>
                  </a:lnTo>
                  <a:lnTo>
                    <a:pt x="259" y="432"/>
                  </a:lnTo>
                  <a:lnTo>
                    <a:pt x="261" y="434"/>
                  </a:lnTo>
                  <a:lnTo>
                    <a:pt x="259" y="432"/>
                  </a:lnTo>
                  <a:lnTo>
                    <a:pt x="259" y="434"/>
                  </a:lnTo>
                  <a:lnTo>
                    <a:pt x="257" y="434"/>
                  </a:lnTo>
                  <a:lnTo>
                    <a:pt x="255" y="434"/>
                  </a:lnTo>
                  <a:lnTo>
                    <a:pt x="253" y="434"/>
                  </a:lnTo>
                  <a:lnTo>
                    <a:pt x="253" y="436"/>
                  </a:lnTo>
                  <a:lnTo>
                    <a:pt x="251" y="436"/>
                  </a:lnTo>
                  <a:lnTo>
                    <a:pt x="251" y="438"/>
                  </a:lnTo>
                  <a:lnTo>
                    <a:pt x="249" y="438"/>
                  </a:lnTo>
                  <a:lnTo>
                    <a:pt x="247" y="438"/>
                  </a:lnTo>
                  <a:lnTo>
                    <a:pt x="245" y="438"/>
                  </a:lnTo>
                  <a:lnTo>
                    <a:pt x="243" y="438"/>
                  </a:lnTo>
                  <a:lnTo>
                    <a:pt x="243" y="436"/>
                  </a:lnTo>
                  <a:lnTo>
                    <a:pt x="242" y="436"/>
                  </a:lnTo>
                  <a:lnTo>
                    <a:pt x="240" y="436"/>
                  </a:lnTo>
                  <a:lnTo>
                    <a:pt x="238" y="436"/>
                  </a:lnTo>
                  <a:lnTo>
                    <a:pt x="238" y="438"/>
                  </a:lnTo>
                  <a:lnTo>
                    <a:pt x="236" y="438"/>
                  </a:lnTo>
                  <a:lnTo>
                    <a:pt x="236" y="440"/>
                  </a:lnTo>
                  <a:lnTo>
                    <a:pt x="234" y="440"/>
                  </a:lnTo>
                  <a:lnTo>
                    <a:pt x="234" y="442"/>
                  </a:lnTo>
                  <a:lnTo>
                    <a:pt x="234" y="444"/>
                  </a:lnTo>
                  <a:lnTo>
                    <a:pt x="232" y="444"/>
                  </a:lnTo>
                  <a:lnTo>
                    <a:pt x="232" y="446"/>
                  </a:lnTo>
                  <a:lnTo>
                    <a:pt x="230" y="446"/>
                  </a:lnTo>
                  <a:lnTo>
                    <a:pt x="230" y="448"/>
                  </a:lnTo>
                  <a:lnTo>
                    <a:pt x="228" y="448"/>
                  </a:lnTo>
                  <a:lnTo>
                    <a:pt x="226" y="448"/>
                  </a:lnTo>
                  <a:lnTo>
                    <a:pt x="224" y="448"/>
                  </a:lnTo>
                  <a:lnTo>
                    <a:pt x="222" y="448"/>
                  </a:lnTo>
                  <a:lnTo>
                    <a:pt x="222" y="446"/>
                  </a:lnTo>
                  <a:lnTo>
                    <a:pt x="220" y="446"/>
                  </a:lnTo>
                  <a:lnTo>
                    <a:pt x="220" y="444"/>
                  </a:lnTo>
                  <a:lnTo>
                    <a:pt x="220" y="442"/>
                  </a:lnTo>
                  <a:lnTo>
                    <a:pt x="219" y="442"/>
                  </a:lnTo>
                  <a:lnTo>
                    <a:pt x="219" y="440"/>
                  </a:lnTo>
                  <a:lnTo>
                    <a:pt x="217" y="438"/>
                  </a:lnTo>
                  <a:lnTo>
                    <a:pt x="215" y="436"/>
                  </a:lnTo>
                  <a:lnTo>
                    <a:pt x="215" y="434"/>
                  </a:lnTo>
                  <a:lnTo>
                    <a:pt x="213" y="434"/>
                  </a:lnTo>
                  <a:lnTo>
                    <a:pt x="211" y="432"/>
                  </a:lnTo>
                  <a:lnTo>
                    <a:pt x="209" y="432"/>
                  </a:lnTo>
                  <a:lnTo>
                    <a:pt x="209" y="430"/>
                  </a:lnTo>
                  <a:lnTo>
                    <a:pt x="207" y="430"/>
                  </a:lnTo>
                  <a:lnTo>
                    <a:pt x="205" y="430"/>
                  </a:lnTo>
                  <a:lnTo>
                    <a:pt x="203" y="430"/>
                  </a:lnTo>
                  <a:lnTo>
                    <a:pt x="201" y="430"/>
                  </a:lnTo>
                  <a:lnTo>
                    <a:pt x="201" y="428"/>
                  </a:lnTo>
                  <a:lnTo>
                    <a:pt x="199" y="428"/>
                  </a:lnTo>
                  <a:lnTo>
                    <a:pt x="199" y="426"/>
                  </a:lnTo>
                  <a:lnTo>
                    <a:pt x="197" y="426"/>
                  </a:lnTo>
                  <a:lnTo>
                    <a:pt x="197" y="425"/>
                  </a:lnTo>
                  <a:lnTo>
                    <a:pt x="195" y="425"/>
                  </a:lnTo>
                  <a:lnTo>
                    <a:pt x="195" y="423"/>
                  </a:lnTo>
                  <a:lnTo>
                    <a:pt x="194" y="423"/>
                  </a:lnTo>
                  <a:lnTo>
                    <a:pt x="192" y="423"/>
                  </a:lnTo>
                  <a:lnTo>
                    <a:pt x="192" y="421"/>
                  </a:lnTo>
                  <a:lnTo>
                    <a:pt x="192" y="419"/>
                  </a:lnTo>
                  <a:lnTo>
                    <a:pt x="190" y="419"/>
                  </a:lnTo>
                  <a:lnTo>
                    <a:pt x="190" y="417"/>
                  </a:lnTo>
                  <a:lnTo>
                    <a:pt x="190" y="415"/>
                  </a:lnTo>
                  <a:lnTo>
                    <a:pt x="188" y="413"/>
                  </a:lnTo>
                  <a:lnTo>
                    <a:pt x="186" y="411"/>
                  </a:lnTo>
                  <a:lnTo>
                    <a:pt x="184" y="411"/>
                  </a:lnTo>
                  <a:lnTo>
                    <a:pt x="184" y="409"/>
                  </a:lnTo>
                  <a:lnTo>
                    <a:pt x="182" y="409"/>
                  </a:lnTo>
                  <a:lnTo>
                    <a:pt x="182" y="407"/>
                  </a:lnTo>
                  <a:lnTo>
                    <a:pt x="180" y="407"/>
                  </a:lnTo>
                  <a:lnTo>
                    <a:pt x="180" y="405"/>
                  </a:lnTo>
                  <a:lnTo>
                    <a:pt x="180" y="403"/>
                  </a:lnTo>
                  <a:lnTo>
                    <a:pt x="178" y="403"/>
                  </a:lnTo>
                  <a:lnTo>
                    <a:pt x="178" y="401"/>
                  </a:lnTo>
                  <a:lnTo>
                    <a:pt x="176" y="401"/>
                  </a:lnTo>
                  <a:lnTo>
                    <a:pt x="176" y="400"/>
                  </a:lnTo>
                  <a:lnTo>
                    <a:pt x="176" y="398"/>
                  </a:lnTo>
                  <a:lnTo>
                    <a:pt x="174" y="398"/>
                  </a:lnTo>
                  <a:lnTo>
                    <a:pt x="174" y="396"/>
                  </a:lnTo>
                  <a:lnTo>
                    <a:pt x="172" y="396"/>
                  </a:lnTo>
                  <a:lnTo>
                    <a:pt x="172" y="394"/>
                  </a:lnTo>
                  <a:lnTo>
                    <a:pt x="171" y="392"/>
                  </a:lnTo>
                  <a:lnTo>
                    <a:pt x="171" y="390"/>
                  </a:lnTo>
                  <a:lnTo>
                    <a:pt x="169" y="388"/>
                  </a:lnTo>
                  <a:lnTo>
                    <a:pt x="167" y="386"/>
                  </a:lnTo>
                  <a:lnTo>
                    <a:pt x="165" y="384"/>
                  </a:lnTo>
                  <a:lnTo>
                    <a:pt x="163" y="384"/>
                  </a:lnTo>
                  <a:lnTo>
                    <a:pt x="163" y="382"/>
                  </a:lnTo>
                  <a:lnTo>
                    <a:pt x="161" y="382"/>
                  </a:lnTo>
                  <a:lnTo>
                    <a:pt x="161" y="380"/>
                  </a:lnTo>
                  <a:lnTo>
                    <a:pt x="159" y="380"/>
                  </a:lnTo>
                  <a:lnTo>
                    <a:pt x="159" y="378"/>
                  </a:lnTo>
                  <a:lnTo>
                    <a:pt x="157" y="378"/>
                  </a:lnTo>
                  <a:lnTo>
                    <a:pt x="157" y="377"/>
                  </a:lnTo>
                  <a:lnTo>
                    <a:pt x="155" y="375"/>
                  </a:lnTo>
                  <a:lnTo>
                    <a:pt x="155" y="373"/>
                  </a:lnTo>
                  <a:lnTo>
                    <a:pt x="153" y="373"/>
                  </a:lnTo>
                  <a:lnTo>
                    <a:pt x="153" y="371"/>
                  </a:lnTo>
                  <a:lnTo>
                    <a:pt x="151" y="371"/>
                  </a:lnTo>
                  <a:lnTo>
                    <a:pt x="151" y="369"/>
                  </a:lnTo>
                  <a:lnTo>
                    <a:pt x="149" y="369"/>
                  </a:lnTo>
                  <a:lnTo>
                    <a:pt x="149" y="367"/>
                  </a:lnTo>
                  <a:lnTo>
                    <a:pt x="147" y="367"/>
                  </a:lnTo>
                  <a:lnTo>
                    <a:pt x="147" y="365"/>
                  </a:lnTo>
                  <a:lnTo>
                    <a:pt x="146" y="365"/>
                  </a:lnTo>
                  <a:lnTo>
                    <a:pt x="146" y="363"/>
                  </a:lnTo>
                  <a:lnTo>
                    <a:pt x="142" y="361"/>
                  </a:lnTo>
                  <a:lnTo>
                    <a:pt x="142" y="359"/>
                  </a:lnTo>
                  <a:lnTo>
                    <a:pt x="140" y="359"/>
                  </a:lnTo>
                  <a:lnTo>
                    <a:pt x="138" y="359"/>
                  </a:lnTo>
                  <a:lnTo>
                    <a:pt x="136" y="355"/>
                  </a:lnTo>
                  <a:lnTo>
                    <a:pt x="134" y="355"/>
                  </a:lnTo>
                  <a:lnTo>
                    <a:pt x="132" y="353"/>
                  </a:lnTo>
                  <a:lnTo>
                    <a:pt x="128" y="352"/>
                  </a:lnTo>
                  <a:lnTo>
                    <a:pt x="126" y="350"/>
                  </a:lnTo>
                  <a:lnTo>
                    <a:pt x="124" y="350"/>
                  </a:lnTo>
                  <a:lnTo>
                    <a:pt x="123" y="350"/>
                  </a:lnTo>
                  <a:lnTo>
                    <a:pt x="123" y="348"/>
                  </a:lnTo>
                  <a:lnTo>
                    <a:pt x="121" y="348"/>
                  </a:lnTo>
                  <a:lnTo>
                    <a:pt x="119" y="348"/>
                  </a:lnTo>
                  <a:lnTo>
                    <a:pt x="117" y="348"/>
                  </a:lnTo>
                  <a:lnTo>
                    <a:pt x="115" y="348"/>
                  </a:lnTo>
                  <a:lnTo>
                    <a:pt x="115" y="346"/>
                  </a:lnTo>
                  <a:lnTo>
                    <a:pt x="113" y="346"/>
                  </a:lnTo>
                  <a:lnTo>
                    <a:pt x="111" y="346"/>
                  </a:lnTo>
                  <a:lnTo>
                    <a:pt x="109" y="346"/>
                  </a:lnTo>
                  <a:lnTo>
                    <a:pt x="107" y="346"/>
                  </a:lnTo>
                  <a:lnTo>
                    <a:pt x="105" y="346"/>
                  </a:lnTo>
                  <a:lnTo>
                    <a:pt x="105" y="344"/>
                  </a:lnTo>
                  <a:lnTo>
                    <a:pt x="103" y="344"/>
                  </a:lnTo>
                  <a:lnTo>
                    <a:pt x="103" y="346"/>
                  </a:lnTo>
                  <a:lnTo>
                    <a:pt x="101" y="346"/>
                  </a:lnTo>
                  <a:lnTo>
                    <a:pt x="99" y="346"/>
                  </a:lnTo>
                  <a:lnTo>
                    <a:pt x="98" y="346"/>
                  </a:lnTo>
                  <a:lnTo>
                    <a:pt x="96" y="346"/>
                  </a:lnTo>
                  <a:lnTo>
                    <a:pt x="94" y="346"/>
                  </a:lnTo>
                  <a:lnTo>
                    <a:pt x="94" y="344"/>
                  </a:lnTo>
                  <a:lnTo>
                    <a:pt x="92" y="344"/>
                  </a:lnTo>
                  <a:lnTo>
                    <a:pt x="90" y="344"/>
                  </a:lnTo>
                  <a:lnTo>
                    <a:pt x="88" y="344"/>
                  </a:lnTo>
                  <a:lnTo>
                    <a:pt x="86" y="344"/>
                  </a:lnTo>
                  <a:lnTo>
                    <a:pt x="84" y="344"/>
                  </a:lnTo>
                  <a:lnTo>
                    <a:pt x="82" y="344"/>
                  </a:lnTo>
                  <a:lnTo>
                    <a:pt x="80" y="344"/>
                  </a:lnTo>
                  <a:lnTo>
                    <a:pt x="78" y="344"/>
                  </a:lnTo>
                  <a:lnTo>
                    <a:pt x="78" y="346"/>
                  </a:lnTo>
                  <a:lnTo>
                    <a:pt x="76" y="346"/>
                  </a:lnTo>
                  <a:lnTo>
                    <a:pt x="75" y="346"/>
                  </a:lnTo>
                  <a:lnTo>
                    <a:pt x="75" y="348"/>
                  </a:lnTo>
                  <a:lnTo>
                    <a:pt x="73" y="348"/>
                  </a:lnTo>
                  <a:lnTo>
                    <a:pt x="71" y="348"/>
                  </a:lnTo>
                  <a:lnTo>
                    <a:pt x="71" y="350"/>
                  </a:lnTo>
                  <a:lnTo>
                    <a:pt x="69" y="350"/>
                  </a:lnTo>
                  <a:lnTo>
                    <a:pt x="69" y="352"/>
                  </a:lnTo>
                  <a:lnTo>
                    <a:pt x="67" y="352"/>
                  </a:lnTo>
                  <a:lnTo>
                    <a:pt x="67" y="353"/>
                  </a:lnTo>
                  <a:lnTo>
                    <a:pt x="65" y="353"/>
                  </a:lnTo>
                  <a:lnTo>
                    <a:pt x="63" y="353"/>
                  </a:lnTo>
                  <a:lnTo>
                    <a:pt x="63" y="355"/>
                  </a:lnTo>
                  <a:lnTo>
                    <a:pt x="61" y="355"/>
                  </a:lnTo>
                  <a:lnTo>
                    <a:pt x="59" y="355"/>
                  </a:lnTo>
                  <a:lnTo>
                    <a:pt x="57" y="355"/>
                  </a:lnTo>
                  <a:lnTo>
                    <a:pt x="57" y="357"/>
                  </a:lnTo>
                  <a:lnTo>
                    <a:pt x="55" y="357"/>
                  </a:lnTo>
                  <a:lnTo>
                    <a:pt x="55" y="359"/>
                  </a:lnTo>
                  <a:lnTo>
                    <a:pt x="57" y="359"/>
                  </a:lnTo>
                  <a:lnTo>
                    <a:pt x="55" y="359"/>
                  </a:lnTo>
                  <a:lnTo>
                    <a:pt x="55" y="361"/>
                  </a:lnTo>
                  <a:lnTo>
                    <a:pt x="53" y="361"/>
                  </a:lnTo>
                  <a:lnTo>
                    <a:pt x="51" y="361"/>
                  </a:lnTo>
                  <a:lnTo>
                    <a:pt x="51" y="363"/>
                  </a:lnTo>
                  <a:lnTo>
                    <a:pt x="50" y="363"/>
                  </a:lnTo>
                  <a:lnTo>
                    <a:pt x="48" y="363"/>
                  </a:lnTo>
                  <a:lnTo>
                    <a:pt x="46" y="363"/>
                  </a:lnTo>
                  <a:lnTo>
                    <a:pt x="46" y="361"/>
                  </a:lnTo>
                  <a:lnTo>
                    <a:pt x="44" y="361"/>
                  </a:lnTo>
                  <a:lnTo>
                    <a:pt x="42" y="361"/>
                  </a:lnTo>
                  <a:lnTo>
                    <a:pt x="40" y="361"/>
                  </a:lnTo>
                  <a:lnTo>
                    <a:pt x="40" y="359"/>
                  </a:lnTo>
                  <a:lnTo>
                    <a:pt x="38" y="359"/>
                  </a:lnTo>
                  <a:lnTo>
                    <a:pt x="38" y="357"/>
                  </a:lnTo>
                  <a:lnTo>
                    <a:pt x="36" y="357"/>
                  </a:lnTo>
                  <a:lnTo>
                    <a:pt x="34" y="357"/>
                  </a:lnTo>
                  <a:lnTo>
                    <a:pt x="34" y="355"/>
                  </a:lnTo>
                  <a:lnTo>
                    <a:pt x="32" y="355"/>
                  </a:lnTo>
                  <a:lnTo>
                    <a:pt x="30" y="355"/>
                  </a:lnTo>
                  <a:lnTo>
                    <a:pt x="28" y="355"/>
                  </a:lnTo>
                  <a:lnTo>
                    <a:pt x="27" y="355"/>
                  </a:lnTo>
                  <a:lnTo>
                    <a:pt x="27" y="353"/>
                  </a:lnTo>
                  <a:lnTo>
                    <a:pt x="25" y="353"/>
                  </a:lnTo>
                  <a:lnTo>
                    <a:pt x="23" y="353"/>
                  </a:lnTo>
                  <a:lnTo>
                    <a:pt x="23" y="352"/>
                  </a:lnTo>
                  <a:lnTo>
                    <a:pt x="23" y="353"/>
                  </a:lnTo>
                  <a:lnTo>
                    <a:pt x="23" y="352"/>
                  </a:lnTo>
                  <a:lnTo>
                    <a:pt x="21" y="352"/>
                  </a:lnTo>
                  <a:lnTo>
                    <a:pt x="21" y="353"/>
                  </a:lnTo>
                  <a:lnTo>
                    <a:pt x="21" y="352"/>
                  </a:lnTo>
                  <a:lnTo>
                    <a:pt x="19" y="352"/>
                  </a:lnTo>
                  <a:lnTo>
                    <a:pt x="17" y="352"/>
                  </a:lnTo>
                  <a:lnTo>
                    <a:pt x="17" y="350"/>
                  </a:lnTo>
                  <a:lnTo>
                    <a:pt x="15" y="350"/>
                  </a:lnTo>
                  <a:lnTo>
                    <a:pt x="13" y="350"/>
                  </a:lnTo>
                  <a:lnTo>
                    <a:pt x="11" y="350"/>
                  </a:lnTo>
                  <a:lnTo>
                    <a:pt x="9" y="348"/>
                  </a:lnTo>
                  <a:lnTo>
                    <a:pt x="9" y="350"/>
                  </a:lnTo>
                  <a:lnTo>
                    <a:pt x="9" y="348"/>
                  </a:lnTo>
                  <a:lnTo>
                    <a:pt x="7" y="348"/>
                  </a:lnTo>
                  <a:lnTo>
                    <a:pt x="5" y="348"/>
                  </a:lnTo>
                  <a:lnTo>
                    <a:pt x="3" y="348"/>
                  </a:lnTo>
                  <a:lnTo>
                    <a:pt x="3" y="346"/>
                  </a:lnTo>
                  <a:lnTo>
                    <a:pt x="2" y="346"/>
                  </a:lnTo>
                  <a:lnTo>
                    <a:pt x="3" y="346"/>
                  </a:lnTo>
                  <a:lnTo>
                    <a:pt x="3" y="344"/>
                  </a:lnTo>
                  <a:lnTo>
                    <a:pt x="5" y="344"/>
                  </a:lnTo>
                  <a:lnTo>
                    <a:pt x="5" y="342"/>
                  </a:lnTo>
                  <a:lnTo>
                    <a:pt x="7" y="342"/>
                  </a:lnTo>
                  <a:lnTo>
                    <a:pt x="7" y="340"/>
                  </a:lnTo>
                  <a:lnTo>
                    <a:pt x="9" y="340"/>
                  </a:lnTo>
                  <a:lnTo>
                    <a:pt x="9" y="338"/>
                  </a:lnTo>
                  <a:lnTo>
                    <a:pt x="9" y="336"/>
                  </a:lnTo>
                  <a:lnTo>
                    <a:pt x="9" y="334"/>
                  </a:lnTo>
                  <a:lnTo>
                    <a:pt x="9" y="332"/>
                  </a:lnTo>
                  <a:lnTo>
                    <a:pt x="7" y="332"/>
                  </a:lnTo>
                  <a:lnTo>
                    <a:pt x="7" y="330"/>
                  </a:lnTo>
                  <a:lnTo>
                    <a:pt x="5" y="330"/>
                  </a:lnTo>
                  <a:lnTo>
                    <a:pt x="3" y="330"/>
                  </a:lnTo>
                  <a:lnTo>
                    <a:pt x="3" y="329"/>
                  </a:lnTo>
                  <a:lnTo>
                    <a:pt x="2" y="329"/>
                  </a:lnTo>
                  <a:lnTo>
                    <a:pt x="0" y="329"/>
                  </a:lnTo>
                  <a:lnTo>
                    <a:pt x="0" y="327"/>
                  </a:lnTo>
                  <a:lnTo>
                    <a:pt x="0" y="325"/>
                  </a:lnTo>
                  <a:lnTo>
                    <a:pt x="0" y="323"/>
                  </a:lnTo>
                  <a:lnTo>
                    <a:pt x="2" y="323"/>
                  </a:lnTo>
                  <a:lnTo>
                    <a:pt x="2" y="321"/>
                  </a:lnTo>
                  <a:lnTo>
                    <a:pt x="3" y="321"/>
                  </a:lnTo>
                  <a:lnTo>
                    <a:pt x="3" y="319"/>
                  </a:lnTo>
                  <a:lnTo>
                    <a:pt x="5" y="319"/>
                  </a:lnTo>
                  <a:lnTo>
                    <a:pt x="5" y="317"/>
                  </a:lnTo>
                  <a:lnTo>
                    <a:pt x="5" y="315"/>
                  </a:lnTo>
                  <a:lnTo>
                    <a:pt x="7" y="315"/>
                  </a:lnTo>
                  <a:lnTo>
                    <a:pt x="7" y="313"/>
                  </a:lnTo>
                  <a:lnTo>
                    <a:pt x="9" y="313"/>
                  </a:lnTo>
                  <a:lnTo>
                    <a:pt x="9" y="311"/>
                  </a:lnTo>
                  <a:lnTo>
                    <a:pt x="11" y="311"/>
                  </a:lnTo>
                  <a:lnTo>
                    <a:pt x="13" y="311"/>
                  </a:lnTo>
                  <a:lnTo>
                    <a:pt x="13" y="309"/>
                  </a:lnTo>
                  <a:lnTo>
                    <a:pt x="15" y="309"/>
                  </a:lnTo>
                  <a:lnTo>
                    <a:pt x="15" y="307"/>
                  </a:lnTo>
                  <a:lnTo>
                    <a:pt x="17" y="307"/>
                  </a:lnTo>
                  <a:lnTo>
                    <a:pt x="17" y="305"/>
                  </a:lnTo>
                  <a:lnTo>
                    <a:pt x="19" y="305"/>
                  </a:lnTo>
                  <a:lnTo>
                    <a:pt x="19" y="304"/>
                  </a:lnTo>
                  <a:lnTo>
                    <a:pt x="19" y="302"/>
                  </a:lnTo>
                  <a:lnTo>
                    <a:pt x="21" y="302"/>
                  </a:lnTo>
                  <a:lnTo>
                    <a:pt x="23" y="302"/>
                  </a:lnTo>
                  <a:lnTo>
                    <a:pt x="23" y="300"/>
                  </a:lnTo>
                  <a:lnTo>
                    <a:pt x="25" y="300"/>
                  </a:lnTo>
                  <a:lnTo>
                    <a:pt x="25" y="298"/>
                  </a:lnTo>
                  <a:lnTo>
                    <a:pt x="27" y="298"/>
                  </a:lnTo>
                  <a:lnTo>
                    <a:pt x="27" y="296"/>
                  </a:lnTo>
                  <a:lnTo>
                    <a:pt x="28" y="296"/>
                  </a:lnTo>
                  <a:lnTo>
                    <a:pt x="28" y="294"/>
                  </a:lnTo>
                  <a:lnTo>
                    <a:pt x="30" y="294"/>
                  </a:lnTo>
                  <a:lnTo>
                    <a:pt x="32" y="294"/>
                  </a:lnTo>
                  <a:lnTo>
                    <a:pt x="32" y="292"/>
                  </a:lnTo>
                  <a:lnTo>
                    <a:pt x="34" y="292"/>
                  </a:lnTo>
                  <a:lnTo>
                    <a:pt x="36" y="292"/>
                  </a:lnTo>
                  <a:lnTo>
                    <a:pt x="36" y="290"/>
                  </a:lnTo>
                  <a:lnTo>
                    <a:pt x="38" y="290"/>
                  </a:lnTo>
                  <a:lnTo>
                    <a:pt x="40" y="290"/>
                  </a:lnTo>
                  <a:lnTo>
                    <a:pt x="40" y="288"/>
                  </a:lnTo>
                  <a:lnTo>
                    <a:pt x="42" y="288"/>
                  </a:lnTo>
                  <a:lnTo>
                    <a:pt x="44" y="288"/>
                  </a:lnTo>
                  <a:lnTo>
                    <a:pt x="46" y="288"/>
                  </a:lnTo>
                  <a:lnTo>
                    <a:pt x="46" y="286"/>
                  </a:lnTo>
                  <a:lnTo>
                    <a:pt x="48" y="286"/>
                  </a:lnTo>
                  <a:lnTo>
                    <a:pt x="48" y="284"/>
                  </a:lnTo>
                  <a:lnTo>
                    <a:pt x="50" y="284"/>
                  </a:lnTo>
                  <a:lnTo>
                    <a:pt x="51" y="284"/>
                  </a:lnTo>
                  <a:lnTo>
                    <a:pt x="51" y="282"/>
                  </a:lnTo>
                  <a:lnTo>
                    <a:pt x="53" y="282"/>
                  </a:lnTo>
                  <a:lnTo>
                    <a:pt x="55" y="282"/>
                  </a:lnTo>
                  <a:lnTo>
                    <a:pt x="55" y="281"/>
                  </a:lnTo>
                  <a:lnTo>
                    <a:pt x="55" y="282"/>
                  </a:lnTo>
                  <a:lnTo>
                    <a:pt x="55" y="281"/>
                  </a:lnTo>
                  <a:lnTo>
                    <a:pt x="57" y="281"/>
                  </a:lnTo>
                  <a:lnTo>
                    <a:pt x="59" y="281"/>
                  </a:lnTo>
                  <a:lnTo>
                    <a:pt x="59" y="279"/>
                  </a:lnTo>
                  <a:lnTo>
                    <a:pt x="61" y="279"/>
                  </a:lnTo>
                  <a:lnTo>
                    <a:pt x="63" y="279"/>
                  </a:lnTo>
                  <a:lnTo>
                    <a:pt x="65" y="279"/>
                  </a:lnTo>
                  <a:lnTo>
                    <a:pt x="65" y="277"/>
                  </a:lnTo>
                  <a:lnTo>
                    <a:pt x="67" y="277"/>
                  </a:lnTo>
                  <a:lnTo>
                    <a:pt x="69" y="277"/>
                  </a:lnTo>
                  <a:lnTo>
                    <a:pt x="67" y="277"/>
                  </a:lnTo>
                  <a:lnTo>
                    <a:pt x="67" y="279"/>
                  </a:lnTo>
                  <a:lnTo>
                    <a:pt x="69" y="279"/>
                  </a:lnTo>
                  <a:lnTo>
                    <a:pt x="69" y="281"/>
                  </a:lnTo>
                  <a:lnTo>
                    <a:pt x="69" y="279"/>
                  </a:lnTo>
                  <a:lnTo>
                    <a:pt x="69" y="281"/>
                  </a:lnTo>
                  <a:lnTo>
                    <a:pt x="67" y="281"/>
                  </a:lnTo>
                  <a:lnTo>
                    <a:pt x="67" y="282"/>
                  </a:lnTo>
                  <a:lnTo>
                    <a:pt x="65" y="282"/>
                  </a:lnTo>
                  <a:lnTo>
                    <a:pt x="67" y="282"/>
                  </a:lnTo>
                  <a:lnTo>
                    <a:pt x="69" y="282"/>
                  </a:lnTo>
                  <a:lnTo>
                    <a:pt x="69" y="281"/>
                  </a:lnTo>
                  <a:lnTo>
                    <a:pt x="69" y="282"/>
                  </a:lnTo>
                  <a:lnTo>
                    <a:pt x="69" y="281"/>
                  </a:lnTo>
                  <a:lnTo>
                    <a:pt x="71" y="281"/>
                  </a:lnTo>
                  <a:lnTo>
                    <a:pt x="73" y="281"/>
                  </a:lnTo>
                  <a:lnTo>
                    <a:pt x="73" y="279"/>
                  </a:lnTo>
                  <a:lnTo>
                    <a:pt x="73" y="277"/>
                  </a:lnTo>
                  <a:lnTo>
                    <a:pt x="73" y="275"/>
                  </a:lnTo>
                  <a:lnTo>
                    <a:pt x="75" y="275"/>
                  </a:lnTo>
                  <a:lnTo>
                    <a:pt x="76" y="275"/>
                  </a:lnTo>
                  <a:lnTo>
                    <a:pt x="76" y="273"/>
                  </a:lnTo>
                  <a:lnTo>
                    <a:pt x="78" y="273"/>
                  </a:lnTo>
                  <a:lnTo>
                    <a:pt x="78" y="271"/>
                  </a:lnTo>
                  <a:lnTo>
                    <a:pt x="80" y="271"/>
                  </a:lnTo>
                  <a:lnTo>
                    <a:pt x="80" y="269"/>
                  </a:lnTo>
                  <a:lnTo>
                    <a:pt x="82" y="269"/>
                  </a:lnTo>
                  <a:lnTo>
                    <a:pt x="84" y="269"/>
                  </a:lnTo>
                  <a:lnTo>
                    <a:pt x="84" y="267"/>
                  </a:lnTo>
                  <a:lnTo>
                    <a:pt x="86" y="267"/>
                  </a:lnTo>
                  <a:lnTo>
                    <a:pt x="88" y="267"/>
                  </a:lnTo>
                  <a:lnTo>
                    <a:pt x="88" y="265"/>
                  </a:lnTo>
                  <a:lnTo>
                    <a:pt x="90" y="265"/>
                  </a:lnTo>
                  <a:lnTo>
                    <a:pt x="92" y="265"/>
                  </a:lnTo>
                  <a:lnTo>
                    <a:pt x="94" y="265"/>
                  </a:lnTo>
                  <a:lnTo>
                    <a:pt x="94" y="263"/>
                  </a:lnTo>
                  <a:lnTo>
                    <a:pt x="94" y="265"/>
                  </a:lnTo>
                  <a:lnTo>
                    <a:pt x="94" y="263"/>
                  </a:lnTo>
                  <a:lnTo>
                    <a:pt x="96" y="265"/>
                  </a:lnTo>
                  <a:lnTo>
                    <a:pt x="96" y="263"/>
                  </a:lnTo>
                  <a:lnTo>
                    <a:pt x="98" y="263"/>
                  </a:lnTo>
                  <a:lnTo>
                    <a:pt x="99" y="263"/>
                  </a:lnTo>
                  <a:lnTo>
                    <a:pt x="99" y="265"/>
                  </a:lnTo>
                  <a:lnTo>
                    <a:pt x="99" y="267"/>
                  </a:lnTo>
                  <a:lnTo>
                    <a:pt x="101" y="267"/>
                  </a:lnTo>
                  <a:lnTo>
                    <a:pt x="103" y="267"/>
                  </a:lnTo>
                  <a:lnTo>
                    <a:pt x="103" y="265"/>
                  </a:lnTo>
                  <a:lnTo>
                    <a:pt x="105" y="265"/>
                  </a:lnTo>
                  <a:lnTo>
                    <a:pt x="107" y="265"/>
                  </a:lnTo>
                  <a:lnTo>
                    <a:pt x="107" y="267"/>
                  </a:lnTo>
                  <a:lnTo>
                    <a:pt x="107" y="269"/>
                  </a:lnTo>
                  <a:lnTo>
                    <a:pt x="109" y="269"/>
                  </a:lnTo>
                  <a:lnTo>
                    <a:pt x="109" y="267"/>
                  </a:lnTo>
                  <a:lnTo>
                    <a:pt x="111" y="267"/>
                  </a:lnTo>
                  <a:lnTo>
                    <a:pt x="111" y="265"/>
                  </a:lnTo>
                  <a:lnTo>
                    <a:pt x="109" y="265"/>
                  </a:lnTo>
                  <a:lnTo>
                    <a:pt x="109" y="267"/>
                  </a:lnTo>
                  <a:lnTo>
                    <a:pt x="107" y="267"/>
                  </a:lnTo>
                  <a:lnTo>
                    <a:pt x="107" y="265"/>
                  </a:lnTo>
                  <a:lnTo>
                    <a:pt x="109" y="265"/>
                  </a:lnTo>
                  <a:lnTo>
                    <a:pt x="111" y="265"/>
                  </a:lnTo>
                  <a:lnTo>
                    <a:pt x="111" y="263"/>
                  </a:lnTo>
                  <a:lnTo>
                    <a:pt x="113" y="263"/>
                  </a:lnTo>
                  <a:lnTo>
                    <a:pt x="113" y="261"/>
                  </a:lnTo>
                  <a:lnTo>
                    <a:pt x="113" y="259"/>
                  </a:lnTo>
                  <a:lnTo>
                    <a:pt x="113" y="257"/>
                  </a:lnTo>
                  <a:lnTo>
                    <a:pt x="113" y="256"/>
                  </a:lnTo>
                  <a:lnTo>
                    <a:pt x="113" y="254"/>
                  </a:lnTo>
                  <a:lnTo>
                    <a:pt x="111" y="254"/>
                  </a:lnTo>
                  <a:lnTo>
                    <a:pt x="109" y="254"/>
                  </a:lnTo>
                  <a:lnTo>
                    <a:pt x="107" y="254"/>
                  </a:lnTo>
                  <a:lnTo>
                    <a:pt x="107" y="252"/>
                  </a:lnTo>
                  <a:lnTo>
                    <a:pt x="109" y="252"/>
                  </a:lnTo>
                  <a:lnTo>
                    <a:pt x="109" y="250"/>
                  </a:lnTo>
                  <a:lnTo>
                    <a:pt x="111" y="250"/>
                  </a:lnTo>
                  <a:lnTo>
                    <a:pt x="113" y="250"/>
                  </a:lnTo>
                  <a:lnTo>
                    <a:pt x="113" y="248"/>
                  </a:lnTo>
                  <a:lnTo>
                    <a:pt x="115" y="248"/>
                  </a:lnTo>
                  <a:lnTo>
                    <a:pt x="115" y="246"/>
                  </a:lnTo>
                  <a:lnTo>
                    <a:pt x="117" y="246"/>
                  </a:lnTo>
                  <a:lnTo>
                    <a:pt x="119" y="246"/>
                  </a:lnTo>
                  <a:lnTo>
                    <a:pt x="119" y="244"/>
                  </a:lnTo>
                  <a:lnTo>
                    <a:pt x="121" y="244"/>
                  </a:lnTo>
                  <a:lnTo>
                    <a:pt x="121" y="242"/>
                  </a:lnTo>
                  <a:lnTo>
                    <a:pt x="123" y="242"/>
                  </a:lnTo>
                  <a:lnTo>
                    <a:pt x="123" y="240"/>
                  </a:lnTo>
                  <a:lnTo>
                    <a:pt x="124" y="240"/>
                  </a:lnTo>
                  <a:lnTo>
                    <a:pt x="126" y="240"/>
                  </a:lnTo>
                  <a:lnTo>
                    <a:pt x="126" y="238"/>
                  </a:lnTo>
                  <a:lnTo>
                    <a:pt x="128" y="238"/>
                  </a:lnTo>
                  <a:lnTo>
                    <a:pt x="128" y="236"/>
                  </a:lnTo>
                  <a:lnTo>
                    <a:pt x="130" y="236"/>
                  </a:lnTo>
                  <a:lnTo>
                    <a:pt x="132" y="236"/>
                  </a:lnTo>
                  <a:lnTo>
                    <a:pt x="132" y="234"/>
                  </a:lnTo>
                  <a:lnTo>
                    <a:pt x="134" y="234"/>
                  </a:lnTo>
                  <a:lnTo>
                    <a:pt x="134" y="233"/>
                  </a:lnTo>
                  <a:lnTo>
                    <a:pt x="136" y="233"/>
                  </a:lnTo>
                  <a:lnTo>
                    <a:pt x="138" y="233"/>
                  </a:lnTo>
                  <a:lnTo>
                    <a:pt x="138" y="231"/>
                  </a:lnTo>
                  <a:lnTo>
                    <a:pt x="140" y="231"/>
                  </a:lnTo>
                  <a:lnTo>
                    <a:pt x="142" y="231"/>
                  </a:lnTo>
                  <a:lnTo>
                    <a:pt x="142" y="229"/>
                  </a:lnTo>
                  <a:lnTo>
                    <a:pt x="142" y="231"/>
                  </a:lnTo>
                  <a:lnTo>
                    <a:pt x="142" y="229"/>
                  </a:lnTo>
                  <a:lnTo>
                    <a:pt x="144" y="229"/>
                  </a:lnTo>
                  <a:lnTo>
                    <a:pt x="144" y="227"/>
                  </a:lnTo>
                  <a:lnTo>
                    <a:pt x="146" y="227"/>
                  </a:lnTo>
                  <a:lnTo>
                    <a:pt x="147" y="227"/>
                  </a:lnTo>
                  <a:lnTo>
                    <a:pt x="147" y="225"/>
                  </a:lnTo>
                  <a:lnTo>
                    <a:pt x="149" y="225"/>
                  </a:lnTo>
                  <a:lnTo>
                    <a:pt x="151" y="225"/>
                  </a:lnTo>
                  <a:lnTo>
                    <a:pt x="153" y="225"/>
                  </a:lnTo>
                  <a:lnTo>
                    <a:pt x="153" y="223"/>
                  </a:lnTo>
                  <a:lnTo>
                    <a:pt x="155" y="223"/>
                  </a:lnTo>
                  <a:lnTo>
                    <a:pt x="155" y="221"/>
                  </a:lnTo>
                  <a:lnTo>
                    <a:pt x="157" y="221"/>
                  </a:lnTo>
                  <a:lnTo>
                    <a:pt x="159" y="221"/>
                  </a:lnTo>
                  <a:lnTo>
                    <a:pt x="159" y="219"/>
                  </a:lnTo>
                  <a:lnTo>
                    <a:pt x="161" y="219"/>
                  </a:lnTo>
                  <a:lnTo>
                    <a:pt x="163" y="219"/>
                  </a:lnTo>
                  <a:lnTo>
                    <a:pt x="163" y="217"/>
                  </a:lnTo>
                  <a:lnTo>
                    <a:pt x="163" y="219"/>
                  </a:lnTo>
                  <a:lnTo>
                    <a:pt x="165" y="219"/>
                  </a:lnTo>
                  <a:lnTo>
                    <a:pt x="165" y="217"/>
                  </a:lnTo>
                  <a:lnTo>
                    <a:pt x="167" y="217"/>
                  </a:lnTo>
                  <a:lnTo>
                    <a:pt x="167" y="215"/>
                  </a:lnTo>
                  <a:lnTo>
                    <a:pt x="169" y="215"/>
                  </a:lnTo>
                  <a:lnTo>
                    <a:pt x="171" y="215"/>
                  </a:lnTo>
                  <a:lnTo>
                    <a:pt x="172" y="215"/>
                  </a:lnTo>
                  <a:lnTo>
                    <a:pt x="174" y="213"/>
                  </a:lnTo>
                  <a:lnTo>
                    <a:pt x="176" y="213"/>
                  </a:lnTo>
                  <a:lnTo>
                    <a:pt x="178" y="213"/>
                  </a:lnTo>
                  <a:lnTo>
                    <a:pt x="178" y="211"/>
                  </a:lnTo>
                  <a:lnTo>
                    <a:pt x="180" y="211"/>
                  </a:lnTo>
                  <a:lnTo>
                    <a:pt x="180" y="209"/>
                  </a:lnTo>
                  <a:lnTo>
                    <a:pt x="182" y="209"/>
                  </a:lnTo>
                  <a:lnTo>
                    <a:pt x="184" y="209"/>
                  </a:lnTo>
                  <a:lnTo>
                    <a:pt x="186" y="209"/>
                  </a:lnTo>
                  <a:lnTo>
                    <a:pt x="186" y="208"/>
                  </a:lnTo>
                  <a:lnTo>
                    <a:pt x="188" y="208"/>
                  </a:lnTo>
                  <a:lnTo>
                    <a:pt x="190" y="208"/>
                  </a:lnTo>
                  <a:lnTo>
                    <a:pt x="190" y="206"/>
                  </a:lnTo>
                  <a:lnTo>
                    <a:pt x="192" y="206"/>
                  </a:lnTo>
                  <a:lnTo>
                    <a:pt x="194" y="206"/>
                  </a:lnTo>
                  <a:lnTo>
                    <a:pt x="195" y="206"/>
                  </a:lnTo>
                  <a:lnTo>
                    <a:pt x="195" y="208"/>
                  </a:lnTo>
                  <a:lnTo>
                    <a:pt x="197" y="208"/>
                  </a:lnTo>
                  <a:lnTo>
                    <a:pt x="199" y="206"/>
                  </a:lnTo>
                  <a:lnTo>
                    <a:pt x="201" y="206"/>
                  </a:lnTo>
                  <a:lnTo>
                    <a:pt x="201" y="204"/>
                  </a:lnTo>
                  <a:lnTo>
                    <a:pt x="203" y="204"/>
                  </a:lnTo>
                  <a:lnTo>
                    <a:pt x="205" y="204"/>
                  </a:lnTo>
                  <a:lnTo>
                    <a:pt x="207" y="204"/>
                  </a:lnTo>
                  <a:lnTo>
                    <a:pt x="207" y="202"/>
                  </a:lnTo>
                  <a:lnTo>
                    <a:pt x="209" y="200"/>
                  </a:lnTo>
                  <a:lnTo>
                    <a:pt x="209" y="198"/>
                  </a:lnTo>
                  <a:lnTo>
                    <a:pt x="211" y="198"/>
                  </a:lnTo>
                  <a:lnTo>
                    <a:pt x="211" y="196"/>
                  </a:lnTo>
                  <a:lnTo>
                    <a:pt x="211" y="194"/>
                  </a:lnTo>
                  <a:lnTo>
                    <a:pt x="211" y="192"/>
                  </a:lnTo>
                  <a:lnTo>
                    <a:pt x="213" y="192"/>
                  </a:lnTo>
                  <a:lnTo>
                    <a:pt x="213" y="190"/>
                  </a:lnTo>
                  <a:lnTo>
                    <a:pt x="213" y="188"/>
                  </a:lnTo>
                  <a:lnTo>
                    <a:pt x="213" y="186"/>
                  </a:lnTo>
                  <a:lnTo>
                    <a:pt x="213" y="185"/>
                  </a:lnTo>
                  <a:lnTo>
                    <a:pt x="215" y="185"/>
                  </a:lnTo>
                  <a:lnTo>
                    <a:pt x="215" y="183"/>
                  </a:lnTo>
                  <a:lnTo>
                    <a:pt x="215" y="181"/>
                  </a:lnTo>
                  <a:lnTo>
                    <a:pt x="215" y="179"/>
                  </a:lnTo>
                  <a:lnTo>
                    <a:pt x="215" y="177"/>
                  </a:lnTo>
                  <a:lnTo>
                    <a:pt x="215" y="175"/>
                  </a:lnTo>
                  <a:lnTo>
                    <a:pt x="217" y="175"/>
                  </a:lnTo>
                  <a:lnTo>
                    <a:pt x="217" y="173"/>
                  </a:lnTo>
                  <a:lnTo>
                    <a:pt x="217" y="171"/>
                  </a:lnTo>
                  <a:lnTo>
                    <a:pt x="217" y="169"/>
                  </a:lnTo>
                  <a:lnTo>
                    <a:pt x="219" y="169"/>
                  </a:lnTo>
                  <a:lnTo>
                    <a:pt x="219" y="167"/>
                  </a:lnTo>
                  <a:lnTo>
                    <a:pt x="220" y="167"/>
                  </a:lnTo>
                  <a:lnTo>
                    <a:pt x="220" y="169"/>
                  </a:lnTo>
                  <a:lnTo>
                    <a:pt x="220" y="171"/>
                  </a:lnTo>
                  <a:lnTo>
                    <a:pt x="219" y="171"/>
                  </a:lnTo>
                  <a:lnTo>
                    <a:pt x="217" y="171"/>
                  </a:lnTo>
                  <a:lnTo>
                    <a:pt x="217" y="173"/>
                  </a:lnTo>
                  <a:lnTo>
                    <a:pt x="217" y="175"/>
                  </a:lnTo>
                  <a:lnTo>
                    <a:pt x="217" y="177"/>
                  </a:lnTo>
                  <a:lnTo>
                    <a:pt x="217" y="179"/>
                  </a:lnTo>
                  <a:lnTo>
                    <a:pt x="217" y="181"/>
                  </a:lnTo>
                  <a:lnTo>
                    <a:pt x="219" y="181"/>
                  </a:lnTo>
                  <a:lnTo>
                    <a:pt x="219" y="183"/>
                  </a:lnTo>
                  <a:lnTo>
                    <a:pt x="220" y="183"/>
                  </a:lnTo>
                  <a:lnTo>
                    <a:pt x="220" y="185"/>
                  </a:lnTo>
                  <a:lnTo>
                    <a:pt x="222" y="186"/>
                  </a:lnTo>
                  <a:lnTo>
                    <a:pt x="224" y="188"/>
                  </a:lnTo>
                  <a:lnTo>
                    <a:pt x="226" y="190"/>
                  </a:lnTo>
                  <a:lnTo>
                    <a:pt x="228" y="190"/>
                  </a:lnTo>
                  <a:lnTo>
                    <a:pt x="230" y="190"/>
                  </a:lnTo>
                  <a:lnTo>
                    <a:pt x="230" y="192"/>
                  </a:lnTo>
                  <a:lnTo>
                    <a:pt x="232" y="192"/>
                  </a:lnTo>
                  <a:lnTo>
                    <a:pt x="234" y="192"/>
                  </a:lnTo>
                  <a:lnTo>
                    <a:pt x="236" y="192"/>
                  </a:lnTo>
                  <a:lnTo>
                    <a:pt x="238" y="192"/>
                  </a:lnTo>
                  <a:lnTo>
                    <a:pt x="240" y="192"/>
                  </a:lnTo>
                  <a:lnTo>
                    <a:pt x="242" y="192"/>
                  </a:lnTo>
                  <a:lnTo>
                    <a:pt x="243" y="192"/>
                  </a:lnTo>
                  <a:lnTo>
                    <a:pt x="243" y="190"/>
                  </a:lnTo>
                  <a:lnTo>
                    <a:pt x="245" y="190"/>
                  </a:lnTo>
                  <a:lnTo>
                    <a:pt x="247" y="190"/>
                  </a:lnTo>
                  <a:lnTo>
                    <a:pt x="249" y="190"/>
                  </a:lnTo>
                  <a:lnTo>
                    <a:pt x="251" y="188"/>
                  </a:lnTo>
                  <a:lnTo>
                    <a:pt x="253" y="188"/>
                  </a:lnTo>
                  <a:lnTo>
                    <a:pt x="255" y="188"/>
                  </a:lnTo>
                  <a:lnTo>
                    <a:pt x="255" y="186"/>
                  </a:lnTo>
                  <a:lnTo>
                    <a:pt x="257" y="186"/>
                  </a:lnTo>
                  <a:lnTo>
                    <a:pt x="259" y="186"/>
                  </a:lnTo>
                  <a:lnTo>
                    <a:pt x="261" y="186"/>
                  </a:lnTo>
                  <a:lnTo>
                    <a:pt x="263" y="185"/>
                  </a:lnTo>
                  <a:lnTo>
                    <a:pt x="265" y="185"/>
                  </a:lnTo>
                  <a:lnTo>
                    <a:pt x="265" y="183"/>
                  </a:lnTo>
                  <a:lnTo>
                    <a:pt x="267" y="183"/>
                  </a:lnTo>
                  <a:lnTo>
                    <a:pt x="268" y="183"/>
                  </a:lnTo>
                  <a:lnTo>
                    <a:pt x="268" y="181"/>
                  </a:lnTo>
                  <a:lnTo>
                    <a:pt x="270" y="181"/>
                  </a:lnTo>
                  <a:lnTo>
                    <a:pt x="272" y="181"/>
                  </a:lnTo>
                  <a:lnTo>
                    <a:pt x="272" y="179"/>
                  </a:lnTo>
                  <a:lnTo>
                    <a:pt x="274" y="179"/>
                  </a:lnTo>
                  <a:lnTo>
                    <a:pt x="276" y="177"/>
                  </a:lnTo>
                  <a:lnTo>
                    <a:pt x="278" y="177"/>
                  </a:lnTo>
                  <a:lnTo>
                    <a:pt x="278" y="175"/>
                  </a:lnTo>
                  <a:lnTo>
                    <a:pt x="280" y="175"/>
                  </a:lnTo>
                  <a:lnTo>
                    <a:pt x="280" y="173"/>
                  </a:lnTo>
                  <a:lnTo>
                    <a:pt x="282" y="173"/>
                  </a:lnTo>
                  <a:lnTo>
                    <a:pt x="282" y="171"/>
                  </a:lnTo>
                  <a:lnTo>
                    <a:pt x="284" y="171"/>
                  </a:lnTo>
                  <a:lnTo>
                    <a:pt x="284" y="169"/>
                  </a:lnTo>
                  <a:lnTo>
                    <a:pt x="286" y="169"/>
                  </a:lnTo>
                  <a:lnTo>
                    <a:pt x="286" y="167"/>
                  </a:lnTo>
                  <a:lnTo>
                    <a:pt x="288" y="167"/>
                  </a:lnTo>
                  <a:lnTo>
                    <a:pt x="288" y="165"/>
                  </a:lnTo>
                  <a:lnTo>
                    <a:pt x="290" y="165"/>
                  </a:lnTo>
                  <a:lnTo>
                    <a:pt x="290" y="163"/>
                  </a:lnTo>
                  <a:lnTo>
                    <a:pt x="292" y="163"/>
                  </a:lnTo>
                  <a:lnTo>
                    <a:pt x="292" y="161"/>
                  </a:lnTo>
                  <a:lnTo>
                    <a:pt x="293" y="161"/>
                  </a:lnTo>
                  <a:lnTo>
                    <a:pt x="295" y="161"/>
                  </a:lnTo>
                  <a:lnTo>
                    <a:pt x="297" y="160"/>
                  </a:lnTo>
                  <a:lnTo>
                    <a:pt x="299" y="160"/>
                  </a:lnTo>
                  <a:lnTo>
                    <a:pt x="301" y="158"/>
                  </a:lnTo>
                  <a:lnTo>
                    <a:pt x="303" y="158"/>
                  </a:lnTo>
                  <a:lnTo>
                    <a:pt x="305" y="158"/>
                  </a:lnTo>
                  <a:lnTo>
                    <a:pt x="307" y="158"/>
                  </a:lnTo>
                  <a:lnTo>
                    <a:pt x="307" y="156"/>
                  </a:lnTo>
                  <a:lnTo>
                    <a:pt x="309" y="156"/>
                  </a:lnTo>
                  <a:lnTo>
                    <a:pt x="311" y="156"/>
                  </a:lnTo>
                  <a:lnTo>
                    <a:pt x="313" y="156"/>
                  </a:lnTo>
                  <a:lnTo>
                    <a:pt x="313" y="154"/>
                  </a:lnTo>
                  <a:lnTo>
                    <a:pt x="315" y="154"/>
                  </a:lnTo>
                  <a:lnTo>
                    <a:pt x="313" y="154"/>
                  </a:lnTo>
                  <a:lnTo>
                    <a:pt x="313" y="156"/>
                  </a:lnTo>
                  <a:lnTo>
                    <a:pt x="313" y="158"/>
                  </a:lnTo>
                  <a:lnTo>
                    <a:pt x="315" y="158"/>
                  </a:lnTo>
                  <a:lnTo>
                    <a:pt x="315" y="160"/>
                  </a:lnTo>
                  <a:lnTo>
                    <a:pt x="315" y="161"/>
                  </a:lnTo>
                  <a:lnTo>
                    <a:pt x="316" y="161"/>
                  </a:lnTo>
                  <a:lnTo>
                    <a:pt x="318" y="161"/>
                  </a:lnTo>
                  <a:lnTo>
                    <a:pt x="318" y="160"/>
                  </a:lnTo>
                  <a:lnTo>
                    <a:pt x="320" y="160"/>
                  </a:lnTo>
                  <a:lnTo>
                    <a:pt x="322" y="160"/>
                  </a:lnTo>
                  <a:lnTo>
                    <a:pt x="322" y="158"/>
                  </a:lnTo>
                  <a:lnTo>
                    <a:pt x="324" y="160"/>
                  </a:lnTo>
                  <a:lnTo>
                    <a:pt x="326" y="160"/>
                  </a:lnTo>
                  <a:lnTo>
                    <a:pt x="324" y="160"/>
                  </a:lnTo>
                  <a:lnTo>
                    <a:pt x="324" y="161"/>
                  </a:lnTo>
                  <a:lnTo>
                    <a:pt x="326" y="161"/>
                  </a:lnTo>
                  <a:lnTo>
                    <a:pt x="326" y="163"/>
                  </a:lnTo>
                  <a:lnTo>
                    <a:pt x="328" y="163"/>
                  </a:lnTo>
                  <a:lnTo>
                    <a:pt x="330" y="161"/>
                  </a:lnTo>
                  <a:lnTo>
                    <a:pt x="330" y="160"/>
                  </a:lnTo>
                  <a:lnTo>
                    <a:pt x="330" y="158"/>
                  </a:lnTo>
                  <a:lnTo>
                    <a:pt x="332" y="158"/>
                  </a:lnTo>
                  <a:lnTo>
                    <a:pt x="332" y="156"/>
                  </a:lnTo>
                  <a:lnTo>
                    <a:pt x="332" y="154"/>
                  </a:lnTo>
                  <a:lnTo>
                    <a:pt x="334" y="154"/>
                  </a:lnTo>
                  <a:lnTo>
                    <a:pt x="334" y="152"/>
                  </a:lnTo>
                  <a:lnTo>
                    <a:pt x="334" y="150"/>
                  </a:lnTo>
                  <a:lnTo>
                    <a:pt x="336" y="150"/>
                  </a:lnTo>
                  <a:lnTo>
                    <a:pt x="338" y="150"/>
                  </a:lnTo>
                  <a:lnTo>
                    <a:pt x="338" y="152"/>
                  </a:lnTo>
                  <a:lnTo>
                    <a:pt x="340" y="152"/>
                  </a:lnTo>
                  <a:lnTo>
                    <a:pt x="340" y="150"/>
                  </a:lnTo>
                  <a:lnTo>
                    <a:pt x="341" y="150"/>
                  </a:lnTo>
                  <a:lnTo>
                    <a:pt x="341" y="148"/>
                  </a:lnTo>
                  <a:lnTo>
                    <a:pt x="341" y="146"/>
                  </a:lnTo>
                  <a:lnTo>
                    <a:pt x="343" y="146"/>
                  </a:lnTo>
                  <a:lnTo>
                    <a:pt x="343" y="144"/>
                  </a:lnTo>
                  <a:lnTo>
                    <a:pt x="345" y="144"/>
                  </a:lnTo>
                  <a:lnTo>
                    <a:pt x="347" y="144"/>
                  </a:lnTo>
                  <a:lnTo>
                    <a:pt x="347" y="142"/>
                  </a:lnTo>
                  <a:lnTo>
                    <a:pt x="349" y="142"/>
                  </a:lnTo>
                  <a:lnTo>
                    <a:pt x="351" y="142"/>
                  </a:lnTo>
                  <a:lnTo>
                    <a:pt x="351" y="144"/>
                  </a:lnTo>
                  <a:lnTo>
                    <a:pt x="353" y="144"/>
                  </a:lnTo>
                  <a:lnTo>
                    <a:pt x="353" y="146"/>
                  </a:lnTo>
                  <a:lnTo>
                    <a:pt x="355" y="146"/>
                  </a:lnTo>
                  <a:lnTo>
                    <a:pt x="355" y="148"/>
                  </a:lnTo>
                  <a:lnTo>
                    <a:pt x="357" y="148"/>
                  </a:lnTo>
                  <a:lnTo>
                    <a:pt x="355" y="148"/>
                  </a:lnTo>
                  <a:lnTo>
                    <a:pt x="357" y="148"/>
                  </a:lnTo>
                  <a:lnTo>
                    <a:pt x="357" y="150"/>
                  </a:lnTo>
                  <a:lnTo>
                    <a:pt x="359" y="150"/>
                  </a:lnTo>
                  <a:lnTo>
                    <a:pt x="361" y="150"/>
                  </a:lnTo>
                  <a:lnTo>
                    <a:pt x="363" y="150"/>
                  </a:lnTo>
                  <a:lnTo>
                    <a:pt x="363" y="152"/>
                  </a:lnTo>
                  <a:lnTo>
                    <a:pt x="361" y="152"/>
                  </a:lnTo>
                  <a:lnTo>
                    <a:pt x="363" y="154"/>
                  </a:lnTo>
                  <a:lnTo>
                    <a:pt x="363" y="156"/>
                  </a:lnTo>
                  <a:lnTo>
                    <a:pt x="364" y="156"/>
                  </a:lnTo>
                  <a:lnTo>
                    <a:pt x="364" y="158"/>
                  </a:lnTo>
                  <a:lnTo>
                    <a:pt x="366" y="158"/>
                  </a:lnTo>
                  <a:lnTo>
                    <a:pt x="366" y="160"/>
                  </a:lnTo>
                  <a:lnTo>
                    <a:pt x="368" y="160"/>
                  </a:lnTo>
                  <a:lnTo>
                    <a:pt x="368" y="161"/>
                  </a:lnTo>
                  <a:lnTo>
                    <a:pt x="366" y="161"/>
                  </a:lnTo>
                  <a:lnTo>
                    <a:pt x="366" y="163"/>
                  </a:lnTo>
                  <a:lnTo>
                    <a:pt x="368" y="163"/>
                  </a:lnTo>
                  <a:lnTo>
                    <a:pt x="368" y="161"/>
                  </a:lnTo>
                  <a:lnTo>
                    <a:pt x="370" y="161"/>
                  </a:lnTo>
                  <a:lnTo>
                    <a:pt x="370" y="160"/>
                  </a:lnTo>
                  <a:lnTo>
                    <a:pt x="370" y="158"/>
                  </a:lnTo>
                  <a:lnTo>
                    <a:pt x="370" y="156"/>
                  </a:lnTo>
                  <a:lnTo>
                    <a:pt x="368" y="156"/>
                  </a:lnTo>
                  <a:lnTo>
                    <a:pt x="368" y="154"/>
                  </a:lnTo>
                  <a:lnTo>
                    <a:pt x="368" y="152"/>
                  </a:lnTo>
                  <a:lnTo>
                    <a:pt x="368" y="150"/>
                  </a:lnTo>
                  <a:lnTo>
                    <a:pt x="368" y="148"/>
                  </a:lnTo>
                  <a:lnTo>
                    <a:pt x="368" y="146"/>
                  </a:lnTo>
                  <a:lnTo>
                    <a:pt x="368" y="144"/>
                  </a:lnTo>
                  <a:lnTo>
                    <a:pt x="368" y="142"/>
                  </a:lnTo>
                  <a:lnTo>
                    <a:pt x="368" y="140"/>
                  </a:lnTo>
                  <a:lnTo>
                    <a:pt x="368" y="138"/>
                  </a:lnTo>
                  <a:lnTo>
                    <a:pt x="368" y="137"/>
                  </a:lnTo>
                  <a:lnTo>
                    <a:pt x="370" y="137"/>
                  </a:lnTo>
                  <a:lnTo>
                    <a:pt x="370" y="135"/>
                  </a:lnTo>
                  <a:lnTo>
                    <a:pt x="372" y="135"/>
                  </a:lnTo>
                  <a:lnTo>
                    <a:pt x="374" y="135"/>
                  </a:lnTo>
                  <a:lnTo>
                    <a:pt x="372" y="135"/>
                  </a:lnTo>
                  <a:lnTo>
                    <a:pt x="372" y="137"/>
                  </a:lnTo>
                  <a:lnTo>
                    <a:pt x="374" y="137"/>
                  </a:lnTo>
                  <a:lnTo>
                    <a:pt x="376" y="137"/>
                  </a:lnTo>
                  <a:lnTo>
                    <a:pt x="376" y="135"/>
                  </a:lnTo>
                  <a:lnTo>
                    <a:pt x="378" y="135"/>
                  </a:lnTo>
                  <a:lnTo>
                    <a:pt x="378" y="133"/>
                  </a:lnTo>
                  <a:lnTo>
                    <a:pt x="380" y="133"/>
                  </a:lnTo>
                  <a:lnTo>
                    <a:pt x="380" y="131"/>
                  </a:lnTo>
                  <a:lnTo>
                    <a:pt x="382" y="131"/>
                  </a:lnTo>
                  <a:lnTo>
                    <a:pt x="382" y="129"/>
                  </a:lnTo>
                  <a:lnTo>
                    <a:pt x="384" y="129"/>
                  </a:lnTo>
                  <a:lnTo>
                    <a:pt x="386" y="129"/>
                  </a:lnTo>
                  <a:lnTo>
                    <a:pt x="388" y="129"/>
                  </a:lnTo>
                  <a:lnTo>
                    <a:pt x="389" y="129"/>
                  </a:lnTo>
                  <a:lnTo>
                    <a:pt x="391" y="129"/>
                  </a:lnTo>
                  <a:lnTo>
                    <a:pt x="393" y="129"/>
                  </a:lnTo>
                  <a:lnTo>
                    <a:pt x="393" y="127"/>
                  </a:lnTo>
                  <a:lnTo>
                    <a:pt x="393" y="125"/>
                  </a:lnTo>
                  <a:lnTo>
                    <a:pt x="393" y="123"/>
                  </a:lnTo>
                  <a:lnTo>
                    <a:pt x="391" y="121"/>
                  </a:lnTo>
                  <a:lnTo>
                    <a:pt x="391" y="119"/>
                  </a:lnTo>
                  <a:lnTo>
                    <a:pt x="391" y="121"/>
                  </a:lnTo>
                  <a:lnTo>
                    <a:pt x="389" y="121"/>
                  </a:lnTo>
                  <a:lnTo>
                    <a:pt x="389" y="119"/>
                  </a:lnTo>
                  <a:lnTo>
                    <a:pt x="388" y="119"/>
                  </a:lnTo>
                  <a:lnTo>
                    <a:pt x="386" y="119"/>
                  </a:lnTo>
                  <a:lnTo>
                    <a:pt x="384" y="119"/>
                  </a:lnTo>
                  <a:lnTo>
                    <a:pt x="382" y="119"/>
                  </a:lnTo>
                  <a:lnTo>
                    <a:pt x="382" y="117"/>
                  </a:lnTo>
                  <a:lnTo>
                    <a:pt x="380" y="117"/>
                  </a:lnTo>
                  <a:lnTo>
                    <a:pt x="378" y="117"/>
                  </a:lnTo>
                  <a:lnTo>
                    <a:pt x="376" y="117"/>
                  </a:lnTo>
                  <a:lnTo>
                    <a:pt x="376" y="115"/>
                  </a:lnTo>
                  <a:lnTo>
                    <a:pt x="374" y="115"/>
                  </a:lnTo>
                  <a:lnTo>
                    <a:pt x="372" y="117"/>
                  </a:lnTo>
                  <a:lnTo>
                    <a:pt x="370" y="117"/>
                  </a:lnTo>
                  <a:lnTo>
                    <a:pt x="368" y="117"/>
                  </a:lnTo>
                  <a:lnTo>
                    <a:pt x="368" y="115"/>
                  </a:lnTo>
                  <a:lnTo>
                    <a:pt x="366" y="115"/>
                  </a:lnTo>
                  <a:lnTo>
                    <a:pt x="364" y="115"/>
                  </a:lnTo>
                  <a:lnTo>
                    <a:pt x="363" y="115"/>
                  </a:lnTo>
                  <a:lnTo>
                    <a:pt x="363" y="117"/>
                  </a:lnTo>
                  <a:lnTo>
                    <a:pt x="361" y="117"/>
                  </a:lnTo>
                  <a:lnTo>
                    <a:pt x="359" y="117"/>
                  </a:lnTo>
                  <a:lnTo>
                    <a:pt x="359" y="119"/>
                  </a:lnTo>
                  <a:lnTo>
                    <a:pt x="359" y="121"/>
                  </a:lnTo>
                  <a:lnTo>
                    <a:pt x="357" y="121"/>
                  </a:lnTo>
                  <a:lnTo>
                    <a:pt x="355" y="121"/>
                  </a:lnTo>
                  <a:lnTo>
                    <a:pt x="355" y="119"/>
                  </a:lnTo>
                  <a:lnTo>
                    <a:pt x="353" y="119"/>
                  </a:lnTo>
                  <a:lnTo>
                    <a:pt x="353" y="117"/>
                  </a:lnTo>
                  <a:lnTo>
                    <a:pt x="355" y="117"/>
                  </a:lnTo>
                  <a:lnTo>
                    <a:pt x="355" y="115"/>
                  </a:lnTo>
                  <a:lnTo>
                    <a:pt x="357" y="115"/>
                  </a:lnTo>
                  <a:lnTo>
                    <a:pt x="357" y="113"/>
                  </a:lnTo>
                  <a:lnTo>
                    <a:pt x="357" y="112"/>
                  </a:lnTo>
                  <a:lnTo>
                    <a:pt x="357" y="110"/>
                  </a:lnTo>
                  <a:lnTo>
                    <a:pt x="357" y="108"/>
                  </a:lnTo>
                  <a:lnTo>
                    <a:pt x="357" y="106"/>
                  </a:lnTo>
                  <a:lnTo>
                    <a:pt x="357" y="104"/>
                  </a:lnTo>
                  <a:lnTo>
                    <a:pt x="357" y="102"/>
                  </a:lnTo>
                  <a:lnTo>
                    <a:pt x="357" y="98"/>
                  </a:lnTo>
                  <a:lnTo>
                    <a:pt x="355" y="96"/>
                  </a:lnTo>
                  <a:lnTo>
                    <a:pt x="355" y="94"/>
                  </a:lnTo>
                  <a:lnTo>
                    <a:pt x="355" y="92"/>
                  </a:lnTo>
                  <a:lnTo>
                    <a:pt x="355" y="90"/>
                  </a:lnTo>
                  <a:lnTo>
                    <a:pt x="355" y="89"/>
                  </a:lnTo>
                  <a:lnTo>
                    <a:pt x="355" y="87"/>
                  </a:lnTo>
                  <a:lnTo>
                    <a:pt x="355" y="85"/>
                  </a:lnTo>
                  <a:lnTo>
                    <a:pt x="355" y="83"/>
                  </a:lnTo>
                  <a:lnTo>
                    <a:pt x="355" y="81"/>
                  </a:lnTo>
                  <a:lnTo>
                    <a:pt x="355" y="79"/>
                  </a:lnTo>
                  <a:lnTo>
                    <a:pt x="355" y="77"/>
                  </a:lnTo>
                  <a:lnTo>
                    <a:pt x="355" y="75"/>
                  </a:lnTo>
                  <a:lnTo>
                    <a:pt x="355" y="73"/>
                  </a:lnTo>
                  <a:lnTo>
                    <a:pt x="355" y="71"/>
                  </a:lnTo>
                  <a:lnTo>
                    <a:pt x="357" y="71"/>
                  </a:lnTo>
                  <a:lnTo>
                    <a:pt x="357" y="69"/>
                  </a:lnTo>
                  <a:lnTo>
                    <a:pt x="357" y="67"/>
                  </a:lnTo>
                  <a:lnTo>
                    <a:pt x="359" y="67"/>
                  </a:lnTo>
                  <a:lnTo>
                    <a:pt x="359" y="65"/>
                  </a:lnTo>
                  <a:lnTo>
                    <a:pt x="361" y="65"/>
                  </a:lnTo>
                  <a:lnTo>
                    <a:pt x="361" y="64"/>
                  </a:lnTo>
                  <a:lnTo>
                    <a:pt x="363" y="64"/>
                  </a:lnTo>
                  <a:lnTo>
                    <a:pt x="363" y="62"/>
                  </a:lnTo>
                  <a:lnTo>
                    <a:pt x="363" y="64"/>
                  </a:lnTo>
                  <a:lnTo>
                    <a:pt x="361" y="64"/>
                  </a:lnTo>
                  <a:lnTo>
                    <a:pt x="361" y="65"/>
                  </a:lnTo>
                  <a:lnTo>
                    <a:pt x="363" y="65"/>
                  </a:lnTo>
                  <a:lnTo>
                    <a:pt x="363" y="64"/>
                  </a:lnTo>
                  <a:lnTo>
                    <a:pt x="363" y="62"/>
                  </a:lnTo>
                  <a:lnTo>
                    <a:pt x="363" y="60"/>
                  </a:lnTo>
                  <a:lnTo>
                    <a:pt x="363" y="58"/>
                  </a:lnTo>
                  <a:lnTo>
                    <a:pt x="363" y="56"/>
                  </a:lnTo>
                  <a:lnTo>
                    <a:pt x="361" y="56"/>
                  </a:lnTo>
                  <a:lnTo>
                    <a:pt x="361" y="54"/>
                  </a:lnTo>
                  <a:lnTo>
                    <a:pt x="359" y="52"/>
                  </a:lnTo>
                  <a:lnTo>
                    <a:pt x="359" y="50"/>
                  </a:lnTo>
                  <a:lnTo>
                    <a:pt x="359" y="48"/>
                  </a:lnTo>
                  <a:lnTo>
                    <a:pt x="357" y="48"/>
                  </a:lnTo>
                  <a:lnTo>
                    <a:pt x="357" y="46"/>
                  </a:lnTo>
                  <a:lnTo>
                    <a:pt x="357" y="44"/>
                  </a:lnTo>
                  <a:lnTo>
                    <a:pt x="357" y="42"/>
                  </a:lnTo>
                  <a:lnTo>
                    <a:pt x="357" y="41"/>
                  </a:lnTo>
                  <a:lnTo>
                    <a:pt x="357" y="39"/>
                  </a:lnTo>
                  <a:lnTo>
                    <a:pt x="359" y="39"/>
                  </a:lnTo>
                  <a:lnTo>
                    <a:pt x="363" y="39"/>
                  </a:lnTo>
                  <a:lnTo>
                    <a:pt x="363" y="33"/>
                  </a:lnTo>
                  <a:lnTo>
                    <a:pt x="363" y="27"/>
                  </a:lnTo>
                  <a:lnTo>
                    <a:pt x="361" y="21"/>
                  </a:lnTo>
                  <a:lnTo>
                    <a:pt x="361" y="4"/>
                  </a:lnTo>
                  <a:lnTo>
                    <a:pt x="359" y="0"/>
                  </a:lnTo>
                  <a:lnTo>
                    <a:pt x="361" y="0"/>
                  </a:lnTo>
                  <a:lnTo>
                    <a:pt x="363" y="0"/>
                  </a:lnTo>
                  <a:lnTo>
                    <a:pt x="364" y="0"/>
                  </a:lnTo>
                  <a:lnTo>
                    <a:pt x="368" y="0"/>
                  </a:lnTo>
                  <a:lnTo>
                    <a:pt x="370" y="2"/>
                  </a:lnTo>
                  <a:lnTo>
                    <a:pt x="372" y="2"/>
                  </a:lnTo>
                  <a:lnTo>
                    <a:pt x="374" y="4"/>
                  </a:lnTo>
                  <a:lnTo>
                    <a:pt x="376" y="8"/>
                  </a:lnTo>
                  <a:lnTo>
                    <a:pt x="378" y="10"/>
                  </a:lnTo>
                  <a:lnTo>
                    <a:pt x="378" y="12"/>
                  </a:lnTo>
                  <a:lnTo>
                    <a:pt x="380" y="14"/>
                  </a:lnTo>
                  <a:lnTo>
                    <a:pt x="382" y="14"/>
                  </a:lnTo>
                  <a:lnTo>
                    <a:pt x="384" y="14"/>
                  </a:lnTo>
                  <a:lnTo>
                    <a:pt x="386" y="17"/>
                  </a:lnTo>
                  <a:lnTo>
                    <a:pt x="386" y="21"/>
                  </a:lnTo>
                  <a:lnTo>
                    <a:pt x="386" y="23"/>
                  </a:lnTo>
                  <a:lnTo>
                    <a:pt x="386" y="25"/>
                  </a:lnTo>
                  <a:lnTo>
                    <a:pt x="384" y="25"/>
                  </a:lnTo>
                  <a:close/>
                  <a:moveTo>
                    <a:pt x="311" y="689"/>
                  </a:moveTo>
                  <a:lnTo>
                    <a:pt x="313" y="689"/>
                  </a:lnTo>
                  <a:lnTo>
                    <a:pt x="311" y="689"/>
                  </a:lnTo>
                  <a:lnTo>
                    <a:pt x="311" y="688"/>
                  </a:lnTo>
                  <a:lnTo>
                    <a:pt x="311" y="686"/>
                  </a:lnTo>
                  <a:lnTo>
                    <a:pt x="309" y="684"/>
                  </a:lnTo>
                  <a:lnTo>
                    <a:pt x="309" y="686"/>
                  </a:lnTo>
                  <a:lnTo>
                    <a:pt x="309" y="688"/>
                  </a:lnTo>
                  <a:lnTo>
                    <a:pt x="311" y="689"/>
                  </a:lnTo>
                  <a:close/>
                </a:path>
              </a:pathLst>
            </a:custGeom>
            <a:solidFill>
              <a:schemeClr val="accent5">
                <a:lumMod val="7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grpSp>
          <p:nvGrpSpPr>
            <p:cNvPr id="56" name="Groupe 13">
              <a:extLst>
                <a:ext uri="{FF2B5EF4-FFF2-40B4-BE49-F238E27FC236}">
                  <a16:creationId xmlns:a16="http://schemas.microsoft.com/office/drawing/2014/main" id="{398FECF5-C128-4167-9623-6AC4EB0E95C8}"/>
                </a:ext>
              </a:extLst>
            </p:cNvPr>
            <p:cNvGrpSpPr/>
            <p:nvPr/>
          </p:nvGrpSpPr>
          <p:grpSpPr>
            <a:xfrm>
              <a:off x="2499299" y="1323690"/>
              <a:ext cx="6626130" cy="4499538"/>
              <a:chOff x="2499299" y="1323690"/>
              <a:chExt cx="6626130" cy="4499538"/>
            </a:xfrm>
          </p:grpSpPr>
          <p:sp>
            <p:nvSpPr>
              <p:cNvPr id="62" name="Freeform 108">
                <a:extLst>
                  <a:ext uri="{FF2B5EF4-FFF2-40B4-BE49-F238E27FC236}">
                    <a16:creationId xmlns:a16="http://schemas.microsoft.com/office/drawing/2014/main" id="{64350F7C-2660-4FC5-9EEA-F964DB019C77}"/>
                  </a:ext>
                </a:extLst>
              </p:cNvPr>
              <p:cNvSpPr>
                <a:spLocks/>
              </p:cNvSpPr>
              <p:nvPr/>
            </p:nvSpPr>
            <p:spPr bwMode="auto">
              <a:xfrm>
                <a:off x="4685255" y="2859646"/>
                <a:ext cx="1086300" cy="1151596"/>
              </a:xfrm>
              <a:custGeom>
                <a:avLst/>
                <a:gdLst>
                  <a:gd name="T0" fmla="*/ 511 w 732"/>
                  <a:gd name="T1" fmla="*/ 40 h 776"/>
                  <a:gd name="T2" fmla="*/ 501 w 732"/>
                  <a:gd name="T3" fmla="*/ 90 h 776"/>
                  <a:gd name="T4" fmla="*/ 507 w 732"/>
                  <a:gd name="T5" fmla="*/ 129 h 776"/>
                  <a:gd name="T6" fmla="*/ 563 w 732"/>
                  <a:gd name="T7" fmla="*/ 136 h 776"/>
                  <a:gd name="T8" fmla="*/ 611 w 732"/>
                  <a:gd name="T9" fmla="*/ 131 h 776"/>
                  <a:gd name="T10" fmla="*/ 651 w 732"/>
                  <a:gd name="T11" fmla="*/ 132 h 776"/>
                  <a:gd name="T12" fmla="*/ 657 w 732"/>
                  <a:gd name="T13" fmla="*/ 186 h 776"/>
                  <a:gd name="T14" fmla="*/ 655 w 732"/>
                  <a:gd name="T15" fmla="*/ 219 h 776"/>
                  <a:gd name="T16" fmla="*/ 645 w 732"/>
                  <a:gd name="T17" fmla="*/ 263 h 776"/>
                  <a:gd name="T18" fmla="*/ 666 w 732"/>
                  <a:gd name="T19" fmla="*/ 298 h 776"/>
                  <a:gd name="T20" fmla="*/ 685 w 732"/>
                  <a:gd name="T21" fmla="*/ 319 h 776"/>
                  <a:gd name="T22" fmla="*/ 664 w 732"/>
                  <a:gd name="T23" fmla="*/ 363 h 776"/>
                  <a:gd name="T24" fmla="*/ 655 w 732"/>
                  <a:gd name="T25" fmla="*/ 394 h 776"/>
                  <a:gd name="T26" fmla="*/ 653 w 732"/>
                  <a:gd name="T27" fmla="*/ 432 h 776"/>
                  <a:gd name="T28" fmla="*/ 674 w 732"/>
                  <a:gd name="T29" fmla="*/ 488 h 776"/>
                  <a:gd name="T30" fmla="*/ 697 w 732"/>
                  <a:gd name="T31" fmla="*/ 524 h 776"/>
                  <a:gd name="T32" fmla="*/ 724 w 732"/>
                  <a:gd name="T33" fmla="*/ 574 h 776"/>
                  <a:gd name="T34" fmla="*/ 722 w 732"/>
                  <a:gd name="T35" fmla="*/ 614 h 776"/>
                  <a:gd name="T36" fmla="*/ 695 w 732"/>
                  <a:gd name="T37" fmla="*/ 645 h 776"/>
                  <a:gd name="T38" fmla="*/ 655 w 732"/>
                  <a:gd name="T39" fmla="*/ 687 h 776"/>
                  <a:gd name="T40" fmla="*/ 649 w 732"/>
                  <a:gd name="T41" fmla="*/ 728 h 776"/>
                  <a:gd name="T42" fmla="*/ 616 w 732"/>
                  <a:gd name="T43" fmla="*/ 755 h 776"/>
                  <a:gd name="T44" fmla="*/ 589 w 732"/>
                  <a:gd name="T45" fmla="*/ 774 h 776"/>
                  <a:gd name="T46" fmla="*/ 532 w 732"/>
                  <a:gd name="T47" fmla="*/ 768 h 776"/>
                  <a:gd name="T48" fmla="*/ 486 w 732"/>
                  <a:gd name="T49" fmla="*/ 762 h 776"/>
                  <a:gd name="T50" fmla="*/ 480 w 732"/>
                  <a:gd name="T51" fmla="*/ 749 h 776"/>
                  <a:gd name="T52" fmla="*/ 445 w 732"/>
                  <a:gd name="T53" fmla="*/ 720 h 776"/>
                  <a:gd name="T54" fmla="*/ 417 w 732"/>
                  <a:gd name="T55" fmla="*/ 731 h 776"/>
                  <a:gd name="T56" fmla="*/ 384 w 732"/>
                  <a:gd name="T57" fmla="*/ 749 h 776"/>
                  <a:gd name="T58" fmla="*/ 340 w 732"/>
                  <a:gd name="T59" fmla="*/ 733 h 776"/>
                  <a:gd name="T60" fmla="*/ 309 w 732"/>
                  <a:gd name="T61" fmla="*/ 712 h 776"/>
                  <a:gd name="T62" fmla="*/ 282 w 732"/>
                  <a:gd name="T63" fmla="*/ 737 h 776"/>
                  <a:gd name="T64" fmla="*/ 267 w 732"/>
                  <a:gd name="T65" fmla="*/ 718 h 776"/>
                  <a:gd name="T66" fmla="*/ 234 w 732"/>
                  <a:gd name="T67" fmla="*/ 714 h 776"/>
                  <a:gd name="T68" fmla="*/ 251 w 732"/>
                  <a:gd name="T69" fmla="*/ 672 h 776"/>
                  <a:gd name="T70" fmla="*/ 203 w 732"/>
                  <a:gd name="T71" fmla="*/ 680 h 776"/>
                  <a:gd name="T72" fmla="*/ 177 w 732"/>
                  <a:gd name="T73" fmla="*/ 664 h 776"/>
                  <a:gd name="T74" fmla="*/ 163 w 732"/>
                  <a:gd name="T75" fmla="*/ 622 h 776"/>
                  <a:gd name="T76" fmla="*/ 127 w 732"/>
                  <a:gd name="T77" fmla="*/ 584 h 776"/>
                  <a:gd name="T78" fmla="*/ 79 w 732"/>
                  <a:gd name="T79" fmla="*/ 559 h 776"/>
                  <a:gd name="T80" fmla="*/ 44 w 732"/>
                  <a:gd name="T81" fmla="*/ 538 h 776"/>
                  <a:gd name="T82" fmla="*/ 23 w 732"/>
                  <a:gd name="T83" fmla="*/ 497 h 776"/>
                  <a:gd name="T84" fmla="*/ 8 w 732"/>
                  <a:gd name="T85" fmla="*/ 451 h 776"/>
                  <a:gd name="T86" fmla="*/ 19 w 732"/>
                  <a:gd name="T87" fmla="*/ 413 h 776"/>
                  <a:gd name="T88" fmla="*/ 25 w 732"/>
                  <a:gd name="T89" fmla="*/ 353 h 776"/>
                  <a:gd name="T90" fmla="*/ 31 w 732"/>
                  <a:gd name="T91" fmla="*/ 317 h 776"/>
                  <a:gd name="T92" fmla="*/ 65 w 732"/>
                  <a:gd name="T93" fmla="*/ 290 h 776"/>
                  <a:gd name="T94" fmla="*/ 81 w 732"/>
                  <a:gd name="T95" fmla="*/ 265 h 776"/>
                  <a:gd name="T96" fmla="*/ 119 w 732"/>
                  <a:gd name="T97" fmla="*/ 265 h 776"/>
                  <a:gd name="T98" fmla="*/ 152 w 732"/>
                  <a:gd name="T99" fmla="*/ 255 h 776"/>
                  <a:gd name="T100" fmla="*/ 177 w 732"/>
                  <a:gd name="T101" fmla="*/ 246 h 776"/>
                  <a:gd name="T102" fmla="*/ 178 w 732"/>
                  <a:gd name="T103" fmla="*/ 194 h 776"/>
                  <a:gd name="T104" fmla="*/ 173 w 732"/>
                  <a:gd name="T105" fmla="*/ 152 h 776"/>
                  <a:gd name="T106" fmla="*/ 159 w 732"/>
                  <a:gd name="T107" fmla="*/ 123 h 776"/>
                  <a:gd name="T108" fmla="*/ 175 w 732"/>
                  <a:gd name="T109" fmla="*/ 98 h 776"/>
                  <a:gd name="T110" fmla="*/ 180 w 732"/>
                  <a:gd name="T111" fmla="*/ 56 h 776"/>
                  <a:gd name="T112" fmla="*/ 200 w 732"/>
                  <a:gd name="T113" fmla="*/ 21 h 776"/>
                  <a:gd name="T114" fmla="*/ 250 w 732"/>
                  <a:gd name="T115" fmla="*/ 15 h 776"/>
                  <a:gd name="T116" fmla="*/ 307 w 732"/>
                  <a:gd name="T117" fmla="*/ 17 h 776"/>
                  <a:gd name="T118" fmla="*/ 359 w 732"/>
                  <a:gd name="T119" fmla="*/ 17 h 776"/>
                  <a:gd name="T120" fmla="*/ 399 w 732"/>
                  <a:gd name="T121" fmla="*/ 33 h 776"/>
                  <a:gd name="T122" fmla="*/ 443 w 732"/>
                  <a:gd name="T123" fmla="*/ 31 h 776"/>
                  <a:gd name="T124" fmla="*/ 482 w 732"/>
                  <a:gd name="T125" fmla="*/ 4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2" h="776">
                    <a:moveTo>
                      <a:pt x="491" y="2"/>
                    </a:moveTo>
                    <a:lnTo>
                      <a:pt x="493" y="2"/>
                    </a:lnTo>
                    <a:lnTo>
                      <a:pt x="493" y="4"/>
                    </a:lnTo>
                    <a:lnTo>
                      <a:pt x="495" y="4"/>
                    </a:lnTo>
                    <a:lnTo>
                      <a:pt x="495" y="6"/>
                    </a:lnTo>
                    <a:lnTo>
                      <a:pt x="495" y="8"/>
                    </a:lnTo>
                    <a:lnTo>
                      <a:pt x="493" y="8"/>
                    </a:lnTo>
                    <a:lnTo>
                      <a:pt x="495" y="8"/>
                    </a:lnTo>
                    <a:lnTo>
                      <a:pt x="495" y="10"/>
                    </a:lnTo>
                    <a:lnTo>
                      <a:pt x="497" y="10"/>
                    </a:lnTo>
                    <a:lnTo>
                      <a:pt x="497" y="12"/>
                    </a:lnTo>
                    <a:lnTo>
                      <a:pt x="495" y="12"/>
                    </a:lnTo>
                    <a:lnTo>
                      <a:pt x="495" y="13"/>
                    </a:lnTo>
                    <a:lnTo>
                      <a:pt x="497" y="13"/>
                    </a:lnTo>
                    <a:lnTo>
                      <a:pt x="499" y="15"/>
                    </a:lnTo>
                    <a:lnTo>
                      <a:pt x="501" y="15"/>
                    </a:lnTo>
                    <a:lnTo>
                      <a:pt x="505" y="17"/>
                    </a:lnTo>
                    <a:lnTo>
                      <a:pt x="505" y="19"/>
                    </a:lnTo>
                    <a:lnTo>
                      <a:pt x="505" y="21"/>
                    </a:lnTo>
                    <a:lnTo>
                      <a:pt x="507" y="21"/>
                    </a:lnTo>
                    <a:lnTo>
                      <a:pt x="507" y="23"/>
                    </a:lnTo>
                    <a:lnTo>
                      <a:pt x="509" y="23"/>
                    </a:lnTo>
                    <a:lnTo>
                      <a:pt x="507" y="25"/>
                    </a:lnTo>
                    <a:lnTo>
                      <a:pt x="507" y="27"/>
                    </a:lnTo>
                    <a:lnTo>
                      <a:pt x="507" y="29"/>
                    </a:lnTo>
                    <a:lnTo>
                      <a:pt x="505" y="29"/>
                    </a:lnTo>
                    <a:lnTo>
                      <a:pt x="505" y="31"/>
                    </a:lnTo>
                    <a:lnTo>
                      <a:pt x="505" y="33"/>
                    </a:lnTo>
                    <a:lnTo>
                      <a:pt x="507" y="33"/>
                    </a:lnTo>
                    <a:lnTo>
                      <a:pt x="509" y="33"/>
                    </a:lnTo>
                    <a:lnTo>
                      <a:pt x="509" y="35"/>
                    </a:lnTo>
                    <a:lnTo>
                      <a:pt x="509" y="36"/>
                    </a:lnTo>
                    <a:lnTo>
                      <a:pt x="509" y="38"/>
                    </a:lnTo>
                    <a:lnTo>
                      <a:pt x="511" y="38"/>
                    </a:lnTo>
                    <a:lnTo>
                      <a:pt x="511" y="40"/>
                    </a:lnTo>
                    <a:lnTo>
                      <a:pt x="509" y="42"/>
                    </a:lnTo>
                    <a:lnTo>
                      <a:pt x="507" y="44"/>
                    </a:lnTo>
                    <a:lnTo>
                      <a:pt x="505" y="46"/>
                    </a:lnTo>
                    <a:lnTo>
                      <a:pt x="501" y="48"/>
                    </a:lnTo>
                    <a:lnTo>
                      <a:pt x="503" y="48"/>
                    </a:lnTo>
                    <a:lnTo>
                      <a:pt x="505" y="50"/>
                    </a:lnTo>
                    <a:lnTo>
                      <a:pt x="507" y="50"/>
                    </a:lnTo>
                    <a:lnTo>
                      <a:pt x="509" y="52"/>
                    </a:lnTo>
                    <a:lnTo>
                      <a:pt x="507" y="54"/>
                    </a:lnTo>
                    <a:lnTo>
                      <a:pt x="507" y="58"/>
                    </a:lnTo>
                    <a:lnTo>
                      <a:pt x="507" y="60"/>
                    </a:lnTo>
                    <a:lnTo>
                      <a:pt x="507" y="61"/>
                    </a:lnTo>
                    <a:lnTo>
                      <a:pt x="513" y="65"/>
                    </a:lnTo>
                    <a:lnTo>
                      <a:pt x="515" y="67"/>
                    </a:lnTo>
                    <a:lnTo>
                      <a:pt x="516" y="67"/>
                    </a:lnTo>
                    <a:lnTo>
                      <a:pt x="516" y="69"/>
                    </a:lnTo>
                    <a:lnTo>
                      <a:pt x="516" y="71"/>
                    </a:lnTo>
                    <a:lnTo>
                      <a:pt x="516" y="73"/>
                    </a:lnTo>
                    <a:lnTo>
                      <a:pt x="515" y="73"/>
                    </a:lnTo>
                    <a:lnTo>
                      <a:pt x="513" y="73"/>
                    </a:lnTo>
                    <a:lnTo>
                      <a:pt x="513" y="75"/>
                    </a:lnTo>
                    <a:lnTo>
                      <a:pt x="511" y="77"/>
                    </a:lnTo>
                    <a:lnTo>
                      <a:pt x="513" y="77"/>
                    </a:lnTo>
                    <a:lnTo>
                      <a:pt x="511" y="79"/>
                    </a:lnTo>
                    <a:lnTo>
                      <a:pt x="509" y="81"/>
                    </a:lnTo>
                    <a:lnTo>
                      <a:pt x="509" y="83"/>
                    </a:lnTo>
                    <a:lnTo>
                      <a:pt x="507" y="84"/>
                    </a:lnTo>
                    <a:lnTo>
                      <a:pt x="505" y="84"/>
                    </a:lnTo>
                    <a:lnTo>
                      <a:pt x="505" y="83"/>
                    </a:lnTo>
                    <a:lnTo>
                      <a:pt x="503" y="83"/>
                    </a:lnTo>
                    <a:lnTo>
                      <a:pt x="503" y="84"/>
                    </a:lnTo>
                    <a:lnTo>
                      <a:pt x="503" y="86"/>
                    </a:lnTo>
                    <a:lnTo>
                      <a:pt x="501" y="86"/>
                    </a:lnTo>
                    <a:lnTo>
                      <a:pt x="501" y="88"/>
                    </a:lnTo>
                    <a:lnTo>
                      <a:pt x="501" y="90"/>
                    </a:lnTo>
                    <a:lnTo>
                      <a:pt x="499" y="90"/>
                    </a:lnTo>
                    <a:lnTo>
                      <a:pt x="497" y="90"/>
                    </a:lnTo>
                    <a:lnTo>
                      <a:pt x="497" y="92"/>
                    </a:lnTo>
                    <a:lnTo>
                      <a:pt x="497" y="94"/>
                    </a:lnTo>
                    <a:lnTo>
                      <a:pt x="499" y="94"/>
                    </a:lnTo>
                    <a:lnTo>
                      <a:pt x="501" y="94"/>
                    </a:lnTo>
                    <a:lnTo>
                      <a:pt x="501" y="96"/>
                    </a:lnTo>
                    <a:lnTo>
                      <a:pt x="503" y="98"/>
                    </a:lnTo>
                    <a:lnTo>
                      <a:pt x="503" y="100"/>
                    </a:lnTo>
                    <a:lnTo>
                      <a:pt x="505" y="100"/>
                    </a:lnTo>
                    <a:lnTo>
                      <a:pt x="505" y="102"/>
                    </a:lnTo>
                    <a:lnTo>
                      <a:pt x="505" y="104"/>
                    </a:lnTo>
                    <a:lnTo>
                      <a:pt x="507" y="104"/>
                    </a:lnTo>
                    <a:lnTo>
                      <a:pt x="507" y="106"/>
                    </a:lnTo>
                    <a:lnTo>
                      <a:pt x="505" y="106"/>
                    </a:lnTo>
                    <a:lnTo>
                      <a:pt x="505" y="108"/>
                    </a:lnTo>
                    <a:lnTo>
                      <a:pt x="507" y="108"/>
                    </a:lnTo>
                    <a:lnTo>
                      <a:pt x="509" y="108"/>
                    </a:lnTo>
                    <a:lnTo>
                      <a:pt x="509" y="109"/>
                    </a:lnTo>
                    <a:lnTo>
                      <a:pt x="511" y="111"/>
                    </a:lnTo>
                    <a:lnTo>
                      <a:pt x="511" y="113"/>
                    </a:lnTo>
                    <a:lnTo>
                      <a:pt x="513" y="113"/>
                    </a:lnTo>
                    <a:lnTo>
                      <a:pt x="511" y="113"/>
                    </a:lnTo>
                    <a:lnTo>
                      <a:pt x="511" y="115"/>
                    </a:lnTo>
                    <a:lnTo>
                      <a:pt x="509" y="115"/>
                    </a:lnTo>
                    <a:lnTo>
                      <a:pt x="509" y="117"/>
                    </a:lnTo>
                    <a:lnTo>
                      <a:pt x="507" y="119"/>
                    </a:lnTo>
                    <a:lnTo>
                      <a:pt x="507" y="121"/>
                    </a:lnTo>
                    <a:lnTo>
                      <a:pt x="505" y="121"/>
                    </a:lnTo>
                    <a:lnTo>
                      <a:pt x="505" y="123"/>
                    </a:lnTo>
                    <a:lnTo>
                      <a:pt x="503" y="123"/>
                    </a:lnTo>
                    <a:lnTo>
                      <a:pt x="503" y="125"/>
                    </a:lnTo>
                    <a:lnTo>
                      <a:pt x="505" y="125"/>
                    </a:lnTo>
                    <a:lnTo>
                      <a:pt x="505" y="127"/>
                    </a:lnTo>
                    <a:lnTo>
                      <a:pt x="507" y="129"/>
                    </a:lnTo>
                    <a:lnTo>
                      <a:pt x="509" y="129"/>
                    </a:lnTo>
                    <a:lnTo>
                      <a:pt x="511" y="129"/>
                    </a:lnTo>
                    <a:lnTo>
                      <a:pt x="511" y="131"/>
                    </a:lnTo>
                    <a:lnTo>
                      <a:pt x="513" y="131"/>
                    </a:lnTo>
                    <a:lnTo>
                      <a:pt x="515" y="131"/>
                    </a:lnTo>
                    <a:lnTo>
                      <a:pt x="516" y="131"/>
                    </a:lnTo>
                    <a:lnTo>
                      <a:pt x="518" y="131"/>
                    </a:lnTo>
                    <a:lnTo>
                      <a:pt x="520" y="131"/>
                    </a:lnTo>
                    <a:lnTo>
                      <a:pt x="522" y="131"/>
                    </a:lnTo>
                    <a:lnTo>
                      <a:pt x="522" y="132"/>
                    </a:lnTo>
                    <a:lnTo>
                      <a:pt x="524" y="132"/>
                    </a:lnTo>
                    <a:lnTo>
                      <a:pt x="526" y="131"/>
                    </a:lnTo>
                    <a:lnTo>
                      <a:pt x="526" y="132"/>
                    </a:lnTo>
                    <a:lnTo>
                      <a:pt x="528" y="132"/>
                    </a:lnTo>
                    <a:lnTo>
                      <a:pt x="530" y="132"/>
                    </a:lnTo>
                    <a:lnTo>
                      <a:pt x="532" y="132"/>
                    </a:lnTo>
                    <a:lnTo>
                      <a:pt x="536" y="132"/>
                    </a:lnTo>
                    <a:lnTo>
                      <a:pt x="538" y="138"/>
                    </a:lnTo>
                    <a:lnTo>
                      <a:pt x="538" y="136"/>
                    </a:lnTo>
                    <a:lnTo>
                      <a:pt x="539" y="136"/>
                    </a:lnTo>
                    <a:lnTo>
                      <a:pt x="541" y="136"/>
                    </a:lnTo>
                    <a:lnTo>
                      <a:pt x="543" y="134"/>
                    </a:lnTo>
                    <a:lnTo>
                      <a:pt x="545" y="134"/>
                    </a:lnTo>
                    <a:lnTo>
                      <a:pt x="547" y="134"/>
                    </a:lnTo>
                    <a:lnTo>
                      <a:pt x="549" y="134"/>
                    </a:lnTo>
                    <a:lnTo>
                      <a:pt x="549" y="136"/>
                    </a:lnTo>
                    <a:lnTo>
                      <a:pt x="551" y="136"/>
                    </a:lnTo>
                    <a:lnTo>
                      <a:pt x="553" y="136"/>
                    </a:lnTo>
                    <a:lnTo>
                      <a:pt x="555" y="136"/>
                    </a:lnTo>
                    <a:lnTo>
                      <a:pt x="555" y="138"/>
                    </a:lnTo>
                    <a:lnTo>
                      <a:pt x="557" y="138"/>
                    </a:lnTo>
                    <a:lnTo>
                      <a:pt x="559" y="138"/>
                    </a:lnTo>
                    <a:lnTo>
                      <a:pt x="561" y="138"/>
                    </a:lnTo>
                    <a:lnTo>
                      <a:pt x="561" y="136"/>
                    </a:lnTo>
                    <a:lnTo>
                      <a:pt x="563" y="136"/>
                    </a:lnTo>
                    <a:lnTo>
                      <a:pt x="563" y="138"/>
                    </a:lnTo>
                    <a:lnTo>
                      <a:pt x="564" y="138"/>
                    </a:lnTo>
                    <a:lnTo>
                      <a:pt x="564" y="140"/>
                    </a:lnTo>
                    <a:lnTo>
                      <a:pt x="566" y="138"/>
                    </a:lnTo>
                    <a:lnTo>
                      <a:pt x="568" y="138"/>
                    </a:lnTo>
                    <a:lnTo>
                      <a:pt x="568" y="136"/>
                    </a:lnTo>
                    <a:lnTo>
                      <a:pt x="574" y="132"/>
                    </a:lnTo>
                    <a:lnTo>
                      <a:pt x="574" y="134"/>
                    </a:lnTo>
                    <a:lnTo>
                      <a:pt x="574" y="136"/>
                    </a:lnTo>
                    <a:lnTo>
                      <a:pt x="576" y="136"/>
                    </a:lnTo>
                    <a:lnTo>
                      <a:pt x="576" y="138"/>
                    </a:lnTo>
                    <a:lnTo>
                      <a:pt x="576" y="140"/>
                    </a:lnTo>
                    <a:lnTo>
                      <a:pt x="582" y="140"/>
                    </a:lnTo>
                    <a:lnTo>
                      <a:pt x="582" y="136"/>
                    </a:lnTo>
                    <a:lnTo>
                      <a:pt x="584" y="132"/>
                    </a:lnTo>
                    <a:lnTo>
                      <a:pt x="584" y="129"/>
                    </a:lnTo>
                    <a:lnTo>
                      <a:pt x="584" y="125"/>
                    </a:lnTo>
                    <a:lnTo>
                      <a:pt x="588" y="125"/>
                    </a:lnTo>
                    <a:lnTo>
                      <a:pt x="588" y="127"/>
                    </a:lnTo>
                    <a:lnTo>
                      <a:pt x="591" y="127"/>
                    </a:lnTo>
                    <a:lnTo>
                      <a:pt x="593" y="127"/>
                    </a:lnTo>
                    <a:lnTo>
                      <a:pt x="595" y="127"/>
                    </a:lnTo>
                    <a:lnTo>
                      <a:pt x="597" y="127"/>
                    </a:lnTo>
                    <a:lnTo>
                      <a:pt x="599" y="127"/>
                    </a:lnTo>
                    <a:lnTo>
                      <a:pt x="599" y="129"/>
                    </a:lnTo>
                    <a:lnTo>
                      <a:pt x="601" y="132"/>
                    </a:lnTo>
                    <a:lnTo>
                      <a:pt x="603" y="131"/>
                    </a:lnTo>
                    <a:lnTo>
                      <a:pt x="605" y="129"/>
                    </a:lnTo>
                    <a:lnTo>
                      <a:pt x="605" y="127"/>
                    </a:lnTo>
                    <a:lnTo>
                      <a:pt x="605" y="129"/>
                    </a:lnTo>
                    <a:lnTo>
                      <a:pt x="607" y="129"/>
                    </a:lnTo>
                    <a:lnTo>
                      <a:pt x="609" y="131"/>
                    </a:lnTo>
                    <a:lnTo>
                      <a:pt x="609" y="132"/>
                    </a:lnTo>
                    <a:lnTo>
                      <a:pt x="611" y="132"/>
                    </a:lnTo>
                    <a:lnTo>
                      <a:pt x="611" y="131"/>
                    </a:lnTo>
                    <a:lnTo>
                      <a:pt x="611" y="132"/>
                    </a:lnTo>
                    <a:lnTo>
                      <a:pt x="612" y="132"/>
                    </a:lnTo>
                    <a:lnTo>
                      <a:pt x="614" y="127"/>
                    </a:lnTo>
                    <a:lnTo>
                      <a:pt x="616" y="123"/>
                    </a:lnTo>
                    <a:lnTo>
                      <a:pt x="616" y="121"/>
                    </a:lnTo>
                    <a:lnTo>
                      <a:pt x="618" y="121"/>
                    </a:lnTo>
                    <a:lnTo>
                      <a:pt x="618" y="119"/>
                    </a:lnTo>
                    <a:lnTo>
                      <a:pt x="622" y="117"/>
                    </a:lnTo>
                    <a:lnTo>
                      <a:pt x="622" y="115"/>
                    </a:lnTo>
                    <a:lnTo>
                      <a:pt x="622" y="117"/>
                    </a:lnTo>
                    <a:lnTo>
                      <a:pt x="624" y="117"/>
                    </a:lnTo>
                    <a:lnTo>
                      <a:pt x="624" y="119"/>
                    </a:lnTo>
                    <a:lnTo>
                      <a:pt x="626" y="119"/>
                    </a:lnTo>
                    <a:lnTo>
                      <a:pt x="628" y="119"/>
                    </a:lnTo>
                    <a:lnTo>
                      <a:pt x="628" y="117"/>
                    </a:lnTo>
                    <a:lnTo>
                      <a:pt x="628" y="115"/>
                    </a:lnTo>
                    <a:lnTo>
                      <a:pt x="630" y="117"/>
                    </a:lnTo>
                    <a:lnTo>
                      <a:pt x="632" y="117"/>
                    </a:lnTo>
                    <a:lnTo>
                      <a:pt x="634" y="119"/>
                    </a:lnTo>
                    <a:lnTo>
                      <a:pt x="636" y="119"/>
                    </a:lnTo>
                    <a:lnTo>
                      <a:pt x="639" y="121"/>
                    </a:lnTo>
                    <a:lnTo>
                      <a:pt x="641" y="123"/>
                    </a:lnTo>
                    <a:lnTo>
                      <a:pt x="643" y="121"/>
                    </a:lnTo>
                    <a:lnTo>
                      <a:pt x="647" y="123"/>
                    </a:lnTo>
                    <a:lnTo>
                      <a:pt x="649" y="125"/>
                    </a:lnTo>
                    <a:lnTo>
                      <a:pt x="651" y="125"/>
                    </a:lnTo>
                    <a:lnTo>
                      <a:pt x="651" y="127"/>
                    </a:lnTo>
                    <a:lnTo>
                      <a:pt x="651" y="129"/>
                    </a:lnTo>
                    <a:lnTo>
                      <a:pt x="653" y="129"/>
                    </a:lnTo>
                    <a:lnTo>
                      <a:pt x="655" y="129"/>
                    </a:lnTo>
                    <a:lnTo>
                      <a:pt x="655" y="131"/>
                    </a:lnTo>
                    <a:lnTo>
                      <a:pt x="655" y="132"/>
                    </a:lnTo>
                    <a:lnTo>
                      <a:pt x="653" y="132"/>
                    </a:lnTo>
                    <a:lnTo>
                      <a:pt x="653" y="131"/>
                    </a:lnTo>
                    <a:lnTo>
                      <a:pt x="651" y="132"/>
                    </a:lnTo>
                    <a:lnTo>
                      <a:pt x="651" y="134"/>
                    </a:lnTo>
                    <a:lnTo>
                      <a:pt x="649" y="134"/>
                    </a:lnTo>
                    <a:lnTo>
                      <a:pt x="647" y="136"/>
                    </a:lnTo>
                    <a:lnTo>
                      <a:pt x="647" y="138"/>
                    </a:lnTo>
                    <a:lnTo>
                      <a:pt x="647" y="140"/>
                    </a:lnTo>
                    <a:lnTo>
                      <a:pt x="645" y="140"/>
                    </a:lnTo>
                    <a:lnTo>
                      <a:pt x="645" y="142"/>
                    </a:lnTo>
                    <a:lnTo>
                      <a:pt x="643" y="142"/>
                    </a:lnTo>
                    <a:lnTo>
                      <a:pt x="643" y="144"/>
                    </a:lnTo>
                    <a:lnTo>
                      <a:pt x="645" y="144"/>
                    </a:lnTo>
                    <a:lnTo>
                      <a:pt x="645" y="146"/>
                    </a:lnTo>
                    <a:lnTo>
                      <a:pt x="643" y="146"/>
                    </a:lnTo>
                    <a:lnTo>
                      <a:pt x="643" y="150"/>
                    </a:lnTo>
                    <a:lnTo>
                      <a:pt x="645" y="150"/>
                    </a:lnTo>
                    <a:lnTo>
                      <a:pt x="645" y="152"/>
                    </a:lnTo>
                    <a:lnTo>
                      <a:pt x="645" y="154"/>
                    </a:lnTo>
                    <a:lnTo>
                      <a:pt x="647" y="154"/>
                    </a:lnTo>
                    <a:lnTo>
                      <a:pt x="647" y="156"/>
                    </a:lnTo>
                    <a:lnTo>
                      <a:pt x="649" y="157"/>
                    </a:lnTo>
                    <a:lnTo>
                      <a:pt x="649" y="159"/>
                    </a:lnTo>
                    <a:lnTo>
                      <a:pt x="649" y="161"/>
                    </a:lnTo>
                    <a:lnTo>
                      <a:pt x="651" y="161"/>
                    </a:lnTo>
                    <a:lnTo>
                      <a:pt x="651" y="163"/>
                    </a:lnTo>
                    <a:lnTo>
                      <a:pt x="651" y="165"/>
                    </a:lnTo>
                    <a:lnTo>
                      <a:pt x="651" y="167"/>
                    </a:lnTo>
                    <a:lnTo>
                      <a:pt x="651" y="169"/>
                    </a:lnTo>
                    <a:lnTo>
                      <a:pt x="651" y="171"/>
                    </a:lnTo>
                    <a:lnTo>
                      <a:pt x="653" y="171"/>
                    </a:lnTo>
                    <a:lnTo>
                      <a:pt x="653" y="173"/>
                    </a:lnTo>
                    <a:lnTo>
                      <a:pt x="653" y="175"/>
                    </a:lnTo>
                    <a:lnTo>
                      <a:pt x="651" y="175"/>
                    </a:lnTo>
                    <a:lnTo>
                      <a:pt x="651" y="177"/>
                    </a:lnTo>
                    <a:lnTo>
                      <a:pt x="651" y="179"/>
                    </a:lnTo>
                    <a:lnTo>
                      <a:pt x="653" y="180"/>
                    </a:lnTo>
                    <a:lnTo>
                      <a:pt x="657" y="186"/>
                    </a:lnTo>
                    <a:lnTo>
                      <a:pt x="657" y="188"/>
                    </a:lnTo>
                    <a:lnTo>
                      <a:pt x="657" y="186"/>
                    </a:lnTo>
                    <a:lnTo>
                      <a:pt x="659" y="186"/>
                    </a:lnTo>
                    <a:lnTo>
                      <a:pt x="660" y="186"/>
                    </a:lnTo>
                    <a:lnTo>
                      <a:pt x="662" y="186"/>
                    </a:lnTo>
                    <a:lnTo>
                      <a:pt x="662" y="188"/>
                    </a:lnTo>
                    <a:lnTo>
                      <a:pt x="660" y="188"/>
                    </a:lnTo>
                    <a:lnTo>
                      <a:pt x="660" y="190"/>
                    </a:lnTo>
                    <a:lnTo>
                      <a:pt x="660" y="192"/>
                    </a:lnTo>
                    <a:lnTo>
                      <a:pt x="660" y="190"/>
                    </a:lnTo>
                    <a:lnTo>
                      <a:pt x="659" y="190"/>
                    </a:lnTo>
                    <a:lnTo>
                      <a:pt x="657" y="190"/>
                    </a:lnTo>
                    <a:lnTo>
                      <a:pt x="655" y="190"/>
                    </a:lnTo>
                    <a:lnTo>
                      <a:pt x="655" y="188"/>
                    </a:lnTo>
                    <a:lnTo>
                      <a:pt x="655" y="190"/>
                    </a:lnTo>
                    <a:lnTo>
                      <a:pt x="653" y="190"/>
                    </a:lnTo>
                    <a:lnTo>
                      <a:pt x="653" y="192"/>
                    </a:lnTo>
                    <a:lnTo>
                      <a:pt x="651" y="192"/>
                    </a:lnTo>
                    <a:lnTo>
                      <a:pt x="651" y="194"/>
                    </a:lnTo>
                    <a:lnTo>
                      <a:pt x="649" y="194"/>
                    </a:lnTo>
                    <a:lnTo>
                      <a:pt x="649" y="196"/>
                    </a:lnTo>
                    <a:lnTo>
                      <a:pt x="651" y="198"/>
                    </a:lnTo>
                    <a:lnTo>
                      <a:pt x="651" y="200"/>
                    </a:lnTo>
                    <a:lnTo>
                      <a:pt x="653" y="202"/>
                    </a:lnTo>
                    <a:lnTo>
                      <a:pt x="653" y="204"/>
                    </a:lnTo>
                    <a:lnTo>
                      <a:pt x="655" y="204"/>
                    </a:lnTo>
                    <a:lnTo>
                      <a:pt x="655" y="205"/>
                    </a:lnTo>
                    <a:lnTo>
                      <a:pt x="657" y="205"/>
                    </a:lnTo>
                    <a:lnTo>
                      <a:pt x="657" y="207"/>
                    </a:lnTo>
                    <a:lnTo>
                      <a:pt x="660" y="209"/>
                    </a:lnTo>
                    <a:lnTo>
                      <a:pt x="660" y="211"/>
                    </a:lnTo>
                    <a:lnTo>
                      <a:pt x="660" y="213"/>
                    </a:lnTo>
                    <a:lnTo>
                      <a:pt x="657" y="215"/>
                    </a:lnTo>
                    <a:lnTo>
                      <a:pt x="655" y="217"/>
                    </a:lnTo>
                    <a:lnTo>
                      <a:pt x="655" y="219"/>
                    </a:lnTo>
                    <a:lnTo>
                      <a:pt x="653" y="219"/>
                    </a:lnTo>
                    <a:lnTo>
                      <a:pt x="653" y="221"/>
                    </a:lnTo>
                    <a:lnTo>
                      <a:pt x="651" y="221"/>
                    </a:lnTo>
                    <a:lnTo>
                      <a:pt x="651" y="223"/>
                    </a:lnTo>
                    <a:lnTo>
                      <a:pt x="649" y="223"/>
                    </a:lnTo>
                    <a:lnTo>
                      <a:pt x="651" y="225"/>
                    </a:lnTo>
                    <a:lnTo>
                      <a:pt x="647" y="227"/>
                    </a:lnTo>
                    <a:lnTo>
                      <a:pt x="645" y="227"/>
                    </a:lnTo>
                    <a:lnTo>
                      <a:pt x="645" y="228"/>
                    </a:lnTo>
                    <a:lnTo>
                      <a:pt x="643" y="228"/>
                    </a:lnTo>
                    <a:lnTo>
                      <a:pt x="639" y="228"/>
                    </a:lnTo>
                    <a:lnTo>
                      <a:pt x="637" y="230"/>
                    </a:lnTo>
                    <a:lnTo>
                      <a:pt x="634" y="230"/>
                    </a:lnTo>
                    <a:lnTo>
                      <a:pt x="634" y="232"/>
                    </a:lnTo>
                    <a:lnTo>
                      <a:pt x="634" y="234"/>
                    </a:lnTo>
                    <a:lnTo>
                      <a:pt x="634" y="236"/>
                    </a:lnTo>
                    <a:lnTo>
                      <a:pt x="632" y="238"/>
                    </a:lnTo>
                    <a:lnTo>
                      <a:pt x="632" y="240"/>
                    </a:lnTo>
                    <a:lnTo>
                      <a:pt x="634" y="242"/>
                    </a:lnTo>
                    <a:lnTo>
                      <a:pt x="636" y="242"/>
                    </a:lnTo>
                    <a:lnTo>
                      <a:pt x="636" y="244"/>
                    </a:lnTo>
                    <a:lnTo>
                      <a:pt x="636" y="246"/>
                    </a:lnTo>
                    <a:lnTo>
                      <a:pt x="636" y="248"/>
                    </a:lnTo>
                    <a:lnTo>
                      <a:pt x="636" y="250"/>
                    </a:lnTo>
                    <a:lnTo>
                      <a:pt x="637" y="250"/>
                    </a:lnTo>
                    <a:lnTo>
                      <a:pt x="636" y="252"/>
                    </a:lnTo>
                    <a:lnTo>
                      <a:pt x="636" y="253"/>
                    </a:lnTo>
                    <a:lnTo>
                      <a:pt x="636" y="255"/>
                    </a:lnTo>
                    <a:lnTo>
                      <a:pt x="637" y="257"/>
                    </a:lnTo>
                    <a:lnTo>
                      <a:pt x="637" y="259"/>
                    </a:lnTo>
                    <a:lnTo>
                      <a:pt x="637" y="261"/>
                    </a:lnTo>
                    <a:lnTo>
                      <a:pt x="639" y="261"/>
                    </a:lnTo>
                    <a:lnTo>
                      <a:pt x="641" y="263"/>
                    </a:lnTo>
                    <a:lnTo>
                      <a:pt x="643" y="263"/>
                    </a:lnTo>
                    <a:lnTo>
                      <a:pt x="645" y="263"/>
                    </a:lnTo>
                    <a:lnTo>
                      <a:pt x="647" y="263"/>
                    </a:lnTo>
                    <a:lnTo>
                      <a:pt x="647" y="265"/>
                    </a:lnTo>
                    <a:lnTo>
                      <a:pt x="647" y="263"/>
                    </a:lnTo>
                    <a:lnTo>
                      <a:pt x="649" y="263"/>
                    </a:lnTo>
                    <a:lnTo>
                      <a:pt x="651" y="263"/>
                    </a:lnTo>
                    <a:lnTo>
                      <a:pt x="653" y="265"/>
                    </a:lnTo>
                    <a:lnTo>
                      <a:pt x="655" y="265"/>
                    </a:lnTo>
                    <a:lnTo>
                      <a:pt x="657" y="269"/>
                    </a:lnTo>
                    <a:lnTo>
                      <a:pt x="659" y="271"/>
                    </a:lnTo>
                    <a:lnTo>
                      <a:pt x="660" y="273"/>
                    </a:lnTo>
                    <a:lnTo>
                      <a:pt x="659" y="273"/>
                    </a:lnTo>
                    <a:lnTo>
                      <a:pt x="657" y="273"/>
                    </a:lnTo>
                    <a:lnTo>
                      <a:pt x="657" y="275"/>
                    </a:lnTo>
                    <a:lnTo>
                      <a:pt x="657" y="276"/>
                    </a:lnTo>
                    <a:lnTo>
                      <a:pt x="657" y="278"/>
                    </a:lnTo>
                    <a:lnTo>
                      <a:pt x="659" y="278"/>
                    </a:lnTo>
                    <a:lnTo>
                      <a:pt x="659" y="280"/>
                    </a:lnTo>
                    <a:lnTo>
                      <a:pt x="659" y="282"/>
                    </a:lnTo>
                    <a:lnTo>
                      <a:pt x="659" y="284"/>
                    </a:lnTo>
                    <a:lnTo>
                      <a:pt x="657" y="284"/>
                    </a:lnTo>
                    <a:lnTo>
                      <a:pt x="659" y="284"/>
                    </a:lnTo>
                    <a:lnTo>
                      <a:pt x="660" y="284"/>
                    </a:lnTo>
                    <a:lnTo>
                      <a:pt x="659" y="286"/>
                    </a:lnTo>
                    <a:lnTo>
                      <a:pt x="659" y="288"/>
                    </a:lnTo>
                    <a:lnTo>
                      <a:pt x="657" y="288"/>
                    </a:lnTo>
                    <a:lnTo>
                      <a:pt x="657" y="290"/>
                    </a:lnTo>
                    <a:lnTo>
                      <a:pt x="659" y="290"/>
                    </a:lnTo>
                    <a:lnTo>
                      <a:pt x="659" y="292"/>
                    </a:lnTo>
                    <a:lnTo>
                      <a:pt x="660" y="292"/>
                    </a:lnTo>
                    <a:lnTo>
                      <a:pt x="660" y="294"/>
                    </a:lnTo>
                    <a:lnTo>
                      <a:pt x="662" y="294"/>
                    </a:lnTo>
                    <a:lnTo>
                      <a:pt x="662" y="296"/>
                    </a:lnTo>
                    <a:lnTo>
                      <a:pt x="662" y="298"/>
                    </a:lnTo>
                    <a:lnTo>
                      <a:pt x="664" y="298"/>
                    </a:lnTo>
                    <a:lnTo>
                      <a:pt x="666" y="298"/>
                    </a:lnTo>
                    <a:lnTo>
                      <a:pt x="668" y="298"/>
                    </a:lnTo>
                    <a:lnTo>
                      <a:pt x="670" y="296"/>
                    </a:lnTo>
                    <a:lnTo>
                      <a:pt x="670" y="298"/>
                    </a:lnTo>
                    <a:lnTo>
                      <a:pt x="676" y="301"/>
                    </a:lnTo>
                    <a:lnTo>
                      <a:pt x="676" y="303"/>
                    </a:lnTo>
                    <a:lnTo>
                      <a:pt x="676" y="301"/>
                    </a:lnTo>
                    <a:lnTo>
                      <a:pt x="678" y="301"/>
                    </a:lnTo>
                    <a:lnTo>
                      <a:pt x="678" y="300"/>
                    </a:lnTo>
                    <a:lnTo>
                      <a:pt x="678" y="298"/>
                    </a:lnTo>
                    <a:lnTo>
                      <a:pt x="678" y="296"/>
                    </a:lnTo>
                    <a:lnTo>
                      <a:pt x="680" y="296"/>
                    </a:lnTo>
                    <a:lnTo>
                      <a:pt x="680" y="294"/>
                    </a:lnTo>
                    <a:lnTo>
                      <a:pt x="682" y="294"/>
                    </a:lnTo>
                    <a:lnTo>
                      <a:pt x="684" y="294"/>
                    </a:lnTo>
                    <a:lnTo>
                      <a:pt x="684" y="292"/>
                    </a:lnTo>
                    <a:lnTo>
                      <a:pt x="685" y="298"/>
                    </a:lnTo>
                    <a:lnTo>
                      <a:pt x="685" y="301"/>
                    </a:lnTo>
                    <a:lnTo>
                      <a:pt x="684" y="301"/>
                    </a:lnTo>
                    <a:lnTo>
                      <a:pt x="684" y="303"/>
                    </a:lnTo>
                    <a:lnTo>
                      <a:pt x="684" y="305"/>
                    </a:lnTo>
                    <a:lnTo>
                      <a:pt x="685" y="305"/>
                    </a:lnTo>
                    <a:lnTo>
                      <a:pt x="685" y="307"/>
                    </a:lnTo>
                    <a:lnTo>
                      <a:pt x="687" y="307"/>
                    </a:lnTo>
                    <a:lnTo>
                      <a:pt x="689" y="307"/>
                    </a:lnTo>
                    <a:lnTo>
                      <a:pt x="689" y="309"/>
                    </a:lnTo>
                    <a:lnTo>
                      <a:pt x="687" y="309"/>
                    </a:lnTo>
                    <a:lnTo>
                      <a:pt x="687" y="311"/>
                    </a:lnTo>
                    <a:lnTo>
                      <a:pt x="685" y="311"/>
                    </a:lnTo>
                    <a:lnTo>
                      <a:pt x="684" y="311"/>
                    </a:lnTo>
                    <a:lnTo>
                      <a:pt x="682" y="309"/>
                    </a:lnTo>
                    <a:lnTo>
                      <a:pt x="680" y="309"/>
                    </a:lnTo>
                    <a:lnTo>
                      <a:pt x="680" y="311"/>
                    </a:lnTo>
                    <a:lnTo>
                      <a:pt x="680" y="317"/>
                    </a:lnTo>
                    <a:lnTo>
                      <a:pt x="682" y="317"/>
                    </a:lnTo>
                    <a:lnTo>
                      <a:pt x="685" y="319"/>
                    </a:lnTo>
                    <a:lnTo>
                      <a:pt x="684" y="323"/>
                    </a:lnTo>
                    <a:lnTo>
                      <a:pt x="684" y="324"/>
                    </a:lnTo>
                    <a:lnTo>
                      <a:pt x="684" y="326"/>
                    </a:lnTo>
                    <a:lnTo>
                      <a:pt x="684" y="328"/>
                    </a:lnTo>
                    <a:lnTo>
                      <a:pt x="684" y="326"/>
                    </a:lnTo>
                    <a:lnTo>
                      <a:pt x="682" y="326"/>
                    </a:lnTo>
                    <a:lnTo>
                      <a:pt x="682" y="328"/>
                    </a:lnTo>
                    <a:lnTo>
                      <a:pt x="682" y="330"/>
                    </a:lnTo>
                    <a:lnTo>
                      <a:pt x="680" y="332"/>
                    </a:lnTo>
                    <a:lnTo>
                      <a:pt x="682" y="332"/>
                    </a:lnTo>
                    <a:lnTo>
                      <a:pt x="680" y="334"/>
                    </a:lnTo>
                    <a:lnTo>
                      <a:pt x="680" y="336"/>
                    </a:lnTo>
                    <a:lnTo>
                      <a:pt x="680" y="338"/>
                    </a:lnTo>
                    <a:lnTo>
                      <a:pt x="678" y="338"/>
                    </a:lnTo>
                    <a:lnTo>
                      <a:pt x="678" y="340"/>
                    </a:lnTo>
                    <a:lnTo>
                      <a:pt x="678" y="342"/>
                    </a:lnTo>
                    <a:lnTo>
                      <a:pt x="678" y="344"/>
                    </a:lnTo>
                    <a:lnTo>
                      <a:pt x="678" y="346"/>
                    </a:lnTo>
                    <a:lnTo>
                      <a:pt x="680" y="348"/>
                    </a:lnTo>
                    <a:lnTo>
                      <a:pt x="682" y="349"/>
                    </a:lnTo>
                    <a:lnTo>
                      <a:pt x="682" y="353"/>
                    </a:lnTo>
                    <a:lnTo>
                      <a:pt x="680" y="353"/>
                    </a:lnTo>
                    <a:lnTo>
                      <a:pt x="678" y="353"/>
                    </a:lnTo>
                    <a:lnTo>
                      <a:pt x="676" y="353"/>
                    </a:lnTo>
                    <a:lnTo>
                      <a:pt x="674" y="353"/>
                    </a:lnTo>
                    <a:lnTo>
                      <a:pt x="668" y="353"/>
                    </a:lnTo>
                    <a:lnTo>
                      <a:pt x="668" y="355"/>
                    </a:lnTo>
                    <a:lnTo>
                      <a:pt x="666" y="355"/>
                    </a:lnTo>
                    <a:lnTo>
                      <a:pt x="666" y="359"/>
                    </a:lnTo>
                    <a:lnTo>
                      <a:pt x="666" y="361"/>
                    </a:lnTo>
                    <a:lnTo>
                      <a:pt x="668" y="363"/>
                    </a:lnTo>
                    <a:lnTo>
                      <a:pt x="668" y="365"/>
                    </a:lnTo>
                    <a:lnTo>
                      <a:pt x="666" y="365"/>
                    </a:lnTo>
                    <a:lnTo>
                      <a:pt x="664" y="365"/>
                    </a:lnTo>
                    <a:lnTo>
                      <a:pt x="664" y="363"/>
                    </a:lnTo>
                    <a:lnTo>
                      <a:pt x="662" y="363"/>
                    </a:lnTo>
                    <a:lnTo>
                      <a:pt x="660" y="363"/>
                    </a:lnTo>
                    <a:lnTo>
                      <a:pt x="660" y="361"/>
                    </a:lnTo>
                    <a:lnTo>
                      <a:pt x="659" y="361"/>
                    </a:lnTo>
                    <a:lnTo>
                      <a:pt x="657" y="365"/>
                    </a:lnTo>
                    <a:lnTo>
                      <a:pt x="655" y="367"/>
                    </a:lnTo>
                    <a:lnTo>
                      <a:pt x="655" y="369"/>
                    </a:lnTo>
                    <a:lnTo>
                      <a:pt x="653" y="372"/>
                    </a:lnTo>
                    <a:lnTo>
                      <a:pt x="653" y="374"/>
                    </a:lnTo>
                    <a:lnTo>
                      <a:pt x="653" y="376"/>
                    </a:lnTo>
                    <a:lnTo>
                      <a:pt x="653" y="378"/>
                    </a:lnTo>
                    <a:lnTo>
                      <a:pt x="651" y="378"/>
                    </a:lnTo>
                    <a:lnTo>
                      <a:pt x="649" y="378"/>
                    </a:lnTo>
                    <a:lnTo>
                      <a:pt x="649" y="380"/>
                    </a:lnTo>
                    <a:lnTo>
                      <a:pt x="651" y="380"/>
                    </a:lnTo>
                    <a:lnTo>
                      <a:pt x="649" y="380"/>
                    </a:lnTo>
                    <a:lnTo>
                      <a:pt x="649" y="378"/>
                    </a:lnTo>
                    <a:lnTo>
                      <a:pt x="647" y="378"/>
                    </a:lnTo>
                    <a:lnTo>
                      <a:pt x="647" y="376"/>
                    </a:lnTo>
                    <a:lnTo>
                      <a:pt x="645" y="376"/>
                    </a:lnTo>
                    <a:lnTo>
                      <a:pt x="643" y="376"/>
                    </a:lnTo>
                    <a:lnTo>
                      <a:pt x="645" y="376"/>
                    </a:lnTo>
                    <a:lnTo>
                      <a:pt x="645" y="378"/>
                    </a:lnTo>
                    <a:lnTo>
                      <a:pt x="645" y="380"/>
                    </a:lnTo>
                    <a:lnTo>
                      <a:pt x="645" y="382"/>
                    </a:lnTo>
                    <a:lnTo>
                      <a:pt x="647" y="382"/>
                    </a:lnTo>
                    <a:lnTo>
                      <a:pt x="647" y="384"/>
                    </a:lnTo>
                    <a:lnTo>
                      <a:pt x="647" y="386"/>
                    </a:lnTo>
                    <a:lnTo>
                      <a:pt x="649" y="388"/>
                    </a:lnTo>
                    <a:lnTo>
                      <a:pt x="649" y="390"/>
                    </a:lnTo>
                    <a:lnTo>
                      <a:pt x="649" y="392"/>
                    </a:lnTo>
                    <a:lnTo>
                      <a:pt x="651" y="394"/>
                    </a:lnTo>
                    <a:lnTo>
                      <a:pt x="651" y="396"/>
                    </a:lnTo>
                    <a:lnTo>
                      <a:pt x="653" y="394"/>
                    </a:lnTo>
                    <a:lnTo>
                      <a:pt x="655" y="394"/>
                    </a:lnTo>
                    <a:lnTo>
                      <a:pt x="655" y="396"/>
                    </a:lnTo>
                    <a:lnTo>
                      <a:pt x="657" y="396"/>
                    </a:lnTo>
                    <a:lnTo>
                      <a:pt x="657" y="394"/>
                    </a:lnTo>
                    <a:lnTo>
                      <a:pt x="659" y="394"/>
                    </a:lnTo>
                    <a:lnTo>
                      <a:pt x="659" y="392"/>
                    </a:lnTo>
                    <a:lnTo>
                      <a:pt x="660" y="392"/>
                    </a:lnTo>
                    <a:lnTo>
                      <a:pt x="662" y="394"/>
                    </a:lnTo>
                    <a:lnTo>
                      <a:pt x="662" y="392"/>
                    </a:lnTo>
                    <a:lnTo>
                      <a:pt x="664" y="392"/>
                    </a:lnTo>
                    <a:lnTo>
                      <a:pt x="662" y="394"/>
                    </a:lnTo>
                    <a:lnTo>
                      <a:pt x="662" y="396"/>
                    </a:lnTo>
                    <a:lnTo>
                      <a:pt x="662" y="397"/>
                    </a:lnTo>
                    <a:lnTo>
                      <a:pt x="664" y="397"/>
                    </a:lnTo>
                    <a:lnTo>
                      <a:pt x="664" y="396"/>
                    </a:lnTo>
                    <a:lnTo>
                      <a:pt x="664" y="397"/>
                    </a:lnTo>
                    <a:lnTo>
                      <a:pt x="662" y="399"/>
                    </a:lnTo>
                    <a:lnTo>
                      <a:pt x="664" y="401"/>
                    </a:lnTo>
                    <a:lnTo>
                      <a:pt x="666" y="403"/>
                    </a:lnTo>
                    <a:lnTo>
                      <a:pt x="662" y="405"/>
                    </a:lnTo>
                    <a:lnTo>
                      <a:pt x="660" y="407"/>
                    </a:lnTo>
                    <a:lnTo>
                      <a:pt x="659" y="411"/>
                    </a:lnTo>
                    <a:lnTo>
                      <a:pt x="657" y="413"/>
                    </a:lnTo>
                    <a:lnTo>
                      <a:pt x="655" y="415"/>
                    </a:lnTo>
                    <a:lnTo>
                      <a:pt x="653" y="417"/>
                    </a:lnTo>
                    <a:lnTo>
                      <a:pt x="651" y="419"/>
                    </a:lnTo>
                    <a:lnTo>
                      <a:pt x="653" y="420"/>
                    </a:lnTo>
                    <a:lnTo>
                      <a:pt x="653" y="422"/>
                    </a:lnTo>
                    <a:lnTo>
                      <a:pt x="653" y="424"/>
                    </a:lnTo>
                    <a:lnTo>
                      <a:pt x="651" y="426"/>
                    </a:lnTo>
                    <a:lnTo>
                      <a:pt x="651" y="428"/>
                    </a:lnTo>
                    <a:lnTo>
                      <a:pt x="653" y="428"/>
                    </a:lnTo>
                    <a:lnTo>
                      <a:pt x="653" y="430"/>
                    </a:lnTo>
                    <a:lnTo>
                      <a:pt x="655" y="430"/>
                    </a:lnTo>
                    <a:lnTo>
                      <a:pt x="655" y="432"/>
                    </a:lnTo>
                    <a:lnTo>
                      <a:pt x="653" y="432"/>
                    </a:lnTo>
                    <a:lnTo>
                      <a:pt x="653" y="434"/>
                    </a:lnTo>
                    <a:lnTo>
                      <a:pt x="655" y="434"/>
                    </a:lnTo>
                    <a:lnTo>
                      <a:pt x="659" y="440"/>
                    </a:lnTo>
                    <a:lnTo>
                      <a:pt x="662" y="438"/>
                    </a:lnTo>
                    <a:lnTo>
                      <a:pt x="664" y="440"/>
                    </a:lnTo>
                    <a:lnTo>
                      <a:pt x="666" y="440"/>
                    </a:lnTo>
                    <a:lnTo>
                      <a:pt x="666" y="442"/>
                    </a:lnTo>
                    <a:lnTo>
                      <a:pt x="670" y="442"/>
                    </a:lnTo>
                    <a:lnTo>
                      <a:pt x="672" y="442"/>
                    </a:lnTo>
                    <a:lnTo>
                      <a:pt x="672" y="444"/>
                    </a:lnTo>
                    <a:lnTo>
                      <a:pt x="670" y="444"/>
                    </a:lnTo>
                    <a:lnTo>
                      <a:pt x="668" y="445"/>
                    </a:lnTo>
                    <a:lnTo>
                      <a:pt x="666" y="445"/>
                    </a:lnTo>
                    <a:lnTo>
                      <a:pt x="664" y="445"/>
                    </a:lnTo>
                    <a:lnTo>
                      <a:pt x="664" y="447"/>
                    </a:lnTo>
                    <a:lnTo>
                      <a:pt x="664" y="449"/>
                    </a:lnTo>
                    <a:lnTo>
                      <a:pt x="666" y="449"/>
                    </a:lnTo>
                    <a:lnTo>
                      <a:pt x="668" y="449"/>
                    </a:lnTo>
                    <a:lnTo>
                      <a:pt x="668" y="451"/>
                    </a:lnTo>
                    <a:lnTo>
                      <a:pt x="668" y="453"/>
                    </a:lnTo>
                    <a:lnTo>
                      <a:pt x="668" y="457"/>
                    </a:lnTo>
                    <a:lnTo>
                      <a:pt x="668" y="459"/>
                    </a:lnTo>
                    <a:lnTo>
                      <a:pt x="668" y="463"/>
                    </a:lnTo>
                    <a:lnTo>
                      <a:pt x="668" y="465"/>
                    </a:lnTo>
                    <a:lnTo>
                      <a:pt x="670" y="465"/>
                    </a:lnTo>
                    <a:lnTo>
                      <a:pt x="670" y="467"/>
                    </a:lnTo>
                    <a:lnTo>
                      <a:pt x="672" y="467"/>
                    </a:lnTo>
                    <a:lnTo>
                      <a:pt x="674" y="468"/>
                    </a:lnTo>
                    <a:lnTo>
                      <a:pt x="676" y="468"/>
                    </a:lnTo>
                    <a:lnTo>
                      <a:pt x="676" y="472"/>
                    </a:lnTo>
                    <a:lnTo>
                      <a:pt x="676" y="476"/>
                    </a:lnTo>
                    <a:lnTo>
                      <a:pt x="676" y="480"/>
                    </a:lnTo>
                    <a:lnTo>
                      <a:pt x="676" y="482"/>
                    </a:lnTo>
                    <a:lnTo>
                      <a:pt x="676" y="484"/>
                    </a:lnTo>
                    <a:lnTo>
                      <a:pt x="674" y="488"/>
                    </a:lnTo>
                    <a:lnTo>
                      <a:pt x="674" y="490"/>
                    </a:lnTo>
                    <a:lnTo>
                      <a:pt x="674" y="492"/>
                    </a:lnTo>
                    <a:lnTo>
                      <a:pt x="674" y="493"/>
                    </a:lnTo>
                    <a:lnTo>
                      <a:pt x="674" y="495"/>
                    </a:lnTo>
                    <a:lnTo>
                      <a:pt x="676" y="495"/>
                    </a:lnTo>
                    <a:lnTo>
                      <a:pt x="676" y="497"/>
                    </a:lnTo>
                    <a:lnTo>
                      <a:pt x="676" y="495"/>
                    </a:lnTo>
                    <a:lnTo>
                      <a:pt x="678" y="495"/>
                    </a:lnTo>
                    <a:lnTo>
                      <a:pt x="680" y="495"/>
                    </a:lnTo>
                    <a:lnTo>
                      <a:pt x="680" y="497"/>
                    </a:lnTo>
                    <a:lnTo>
                      <a:pt x="682" y="497"/>
                    </a:lnTo>
                    <a:lnTo>
                      <a:pt x="684" y="499"/>
                    </a:lnTo>
                    <a:lnTo>
                      <a:pt x="685" y="499"/>
                    </a:lnTo>
                    <a:lnTo>
                      <a:pt x="684" y="499"/>
                    </a:lnTo>
                    <a:lnTo>
                      <a:pt x="684" y="501"/>
                    </a:lnTo>
                    <a:lnTo>
                      <a:pt x="687" y="503"/>
                    </a:lnTo>
                    <a:lnTo>
                      <a:pt x="689" y="503"/>
                    </a:lnTo>
                    <a:lnTo>
                      <a:pt x="695" y="505"/>
                    </a:lnTo>
                    <a:lnTo>
                      <a:pt x="697" y="507"/>
                    </a:lnTo>
                    <a:lnTo>
                      <a:pt x="699" y="507"/>
                    </a:lnTo>
                    <a:lnTo>
                      <a:pt x="701" y="509"/>
                    </a:lnTo>
                    <a:lnTo>
                      <a:pt x="699" y="509"/>
                    </a:lnTo>
                    <a:lnTo>
                      <a:pt x="699" y="511"/>
                    </a:lnTo>
                    <a:lnTo>
                      <a:pt x="701" y="513"/>
                    </a:lnTo>
                    <a:lnTo>
                      <a:pt x="701" y="515"/>
                    </a:lnTo>
                    <a:lnTo>
                      <a:pt x="703" y="515"/>
                    </a:lnTo>
                    <a:lnTo>
                      <a:pt x="703" y="516"/>
                    </a:lnTo>
                    <a:lnTo>
                      <a:pt x="703" y="518"/>
                    </a:lnTo>
                    <a:lnTo>
                      <a:pt x="705" y="518"/>
                    </a:lnTo>
                    <a:lnTo>
                      <a:pt x="705" y="520"/>
                    </a:lnTo>
                    <a:lnTo>
                      <a:pt x="703" y="522"/>
                    </a:lnTo>
                    <a:lnTo>
                      <a:pt x="701" y="520"/>
                    </a:lnTo>
                    <a:lnTo>
                      <a:pt x="699" y="520"/>
                    </a:lnTo>
                    <a:lnTo>
                      <a:pt x="699" y="522"/>
                    </a:lnTo>
                    <a:lnTo>
                      <a:pt x="697" y="524"/>
                    </a:lnTo>
                    <a:lnTo>
                      <a:pt x="697" y="526"/>
                    </a:lnTo>
                    <a:lnTo>
                      <a:pt x="695" y="528"/>
                    </a:lnTo>
                    <a:lnTo>
                      <a:pt x="697" y="530"/>
                    </a:lnTo>
                    <a:lnTo>
                      <a:pt x="697" y="534"/>
                    </a:lnTo>
                    <a:lnTo>
                      <a:pt x="699" y="534"/>
                    </a:lnTo>
                    <a:lnTo>
                      <a:pt x="701" y="536"/>
                    </a:lnTo>
                    <a:lnTo>
                      <a:pt x="703" y="540"/>
                    </a:lnTo>
                    <a:lnTo>
                      <a:pt x="705" y="541"/>
                    </a:lnTo>
                    <a:lnTo>
                      <a:pt x="707" y="541"/>
                    </a:lnTo>
                    <a:lnTo>
                      <a:pt x="707" y="543"/>
                    </a:lnTo>
                    <a:lnTo>
                      <a:pt x="708" y="545"/>
                    </a:lnTo>
                    <a:lnTo>
                      <a:pt x="710" y="547"/>
                    </a:lnTo>
                    <a:lnTo>
                      <a:pt x="714" y="549"/>
                    </a:lnTo>
                    <a:lnTo>
                      <a:pt x="718" y="549"/>
                    </a:lnTo>
                    <a:lnTo>
                      <a:pt x="718" y="551"/>
                    </a:lnTo>
                    <a:lnTo>
                      <a:pt x="716" y="551"/>
                    </a:lnTo>
                    <a:lnTo>
                      <a:pt x="716" y="553"/>
                    </a:lnTo>
                    <a:lnTo>
                      <a:pt x="718" y="555"/>
                    </a:lnTo>
                    <a:lnTo>
                      <a:pt x="720" y="555"/>
                    </a:lnTo>
                    <a:lnTo>
                      <a:pt x="720" y="559"/>
                    </a:lnTo>
                    <a:lnTo>
                      <a:pt x="722" y="559"/>
                    </a:lnTo>
                    <a:lnTo>
                      <a:pt x="724" y="561"/>
                    </a:lnTo>
                    <a:lnTo>
                      <a:pt x="724" y="563"/>
                    </a:lnTo>
                    <a:lnTo>
                      <a:pt x="726" y="563"/>
                    </a:lnTo>
                    <a:lnTo>
                      <a:pt x="726" y="564"/>
                    </a:lnTo>
                    <a:lnTo>
                      <a:pt x="730" y="564"/>
                    </a:lnTo>
                    <a:lnTo>
                      <a:pt x="730" y="566"/>
                    </a:lnTo>
                    <a:lnTo>
                      <a:pt x="730" y="568"/>
                    </a:lnTo>
                    <a:lnTo>
                      <a:pt x="728" y="568"/>
                    </a:lnTo>
                    <a:lnTo>
                      <a:pt x="728" y="570"/>
                    </a:lnTo>
                    <a:lnTo>
                      <a:pt x="728" y="572"/>
                    </a:lnTo>
                    <a:lnTo>
                      <a:pt x="728" y="574"/>
                    </a:lnTo>
                    <a:lnTo>
                      <a:pt x="726" y="576"/>
                    </a:lnTo>
                    <a:lnTo>
                      <a:pt x="726" y="574"/>
                    </a:lnTo>
                    <a:lnTo>
                      <a:pt x="724" y="574"/>
                    </a:lnTo>
                    <a:lnTo>
                      <a:pt x="722" y="576"/>
                    </a:lnTo>
                    <a:lnTo>
                      <a:pt x="720" y="576"/>
                    </a:lnTo>
                    <a:lnTo>
                      <a:pt x="718" y="576"/>
                    </a:lnTo>
                    <a:lnTo>
                      <a:pt x="716" y="576"/>
                    </a:lnTo>
                    <a:lnTo>
                      <a:pt x="716" y="578"/>
                    </a:lnTo>
                    <a:lnTo>
                      <a:pt x="714" y="580"/>
                    </a:lnTo>
                    <a:lnTo>
                      <a:pt x="714" y="582"/>
                    </a:lnTo>
                    <a:lnTo>
                      <a:pt x="716" y="584"/>
                    </a:lnTo>
                    <a:lnTo>
                      <a:pt x="716" y="586"/>
                    </a:lnTo>
                    <a:lnTo>
                      <a:pt x="718" y="587"/>
                    </a:lnTo>
                    <a:lnTo>
                      <a:pt x="720" y="586"/>
                    </a:lnTo>
                    <a:lnTo>
                      <a:pt x="722" y="587"/>
                    </a:lnTo>
                    <a:lnTo>
                      <a:pt x="724" y="587"/>
                    </a:lnTo>
                    <a:lnTo>
                      <a:pt x="726" y="589"/>
                    </a:lnTo>
                    <a:lnTo>
                      <a:pt x="730" y="591"/>
                    </a:lnTo>
                    <a:lnTo>
                      <a:pt x="730" y="593"/>
                    </a:lnTo>
                    <a:lnTo>
                      <a:pt x="730" y="595"/>
                    </a:lnTo>
                    <a:lnTo>
                      <a:pt x="730" y="597"/>
                    </a:lnTo>
                    <a:lnTo>
                      <a:pt x="730" y="599"/>
                    </a:lnTo>
                    <a:lnTo>
                      <a:pt x="728" y="601"/>
                    </a:lnTo>
                    <a:lnTo>
                      <a:pt x="730" y="601"/>
                    </a:lnTo>
                    <a:lnTo>
                      <a:pt x="730" y="603"/>
                    </a:lnTo>
                    <a:lnTo>
                      <a:pt x="730" y="605"/>
                    </a:lnTo>
                    <a:lnTo>
                      <a:pt x="732" y="605"/>
                    </a:lnTo>
                    <a:lnTo>
                      <a:pt x="732" y="607"/>
                    </a:lnTo>
                    <a:lnTo>
                      <a:pt x="732" y="609"/>
                    </a:lnTo>
                    <a:lnTo>
                      <a:pt x="732" y="611"/>
                    </a:lnTo>
                    <a:lnTo>
                      <a:pt x="732" y="612"/>
                    </a:lnTo>
                    <a:lnTo>
                      <a:pt x="732" y="614"/>
                    </a:lnTo>
                    <a:lnTo>
                      <a:pt x="730" y="616"/>
                    </a:lnTo>
                    <a:lnTo>
                      <a:pt x="730" y="614"/>
                    </a:lnTo>
                    <a:lnTo>
                      <a:pt x="728" y="614"/>
                    </a:lnTo>
                    <a:lnTo>
                      <a:pt x="726" y="614"/>
                    </a:lnTo>
                    <a:lnTo>
                      <a:pt x="724" y="614"/>
                    </a:lnTo>
                    <a:lnTo>
                      <a:pt x="722" y="614"/>
                    </a:lnTo>
                    <a:lnTo>
                      <a:pt x="722" y="616"/>
                    </a:lnTo>
                    <a:lnTo>
                      <a:pt x="724" y="616"/>
                    </a:lnTo>
                    <a:lnTo>
                      <a:pt x="726" y="616"/>
                    </a:lnTo>
                    <a:lnTo>
                      <a:pt x="728" y="616"/>
                    </a:lnTo>
                    <a:lnTo>
                      <a:pt x="728" y="618"/>
                    </a:lnTo>
                    <a:lnTo>
                      <a:pt x="726" y="618"/>
                    </a:lnTo>
                    <a:lnTo>
                      <a:pt x="726" y="620"/>
                    </a:lnTo>
                    <a:lnTo>
                      <a:pt x="726" y="622"/>
                    </a:lnTo>
                    <a:lnTo>
                      <a:pt x="726" y="624"/>
                    </a:lnTo>
                    <a:lnTo>
                      <a:pt x="724" y="626"/>
                    </a:lnTo>
                    <a:lnTo>
                      <a:pt x="722" y="626"/>
                    </a:lnTo>
                    <a:lnTo>
                      <a:pt x="718" y="624"/>
                    </a:lnTo>
                    <a:lnTo>
                      <a:pt x="718" y="626"/>
                    </a:lnTo>
                    <a:lnTo>
                      <a:pt x="716" y="626"/>
                    </a:lnTo>
                    <a:lnTo>
                      <a:pt x="714" y="626"/>
                    </a:lnTo>
                    <a:lnTo>
                      <a:pt x="714" y="628"/>
                    </a:lnTo>
                    <a:lnTo>
                      <a:pt x="714" y="630"/>
                    </a:lnTo>
                    <a:lnTo>
                      <a:pt x="712" y="630"/>
                    </a:lnTo>
                    <a:lnTo>
                      <a:pt x="712" y="632"/>
                    </a:lnTo>
                    <a:lnTo>
                      <a:pt x="712" y="634"/>
                    </a:lnTo>
                    <a:lnTo>
                      <a:pt x="714" y="634"/>
                    </a:lnTo>
                    <a:lnTo>
                      <a:pt x="714" y="635"/>
                    </a:lnTo>
                    <a:lnTo>
                      <a:pt x="712" y="637"/>
                    </a:lnTo>
                    <a:lnTo>
                      <a:pt x="710" y="637"/>
                    </a:lnTo>
                    <a:lnTo>
                      <a:pt x="710" y="639"/>
                    </a:lnTo>
                    <a:lnTo>
                      <a:pt x="710" y="641"/>
                    </a:lnTo>
                    <a:lnTo>
                      <a:pt x="708" y="641"/>
                    </a:lnTo>
                    <a:lnTo>
                      <a:pt x="707" y="643"/>
                    </a:lnTo>
                    <a:lnTo>
                      <a:pt x="705" y="643"/>
                    </a:lnTo>
                    <a:lnTo>
                      <a:pt x="705" y="645"/>
                    </a:lnTo>
                    <a:lnTo>
                      <a:pt x="703" y="645"/>
                    </a:lnTo>
                    <a:lnTo>
                      <a:pt x="701" y="645"/>
                    </a:lnTo>
                    <a:lnTo>
                      <a:pt x="701" y="643"/>
                    </a:lnTo>
                    <a:lnTo>
                      <a:pt x="697" y="645"/>
                    </a:lnTo>
                    <a:lnTo>
                      <a:pt x="695" y="645"/>
                    </a:lnTo>
                    <a:lnTo>
                      <a:pt x="695" y="647"/>
                    </a:lnTo>
                    <a:lnTo>
                      <a:pt x="691" y="649"/>
                    </a:lnTo>
                    <a:lnTo>
                      <a:pt x="689" y="649"/>
                    </a:lnTo>
                    <a:lnTo>
                      <a:pt x="684" y="649"/>
                    </a:lnTo>
                    <a:lnTo>
                      <a:pt x="684" y="651"/>
                    </a:lnTo>
                    <a:lnTo>
                      <a:pt x="684" y="653"/>
                    </a:lnTo>
                    <a:lnTo>
                      <a:pt x="685" y="653"/>
                    </a:lnTo>
                    <a:lnTo>
                      <a:pt x="684" y="653"/>
                    </a:lnTo>
                    <a:lnTo>
                      <a:pt x="684" y="655"/>
                    </a:lnTo>
                    <a:lnTo>
                      <a:pt x="680" y="657"/>
                    </a:lnTo>
                    <a:lnTo>
                      <a:pt x="674" y="660"/>
                    </a:lnTo>
                    <a:lnTo>
                      <a:pt x="670" y="664"/>
                    </a:lnTo>
                    <a:lnTo>
                      <a:pt x="660" y="668"/>
                    </a:lnTo>
                    <a:lnTo>
                      <a:pt x="659" y="670"/>
                    </a:lnTo>
                    <a:lnTo>
                      <a:pt x="659" y="672"/>
                    </a:lnTo>
                    <a:lnTo>
                      <a:pt x="660" y="672"/>
                    </a:lnTo>
                    <a:lnTo>
                      <a:pt x="662" y="672"/>
                    </a:lnTo>
                    <a:lnTo>
                      <a:pt x="662" y="674"/>
                    </a:lnTo>
                    <a:lnTo>
                      <a:pt x="664" y="674"/>
                    </a:lnTo>
                    <a:lnTo>
                      <a:pt x="664" y="676"/>
                    </a:lnTo>
                    <a:lnTo>
                      <a:pt x="662" y="676"/>
                    </a:lnTo>
                    <a:lnTo>
                      <a:pt x="662" y="678"/>
                    </a:lnTo>
                    <a:lnTo>
                      <a:pt x="664" y="678"/>
                    </a:lnTo>
                    <a:lnTo>
                      <a:pt x="664" y="680"/>
                    </a:lnTo>
                    <a:lnTo>
                      <a:pt x="664" y="682"/>
                    </a:lnTo>
                    <a:lnTo>
                      <a:pt x="662" y="680"/>
                    </a:lnTo>
                    <a:lnTo>
                      <a:pt x="662" y="682"/>
                    </a:lnTo>
                    <a:lnTo>
                      <a:pt x="662" y="683"/>
                    </a:lnTo>
                    <a:lnTo>
                      <a:pt x="662" y="685"/>
                    </a:lnTo>
                    <a:lnTo>
                      <a:pt x="662" y="687"/>
                    </a:lnTo>
                    <a:lnTo>
                      <a:pt x="660" y="685"/>
                    </a:lnTo>
                    <a:lnTo>
                      <a:pt x="660" y="687"/>
                    </a:lnTo>
                    <a:lnTo>
                      <a:pt x="659" y="687"/>
                    </a:lnTo>
                    <a:lnTo>
                      <a:pt x="657" y="687"/>
                    </a:lnTo>
                    <a:lnTo>
                      <a:pt x="655" y="687"/>
                    </a:lnTo>
                    <a:lnTo>
                      <a:pt x="655" y="691"/>
                    </a:lnTo>
                    <a:lnTo>
                      <a:pt x="655" y="693"/>
                    </a:lnTo>
                    <a:lnTo>
                      <a:pt x="653" y="693"/>
                    </a:lnTo>
                    <a:lnTo>
                      <a:pt x="651" y="693"/>
                    </a:lnTo>
                    <a:lnTo>
                      <a:pt x="653" y="693"/>
                    </a:lnTo>
                    <a:lnTo>
                      <a:pt x="653" y="695"/>
                    </a:lnTo>
                    <a:lnTo>
                      <a:pt x="651" y="695"/>
                    </a:lnTo>
                    <a:lnTo>
                      <a:pt x="651" y="697"/>
                    </a:lnTo>
                    <a:lnTo>
                      <a:pt x="651" y="699"/>
                    </a:lnTo>
                    <a:lnTo>
                      <a:pt x="649" y="699"/>
                    </a:lnTo>
                    <a:lnTo>
                      <a:pt x="649" y="701"/>
                    </a:lnTo>
                    <a:lnTo>
                      <a:pt x="647" y="701"/>
                    </a:lnTo>
                    <a:lnTo>
                      <a:pt x="647" y="699"/>
                    </a:lnTo>
                    <a:lnTo>
                      <a:pt x="645" y="699"/>
                    </a:lnTo>
                    <a:lnTo>
                      <a:pt x="645" y="701"/>
                    </a:lnTo>
                    <a:lnTo>
                      <a:pt x="645" y="703"/>
                    </a:lnTo>
                    <a:lnTo>
                      <a:pt x="643" y="703"/>
                    </a:lnTo>
                    <a:lnTo>
                      <a:pt x="645" y="703"/>
                    </a:lnTo>
                    <a:lnTo>
                      <a:pt x="645" y="705"/>
                    </a:lnTo>
                    <a:lnTo>
                      <a:pt x="645" y="707"/>
                    </a:lnTo>
                    <a:lnTo>
                      <a:pt x="647" y="707"/>
                    </a:lnTo>
                    <a:lnTo>
                      <a:pt x="647" y="708"/>
                    </a:lnTo>
                    <a:lnTo>
                      <a:pt x="649" y="708"/>
                    </a:lnTo>
                    <a:lnTo>
                      <a:pt x="649" y="710"/>
                    </a:lnTo>
                    <a:lnTo>
                      <a:pt x="649" y="712"/>
                    </a:lnTo>
                    <a:lnTo>
                      <a:pt x="649" y="714"/>
                    </a:lnTo>
                    <a:lnTo>
                      <a:pt x="651" y="716"/>
                    </a:lnTo>
                    <a:lnTo>
                      <a:pt x="649" y="716"/>
                    </a:lnTo>
                    <a:lnTo>
                      <a:pt x="649" y="718"/>
                    </a:lnTo>
                    <a:lnTo>
                      <a:pt x="651" y="720"/>
                    </a:lnTo>
                    <a:lnTo>
                      <a:pt x="651" y="722"/>
                    </a:lnTo>
                    <a:lnTo>
                      <a:pt x="651" y="724"/>
                    </a:lnTo>
                    <a:lnTo>
                      <a:pt x="651" y="726"/>
                    </a:lnTo>
                    <a:lnTo>
                      <a:pt x="649" y="726"/>
                    </a:lnTo>
                    <a:lnTo>
                      <a:pt x="649" y="728"/>
                    </a:lnTo>
                    <a:lnTo>
                      <a:pt x="647" y="730"/>
                    </a:lnTo>
                    <a:lnTo>
                      <a:pt x="647" y="731"/>
                    </a:lnTo>
                    <a:lnTo>
                      <a:pt x="647" y="733"/>
                    </a:lnTo>
                    <a:lnTo>
                      <a:pt x="647" y="735"/>
                    </a:lnTo>
                    <a:lnTo>
                      <a:pt x="649" y="735"/>
                    </a:lnTo>
                    <a:lnTo>
                      <a:pt x="649" y="737"/>
                    </a:lnTo>
                    <a:lnTo>
                      <a:pt x="649" y="739"/>
                    </a:lnTo>
                    <a:lnTo>
                      <a:pt x="647" y="739"/>
                    </a:lnTo>
                    <a:lnTo>
                      <a:pt x="645" y="739"/>
                    </a:lnTo>
                    <a:lnTo>
                      <a:pt x="643" y="741"/>
                    </a:lnTo>
                    <a:lnTo>
                      <a:pt x="641" y="739"/>
                    </a:lnTo>
                    <a:lnTo>
                      <a:pt x="639" y="739"/>
                    </a:lnTo>
                    <a:lnTo>
                      <a:pt x="637" y="739"/>
                    </a:lnTo>
                    <a:lnTo>
                      <a:pt x="636" y="739"/>
                    </a:lnTo>
                    <a:lnTo>
                      <a:pt x="634" y="739"/>
                    </a:lnTo>
                    <a:lnTo>
                      <a:pt x="632" y="739"/>
                    </a:lnTo>
                    <a:lnTo>
                      <a:pt x="630" y="739"/>
                    </a:lnTo>
                    <a:lnTo>
                      <a:pt x="628" y="739"/>
                    </a:lnTo>
                    <a:lnTo>
                      <a:pt x="626" y="739"/>
                    </a:lnTo>
                    <a:lnTo>
                      <a:pt x="626" y="741"/>
                    </a:lnTo>
                    <a:lnTo>
                      <a:pt x="624" y="741"/>
                    </a:lnTo>
                    <a:lnTo>
                      <a:pt x="622" y="741"/>
                    </a:lnTo>
                    <a:lnTo>
                      <a:pt x="620" y="743"/>
                    </a:lnTo>
                    <a:lnTo>
                      <a:pt x="618" y="741"/>
                    </a:lnTo>
                    <a:lnTo>
                      <a:pt x="616" y="741"/>
                    </a:lnTo>
                    <a:lnTo>
                      <a:pt x="616" y="739"/>
                    </a:lnTo>
                    <a:lnTo>
                      <a:pt x="614" y="739"/>
                    </a:lnTo>
                    <a:lnTo>
                      <a:pt x="612" y="739"/>
                    </a:lnTo>
                    <a:lnTo>
                      <a:pt x="612" y="741"/>
                    </a:lnTo>
                    <a:lnTo>
                      <a:pt x="614" y="743"/>
                    </a:lnTo>
                    <a:lnTo>
                      <a:pt x="614" y="745"/>
                    </a:lnTo>
                    <a:lnTo>
                      <a:pt x="616" y="749"/>
                    </a:lnTo>
                    <a:lnTo>
                      <a:pt x="616" y="751"/>
                    </a:lnTo>
                    <a:lnTo>
                      <a:pt x="616" y="753"/>
                    </a:lnTo>
                    <a:lnTo>
                      <a:pt x="616" y="755"/>
                    </a:lnTo>
                    <a:lnTo>
                      <a:pt x="616" y="756"/>
                    </a:lnTo>
                    <a:lnTo>
                      <a:pt x="616" y="758"/>
                    </a:lnTo>
                    <a:lnTo>
                      <a:pt x="614" y="762"/>
                    </a:lnTo>
                    <a:lnTo>
                      <a:pt x="614" y="764"/>
                    </a:lnTo>
                    <a:lnTo>
                      <a:pt x="614" y="766"/>
                    </a:lnTo>
                    <a:lnTo>
                      <a:pt x="614" y="768"/>
                    </a:lnTo>
                    <a:lnTo>
                      <a:pt x="614" y="770"/>
                    </a:lnTo>
                    <a:lnTo>
                      <a:pt x="612" y="770"/>
                    </a:lnTo>
                    <a:lnTo>
                      <a:pt x="611" y="772"/>
                    </a:lnTo>
                    <a:lnTo>
                      <a:pt x="611" y="770"/>
                    </a:lnTo>
                    <a:lnTo>
                      <a:pt x="609" y="770"/>
                    </a:lnTo>
                    <a:lnTo>
                      <a:pt x="609" y="772"/>
                    </a:lnTo>
                    <a:lnTo>
                      <a:pt x="611" y="772"/>
                    </a:lnTo>
                    <a:lnTo>
                      <a:pt x="612" y="772"/>
                    </a:lnTo>
                    <a:lnTo>
                      <a:pt x="612" y="774"/>
                    </a:lnTo>
                    <a:lnTo>
                      <a:pt x="611" y="774"/>
                    </a:lnTo>
                    <a:lnTo>
                      <a:pt x="611" y="776"/>
                    </a:lnTo>
                    <a:lnTo>
                      <a:pt x="609" y="774"/>
                    </a:lnTo>
                    <a:lnTo>
                      <a:pt x="607" y="774"/>
                    </a:lnTo>
                    <a:lnTo>
                      <a:pt x="605" y="774"/>
                    </a:lnTo>
                    <a:lnTo>
                      <a:pt x="603" y="774"/>
                    </a:lnTo>
                    <a:lnTo>
                      <a:pt x="603" y="772"/>
                    </a:lnTo>
                    <a:lnTo>
                      <a:pt x="605" y="772"/>
                    </a:lnTo>
                    <a:lnTo>
                      <a:pt x="605" y="770"/>
                    </a:lnTo>
                    <a:lnTo>
                      <a:pt x="605" y="768"/>
                    </a:lnTo>
                    <a:lnTo>
                      <a:pt x="603" y="768"/>
                    </a:lnTo>
                    <a:lnTo>
                      <a:pt x="601" y="766"/>
                    </a:lnTo>
                    <a:lnTo>
                      <a:pt x="595" y="764"/>
                    </a:lnTo>
                    <a:lnTo>
                      <a:pt x="593" y="766"/>
                    </a:lnTo>
                    <a:lnTo>
                      <a:pt x="593" y="768"/>
                    </a:lnTo>
                    <a:lnTo>
                      <a:pt x="591" y="770"/>
                    </a:lnTo>
                    <a:lnTo>
                      <a:pt x="589" y="770"/>
                    </a:lnTo>
                    <a:lnTo>
                      <a:pt x="588" y="772"/>
                    </a:lnTo>
                    <a:lnTo>
                      <a:pt x="589" y="772"/>
                    </a:lnTo>
                    <a:lnTo>
                      <a:pt x="589" y="774"/>
                    </a:lnTo>
                    <a:lnTo>
                      <a:pt x="589" y="776"/>
                    </a:lnTo>
                    <a:lnTo>
                      <a:pt x="588" y="776"/>
                    </a:lnTo>
                    <a:lnTo>
                      <a:pt x="586" y="776"/>
                    </a:lnTo>
                    <a:lnTo>
                      <a:pt x="586" y="774"/>
                    </a:lnTo>
                    <a:lnTo>
                      <a:pt x="584" y="776"/>
                    </a:lnTo>
                    <a:lnTo>
                      <a:pt x="582" y="776"/>
                    </a:lnTo>
                    <a:lnTo>
                      <a:pt x="580" y="776"/>
                    </a:lnTo>
                    <a:lnTo>
                      <a:pt x="578" y="776"/>
                    </a:lnTo>
                    <a:lnTo>
                      <a:pt x="578" y="774"/>
                    </a:lnTo>
                    <a:lnTo>
                      <a:pt x="576" y="774"/>
                    </a:lnTo>
                    <a:lnTo>
                      <a:pt x="574" y="774"/>
                    </a:lnTo>
                    <a:lnTo>
                      <a:pt x="574" y="776"/>
                    </a:lnTo>
                    <a:lnTo>
                      <a:pt x="572" y="776"/>
                    </a:lnTo>
                    <a:lnTo>
                      <a:pt x="570" y="774"/>
                    </a:lnTo>
                    <a:lnTo>
                      <a:pt x="568" y="774"/>
                    </a:lnTo>
                    <a:lnTo>
                      <a:pt x="566" y="774"/>
                    </a:lnTo>
                    <a:lnTo>
                      <a:pt x="564" y="772"/>
                    </a:lnTo>
                    <a:lnTo>
                      <a:pt x="563" y="772"/>
                    </a:lnTo>
                    <a:lnTo>
                      <a:pt x="561" y="770"/>
                    </a:lnTo>
                    <a:lnTo>
                      <a:pt x="559" y="770"/>
                    </a:lnTo>
                    <a:lnTo>
                      <a:pt x="559" y="768"/>
                    </a:lnTo>
                    <a:lnTo>
                      <a:pt x="559" y="766"/>
                    </a:lnTo>
                    <a:lnTo>
                      <a:pt x="559" y="764"/>
                    </a:lnTo>
                    <a:lnTo>
                      <a:pt x="557" y="764"/>
                    </a:lnTo>
                    <a:lnTo>
                      <a:pt x="557" y="762"/>
                    </a:lnTo>
                    <a:lnTo>
                      <a:pt x="553" y="762"/>
                    </a:lnTo>
                    <a:lnTo>
                      <a:pt x="549" y="762"/>
                    </a:lnTo>
                    <a:lnTo>
                      <a:pt x="547" y="762"/>
                    </a:lnTo>
                    <a:lnTo>
                      <a:pt x="545" y="762"/>
                    </a:lnTo>
                    <a:lnTo>
                      <a:pt x="543" y="762"/>
                    </a:lnTo>
                    <a:lnTo>
                      <a:pt x="541" y="764"/>
                    </a:lnTo>
                    <a:lnTo>
                      <a:pt x="539" y="764"/>
                    </a:lnTo>
                    <a:lnTo>
                      <a:pt x="536" y="764"/>
                    </a:lnTo>
                    <a:lnTo>
                      <a:pt x="534" y="764"/>
                    </a:lnTo>
                    <a:lnTo>
                      <a:pt x="532" y="768"/>
                    </a:lnTo>
                    <a:lnTo>
                      <a:pt x="532" y="772"/>
                    </a:lnTo>
                    <a:lnTo>
                      <a:pt x="528" y="774"/>
                    </a:lnTo>
                    <a:lnTo>
                      <a:pt x="528" y="772"/>
                    </a:lnTo>
                    <a:lnTo>
                      <a:pt x="526" y="772"/>
                    </a:lnTo>
                    <a:lnTo>
                      <a:pt x="524" y="772"/>
                    </a:lnTo>
                    <a:lnTo>
                      <a:pt x="522" y="772"/>
                    </a:lnTo>
                    <a:lnTo>
                      <a:pt x="522" y="770"/>
                    </a:lnTo>
                    <a:lnTo>
                      <a:pt x="520" y="770"/>
                    </a:lnTo>
                    <a:lnTo>
                      <a:pt x="520" y="772"/>
                    </a:lnTo>
                    <a:lnTo>
                      <a:pt x="518" y="770"/>
                    </a:lnTo>
                    <a:lnTo>
                      <a:pt x="516" y="770"/>
                    </a:lnTo>
                    <a:lnTo>
                      <a:pt x="511" y="772"/>
                    </a:lnTo>
                    <a:lnTo>
                      <a:pt x="509" y="772"/>
                    </a:lnTo>
                    <a:lnTo>
                      <a:pt x="509" y="770"/>
                    </a:lnTo>
                    <a:lnTo>
                      <a:pt x="507" y="770"/>
                    </a:lnTo>
                    <a:lnTo>
                      <a:pt x="505" y="770"/>
                    </a:lnTo>
                    <a:lnTo>
                      <a:pt x="505" y="768"/>
                    </a:lnTo>
                    <a:lnTo>
                      <a:pt x="503" y="768"/>
                    </a:lnTo>
                    <a:lnTo>
                      <a:pt x="501" y="770"/>
                    </a:lnTo>
                    <a:lnTo>
                      <a:pt x="499" y="768"/>
                    </a:lnTo>
                    <a:lnTo>
                      <a:pt x="497" y="768"/>
                    </a:lnTo>
                    <a:lnTo>
                      <a:pt x="497" y="766"/>
                    </a:lnTo>
                    <a:lnTo>
                      <a:pt x="499" y="764"/>
                    </a:lnTo>
                    <a:lnTo>
                      <a:pt x="499" y="762"/>
                    </a:lnTo>
                    <a:lnTo>
                      <a:pt x="497" y="762"/>
                    </a:lnTo>
                    <a:lnTo>
                      <a:pt x="497" y="760"/>
                    </a:lnTo>
                    <a:lnTo>
                      <a:pt x="495" y="760"/>
                    </a:lnTo>
                    <a:lnTo>
                      <a:pt x="493" y="760"/>
                    </a:lnTo>
                    <a:lnTo>
                      <a:pt x="491" y="760"/>
                    </a:lnTo>
                    <a:lnTo>
                      <a:pt x="491" y="762"/>
                    </a:lnTo>
                    <a:lnTo>
                      <a:pt x="491" y="760"/>
                    </a:lnTo>
                    <a:lnTo>
                      <a:pt x="490" y="760"/>
                    </a:lnTo>
                    <a:lnTo>
                      <a:pt x="490" y="762"/>
                    </a:lnTo>
                    <a:lnTo>
                      <a:pt x="488" y="762"/>
                    </a:lnTo>
                    <a:lnTo>
                      <a:pt x="486" y="762"/>
                    </a:lnTo>
                    <a:lnTo>
                      <a:pt x="486" y="760"/>
                    </a:lnTo>
                    <a:lnTo>
                      <a:pt x="486" y="758"/>
                    </a:lnTo>
                    <a:lnTo>
                      <a:pt x="484" y="756"/>
                    </a:lnTo>
                    <a:lnTo>
                      <a:pt x="482" y="756"/>
                    </a:lnTo>
                    <a:lnTo>
                      <a:pt x="482" y="755"/>
                    </a:lnTo>
                    <a:lnTo>
                      <a:pt x="484" y="755"/>
                    </a:lnTo>
                    <a:lnTo>
                      <a:pt x="486" y="753"/>
                    </a:lnTo>
                    <a:lnTo>
                      <a:pt x="488" y="753"/>
                    </a:lnTo>
                    <a:lnTo>
                      <a:pt x="488" y="755"/>
                    </a:lnTo>
                    <a:lnTo>
                      <a:pt x="490" y="755"/>
                    </a:lnTo>
                    <a:lnTo>
                      <a:pt x="491" y="756"/>
                    </a:lnTo>
                    <a:lnTo>
                      <a:pt x="491" y="755"/>
                    </a:lnTo>
                    <a:lnTo>
                      <a:pt x="493" y="753"/>
                    </a:lnTo>
                    <a:lnTo>
                      <a:pt x="495" y="753"/>
                    </a:lnTo>
                    <a:lnTo>
                      <a:pt x="497" y="753"/>
                    </a:lnTo>
                    <a:lnTo>
                      <a:pt x="499" y="753"/>
                    </a:lnTo>
                    <a:lnTo>
                      <a:pt x="499" y="751"/>
                    </a:lnTo>
                    <a:lnTo>
                      <a:pt x="497" y="751"/>
                    </a:lnTo>
                    <a:lnTo>
                      <a:pt x="497" y="749"/>
                    </a:lnTo>
                    <a:lnTo>
                      <a:pt x="497" y="747"/>
                    </a:lnTo>
                    <a:lnTo>
                      <a:pt x="497" y="745"/>
                    </a:lnTo>
                    <a:lnTo>
                      <a:pt x="497" y="743"/>
                    </a:lnTo>
                    <a:lnTo>
                      <a:pt x="495" y="745"/>
                    </a:lnTo>
                    <a:lnTo>
                      <a:pt x="493" y="747"/>
                    </a:lnTo>
                    <a:lnTo>
                      <a:pt x="491" y="747"/>
                    </a:lnTo>
                    <a:lnTo>
                      <a:pt x="490" y="747"/>
                    </a:lnTo>
                    <a:lnTo>
                      <a:pt x="490" y="745"/>
                    </a:lnTo>
                    <a:lnTo>
                      <a:pt x="490" y="747"/>
                    </a:lnTo>
                    <a:lnTo>
                      <a:pt x="488" y="745"/>
                    </a:lnTo>
                    <a:lnTo>
                      <a:pt x="486" y="745"/>
                    </a:lnTo>
                    <a:lnTo>
                      <a:pt x="486" y="747"/>
                    </a:lnTo>
                    <a:lnTo>
                      <a:pt x="484" y="747"/>
                    </a:lnTo>
                    <a:lnTo>
                      <a:pt x="484" y="749"/>
                    </a:lnTo>
                    <a:lnTo>
                      <a:pt x="482" y="749"/>
                    </a:lnTo>
                    <a:lnTo>
                      <a:pt x="480" y="749"/>
                    </a:lnTo>
                    <a:lnTo>
                      <a:pt x="480" y="747"/>
                    </a:lnTo>
                    <a:lnTo>
                      <a:pt x="478" y="745"/>
                    </a:lnTo>
                    <a:lnTo>
                      <a:pt x="476" y="745"/>
                    </a:lnTo>
                    <a:lnTo>
                      <a:pt x="474" y="745"/>
                    </a:lnTo>
                    <a:lnTo>
                      <a:pt x="472" y="745"/>
                    </a:lnTo>
                    <a:lnTo>
                      <a:pt x="470" y="745"/>
                    </a:lnTo>
                    <a:lnTo>
                      <a:pt x="468" y="745"/>
                    </a:lnTo>
                    <a:lnTo>
                      <a:pt x="468" y="743"/>
                    </a:lnTo>
                    <a:lnTo>
                      <a:pt x="467" y="743"/>
                    </a:lnTo>
                    <a:lnTo>
                      <a:pt x="468" y="743"/>
                    </a:lnTo>
                    <a:lnTo>
                      <a:pt x="470" y="741"/>
                    </a:lnTo>
                    <a:lnTo>
                      <a:pt x="468" y="739"/>
                    </a:lnTo>
                    <a:lnTo>
                      <a:pt x="468" y="737"/>
                    </a:lnTo>
                    <a:lnTo>
                      <a:pt x="467" y="737"/>
                    </a:lnTo>
                    <a:lnTo>
                      <a:pt x="465" y="739"/>
                    </a:lnTo>
                    <a:lnTo>
                      <a:pt x="465" y="737"/>
                    </a:lnTo>
                    <a:lnTo>
                      <a:pt x="463" y="737"/>
                    </a:lnTo>
                    <a:lnTo>
                      <a:pt x="463" y="735"/>
                    </a:lnTo>
                    <a:lnTo>
                      <a:pt x="461" y="735"/>
                    </a:lnTo>
                    <a:lnTo>
                      <a:pt x="461" y="733"/>
                    </a:lnTo>
                    <a:lnTo>
                      <a:pt x="459" y="731"/>
                    </a:lnTo>
                    <a:lnTo>
                      <a:pt x="459" y="730"/>
                    </a:lnTo>
                    <a:lnTo>
                      <a:pt x="457" y="728"/>
                    </a:lnTo>
                    <a:lnTo>
                      <a:pt x="455" y="726"/>
                    </a:lnTo>
                    <a:lnTo>
                      <a:pt x="455" y="724"/>
                    </a:lnTo>
                    <a:lnTo>
                      <a:pt x="453" y="724"/>
                    </a:lnTo>
                    <a:lnTo>
                      <a:pt x="453" y="722"/>
                    </a:lnTo>
                    <a:lnTo>
                      <a:pt x="451" y="722"/>
                    </a:lnTo>
                    <a:lnTo>
                      <a:pt x="451" y="720"/>
                    </a:lnTo>
                    <a:lnTo>
                      <a:pt x="451" y="718"/>
                    </a:lnTo>
                    <a:lnTo>
                      <a:pt x="449" y="718"/>
                    </a:lnTo>
                    <a:lnTo>
                      <a:pt x="447" y="718"/>
                    </a:lnTo>
                    <a:lnTo>
                      <a:pt x="445" y="720"/>
                    </a:lnTo>
                    <a:lnTo>
                      <a:pt x="445" y="718"/>
                    </a:lnTo>
                    <a:lnTo>
                      <a:pt x="445" y="720"/>
                    </a:lnTo>
                    <a:lnTo>
                      <a:pt x="445" y="722"/>
                    </a:lnTo>
                    <a:lnTo>
                      <a:pt x="445" y="724"/>
                    </a:lnTo>
                    <a:lnTo>
                      <a:pt x="443" y="724"/>
                    </a:lnTo>
                    <a:lnTo>
                      <a:pt x="442" y="724"/>
                    </a:lnTo>
                    <a:lnTo>
                      <a:pt x="442" y="726"/>
                    </a:lnTo>
                    <a:lnTo>
                      <a:pt x="440" y="728"/>
                    </a:lnTo>
                    <a:lnTo>
                      <a:pt x="440" y="730"/>
                    </a:lnTo>
                    <a:lnTo>
                      <a:pt x="440" y="731"/>
                    </a:lnTo>
                    <a:lnTo>
                      <a:pt x="440" y="733"/>
                    </a:lnTo>
                    <a:lnTo>
                      <a:pt x="440" y="735"/>
                    </a:lnTo>
                    <a:lnTo>
                      <a:pt x="440" y="737"/>
                    </a:lnTo>
                    <a:lnTo>
                      <a:pt x="438" y="739"/>
                    </a:lnTo>
                    <a:lnTo>
                      <a:pt x="438" y="741"/>
                    </a:lnTo>
                    <a:lnTo>
                      <a:pt x="436" y="741"/>
                    </a:lnTo>
                    <a:lnTo>
                      <a:pt x="436" y="743"/>
                    </a:lnTo>
                    <a:lnTo>
                      <a:pt x="436" y="745"/>
                    </a:lnTo>
                    <a:lnTo>
                      <a:pt x="434" y="745"/>
                    </a:lnTo>
                    <a:lnTo>
                      <a:pt x="434" y="747"/>
                    </a:lnTo>
                    <a:lnTo>
                      <a:pt x="432" y="745"/>
                    </a:lnTo>
                    <a:lnTo>
                      <a:pt x="432" y="743"/>
                    </a:lnTo>
                    <a:lnTo>
                      <a:pt x="430" y="743"/>
                    </a:lnTo>
                    <a:lnTo>
                      <a:pt x="430" y="741"/>
                    </a:lnTo>
                    <a:lnTo>
                      <a:pt x="430" y="739"/>
                    </a:lnTo>
                    <a:lnTo>
                      <a:pt x="430" y="737"/>
                    </a:lnTo>
                    <a:lnTo>
                      <a:pt x="430" y="735"/>
                    </a:lnTo>
                    <a:lnTo>
                      <a:pt x="428" y="735"/>
                    </a:lnTo>
                    <a:lnTo>
                      <a:pt x="426" y="735"/>
                    </a:lnTo>
                    <a:lnTo>
                      <a:pt x="426" y="733"/>
                    </a:lnTo>
                    <a:lnTo>
                      <a:pt x="424" y="733"/>
                    </a:lnTo>
                    <a:lnTo>
                      <a:pt x="424" y="735"/>
                    </a:lnTo>
                    <a:lnTo>
                      <a:pt x="422" y="735"/>
                    </a:lnTo>
                    <a:lnTo>
                      <a:pt x="420" y="735"/>
                    </a:lnTo>
                    <a:lnTo>
                      <a:pt x="420" y="733"/>
                    </a:lnTo>
                    <a:lnTo>
                      <a:pt x="419" y="731"/>
                    </a:lnTo>
                    <a:lnTo>
                      <a:pt x="417" y="731"/>
                    </a:lnTo>
                    <a:lnTo>
                      <a:pt x="415" y="731"/>
                    </a:lnTo>
                    <a:lnTo>
                      <a:pt x="413" y="730"/>
                    </a:lnTo>
                    <a:lnTo>
                      <a:pt x="411" y="730"/>
                    </a:lnTo>
                    <a:lnTo>
                      <a:pt x="411" y="731"/>
                    </a:lnTo>
                    <a:lnTo>
                      <a:pt x="409" y="733"/>
                    </a:lnTo>
                    <a:lnTo>
                      <a:pt x="409" y="735"/>
                    </a:lnTo>
                    <a:lnTo>
                      <a:pt x="409" y="737"/>
                    </a:lnTo>
                    <a:lnTo>
                      <a:pt x="407" y="741"/>
                    </a:lnTo>
                    <a:lnTo>
                      <a:pt x="405" y="745"/>
                    </a:lnTo>
                    <a:lnTo>
                      <a:pt x="405" y="749"/>
                    </a:lnTo>
                    <a:lnTo>
                      <a:pt x="405" y="751"/>
                    </a:lnTo>
                    <a:lnTo>
                      <a:pt x="403" y="753"/>
                    </a:lnTo>
                    <a:lnTo>
                      <a:pt x="403" y="755"/>
                    </a:lnTo>
                    <a:lnTo>
                      <a:pt x="401" y="755"/>
                    </a:lnTo>
                    <a:lnTo>
                      <a:pt x="401" y="756"/>
                    </a:lnTo>
                    <a:lnTo>
                      <a:pt x="399" y="756"/>
                    </a:lnTo>
                    <a:lnTo>
                      <a:pt x="392" y="756"/>
                    </a:lnTo>
                    <a:lnTo>
                      <a:pt x="388" y="758"/>
                    </a:lnTo>
                    <a:lnTo>
                      <a:pt x="386" y="758"/>
                    </a:lnTo>
                    <a:lnTo>
                      <a:pt x="386" y="760"/>
                    </a:lnTo>
                    <a:lnTo>
                      <a:pt x="388" y="760"/>
                    </a:lnTo>
                    <a:lnTo>
                      <a:pt x="388" y="762"/>
                    </a:lnTo>
                    <a:lnTo>
                      <a:pt x="386" y="762"/>
                    </a:lnTo>
                    <a:lnTo>
                      <a:pt x="386" y="764"/>
                    </a:lnTo>
                    <a:lnTo>
                      <a:pt x="384" y="764"/>
                    </a:lnTo>
                    <a:lnTo>
                      <a:pt x="384" y="762"/>
                    </a:lnTo>
                    <a:lnTo>
                      <a:pt x="382" y="760"/>
                    </a:lnTo>
                    <a:lnTo>
                      <a:pt x="382" y="758"/>
                    </a:lnTo>
                    <a:lnTo>
                      <a:pt x="380" y="758"/>
                    </a:lnTo>
                    <a:lnTo>
                      <a:pt x="380" y="756"/>
                    </a:lnTo>
                    <a:lnTo>
                      <a:pt x="382" y="756"/>
                    </a:lnTo>
                    <a:lnTo>
                      <a:pt x="382" y="755"/>
                    </a:lnTo>
                    <a:lnTo>
                      <a:pt x="382" y="753"/>
                    </a:lnTo>
                    <a:lnTo>
                      <a:pt x="384" y="751"/>
                    </a:lnTo>
                    <a:lnTo>
                      <a:pt x="384" y="749"/>
                    </a:lnTo>
                    <a:lnTo>
                      <a:pt x="384" y="747"/>
                    </a:lnTo>
                    <a:lnTo>
                      <a:pt x="382" y="745"/>
                    </a:lnTo>
                    <a:lnTo>
                      <a:pt x="382" y="743"/>
                    </a:lnTo>
                    <a:lnTo>
                      <a:pt x="382" y="741"/>
                    </a:lnTo>
                    <a:lnTo>
                      <a:pt x="380" y="739"/>
                    </a:lnTo>
                    <a:lnTo>
                      <a:pt x="378" y="739"/>
                    </a:lnTo>
                    <a:lnTo>
                      <a:pt x="378" y="737"/>
                    </a:lnTo>
                    <a:lnTo>
                      <a:pt x="376" y="737"/>
                    </a:lnTo>
                    <a:lnTo>
                      <a:pt x="374" y="737"/>
                    </a:lnTo>
                    <a:lnTo>
                      <a:pt x="372" y="739"/>
                    </a:lnTo>
                    <a:lnTo>
                      <a:pt x="372" y="737"/>
                    </a:lnTo>
                    <a:lnTo>
                      <a:pt x="372" y="735"/>
                    </a:lnTo>
                    <a:lnTo>
                      <a:pt x="371" y="735"/>
                    </a:lnTo>
                    <a:lnTo>
                      <a:pt x="371" y="733"/>
                    </a:lnTo>
                    <a:lnTo>
                      <a:pt x="371" y="735"/>
                    </a:lnTo>
                    <a:lnTo>
                      <a:pt x="369" y="735"/>
                    </a:lnTo>
                    <a:lnTo>
                      <a:pt x="367" y="735"/>
                    </a:lnTo>
                    <a:lnTo>
                      <a:pt x="367" y="737"/>
                    </a:lnTo>
                    <a:lnTo>
                      <a:pt x="365" y="737"/>
                    </a:lnTo>
                    <a:lnTo>
                      <a:pt x="363" y="737"/>
                    </a:lnTo>
                    <a:lnTo>
                      <a:pt x="361" y="737"/>
                    </a:lnTo>
                    <a:lnTo>
                      <a:pt x="361" y="735"/>
                    </a:lnTo>
                    <a:lnTo>
                      <a:pt x="359" y="735"/>
                    </a:lnTo>
                    <a:lnTo>
                      <a:pt x="359" y="733"/>
                    </a:lnTo>
                    <a:lnTo>
                      <a:pt x="357" y="731"/>
                    </a:lnTo>
                    <a:lnTo>
                      <a:pt x="355" y="731"/>
                    </a:lnTo>
                    <a:lnTo>
                      <a:pt x="353" y="731"/>
                    </a:lnTo>
                    <a:lnTo>
                      <a:pt x="351" y="731"/>
                    </a:lnTo>
                    <a:lnTo>
                      <a:pt x="349" y="733"/>
                    </a:lnTo>
                    <a:lnTo>
                      <a:pt x="347" y="733"/>
                    </a:lnTo>
                    <a:lnTo>
                      <a:pt x="346" y="733"/>
                    </a:lnTo>
                    <a:lnTo>
                      <a:pt x="344" y="731"/>
                    </a:lnTo>
                    <a:lnTo>
                      <a:pt x="342" y="731"/>
                    </a:lnTo>
                    <a:lnTo>
                      <a:pt x="342" y="733"/>
                    </a:lnTo>
                    <a:lnTo>
                      <a:pt x="340" y="733"/>
                    </a:lnTo>
                    <a:lnTo>
                      <a:pt x="338" y="733"/>
                    </a:lnTo>
                    <a:lnTo>
                      <a:pt x="338" y="731"/>
                    </a:lnTo>
                    <a:lnTo>
                      <a:pt x="336" y="730"/>
                    </a:lnTo>
                    <a:lnTo>
                      <a:pt x="336" y="728"/>
                    </a:lnTo>
                    <a:lnTo>
                      <a:pt x="336" y="726"/>
                    </a:lnTo>
                    <a:lnTo>
                      <a:pt x="336" y="724"/>
                    </a:lnTo>
                    <a:lnTo>
                      <a:pt x="338" y="724"/>
                    </a:lnTo>
                    <a:lnTo>
                      <a:pt x="336" y="724"/>
                    </a:lnTo>
                    <a:lnTo>
                      <a:pt x="334" y="724"/>
                    </a:lnTo>
                    <a:lnTo>
                      <a:pt x="332" y="724"/>
                    </a:lnTo>
                    <a:lnTo>
                      <a:pt x="330" y="724"/>
                    </a:lnTo>
                    <a:lnTo>
                      <a:pt x="328" y="724"/>
                    </a:lnTo>
                    <a:lnTo>
                      <a:pt x="326" y="724"/>
                    </a:lnTo>
                    <a:lnTo>
                      <a:pt x="328" y="724"/>
                    </a:lnTo>
                    <a:lnTo>
                      <a:pt x="328" y="722"/>
                    </a:lnTo>
                    <a:lnTo>
                      <a:pt x="328" y="720"/>
                    </a:lnTo>
                    <a:lnTo>
                      <a:pt x="326" y="720"/>
                    </a:lnTo>
                    <a:lnTo>
                      <a:pt x="324" y="720"/>
                    </a:lnTo>
                    <a:lnTo>
                      <a:pt x="324" y="718"/>
                    </a:lnTo>
                    <a:lnTo>
                      <a:pt x="324" y="720"/>
                    </a:lnTo>
                    <a:lnTo>
                      <a:pt x="323" y="720"/>
                    </a:lnTo>
                    <a:lnTo>
                      <a:pt x="323" y="718"/>
                    </a:lnTo>
                    <a:lnTo>
                      <a:pt x="321" y="718"/>
                    </a:lnTo>
                    <a:lnTo>
                      <a:pt x="321" y="716"/>
                    </a:lnTo>
                    <a:lnTo>
                      <a:pt x="319" y="716"/>
                    </a:lnTo>
                    <a:lnTo>
                      <a:pt x="317" y="716"/>
                    </a:lnTo>
                    <a:lnTo>
                      <a:pt x="317" y="714"/>
                    </a:lnTo>
                    <a:lnTo>
                      <a:pt x="315" y="714"/>
                    </a:lnTo>
                    <a:lnTo>
                      <a:pt x="315" y="712"/>
                    </a:lnTo>
                    <a:lnTo>
                      <a:pt x="315" y="710"/>
                    </a:lnTo>
                    <a:lnTo>
                      <a:pt x="313" y="710"/>
                    </a:lnTo>
                    <a:lnTo>
                      <a:pt x="313" y="708"/>
                    </a:lnTo>
                    <a:lnTo>
                      <a:pt x="313" y="710"/>
                    </a:lnTo>
                    <a:lnTo>
                      <a:pt x="311" y="710"/>
                    </a:lnTo>
                    <a:lnTo>
                      <a:pt x="309" y="712"/>
                    </a:lnTo>
                    <a:lnTo>
                      <a:pt x="309" y="710"/>
                    </a:lnTo>
                    <a:lnTo>
                      <a:pt x="307" y="710"/>
                    </a:lnTo>
                    <a:lnTo>
                      <a:pt x="307" y="708"/>
                    </a:lnTo>
                    <a:lnTo>
                      <a:pt x="305" y="708"/>
                    </a:lnTo>
                    <a:lnTo>
                      <a:pt x="303" y="708"/>
                    </a:lnTo>
                    <a:lnTo>
                      <a:pt x="301" y="708"/>
                    </a:lnTo>
                    <a:lnTo>
                      <a:pt x="299" y="708"/>
                    </a:lnTo>
                    <a:lnTo>
                      <a:pt x="299" y="710"/>
                    </a:lnTo>
                    <a:lnTo>
                      <a:pt x="298" y="710"/>
                    </a:lnTo>
                    <a:lnTo>
                      <a:pt x="298" y="712"/>
                    </a:lnTo>
                    <a:lnTo>
                      <a:pt x="296" y="712"/>
                    </a:lnTo>
                    <a:lnTo>
                      <a:pt x="296" y="714"/>
                    </a:lnTo>
                    <a:lnTo>
                      <a:pt x="294" y="714"/>
                    </a:lnTo>
                    <a:lnTo>
                      <a:pt x="294" y="716"/>
                    </a:lnTo>
                    <a:lnTo>
                      <a:pt x="292" y="716"/>
                    </a:lnTo>
                    <a:lnTo>
                      <a:pt x="290" y="716"/>
                    </a:lnTo>
                    <a:lnTo>
                      <a:pt x="288" y="716"/>
                    </a:lnTo>
                    <a:lnTo>
                      <a:pt x="288" y="714"/>
                    </a:lnTo>
                    <a:lnTo>
                      <a:pt x="286" y="716"/>
                    </a:lnTo>
                    <a:lnTo>
                      <a:pt x="288" y="716"/>
                    </a:lnTo>
                    <a:lnTo>
                      <a:pt x="288" y="718"/>
                    </a:lnTo>
                    <a:lnTo>
                      <a:pt x="290" y="720"/>
                    </a:lnTo>
                    <a:lnTo>
                      <a:pt x="292" y="720"/>
                    </a:lnTo>
                    <a:lnTo>
                      <a:pt x="292" y="722"/>
                    </a:lnTo>
                    <a:lnTo>
                      <a:pt x="290" y="722"/>
                    </a:lnTo>
                    <a:lnTo>
                      <a:pt x="288" y="722"/>
                    </a:lnTo>
                    <a:lnTo>
                      <a:pt x="286" y="724"/>
                    </a:lnTo>
                    <a:lnTo>
                      <a:pt x="284" y="726"/>
                    </a:lnTo>
                    <a:lnTo>
                      <a:pt x="284" y="728"/>
                    </a:lnTo>
                    <a:lnTo>
                      <a:pt x="284" y="730"/>
                    </a:lnTo>
                    <a:lnTo>
                      <a:pt x="284" y="731"/>
                    </a:lnTo>
                    <a:lnTo>
                      <a:pt x="282" y="731"/>
                    </a:lnTo>
                    <a:lnTo>
                      <a:pt x="282" y="733"/>
                    </a:lnTo>
                    <a:lnTo>
                      <a:pt x="282" y="735"/>
                    </a:lnTo>
                    <a:lnTo>
                      <a:pt x="282" y="737"/>
                    </a:lnTo>
                    <a:lnTo>
                      <a:pt x="282" y="739"/>
                    </a:lnTo>
                    <a:lnTo>
                      <a:pt x="282" y="741"/>
                    </a:lnTo>
                    <a:lnTo>
                      <a:pt x="282" y="743"/>
                    </a:lnTo>
                    <a:lnTo>
                      <a:pt x="280" y="743"/>
                    </a:lnTo>
                    <a:lnTo>
                      <a:pt x="280" y="745"/>
                    </a:lnTo>
                    <a:lnTo>
                      <a:pt x="280" y="747"/>
                    </a:lnTo>
                    <a:lnTo>
                      <a:pt x="280" y="749"/>
                    </a:lnTo>
                    <a:lnTo>
                      <a:pt x="282" y="749"/>
                    </a:lnTo>
                    <a:lnTo>
                      <a:pt x="282" y="751"/>
                    </a:lnTo>
                    <a:lnTo>
                      <a:pt x="280" y="751"/>
                    </a:lnTo>
                    <a:lnTo>
                      <a:pt x="278" y="751"/>
                    </a:lnTo>
                    <a:lnTo>
                      <a:pt x="278" y="749"/>
                    </a:lnTo>
                    <a:lnTo>
                      <a:pt x="276" y="749"/>
                    </a:lnTo>
                    <a:lnTo>
                      <a:pt x="274" y="747"/>
                    </a:lnTo>
                    <a:lnTo>
                      <a:pt x="273" y="747"/>
                    </a:lnTo>
                    <a:lnTo>
                      <a:pt x="271" y="747"/>
                    </a:lnTo>
                    <a:lnTo>
                      <a:pt x="271" y="745"/>
                    </a:lnTo>
                    <a:lnTo>
                      <a:pt x="269" y="745"/>
                    </a:lnTo>
                    <a:lnTo>
                      <a:pt x="269" y="743"/>
                    </a:lnTo>
                    <a:lnTo>
                      <a:pt x="267" y="741"/>
                    </a:lnTo>
                    <a:lnTo>
                      <a:pt x="267" y="739"/>
                    </a:lnTo>
                    <a:lnTo>
                      <a:pt x="267" y="737"/>
                    </a:lnTo>
                    <a:lnTo>
                      <a:pt x="265" y="737"/>
                    </a:lnTo>
                    <a:lnTo>
                      <a:pt x="265" y="735"/>
                    </a:lnTo>
                    <a:lnTo>
                      <a:pt x="265" y="733"/>
                    </a:lnTo>
                    <a:lnTo>
                      <a:pt x="265" y="731"/>
                    </a:lnTo>
                    <a:lnTo>
                      <a:pt x="265" y="730"/>
                    </a:lnTo>
                    <a:lnTo>
                      <a:pt x="265" y="728"/>
                    </a:lnTo>
                    <a:lnTo>
                      <a:pt x="263" y="728"/>
                    </a:lnTo>
                    <a:lnTo>
                      <a:pt x="263" y="726"/>
                    </a:lnTo>
                    <a:lnTo>
                      <a:pt x="263" y="724"/>
                    </a:lnTo>
                    <a:lnTo>
                      <a:pt x="263" y="722"/>
                    </a:lnTo>
                    <a:lnTo>
                      <a:pt x="263" y="720"/>
                    </a:lnTo>
                    <a:lnTo>
                      <a:pt x="265" y="720"/>
                    </a:lnTo>
                    <a:lnTo>
                      <a:pt x="267" y="718"/>
                    </a:lnTo>
                    <a:lnTo>
                      <a:pt x="269" y="718"/>
                    </a:lnTo>
                    <a:lnTo>
                      <a:pt x="269" y="716"/>
                    </a:lnTo>
                    <a:lnTo>
                      <a:pt x="269" y="714"/>
                    </a:lnTo>
                    <a:lnTo>
                      <a:pt x="269" y="712"/>
                    </a:lnTo>
                    <a:lnTo>
                      <a:pt x="269" y="710"/>
                    </a:lnTo>
                    <a:lnTo>
                      <a:pt x="269" y="708"/>
                    </a:lnTo>
                    <a:lnTo>
                      <a:pt x="269" y="707"/>
                    </a:lnTo>
                    <a:lnTo>
                      <a:pt x="269" y="705"/>
                    </a:lnTo>
                    <a:lnTo>
                      <a:pt x="267" y="705"/>
                    </a:lnTo>
                    <a:lnTo>
                      <a:pt x="267" y="703"/>
                    </a:lnTo>
                    <a:lnTo>
                      <a:pt x="265" y="703"/>
                    </a:lnTo>
                    <a:lnTo>
                      <a:pt x="265" y="701"/>
                    </a:lnTo>
                    <a:lnTo>
                      <a:pt x="263" y="701"/>
                    </a:lnTo>
                    <a:lnTo>
                      <a:pt x="261" y="701"/>
                    </a:lnTo>
                    <a:lnTo>
                      <a:pt x="259" y="701"/>
                    </a:lnTo>
                    <a:lnTo>
                      <a:pt x="257" y="701"/>
                    </a:lnTo>
                    <a:lnTo>
                      <a:pt x="255" y="701"/>
                    </a:lnTo>
                    <a:lnTo>
                      <a:pt x="253" y="701"/>
                    </a:lnTo>
                    <a:lnTo>
                      <a:pt x="253" y="703"/>
                    </a:lnTo>
                    <a:lnTo>
                      <a:pt x="251" y="703"/>
                    </a:lnTo>
                    <a:lnTo>
                      <a:pt x="251" y="705"/>
                    </a:lnTo>
                    <a:lnTo>
                      <a:pt x="250" y="707"/>
                    </a:lnTo>
                    <a:lnTo>
                      <a:pt x="250" y="708"/>
                    </a:lnTo>
                    <a:lnTo>
                      <a:pt x="248" y="710"/>
                    </a:lnTo>
                    <a:lnTo>
                      <a:pt x="248" y="712"/>
                    </a:lnTo>
                    <a:lnTo>
                      <a:pt x="246" y="712"/>
                    </a:lnTo>
                    <a:lnTo>
                      <a:pt x="246" y="714"/>
                    </a:lnTo>
                    <a:lnTo>
                      <a:pt x="244" y="714"/>
                    </a:lnTo>
                    <a:lnTo>
                      <a:pt x="244" y="716"/>
                    </a:lnTo>
                    <a:lnTo>
                      <a:pt x="242" y="716"/>
                    </a:lnTo>
                    <a:lnTo>
                      <a:pt x="240" y="716"/>
                    </a:lnTo>
                    <a:lnTo>
                      <a:pt x="238" y="716"/>
                    </a:lnTo>
                    <a:lnTo>
                      <a:pt x="236" y="716"/>
                    </a:lnTo>
                    <a:lnTo>
                      <a:pt x="234" y="716"/>
                    </a:lnTo>
                    <a:lnTo>
                      <a:pt x="234" y="714"/>
                    </a:lnTo>
                    <a:lnTo>
                      <a:pt x="232" y="714"/>
                    </a:lnTo>
                    <a:lnTo>
                      <a:pt x="232" y="712"/>
                    </a:lnTo>
                    <a:lnTo>
                      <a:pt x="230" y="712"/>
                    </a:lnTo>
                    <a:lnTo>
                      <a:pt x="230" y="710"/>
                    </a:lnTo>
                    <a:lnTo>
                      <a:pt x="232" y="708"/>
                    </a:lnTo>
                    <a:lnTo>
                      <a:pt x="232" y="707"/>
                    </a:lnTo>
                    <a:lnTo>
                      <a:pt x="232" y="705"/>
                    </a:lnTo>
                    <a:lnTo>
                      <a:pt x="232" y="703"/>
                    </a:lnTo>
                    <a:lnTo>
                      <a:pt x="234" y="703"/>
                    </a:lnTo>
                    <a:lnTo>
                      <a:pt x="236" y="703"/>
                    </a:lnTo>
                    <a:lnTo>
                      <a:pt x="236" y="701"/>
                    </a:lnTo>
                    <a:lnTo>
                      <a:pt x="238" y="701"/>
                    </a:lnTo>
                    <a:lnTo>
                      <a:pt x="240" y="701"/>
                    </a:lnTo>
                    <a:lnTo>
                      <a:pt x="240" y="699"/>
                    </a:lnTo>
                    <a:lnTo>
                      <a:pt x="242" y="699"/>
                    </a:lnTo>
                    <a:lnTo>
                      <a:pt x="244" y="699"/>
                    </a:lnTo>
                    <a:lnTo>
                      <a:pt x="246" y="697"/>
                    </a:lnTo>
                    <a:lnTo>
                      <a:pt x="248" y="697"/>
                    </a:lnTo>
                    <a:lnTo>
                      <a:pt x="248" y="695"/>
                    </a:lnTo>
                    <a:lnTo>
                      <a:pt x="250" y="695"/>
                    </a:lnTo>
                    <a:lnTo>
                      <a:pt x="250" y="693"/>
                    </a:lnTo>
                    <a:lnTo>
                      <a:pt x="250" y="691"/>
                    </a:lnTo>
                    <a:lnTo>
                      <a:pt x="251" y="691"/>
                    </a:lnTo>
                    <a:lnTo>
                      <a:pt x="251" y="689"/>
                    </a:lnTo>
                    <a:lnTo>
                      <a:pt x="251" y="687"/>
                    </a:lnTo>
                    <a:lnTo>
                      <a:pt x="253" y="687"/>
                    </a:lnTo>
                    <a:lnTo>
                      <a:pt x="253" y="685"/>
                    </a:lnTo>
                    <a:lnTo>
                      <a:pt x="253" y="683"/>
                    </a:lnTo>
                    <a:lnTo>
                      <a:pt x="253" y="682"/>
                    </a:lnTo>
                    <a:lnTo>
                      <a:pt x="253" y="680"/>
                    </a:lnTo>
                    <a:lnTo>
                      <a:pt x="253" y="678"/>
                    </a:lnTo>
                    <a:lnTo>
                      <a:pt x="253" y="676"/>
                    </a:lnTo>
                    <a:lnTo>
                      <a:pt x="253" y="674"/>
                    </a:lnTo>
                    <a:lnTo>
                      <a:pt x="253" y="672"/>
                    </a:lnTo>
                    <a:lnTo>
                      <a:pt x="251" y="672"/>
                    </a:lnTo>
                    <a:lnTo>
                      <a:pt x="251" y="670"/>
                    </a:lnTo>
                    <a:lnTo>
                      <a:pt x="250" y="670"/>
                    </a:lnTo>
                    <a:lnTo>
                      <a:pt x="250" y="668"/>
                    </a:lnTo>
                    <a:lnTo>
                      <a:pt x="248" y="668"/>
                    </a:lnTo>
                    <a:lnTo>
                      <a:pt x="248" y="670"/>
                    </a:lnTo>
                    <a:lnTo>
                      <a:pt x="246" y="670"/>
                    </a:lnTo>
                    <a:lnTo>
                      <a:pt x="244" y="670"/>
                    </a:lnTo>
                    <a:lnTo>
                      <a:pt x="244" y="672"/>
                    </a:lnTo>
                    <a:lnTo>
                      <a:pt x="242" y="674"/>
                    </a:lnTo>
                    <a:lnTo>
                      <a:pt x="240" y="674"/>
                    </a:lnTo>
                    <a:lnTo>
                      <a:pt x="240" y="672"/>
                    </a:lnTo>
                    <a:lnTo>
                      <a:pt x="238" y="672"/>
                    </a:lnTo>
                    <a:lnTo>
                      <a:pt x="238" y="670"/>
                    </a:lnTo>
                    <a:lnTo>
                      <a:pt x="236" y="670"/>
                    </a:lnTo>
                    <a:lnTo>
                      <a:pt x="234" y="670"/>
                    </a:lnTo>
                    <a:lnTo>
                      <a:pt x="234" y="672"/>
                    </a:lnTo>
                    <a:lnTo>
                      <a:pt x="232" y="672"/>
                    </a:lnTo>
                    <a:lnTo>
                      <a:pt x="230" y="672"/>
                    </a:lnTo>
                    <a:lnTo>
                      <a:pt x="230" y="674"/>
                    </a:lnTo>
                    <a:lnTo>
                      <a:pt x="228" y="674"/>
                    </a:lnTo>
                    <a:lnTo>
                      <a:pt x="226" y="674"/>
                    </a:lnTo>
                    <a:lnTo>
                      <a:pt x="225" y="674"/>
                    </a:lnTo>
                    <a:lnTo>
                      <a:pt x="225" y="676"/>
                    </a:lnTo>
                    <a:lnTo>
                      <a:pt x="223" y="676"/>
                    </a:lnTo>
                    <a:lnTo>
                      <a:pt x="221" y="678"/>
                    </a:lnTo>
                    <a:lnTo>
                      <a:pt x="219" y="678"/>
                    </a:lnTo>
                    <a:lnTo>
                      <a:pt x="217" y="678"/>
                    </a:lnTo>
                    <a:lnTo>
                      <a:pt x="215" y="680"/>
                    </a:lnTo>
                    <a:lnTo>
                      <a:pt x="213" y="680"/>
                    </a:lnTo>
                    <a:lnTo>
                      <a:pt x="211" y="682"/>
                    </a:lnTo>
                    <a:lnTo>
                      <a:pt x="209" y="682"/>
                    </a:lnTo>
                    <a:lnTo>
                      <a:pt x="207" y="682"/>
                    </a:lnTo>
                    <a:lnTo>
                      <a:pt x="205" y="682"/>
                    </a:lnTo>
                    <a:lnTo>
                      <a:pt x="205" y="680"/>
                    </a:lnTo>
                    <a:lnTo>
                      <a:pt x="203" y="680"/>
                    </a:lnTo>
                    <a:lnTo>
                      <a:pt x="203" y="678"/>
                    </a:lnTo>
                    <a:lnTo>
                      <a:pt x="202" y="678"/>
                    </a:lnTo>
                    <a:lnTo>
                      <a:pt x="202" y="676"/>
                    </a:lnTo>
                    <a:lnTo>
                      <a:pt x="202" y="674"/>
                    </a:lnTo>
                    <a:lnTo>
                      <a:pt x="202" y="672"/>
                    </a:lnTo>
                    <a:lnTo>
                      <a:pt x="202" y="670"/>
                    </a:lnTo>
                    <a:lnTo>
                      <a:pt x="202" y="668"/>
                    </a:lnTo>
                    <a:lnTo>
                      <a:pt x="202" y="666"/>
                    </a:lnTo>
                    <a:lnTo>
                      <a:pt x="202" y="664"/>
                    </a:lnTo>
                    <a:lnTo>
                      <a:pt x="203" y="664"/>
                    </a:lnTo>
                    <a:lnTo>
                      <a:pt x="203" y="662"/>
                    </a:lnTo>
                    <a:lnTo>
                      <a:pt x="203" y="660"/>
                    </a:lnTo>
                    <a:lnTo>
                      <a:pt x="203" y="659"/>
                    </a:lnTo>
                    <a:lnTo>
                      <a:pt x="202" y="659"/>
                    </a:lnTo>
                    <a:lnTo>
                      <a:pt x="202" y="657"/>
                    </a:lnTo>
                    <a:lnTo>
                      <a:pt x="200" y="657"/>
                    </a:lnTo>
                    <a:lnTo>
                      <a:pt x="198" y="657"/>
                    </a:lnTo>
                    <a:lnTo>
                      <a:pt x="198" y="655"/>
                    </a:lnTo>
                    <a:lnTo>
                      <a:pt x="196" y="655"/>
                    </a:lnTo>
                    <a:lnTo>
                      <a:pt x="194" y="655"/>
                    </a:lnTo>
                    <a:lnTo>
                      <a:pt x="192" y="655"/>
                    </a:lnTo>
                    <a:lnTo>
                      <a:pt x="192" y="657"/>
                    </a:lnTo>
                    <a:lnTo>
                      <a:pt x="192" y="659"/>
                    </a:lnTo>
                    <a:lnTo>
                      <a:pt x="190" y="660"/>
                    </a:lnTo>
                    <a:lnTo>
                      <a:pt x="190" y="662"/>
                    </a:lnTo>
                    <a:lnTo>
                      <a:pt x="188" y="662"/>
                    </a:lnTo>
                    <a:lnTo>
                      <a:pt x="186" y="662"/>
                    </a:lnTo>
                    <a:lnTo>
                      <a:pt x="186" y="664"/>
                    </a:lnTo>
                    <a:lnTo>
                      <a:pt x="184" y="664"/>
                    </a:lnTo>
                    <a:lnTo>
                      <a:pt x="182" y="664"/>
                    </a:lnTo>
                    <a:lnTo>
                      <a:pt x="182" y="666"/>
                    </a:lnTo>
                    <a:lnTo>
                      <a:pt x="180" y="666"/>
                    </a:lnTo>
                    <a:lnTo>
                      <a:pt x="178" y="666"/>
                    </a:lnTo>
                    <a:lnTo>
                      <a:pt x="178" y="664"/>
                    </a:lnTo>
                    <a:lnTo>
                      <a:pt x="177" y="664"/>
                    </a:lnTo>
                    <a:lnTo>
                      <a:pt x="175" y="664"/>
                    </a:lnTo>
                    <a:lnTo>
                      <a:pt x="175" y="662"/>
                    </a:lnTo>
                    <a:lnTo>
                      <a:pt x="175" y="660"/>
                    </a:lnTo>
                    <a:lnTo>
                      <a:pt x="175" y="659"/>
                    </a:lnTo>
                    <a:lnTo>
                      <a:pt x="175" y="657"/>
                    </a:lnTo>
                    <a:lnTo>
                      <a:pt x="175" y="655"/>
                    </a:lnTo>
                    <a:lnTo>
                      <a:pt x="175" y="653"/>
                    </a:lnTo>
                    <a:lnTo>
                      <a:pt x="177" y="653"/>
                    </a:lnTo>
                    <a:lnTo>
                      <a:pt x="177" y="651"/>
                    </a:lnTo>
                    <a:lnTo>
                      <a:pt x="177" y="649"/>
                    </a:lnTo>
                    <a:lnTo>
                      <a:pt x="178" y="649"/>
                    </a:lnTo>
                    <a:lnTo>
                      <a:pt x="178" y="647"/>
                    </a:lnTo>
                    <a:lnTo>
                      <a:pt x="178" y="645"/>
                    </a:lnTo>
                    <a:lnTo>
                      <a:pt x="178" y="643"/>
                    </a:lnTo>
                    <a:lnTo>
                      <a:pt x="180" y="643"/>
                    </a:lnTo>
                    <a:lnTo>
                      <a:pt x="180" y="641"/>
                    </a:lnTo>
                    <a:lnTo>
                      <a:pt x="180" y="639"/>
                    </a:lnTo>
                    <a:lnTo>
                      <a:pt x="180" y="637"/>
                    </a:lnTo>
                    <a:lnTo>
                      <a:pt x="180" y="635"/>
                    </a:lnTo>
                    <a:lnTo>
                      <a:pt x="180" y="634"/>
                    </a:lnTo>
                    <a:lnTo>
                      <a:pt x="178" y="634"/>
                    </a:lnTo>
                    <a:lnTo>
                      <a:pt x="178" y="632"/>
                    </a:lnTo>
                    <a:lnTo>
                      <a:pt x="178" y="630"/>
                    </a:lnTo>
                    <a:lnTo>
                      <a:pt x="177" y="630"/>
                    </a:lnTo>
                    <a:lnTo>
                      <a:pt x="177" y="628"/>
                    </a:lnTo>
                    <a:lnTo>
                      <a:pt x="175" y="628"/>
                    </a:lnTo>
                    <a:lnTo>
                      <a:pt x="175" y="626"/>
                    </a:lnTo>
                    <a:lnTo>
                      <a:pt x="173" y="626"/>
                    </a:lnTo>
                    <a:lnTo>
                      <a:pt x="171" y="626"/>
                    </a:lnTo>
                    <a:lnTo>
                      <a:pt x="171" y="624"/>
                    </a:lnTo>
                    <a:lnTo>
                      <a:pt x="169" y="624"/>
                    </a:lnTo>
                    <a:lnTo>
                      <a:pt x="167" y="624"/>
                    </a:lnTo>
                    <a:lnTo>
                      <a:pt x="165" y="624"/>
                    </a:lnTo>
                    <a:lnTo>
                      <a:pt x="165" y="622"/>
                    </a:lnTo>
                    <a:lnTo>
                      <a:pt x="163" y="622"/>
                    </a:lnTo>
                    <a:lnTo>
                      <a:pt x="161" y="622"/>
                    </a:lnTo>
                    <a:lnTo>
                      <a:pt x="159" y="622"/>
                    </a:lnTo>
                    <a:lnTo>
                      <a:pt x="157" y="622"/>
                    </a:lnTo>
                    <a:lnTo>
                      <a:pt x="155" y="622"/>
                    </a:lnTo>
                    <a:lnTo>
                      <a:pt x="154" y="622"/>
                    </a:lnTo>
                    <a:lnTo>
                      <a:pt x="152" y="622"/>
                    </a:lnTo>
                    <a:lnTo>
                      <a:pt x="150" y="622"/>
                    </a:lnTo>
                    <a:lnTo>
                      <a:pt x="148" y="622"/>
                    </a:lnTo>
                    <a:lnTo>
                      <a:pt x="146" y="620"/>
                    </a:lnTo>
                    <a:lnTo>
                      <a:pt x="144" y="620"/>
                    </a:lnTo>
                    <a:lnTo>
                      <a:pt x="144" y="618"/>
                    </a:lnTo>
                    <a:lnTo>
                      <a:pt x="142" y="618"/>
                    </a:lnTo>
                    <a:lnTo>
                      <a:pt x="142" y="616"/>
                    </a:lnTo>
                    <a:lnTo>
                      <a:pt x="140" y="616"/>
                    </a:lnTo>
                    <a:lnTo>
                      <a:pt x="140" y="614"/>
                    </a:lnTo>
                    <a:lnTo>
                      <a:pt x="138" y="612"/>
                    </a:lnTo>
                    <a:lnTo>
                      <a:pt x="136" y="612"/>
                    </a:lnTo>
                    <a:lnTo>
                      <a:pt x="136" y="611"/>
                    </a:lnTo>
                    <a:lnTo>
                      <a:pt x="134" y="611"/>
                    </a:lnTo>
                    <a:lnTo>
                      <a:pt x="134" y="609"/>
                    </a:lnTo>
                    <a:lnTo>
                      <a:pt x="132" y="609"/>
                    </a:lnTo>
                    <a:lnTo>
                      <a:pt x="132" y="607"/>
                    </a:lnTo>
                    <a:lnTo>
                      <a:pt x="130" y="607"/>
                    </a:lnTo>
                    <a:lnTo>
                      <a:pt x="130" y="605"/>
                    </a:lnTo>
                    <a:lnTo>
                      <a:pt x="129" y="603"/>
                    </a:lnTo>
                    <a:lnTo>
                      <a:pt x="129" y="601"/>
                    </a:lnTo>
                    <a:lnTo>
                      <a:pt x="127" y="599"/>
                    </a:lnTo>
                    <a:lnTo>
                      <a:pt x="127" y="597"/>
                    </a:lnTo>
                    <a:lnTo>
                      <a:pt x="127" y="595"/>
                    </a:lnTo>
                    <a:lnTo>
                      <a:pt x="127" y="593"/>
                    </a:lnTo>
                    <a:lnTo>
                      <a:pt x="127" y="591"/>
                    </a:lnTo>
                    <a:lnTo>
                      <a:pt x="127" y="589"/>
                    </a:lnTo>
                    <a:lnTo>
                      <a:pt x="127" y="587"/>
                    </a:lnTo>
                    <a:lnTo>
                      <a:pt x="127" y="586"/>
                    </a:lnTo>
                    <a:lnTo>
                      <a:pt x="127" y="584"/>
                    </a:lnTo>
                    <a:lnTo>
                      <a:pt x="125" y="584"/>
                    </a:lnTo>
                    <a:lnTo>
                      <a:pt x="125" y="582"/>
                    </a:lnTo>
                    <a:lnTo>
                      <a:pt x="123" y="582"/>
                    </a:lnTo>
                    <a:lnTo>
                      <a:pt x="121" y="580"/>
                    </a:lnTo>
                    <a:lnTo>
                      <a:pt x="119" y="580"/>
                    </a:lnTo>
                    <a:lnTo>
                      <a:pt x="119" y="578"/>
                    </a:lnTo>
                    <a:lnTo>
                      <a:pt x="117" y="578"/>
                    </a:lnTo>
                    <a:lnTo>
                      <a:pt x="115" y="578"/>
                    </a:lnTo>
                    <a:lnTo>
                      <a:pt x="113" y="576"/>
                    </a:lnTo>
                    <a:lnTo>
                      <a:pt x="111" y="576"/>
                    </a:lnTo>
                    <a:lnTo>
                      <a:pt x="111" y="574"/>
                    </a:lnTo>
                    <a:lnTo>
                      <a:pt x="111" y="572"/>
                    </a:lnTo>
                    <a:lnTo>
                      <a:pt x="109" y="570"/>
                    </a:lnTo>
                    <a:lnTo>
                      <a:pt x="109" y="568"/>
                    </a:lnTo>
                    <a:lnTo>
                      <a:pt x="107" y="568"/>
                    </a:lnTo>
                    <a:lnTo>
                      <a:pt x="107" y="566"/>
                    </a:lnTo>
                    <a:lnTo>
                      <a:pt x="106" y="566"/>
                    </a:lnTo>
                    <a:lnTo>
                      <a:pt x="106" y="564"/>
                    </a:lnTo>
                    <a:lnTo>
                      <a:pt x="106" y="563"/>
                    </a:lnTo>
                    <a:lnTo>
                      <a:pt x="104" y="563"/>
                    </a:lnTo>
                    <a:lnTo>
                      <a:pt x="102" y="561"/>
                    </a:lnTo>
                    <a:lnTo>
                      <a:pt x="100" y="561"/>
                    </a:lnTo>
                    <a:lnTo>
                      <a:pt x="100" y="559"/>
                    </a:lnTo>
                    <a:lnTo>
                      <a:pt x="98" y="559"/>
                    </a:lnTo>
                    <a:lnTo>
                      <a:pt x="98" y="557"/>
                    </a:lnTo>
                    <a:lnTo>
                      <a:pt x="96" y="557"/>
                    </a:lnTo>
                    <a:lnTo>
                      <a:pt x="94" y="557"/>
                    </a:lnTo>
                    <a:lnTo>
                      <a:pt x="92" y="557"/>
                    </a:lnTo>
                    <a:lnTo>
                      <a:pt x="90" y="557"/>
                    </a:lnTo>
                    <a:lnTo>
                      <a:pt x="88" y="557"/>
                    </a:lnTo>
                    <a:lnTo>
                      <a:pt x="86" y="557"/>
                    </a:lnTo>
                    <a:lnTo>
                      <a:pt x="84" y="557"/>
                    </a:lnTo>
                    <a:lnTo>
                      <a:pt x="82" y="559"/>
                    </a:lnTo>
                    <a:lnTo>
                      <a:pt x="81" y="559"/>
                    </a:lnTo>
                    <a:lnTo>
                      <a:pt x="79" y="559"/>
                    </a:lnTo>
                    <a:lnTo>
                      <a:pt x="79" y="561"/>
                    </a:lnTo>
                    <a:lnTo>
                      <a:pt x="77" y="561"/>
                    </a:lnTo>
                    <a:lnTo>
                      <a:pt x="75" y="561"/>
                    </a:lnTo>
                    <a:lnTo>
                      <a:pt x="73" y="561"/>
                    </a:lnTo>
                    <a:lnTo>
                      <a:pt x="71" y="561"/>
                    </a:lnTo>
                    <a:lnTo>
                      <a:pt x="69" y="561"/>
                    </a:lnTo>
                    <a:lnTo>
                      <a:pt x="67" y="561"/>
                    </a:lnTo>
                    <a:lnTo>
                      <a:pt x="65" y="559"/>
                    </a:lnTo>
                    <a:lnTo>
                      <a:pt x="63" y="559"/>
                    </a:lnTo>
                    <a:lnTo>
                      <a:pt x="61" y="557"/>
                    </a:lnTo>
                    <a:lnTo>
                      <a:pt x="59" y="557"/>
                    </a:lnTo>
                    <a:lnTo>
                      <a:pt x="59" y="555"/>
                    </a:lnTo>
                    <a:lnTo>
                      <a:pt x="57" y="555"/>
                    </a:lnTo>
                    <a:lnTo>
                      <a:pt x="57" y="553"/>
                    </a:lnTo>
                    <a:lnTo>
                      <a:pt x="56" y="553"/>
                    </a:lnTo>
                    <a:lnTo>
                      <a:pt x="56" y="551"/>
                    </a:lnTo>
                    <a:lnTo>
                      <a:pt x="54" y="551"/>
                    </a:lnTo>
                    <a:lnTo>
                      <a:pt x="52" y="549"/>
                    </a:lnTo>
                    <a:lnTo>
                      <a:pt x="50" y="549"/>
                    </a:lnTo>
                    <a:lnTo>
                      <a:pt x="50" y="547"/>
                    </a:lnTo>
                    <a:lnTo>
                      <a:pt x="50" y="545"/>
                    </a:lnTo>
                    <a:lnTo>
                      <a:pt x="52" y="545"/>
                    </a:lnTo>
                    <a:lnTo>
                      <a:pt x="52" y="543"/>
                    </a:lnTo>
                    <a:lnTo>
                      <a:pt x="54" y="543"/>
                    </a:lnTo>
                    <a:lnTo>
                      <a:pt x="54" y="541"/>
                    </a:lnTo>
                    <a:lnTo>
                      <a:pt x="56" y="540"/>
                    </a:lnTo>
                    <a:lnTo>
                      <a:pt x="56" y="538"/>
                    </a:lnTo>
                    <a:lnTo>
                      <a:pt x="56" y="536"/>
                    </a:lnTo>
                    <a:lnTo>
                      <a:pt x="54" y="536"/>
                    </a:lnTo>
                    <a:lnTo>
                      <a:pt x="52" y="536"/>
                    </a:lnTo>
                    <a:lnTo>
                      <a:pt x="50" y="536"/>
                    </a:lnTo>
                    <a:lnTo>
                      <a:pt x="48" y="536"/>
                    </a:lnTo>
                    <a:lnTo>
                      <a:pt x="48" y="538"/>
                    </a:lnTo>
                    <a:lnTo>
                      <a:pt x="46" y="538"/>
                    </a:lnTo>
                    <a:lnTo>
                      <a:pt x="44" y="538"/>
                    </a:lnTo>
                    <a:lnTo>
                      <a:pt x="42" y="540"/>
                    </a:lnTo>
                    <a:lnTo>
                      <a:pt x="40" y="540"/>
                    </a:lnTo>
                    <a:lnTo>
                      <a:pt x="38" y="541"/>
                    </a:lnTo>
                    <a:lnTo>
                      <a:pt x="36" y="541"/>
                    </a:lnTo>
                    <a:lnTo>
                      <a:pt x="34" y="541"/>
                    </a:lnTo>
                    <a:lnTo>
                      <a:pt x="34" y="543"/>
                    </a:lnTo>
                    <a:lnTo>
                      <a:pt x="34" y="541"/>
                    </a:lnTo>
                    <a:lnTo>
                      <a:pt x="33" y="541"/>
                    </a:lnTo>
                    <a:lnTo>
                      <a:pt x="31" y="541"/>
                    </a:lnTo>
                    <a:lnTo>
                      <a:pt x="31" y="540"/>
                    </a:lnTo>
                    <a:lnTo>
                      <a:pt x="29" y="540"/>
                    </a:lnTo>
                    <a:lnTo>
                      <a:pt x="29" y="538"/>
                    </a:lnTo>
                    <a:lnTo>
                      <a:pt x="27" y="538"/>
                    </a:lnTo>
                    <a:lnTo>
                      <a:pt x="27" y="536"/>
                    </a:lnTo>
                    <a:lnTo>
                      <a:pt x="25" y="534"/>
                    </a:lnTo>
                    <a:lnTo>
                      <a:pt x="25" y="532"/>
                    </a:lnTo>
                    <a:lnTo>
                      <a:pt x="25" y="530"/>
                    </a:lnTo>
                    <a:lnTo>
                      <a:pt x="23" y="530"/>
                    </a:lnTo>
                    <a:lnTo>
                      <a:pt x="23" y="528"/>
                    </a:lnTo>
                    <a:lnTo>
                      <a:pt x="23" y="526"/>
                    </a:lnTo>
                    <a:lnTo>
                      <a:pt x="23" y="524"/>
                    </a:lnTo>
                    <a:lnTo>
                      <a:pt x="23" y="522"/>
                    </a:lnTo>
                    <a:lnTo>
                      <a:pt x="23" y="520"/>
                    </a:lnTo>
                    <a:lnTo>
                      <a:pt x="25" y="518"/>
                    </a:lnTo>
                    <a:lnTo>
                      <a:pt x="25" y="516"/>
                    </a:lnTo>
                    <a:lnTo>
                      <a:pt x="25" y="515"/>
                    </a:lnTo>
                    <a:lnTo>
                      <a:pt x="25" y="513"/>
                    </a:lnTo>
                    <a:lnTo>
                      <a:pt x="25" y="511"/>
                    </a:lnTo>
                    <a:lnTo>
                      <a:pt x="25" y="509"/>
                    </a:lnTo>
                    <a:lnTo>
                      <a:pt x="25" y="507"/>
                    </a:lnTo>
                    <a:lnTo>
                      <a:pt x="25" y="505"/>
                    </a:lnTo>
                    <a:lnTo>
                      <a:pt x="25" y="503"/>
                    </a:lnTo>
                    <a:lnTo>
                      <a:pt x="23" y="501"/>
                    </a:lnTo>
                    <a:lnTo>
                      <a:pt x="23" y="499"/>
                    </a:lnTo>
                    <a:lnTo>
                      <a:pt x="23" y="497"/>
                    </a:lnTo>
                    <a:lnTo>
                      <a:pt x="23" y="495"/>
                    </a:lnTo>
                    <a:lnTo>
                      <a:pt x="23" y="493"/>
                    </a:lnTo>
                    <a:lnTo>
                      <a:pt x="23" y="492"/>
                    </a:lnTo>
                    <a:lnTo>
                      <a:pt x="21" y="492"/>
                    </a:lnTo>
                    <a:lnTo>
                      <a:pt x="21" y="490"/>
                    </a:lnTo>
                    <a:lnTo>
                      <a:pt x="21" y="488"/>
                    </a:lnTo>
                    <a:lnTo>
                      <a:pt x="21" y="486"/>
                    </a:lnTo>
                    <a:lnTo>
                      <a:pt x="19" y="484"/>
                    </a:lnTo>
                    <a:lnTo>
                      <a:pt x="19" y="482"/>
                    </a:lnTo>
                    <a:lnTo>
                      <a:pt x="17" y="482"/>
                    </a:lnTo>
                    <a:lnTo>
                      <a:pt x="17" y="480"/>
                    </a:lnTo>
                    <a:lnTo>
                      <a:pt x="15" y="478"/>
                    </a:lnTo>
                    <a:lnTo>
                      <a:pt x="13" y="478"/>
                    </a:lnTo>
                    <a:lnTo>
                      <a:pt x="13" y="476"/>
                    </a:lnTo>
                    <a:lnTo>
                      <a:pt x="11" y="476"/>
                    </a:lnTo>
                    <a:lnTo>
                      <a:pt x="11" y="474"/>
                    </a:lnTo>
                    <a:lnTo>
                      <a:pt x="9" y="474"/>
                    </a:lnTo>
                    <a:lnTo>
                      <a:pt x="8" y="472"/>
                    </a:lnTo>
                    <a:lnTo>
                      <a:pt x="6" y="470"/>
                    </a:lnTo>
                    <a:lnTo>
                      <a:pt x="4" y="470"/>
                    </a:lnTo>
                    <a:lnTo>
                      <a:pt x="2" y="468"/>
                    </a:lnTo>
                    <a:lnTo>
                      <a:pt x="0" y="468"/>
                    </a:lnTo>
                    <a:lnTo>
                      <a:pt x="2" y="468"/>
                    </a:lnTo>
                    <a:lnTo>
                      <a:pt x="2" y="467"/>
                    </a:lnTo>
                    <a:lnTo>
                      <a:pt x="2" y="465"/>
                    </a:lnTo>
                    <a:lnTo>
                      <a:pt x="4" y="465"/>
                    </a:lnTo>
                    <a:lnTo>
                      <a:pt x="4" y="463"/>
                    </a:lnTo>
                    <a:lnTo>
                      <a:pt x="4" y="461"/>
                    </a:lnTo>
                    <a:lnTo>
                      <a:pt x="4" y="459"/>
                    </a:lnTo>
                    <a:lnTo>
                      <a:pt x="6" y="459"/>
                    </a:lnTo>
                    <a:lnTo>
                      <a:pt x="6" y="457"/>
                    </a:lnTo>
                    <a:lnTo>
                      <a:pt x="8" y="457"/>
                    </a:lnTo>
                    <a:lnTo>
                      <a:pt x="8" y="455"/>
                    </a:lnTo>
                    <a:lnTo>
                      <a:pt x="8" y="453"/>
                    </a:lnTo>
                    <a:lnTo>
                      <a:pt x="8" y="451"/>
                    </a:lnTo>
                    <a:lnTo>
                      <a:pt x="8" y="449"/>
                    </a:lnTo>
                    <a:lnTo>
                      <a:pt x="8" y="447"/>
                    </a:lnTo>
                    <a:lnTo>
                      <a:pt x="9" y="447"/>
                    </a:lnTo>
                    <a:lnTo>
                      <a:pt x="9" y="445"/>
                    </a:lnTo>
                    <a:lnTo>
                      <a:pt x="11" y="445"/>
                    </a:lnTo>
                    <a:lnTo>
                      <a:pt x="13" y="445"/>
                    </a:lnTo>
                    <a:lnTo>
                      <a:pt x="13" y="444"/>
                    </a:lnTo>
                    <a:lnTo>
                      <a:pt x="15" y="442"/>
                    </a:lnTo>
                    <a:lnTo>
                      <a:pt x="15" y="444"/>
                    </a:lnTo>
                    <a:lnTo>
                      <a:pt x="15" y="442"/>
                    </a:lnTo>
                    <a:lnTo>
                      <a:pt x="17" y="442"/>
                    </a:lnTo>
                    <a:lnTo>
                      <a:pt x="17" y="440"/>
                    </a:lnTo>
                    <a:lnTo>
                      <a:pt x="17" y="438"/>
                    </a:lnTo>
                    <a:lnTo>
                      <a:pt x="17" y="436"/>
                    </a:lnTo>
                    <a:lnTo>
                      <a:pt x="15" y="436"/>
                    </a:lnTo>
                    <a:lnTo>
                      <a:pt x="15" y="434"/>
                    </a:lnTo>
                    <a:lnTo>
                      <a:pt x="15" y="432"/>
                    </a:lnTo>
                    <a:lnTo>
                      <a:pt x="15" y="428"/>
                    </a:lnTo>
                    <a:lnTo>
                      <a:pt x="17" y="426"/>
                    </a:lnTo>
                    <a:lnTo>
                      <a:pt x="17" y="424"/>
                    </a:lnTo>
                    <a:lnTo>
                      <a:pt x="19" y="424"/>
                    </a:lnTo>
                    <a:lnTo>
                      <a:pt x="19" y="422"/>
                    </a:lnTo>
                    <a:lnTo>
                      <a:pt x="19" y="420"/>
                    </a:lnTo>
                    <a:lnTo>
                      <a:pt x="17" y="420"/>
                    </a:lnTo>
                    <a:lnTo>
                      <a:pt x="17" y="419"/>
                    </a:lnTo>
                    <a:lnTo>
                      <a:pt x="15" y="419"/>
                    </a:lnTo>
                    <a:lnTo>
                      <a:pt x="15" y="417"/>
                    </a:lnTo>
                    <a:lnTo>
                      <a:pt x="13" y="417"/>
                    </a:lnTo>
                    <a:lnTo>
                      <a:pt x="13" y="415"/>
                    </a:lnTo>
                    <a:lnTo>
                      <a:pt x="13" y="413"/>
                    </a:lnTo>
                    <a:lnTo>
                      <a:pt x="15" y="413"/>
                    </a:lnTo>
                    <a:lnTo>
                      <a:pt x="13" y="413"/>
                    </a:lnTo>
                    <a:lnTo>
                      <a:pt x="15" y="413"/>
                    </a:lnTo>
                    <a:lnTo>
                      <a:pt x="17" y="413"/>
                    </a:lnTo>
                    <a:lnTo>
                      <a:pt x="19" y="413"/>
                    </a:lnTo>
                    <a:lnTo>
                      <a:pt x="19" y="411"/>
                    </a:lnTo>
                    <a:lnTo>
                      <a:pt x="19" y="409"/>
                    </a:lnTo>
                    <a:lnTo>
                      <a:pt x="21" y="409"/>
                    </a:lnTo>
                    <a:lnTo>
                      <a:pt x="21" y="407"/>
                    </a:lnTo>
                    <a:lnTo>
                      <a:pt x="23" y="407"/>
                    </a:lnTo>
                    <a:lnTo>
                      <a:pt x="23" y="405"/>
                    </a:lnTo>
                    <a:lnTo>
                      <a:pt x="23" y="403"/>
                    </a:lnTo>
                    <a:lnTo>
                      <a:pt x="25" y="403"/>
                    </a:lnTo>
                    <a:lnTo>
                      <a:pt x="27" y="401"/>
                    </a:lnTo>
                    <a:lnTo>
                      <a:pt x="25" y="399"/>
                    </a:lnTo>
                    <a:lnTo>
                      <a:pt x="25" y="397"/>
                    </a:lnTo>
                    <a:lnTo>
                      <a:pt x="25" y="396"/>
                    </a:lnTo>
                    <a:lnTo>
                      <a:pt x="23" y="396"/>
                    </a:lnTo>
                    <a:lnTo>
                      <a:pt x="23" y="394"/>
                    </a:lnTo>
                    <a:lnTo>
                      <a:pt x="23" y="392"/>
                    </a:lnTo>
                    <a:lnTo>
                      <a:pt x="25" y="392"/>
                    </a:lnTo>
                    <a:lnTo>
                      <a:pt x="25" y="390"/>
                    </a:lnTo>
                    <a:lnTo>
                      <a:pt x="25" y="388"/>
                    </a:lnTo>
                    <a:lnTo>
                      <a:pt x="25" y="386"/>
                    </a:lnTo>
                    <a:lnTo>
                      <a:pt x="25" y="384"/>
                    </a:lnTo>
                    <a:lnTo>
                      <a:pt x="27" y="384"/>
                    </a:lnTo>
                    <a:lnTo>
                      <a:pt x="27" y="382"/>
                    </a:lnTo>
                    <a:lnTo>
                      <a:pt x="27" y="380"/>
                    </a:lnTo>
                    <a:lnTo>
                      <a:pt x="27" y="378"/>
                    </a:lnTo>
                    <a:lnTo>
                      <a:pt x="27" y="376"/>
                    </a:lnTo>
                    <a:lnTo>
                      <a:pt x="27" y="374"/>
                    </a:lnTo>
                    <a:lnTo>
                      <a:pt x="29" y="365"/>
                    </a:lnTo>
                    <a:lnTo>
                      <a:pt x="29" y="363"/>
                    </a:lnTo>
                    <a:lnTo>
                      <a:pt x="27" y="363"/>
                    </a:lnTo>
                    <a:lnTo>
                      <a:pt x="27" y="361"/>
                    </a:lnTo>
                    <a:lnTo>
                      <a:pt x="25" y="361"/>
                    </a:lnTo>
                    <a:lnTo>
                      <a:pt x="25" y="359"/>
                    </a:lnTo>
                    <a:lnTo>
                      <a:pt x="25" y="357"/>
                    </a:lnTo>
                    <a:lnTo>
                      <a:pt x="25" y="355"/>
                    </a:lnTo>
                    <a:lnTo>
                      <a:pt x="25" y="353"/>
                    </a:lnTo>
                    <a:lnTo>
                      <a:pt x="25" y="351"/>
                    </a:lnTo>
                    <a:lnTo>
                      <a:pt x="25" y="349"/>
                    </a:lnTo>
                    <a:lnTo>
                      <a:pt x="27" y="348"/>
                    </a:lnTo>
                    <a:lnTo>
                      <a:pt x="27" y="346"/>
                    </a:lnTo>
                    <a:lnTo>
                      <a:pt x="25" y="346"/>
                    </a:lnTo>
                    <a:lnTo>
                      <a:pt x="27" y="346"/>
                    </a:lnTo>
                    <a:lnTo>
                      <a:pt x="27" y="344"/>
                    </a:lnTo>
                    <a:lnTo>
                      <a:pt x="25" y="344"/>
                    </a:lnTo>
                    <a:lnTo>
                      <a:pt x="25" y="342"/>
                    </a:lnTo>
                    <a:lnTo>
                      <a:pt x="27" y="342"/>
                    </a:lnTo>
                    <a:lnTo>
                      <a:pt x="27" y="340"/>
                    </a:lnTo>
                    <a:lnTo>
                      <a:pt x="27" y="338"/>
                    </a:lnTo>
                    <a:lnTo>
                      <a:pt x="29" y="338"/>
                    </a:lnTo>
                    <a:lnTo>
                      <a:pt x="29" y="336"/>
                    </a:lnTo>
                    <a:lnTo>
                      <a:pt x="31" y="336"/>
                    </a:lnTo>
                    <a:lnTo>
                      <a:pt x="29" y="336"/>
                    </a:lnTo>
                    <a:lnTo>
                      <a:pt x="29" y="334"/>
                    </a:lnTo>
                    <a:lnTo>
                      <a:pt x="31" y="334"/>
                    </a:lnTo>
                    <a:lnTo>
                      <a:pt x="31" y="336"/>
                    </a:lnTo>
                    <a:lnTo>
                      <a:pt x="31" y="334"/>
                    </a:lnTo>
                    <a:lnTo>
                      <a:pt x="33" y="334"/>
                    </a:lnTo>
                    <a:lnTo>
                      <a:pt x="33" y="336"/>
                    </a:lnTo>
                    <a:lnTo>
                      <a:pt x="33" y="334"/>
                    </a:lnTo>
                    <a:lnTo>
                      <a:pt x="34" y="334"/>
                    </a:lnTo>
                    <a:lnTo>
                      <a:pt x="33" y="332"/>
                    </a:lnTo>
                    <a:lnTo>
                      <a:pt x="34" y="330"/>
                    </a:lnTo>
                    <a:lnTo>
                      <a:pt x="34" y="328"/>
                    </a:lnTo>
                    <a:lnTo>
                      <a:pt x="34" y="326"/>
                    </a:lnTo>
                    <a:lnTo>
                      <a:pt x="33" y="326"/>
                    </a:lnTo>
                    <a:lnTo>
                      <a:pt x="33" y="324"/>
                    </a:lnTo>
                    <a:lnTo>
                      <a:pt x="33" y="323"/>
                    </a:lnTo>
                    <a:lnTo>
                      <a:pt x="31" y="323"/>
                    </a:lnTo>
                    <a:lnTo>
                      <a:pt x="31" y="321"/>
                    </a:lnTo>
                    <a:lnTo>
                      <a:pt x="31" y="319"/>
                    </a:lnTo>
                    <a:lnTo>
                      <a:pt x="31" y="317"/>
                    </a:lnTo>
                    <a:lnTo>
                      <a:pt x="31" y="315"/>
                    </a:lnTo>
                    <a:lnTo>
                      <a:pt x="33" y="315"/>
                    </a:lnTo>
                    <a:lnTo>
                      <a:pt x="29" y="311"/>
                    </a:lnTo>
                    <a:lnTo>
                      <a:pt x="29" y="309"/>
                    </a:lnTo>
                    <a:lnTo>
                      <a:pt x="33" y="305"/>
                    </a:lnTo>
                    <a:lnTo>
                      <a:pt x="36" y="303"/>
                    </a:lnTo>
                    <a:lnTo>
                      <a:pt x="36" y="301"/>
                    </a:lnTo>
                    <a:lnTo>
                      <a:pt x="36" y="300"/>
                    </a:lnTo>
                    <a:lnTo>
                      <a:pt x="36" y="298"/>
                    </a:lnTo>
                    <a:lnTo>
                      <a:pt x="38" y="298"/>
                    </a:lnTo>
                    <a:lnTo>
                      <a:pt x="38" y="296"/>
                    </a:lnTo>
                    <a:lnTo>
                      <a:pt x="38" y="294"/>
                    </a:lnTo>
                    <a:lnTo>
                      <a:pt x="40" y="294"/>
                    </a:lnTo>
                    <a:lnTo>
                      <a:pt x="40" y="292"/>
                    </a:lnTo>
                    <a:lnTo>
                      <a:pt x="42" y="292"/>
                    </a:lnTo>
                    <a:lnTo>
                      <a:pt x="42" y="294"/>
                    </a:lnTo>
                    <a:lnTo>
                      <a:pt x="42" y="292"/>
                    </a:lnTo>
                    <a:lnTo>
                      <a:pt x="44" y="292"/>
                    </a:lnTo>
                    <a:lnTo>
                      <a:pt x="44" y="290"/>
                    </a:lnTo>
                    <a:lnTo>
                      <a:pt x="44" y="288"/>
                    </a:lnTo>
                    <a:lnTo>
                      <a:pt x="46" y="288"/>
                    </a:lnTo>
                    <a:lnTo>
                      <a:pt x="48" y="288"/>
                    </a:lnTo>
                    <a:lnTo>
                      <a:pt x="46" y="288"/>
                    </a:lnTo>
                    <a:lnTo>
                      <a:pt x="46" y="286"/>
                    </a:lnTo>
                    <a:lnTo>
                      <a:pt x="48" y="286"/>
                    </a:lnTo>
                    <a:lnTo>
                      <a:pt x="50" y="288"/>
                    </a:lnTo>
                    <a:lnTo>
                      <a:pt x="52" y="288"/>
                    </a:lnTo>
                    <a:lnTo>
                      <a:pt x="54" y="288"/>
                    </a:lnTo>
                    <a:lnTo>
                      <a:pt x="56" y="288"/>
                    </a:lnTo>
                    <a:lnTo>
                      <a:pt x="57" y="288"/>
                    </a:lnTo>
                    <a:lnTo>
                      <a:pt x="59" y="288"/>
                    </a:lnTo>
                    <a:lnTo>
                      <a:pt x="61" y="290"/>
                    </a:lnTo>
                    <a:lnTo>
                      <a:pt x="63" y="290"/>
                    </a:lnTo>
                    <a:lnTo>
                      <a:pt x="65" y="292"/>
                    </a:lnTo>
                    <a:lnTo>
                      <a:pt x="65" y="290"/>
                    </a:lnTo>
                    <a:lnTo>
                      <a:pt x="65" y="288"/>
                    </a:lnTo>
                    <a:lnTo>
                      <a:pt x="63" y="286"/>
                    </a:lnTo>
                    <a:lnTo>
                      <a:pt x="63" y="284"/>
                    </a:lnTo>
                    <a:lnTo>
                      <a:pt x="61" y="284"/>
                    </a:lnTo>
                    <a:lnTo>
                      <a:pt x="61" y="282"/>
                    </a:lnTo>
                    <a:lnTo>
                      <a:pt x="59" y="282"/>
                    </a:lnTo>
                    <a:lnTo>
                      <a:pt x="59" y="280"/>
                    </a:lnTo>
                    <a:lnTo>
                      <a:pt x="61" y="280"/>
                    </a:lnTo>
                    <a:lnTo>
                      <a:pt x="63" y="280"/>
                    </a:lnTo>
                    <a:lnTo>
                      <a:pt x="63" y="278"/>
                    </a:lnTo>
                    <a:lnTo>
                      <a:pt x="65" y="278"/>
                    </a:lnTo>
                    <a:lnTo>
                      <a:pt x="65" y="276"/>
                    </a:lnTo>
                    <a:lnTo>
                      <a:pt x="67" y="275"/>
                    </a:lnTo>
                    <a:lnTo>
                      <a:pt x="69" y="273"/>
                    </a:lnTo>
                    <a:lnTo>
                      <a:pt x="67" y="269"/>
                    </a:lnTo>
                    <a:lnTo>
                      <a:pt x="65" y="269"/>
                    </a:lnTo>
                    <a:lnTo>
                      <a:pt x="65" y="267"/>
                    </a:lnTo>
                    <a:lnTo>
                      <a:pt x="67" y="267"/>
                    </a:lnTo>
                    <a:lnTo>
                      <a:pt x="69" y="267"/>
                    </a:lnTo>
                    <a:lnTo>
                      <a:pt x="69" y="265"/>
                    </a:lnTo>
                    <a:lnTo>
                      <a:pt x="71" y="263"/>
                    </a:lnTo>
                    <a:lnTo>
                      <a:pt x="71" y="265"/>
                    </a:lnTo>
                    <a:lnTo>
                      <a:pt x="73" y="265"/>
                    </a:lnTo>
                    <a:lnTo>
                      <a:pt x="73" y="267"/>
                    </a:lnTo>
                    <a:lnTo>
                      <a:pt x="75" y="267"/>
                    </a:lnTo>
                    <a:lnTo>
                      <a:pt x="75" y="269"/>
                    </a:lnTo>
                    <a:lnTo>
                      <a:pt x="77" y="269"/>
                    </a:lnTo>
                    <a:lnTo>
                      <a:pt x="79" y="269"/>
                    </a:lnTo>
                    <a:lnTo>
                      <a:pt x="79" y="267"/>
                    </a:lnTo>
                    <a:lnTo>
                      <a:pt x="79" y="265"/>
                    </a:lnTo>
                    <a:lnTo>
                      <a:pt x="79" y="263"/>
                    </a:lnTo>
                    <a:lnTo>
                      <a:pt x="79" y="261"/>
                    </a:lnTo>
                    <a:lnTo>
                      <a:pt x="79" y="263"/>
                    </a:lnTo>
                    <a:lnTo>
                      <a:pt x="81" y="263"/>
                    </a:lnTo>
                    <a:lnTo>
                      <a:pt x="81" y="265"/>
                    </a:lnTo>
                    <a:lnTo>
                      <a:pt x="81" y="267"/>
                    </a:lnTo>
                    <a:lnTo>
                      <a:pt x="82" y="267"/>
                    </a:lnTo>
                    <a:lnTo>
                      <a:pt x="84" y="269"/>
                    </a:lnTo>
                    <a:lnTo>
                      <a:pt x="86" y="269"/>
                    </a:lnTo>
                    <a:lnTo>
                      <a:pt x="86" y="271"/>
                    </a:lnTo>
                    <a:lnTo>
                      <a:pt x="88" y="271"/>
                    </a:lnTo>
                    <a:lnTo>
                      <a:pt x="90" y="271"/>
                    </a:lnTo>
                    <a:lnTo>
                      <a:pt x="92" y="269"/>
                    </a:lnTo>
                    <a:lnTo>
                      <a:pt x="94" y="267"/>
                    </a:lnTo>
                    <a:lnTo>
                      <a:pt x="96" y="267"/>
                    </a:lnTo>
                    <a:lnTo>
                      <a:pt x="96" y="265"/>
                    </a:lnTo>
                    <a:lnTo>
                      <a:pt x="94" y="265"/>
                    </a:lnTo>
                    <a:lnTo>
                      <a:pt x="94" y="263"/>
                    </a:lnTo>
                    <a:lnTo>
                      <a:pt x="96" y="263"/>
                    </a:lnTo>
                    <a:lnTo>
                      <a:pt x="96" y="261"/>
                    </a:lnTo>
                    <a:lnTo>
                      <a:pt x="96" y="259"/>
                    </a:lnTo>
                    <a:lnTo>
                      <a:pt x="96" y="257"/>
                    </a:lnTo>
                    <a:lnTo>
                      <a:pt x="98" y="257"/>
                    </a:lnTo>
                    <a:lnTo>
                      <a:pt x="98" y="255"/>
                    </a:lnTo>
                    <a:lnTo>
                      <a:pt x="100" y="255"/>
                    </a:lnTo>
                    <a:lnTo>
                      <a:pt x="102" y="255"/>
                    </a:lnTo>
                    <a:lnTo>
                      <a:pt x="104" y="255"/>
                    </a:lnTo>
                    <a:lnTo>
                      <a:pt x="106" y="255"/>
                    </a:lnTo>
                    <a:lnTo>
                      <a:pt x="107" y="255"/>
                    </a:lnTo>
                    <a:lnTo>
                      <a:pt x="109" y="255"/>
                    </a:lnTo>
                    <a:lnTo>
                      <a:pt x="111" y="255"/>
                    </a:lnTo>
                    <a:lnTo>
                      <a:pt x="111" y="257"/>
                    </a:lnTo>
                    <a:lnTo>
                      <a:pt x="113" y="257"/>
                    </a:lnTo>
                    <a:lnTo>
                      <a:pt x="113" y="259"/>
                    </a:lnTo>
                    <a:lnTo>
                      <a:pt x="115" y="259"/>
                    </a:lnTo>
                    <a:lnTo>
                      <a:pt x="115" y="261"/>
                    </a:lnTo>
                    <a:lnTo>
                      <a:pt x="117" y="261"/>
                    </a:lnTo>
                    <a:lnTo>
                      <a:pt x="117" y="263"/>
                    </a:lnTo>
                    <a:lnTo>
                      <a:pt x="119" y="263"/>
                    </a:lnTo>
                    <a:lnTo>
                      <a:pt x="119" y="265"/>
                    </a:lnTo>
                    <a:lnTo>
                      <a:pt x="119" y="267"/>
                    </a:lnTo>
                    <a:lnTo>
                      <a:pt x="121" y="267"/>
                    </a:lnTo>
                    <a:lnTo>
                      <a:pt x="123" y="267"/>
                    </a:lnTo>
                    <a:lnTo>
                      <a:pt x="123" y="269"/>
                    </a:lnTo>
                    <a:lnTo>
                      <a:pt x="125" y="269"/>
                    </a:lnTo>
                    <a:lnTo>
                      <a:pt x="127" y="269"/>
                    </a:lnTo>
                    <a:lnTo>
                      <a:pt x="127" y="267"/>
                    </a:lnTo>
                    <a:lnTo>
                      <a:pt x="129" y="265"/>
                    </a:lnTo>
                    <a:lnTo>
                      <a:pt x="129" y="267"/>
                    </a:lnTo>
                    <a:lnTo>
                      <a:pt x="130" y="267"/>
                    </a:lnTo>
                    <a:lnTo>
                      <a:pt x="130" y="269"/>
                    </a:lnTo>
                    <a:lnTo>
                      <a:pt x="132" y="269"/>
                    </a:lnTo>
                    <a:lnTo>
                      <a:pt x="134" y="269"/>
                    </a:lnTo>
                    <a:lnTo>
                      <a:pt x="134" y="271"/>
                    </a:lnTo>
                    <a:lnTo>
                      <a:pt x="136" y="271"/>
                    </a:lnTo>
                    <a:lnTo>
                      <a:pt x="136" y="269"/>
                    </a:lnTo>
                    <a:lnTo>
                      <a:pt x="134" y="269"/>
                    </a:lnTo>
                    <a:lnTo>
                      <a:pt x="136" y="269"/>
                    </a:lnTo>
                    <a:lnTo>
                      <a:pt x="138" y="267"/>
                    </a:lnTo>
                    <a:lnTo>
                      <a:pt x="140" y="265"/>
                    </a:lnTo>
                    <a:lnTo>
                      <a:pt x="140" y="263"/>
                    </a:lnTo>
                    <a:lnTo>
                      <a:pt x="138" y="263"/>
                    </a:lnTo>
                    <a:lnTo>
                      <a:pt x="140" y="263"/>
                    </a:lnTo>
                    <a:lnTo>
                      <a:pt x="142" y="261"/>
                    </a:lnTo>
                    <a:lnTo>
                      <a:pt x="142" y="263"/>
                    </a:lnTo>
                    <a:lnTo>
                      <a:pt x="146" y="259"/>
                    </a:lnTo>
                    <a:lnTo>
                      <a:pt x="148" y="259"/>
                    </a:lnTo>
                    <a:lnTo>
                      <a:pt x="148" y="257"/>
                    </a:lnTo>
                    <a:lnTo>
                      <a:pt x="148" y="255"/>
                    </a:lnTo>
                    <a:lnTo>
                      <a:pt x="148" y="253"/>
                    </a:lnTo>
                    <a:lnTo>
                      <a:pt x="148" y="252"/>
                    </a:lnTo>
                    <a:lnTo>
                      <a:pt x="148" y="250"/>
                    </a:lnTo>
                    <a:lnTo>
                      <a:pt x="150" y="250"/>
                    </a:lnTo>
                    <a:lnTo>
                      <a:pt x="150" y="252"/>
                    </a:lnTo>
                    <a:lnTo>
                      <a:pt x="152" y="255"/>
                    </a:lnTo>
                    <a:lnTo>
                      <a:pt x="152" y="257"/>
                    </a:lnTo>
                    <a:lnTo>
                      <a:pt x="154" y="257"/>
                    </a:lnTo>
                    <a:lnTo>
                      <a:pt x="154" y="255"/>
                    </a:lnTo>
                    <a:lnTo>
                      <a:pt x="155" y="255"/>
                    </a:lnTo>
                    <a:lnTo>
                      <a:pt x="155" y="253"/>
                    </a:lnTo>
                    <a:lnTo>
                      <a:pt x="157" y="253"/>
                    </a:lnTo>
                    <a:lnTo>
                      <a:pt x="157" y="252"/>
                    </a:lnTo>
                    <a:lnTo>
                      <a:pt x="159" y="252"/>
                    </a:lnTo>
                    <a:lnTo>
                      <a:pt x="159" y="253"/>
                    </a:lnTo>
                    <a:lnTo>
                      <a:pt x="159" y="255"/>
                    </a:lnTo>
                    <a:lnTo>
                      <a:pt x="159" y="257"/>
                    </a:lnTo>
                    <a:lnTo>
                      <a:pt x="161" y="257"/>
                    </a:lnTo>
                    <a:lnTo>
                      <a:pt x="163" y="257"/>
                    </a:lnTo>
                    <a:lnTo>
                      <a:pt x="165" y="257"/>
                    </a:lnTo>
                    <a:lnTo>
                      <a:pt x="167" y="257"/>
                    </a:lnTo>
                    <a:lnTo>
                      <a:pt x="167" y="259"/>
                    </a:lnTo>
                    <a:lnTo>
                      <a:pt x="167" y="261"/>
                    </a:lnTo>
                    <a:lnTo>
                      <a:pt x="169" y="261"/>
                    </a:lnTo>
                    <a:lnTo>
                      <a:pt x="171" y="261"/>
                    </a:lnTo>
                    <a:lnTo>
                      <a:pt x="173" y="261"/>
                    </a:lnTo>
                    <a:lnTo>
                      <a:pt x="175" y="261"/>
                    </a:lnTo>
                    <a:lnTo>
                      <a:pt x="177" y="259"/>
                    </a:lnTo>
                    <a:lnTo>
                      <a:pt x="178" y="257"/>
                    </a:lnTo>
                    <a:lnTo>
                      <a:pt x="180" y="257"/>
                    </a:lnTo>
                    <a:lnTo>
                      <a:pt x="180" y="255"/>
                    </a:lnTo>
                    <a:lnTo>
                      <a:pt x="180" y="253"/>
                    </a:lnTo>
                    <a:lnTo>
                      <a:pt x="182" y="253"/>
                    </a:lnTo>
                    <a:lnTo>
                      <a:pt x="182" y="252"/>
                    </a:lnTo>
                    <a:lnTo>
                      <a:pt x="182" y="250"/>
                    </a:lnTo>
                    <a:lnTo>
                      <a:pt x="182" y="248"/>
                    </a:lnTo>
                    <a:lnTo>
                      <a:pt x="180" y="248"/>
                    </a:lnTo>
                    <a:lnTo>
                      <a:pt x="180" y="246"/>
                    </a:lnTo>
                    <a:lnTo>
                      <a:pt x="178" y="244"/>
                    </a:lnTo>
                    <a:lnTo>
                      <a:pt x="178" y="246"/>
                    </a:lnTo>
                    <a:lnTo>
                      <a:pt x="177" y="246"/>
                    </a:lnTo>
                    <a:lnTo>
                      <a:pt x="177" y="244"/>
                    </a:lnTo>
                    <a:lnTo>
                      <a:pt x="175" y="244"/>
                    </a:lnTo>
                    <a:lnTo>
                      <a:pt x="175" y="242"/>
                    </a:lnTo>
                    <a:lnTo>
                      <a:pt x="175" y="240"/>
                    </a:lnTo>
                    <a:lnTo>
                      <a:pt x="175" y="238"/>
                    </a:lnTo>
                    <a:lnTo>
                      <a:pt x="173" y="236"/>
                    </a:lnTo>
                    <a:lnTo>
                      <a:pt x="173" y="234"/>
                    </a:lnTo>
                    <a:lnTo>
                      <a:pt x="173" y="232"/>
                    </a:lnTo>
                    <a:lnTo>
                      <a:pt x="175" y="232"/>
                    </a:lnTo>
                    <a:lnTo>
                      <a:pt x="177" y="232"/>
                    </a:lnTo>
                    <a:lnTo>
                      <a:pt x="178" y="232"/>
                    </a:lnTo>
                    <a:lnTo>
                      <a:pt x="178" y="230"/>
                    </a:lnTo>
                    <a:lnTo>
                      <a:pt x="177" y="230"/>
                    </a:lnTo>
                    <a:lnTo>
                      <a:pt x="177" y="228"/>
                    </a:lnTo>
                    <a:lnTo>
                      <a:pt x="175" y="228"/>
                    </a:lnTo>
                    <a:lnTo>
                      <a:pt x="175" y="227"/>
                    </a:lnTo>
                    <a:lnTo>
                      <a:pt x="175" y="225"/>
                    </a:lnTo>
                    <a:lnTo>
                      <a:pt x="173" y="223"/>
                    </a:lnTo>
                    <a:lnTo>
                      <a:pt x="173" y="221"/>
                    </a:lnTo>
                    <a:lnTo>
                      <a:pt x="175" y="219"/>
                    </a:lnTo>
                    <a:lnTo>
                      <a:pt x="175" y="217"/>
                    </a:lnTo>
                    <a:lnTo>
                      <a:pt x="177" y="217"/>
                    </a:lnTo>
                    <a:lnTo>
                      <a:pt x="177" y="215"/>
                    </a:lnTo>
                    <a:lnTo>
                      <a:pt x="178" y="211"/>
                    </a:lnTo>
                    <a:lnTo>
                      <a:pt x="178" y="209"/>
                    </a:lnTo>
                    <a:lnTo>
                      <a:pt x="178" y="207"/>
                    </a:lnTo>
                    <a:lnTo>
                      <a:pt x="177" y="205"/>
                    </a:lnTo>
                    <a:lnTo>
                      <a:pt x="177" y="204"/>
                    </a:lnTo>
                    <a:lnTo>
                      <a:pt x="177" y="202"/>
                    </a:lnTo>
                    <a:lnTo>
                      <a:pt x="178" y="202"/>
                    </a:lnTo>
                    <a:lnTo>
                      <a:pt x="178" y="200"/>
                    </a:lnTo>
                    <a:lnTo>
                      <a:pt x="177" y="198"/>
                    </a:lnTo>
                    <a:lnTo>
                      <a:pt x="178" y="198"/>
                    </a:lnTo>
                    <a:lnTo>
                      <a:pt x="178" y="196"/>
                    </a:lnTo>
                    <a:lnTo>
                      <a:pt x="178" y="194"/>
                    </a:lnTo>
                    <a:lnTo>
                      <a:pt x="178" y="192"/>
                    </a:lnTo>
                    <a:lnTo>
                      <a:pt x="177" y="192"/>
                    </a:lnTo>
                    <a:lnTo>
                      <a:pt x="177" y="190"/>
                    </a:lnTo>
                    <a:lnTo>
                      <a:pt x="177" y="188"/>
                    </a:lnTo>
                    <a:lnTo>
                      <a:pt x="175" y="186"/>
                    </a:lnTo>
                    <a:lnTo>
                      <a:pt x="173" y="186"/>
                    </a:lnTo>
                    <a:lnTo>
                      <a:pt x="171" y="184"/>
                    </a:lnTo>
                    <a:lnTo>
                      <a:pt x="169" y="182"/>
                    </a:lnTo>
                    <a:lnTo>
                      <a:pt x="169" y="180"/>
                    </a:lnTo>
                    <a:lnTo>
                      <a:pt x="169" y="179"/>
                    </a:lnTo>
                    <a:lnTo>
                      <a:pt x="171" y="179"/>
                    </a:lnTo>
                    <a:lnTo>
                      <a:pt x="173" y="179"/>
                    </a:lnTo>
                    <a:lnTo>
                      <a:pt x="175" y="175"/>
                    </a:lnTo>
                    <a:lnTo>
                      <a:pt x="171" y="175"/>
                    </a:lnTo>
                    <a:lnTo>
                      <a:pt x="171" y="173"/>
                    </a:lnTo>
                    <a:lnTo>
                      <a:pt x="169" y="173"/>
                    </a:lnTo>
                    <a:lnTo>
                      <a:pt x="171" y="169"/>
                    </a:lnTo>
                    <a:lnTo>
                      <a:pt x="173" y="169"/>
                    </a:lnTo>
                    <a:lnTo>
                      <a:pt x="177" y="169"/>
                    </a:lnTo>
                    <a:lnTo>
                      <a:pt x="177" y="165"/>
                    </a:lnTo>
                    <a:lnTo>
                      <a:pt x="177" y="163"/>
                    </a:lnTo>
                    <a:lnTo>
                      <a:pt x="177" y="161"/>
                    </a:lnTo>
                    <a:lnTo>
                      <a:pt x="178" y="161"/>
                    </a:lnTo>
                    <a:lnTo>
                      <a:pt x="180" y="159"/>
                    </a:lnTo>
                    <a:lnTo>
                      <a:pt x="182" y="157"/>
                    </a:lnTo>
                    <a:lnTo>
                      <a:pt x="184" y="154"/>
                    </a:lnTo>
                    <a:lnTo>
                      <a:pt x="182" y="154"/>
                    </a:lnTo>
                    <a:lnTo>
                      <a:pt x="182" y="152"/>
                    </a:lnTo>
                    <a:lnTo>
                      <a:pt x="182" y="154"/>
                    </a:lnTo>
                    <a:lnTo>
                      <a:pt x="178" y="154"/>
                    </a:lnTo>
                    <a:lnTo>
                      <a:pt x="178" y="156"/>
                    </a:lnTo>
                    <a:lnTo>
                      <a:pt x="177" y="156"/>
                    </a:lnTo>
                    <a:lnTo>
                      <a:pt x="175" y="154"/>
                    </a:lnTo>
                    <a:lnTo>
                      <a:pt x="175" y="152"/>
                    </a:lnTo>
                    <a:lnTo>
                      <a:pt x="173" y="152"/>
                    </a:lnTo>
                    <a:lnTo>
                      <a:pt x="173" y="150"/>
                    </a:lnTo>
                    <a:lnTo>
                      <a:pt x="173" y="148"/>
                    </a:lnTo>
                    <a:lnTo>
                      <a:pt x="171" y="148"/>
                    </a:lnTo>
                    <a:lnTo>
                      <a:pt x="169" y="148"/>
                    </a:lnTo>
                    <a:lnTo>
                      <a:pt x="167" y="148"/>
                    </a:lnTo>
                    <a:lnTo>
                      <a:pt x="165" y="146"/>
                    </a:lnTo>
                    <a:lnTo>
                      <a:pt x="165" y="144"/>
                    </a:lnTo>
                    <a:lnTo>
                      <a:pt x="163" y="146"/>
                    </a:lnTo>
                    <a:lnTo>
                      <a:pt x="161" y="146"/>
                    </a:lnTo>
                    <a:lnTo>
                      <a:pt x="161" y="144"/>
                    </a:lnTo>
                    <a:lnTo>
                      <a:pt x="159" y="144"/>
                    </a:lnTo>
                    <a:lnTo>
                      <a:pt x="157" y="144"/>
                    </a:lnTo>
                    <a:lnTo>
                      <a:pt x="155" y="142"/>
                    </a:lnTo>
                    <a:lnTo>
                      <a:pt x="155" y="140"/>
                    </a:lnTo>
                    <a:lnTo>
                      <a:pt x="159" y="136"/>
                    </a:lnTo>
                    <a:lnTo>
                      <a:pt x="159" y="134"/>
                    </a:lnTo>
                    <a:lnTo>
                      <a:pt x="159" y="136"/>
                    </a:lnTo>
                    <a:lnTo>
                      <a:pt x="161" y="134"/>
                    </a:lnTo>
                    <a:lnTo>
                      <a:pt x="161" y="132"/>
                    </a:lnTo>
                    <a:lnTo>
                      <a:pt x="161" y="131"/>
                    </a:lnTo>
                    <a:lnTo>
                      <a:pt x="163" y="131"/>
                    </a:lnTo>
                    <a:lnTo>
                      <a:pt x="163" y="129"/>
                    </a:lnTo>
                    <a:lnTo>
                      <a:pt x="165" y="131"/>
                    </a:lnTo>
                    <a:lnTo>
                      <a:pt x="167" y="131"/>
                    </a:lnTo>
                    <a:lnTo>
                      <a:pt x="167" y="129"/>
                    </a:lnTo>
                    <a:lnTo>
                      <a:pt x="169" y="127"/>
                    </a:lnTo>
                    <a:lnTo>
                      <a:pt x="171" y="127"/>
                    </a:lnTo>
                    <a:lnTo>
                      <a:pt x="171" y="125"/>
                    </a:lnTo>
                    <a:lnTo>
                      <a:pt x="169" y="125"/>
                    </a:lnTo>
                    <a:lnTo>
                      <a:pt x="167" y="125"/>
                    </a:lnTo>
                    <a:lnTo>
                      <a:pt x="165" y="125"/>
                    </a:lnTo>
                    <a:lnTo>
                      <a:pt x="163" y="125"/>
                    </a:lnTo>
                    <a:lnTo>
                      <a:pt x="163" y="123"/>
                    </a:lnTo>
                    <a:lnTo>
                      <a:pt x="161" y="123"/>
                    </a:lnTo>
                    <a:lnTo>
                      <a:pt x="159" y="123"/>
                    </a:lnTo>
                    <a:lnTo>
                      <a:pt x="157" y="123"/>
                    </a:lnTo>
                    <a:lnTo>
                      <a:pt x="157" y="121"/>
                    </a:lnTo>
                    <a:lnTo>
                      <a:pt x="155" y="121"/>
                    </a:lnTo>
                    <a:lnTo>
                      <a:pt x="157" y="121"/>
                    </a:lnTo>
                    <a:lnTo>
                      <a:pt x="157" y="119"/>
                    </a:lnTo>
                    <a:lnTo>
                      <a:pt x="157" y="117"/>
                    </a:lnTo>
                    <a:lnTo>
                      <a:pt x="157" y="115"/>
                    </a:lnTo>
                    <a:lnTo>
                      <a:pt x="157" y="113"/>
                    </a:lnTo>
                    <a:lnTo>
                      <a:pt x="157" y="111"/>
                    </a:lnTo>
                    <a:lnTo>
                      <a:pt x="159" y="111"/>
                    </a:lnTo>
                    <a:lnTo>
                      <a:pt x="159" y="109"/>
                    </a:lnTo>
                    <a:lnTo>
                      <a:pt x="159" y="108"/>
                    </a:lnTo>
                    <a:lnTo>
                      <a:pt x="159" y="106"/>
                    </a:lnTo>
                    <a:lnTo>
                      <a:pt x="161" y="106"/>
                    </a:lnTo>
                    <a:lnTo>
                      <a:pt x="161" y="108"/>
                    </a:lnTo>
                    <a:lnTo>
                      <a:pt x="163" y="108"/>
                    </a:lnTo>
                    <a:lnTo>
                      <a:pt x="163" y="106"/>
                    </a:lnTo>
                    <a:lnTo>
                      <a:pt x="165" y="106"/>
                    </a:lnTo>
                    <a:lnTo>
                      <a:pt x="165" y="108"/>
                    </a:lnTo>
                    <a:lnTo>
                      <a:pt x="167" y="108"/>
                    </a:lnTo>
                    <a:lnTo>
                      <a:pt x="167" y="109"/>
                    </a:lnTo>
                    <a:lnTo>
                      <a:pt x="167" y="111"/>
                    </a:lnTo>
                    <a:lnTo>
                      <a:pt x="169" y="111"/>
                    </a:lnTo>
                    <a:lnTo>
                      <a:pt x="171" y="111"/>
                    </a:lnTo>
                    <a:lnTo>
                      <a:pt x="171" y="109"/>
                    </a:lnTo>
                    <a:lnTo>
                      <a:pt x="173" y="109"/>
                    </a:lnTo>
                    <a:lnTo>
                      <a:pt x="175" y="109"/>
                    </a:lnTo>
                    <a:lnTo>
                      <a:pt x="175" y="108"/>
                    </a:lnTo>
                    <a:lnTo>
                      <a:pt x="175" y="106"/>
                    </a:lnTo>
                    <a:lnTo>
                      <a:pt x="175" y="104"/>
                    </a:lnTo>
                    <a:lnTo>
                      <a:pt x="173" y="104"/>
                    </a:lnTo>
                    <a:lnTo>
                      <a:pt x="173" y="102"/>
                    </a:lnTo>
                    <a:lnTo>
                      <a:pt x="175" y="102"/>
                    </a:lnTo>
                    <a:lnTo>
                      <a:pt x="175" y="100"/>
                    </a:lnTo>
                    <a:lnTo>
                      <a:pt x="175" y="98"/>
                    </a:lnTo>
                    <a:lnTo>
                      <a:pt x="175" y="96"/>
                    </a:lnTo>
                    <a:lnTo>
                      <a:pt x="173" y="96"/>
                    </a:lnTo>
                    <a:lnTo>
                      <a:pt x="173" y="94"/>
                    </a:lnTo>
                    <a:lnTo>
                      <a:pt x="171" y="94"/>
                    </a:lnTo>
                    <a:lnTo>
                      <a:pt x="171" y="92"/>
                    </a:lnTo>
                    <a:lnTo>
                      <a:pt x="169" y="92"/>
                    </a:lnTo>
                    <a:lnTo>
                      <a:pt x="169" y="90"/>
                    </a:lnTo>
                    <a:lnTo>
                      <a:pt x="167" y="90"/>
                    </a:lnTo>
                    <a:lnTo>
                      <a:pt x="167" y="88"/>
                    </a:lnTo>
                    <a:lnTo>
                      <a:pt x="167" y="86"/>
                    </a:lnTo>
                    <a:lnTo>
                      <a:pt x="169" y="86"/>
                    </a:lnTo>
                    <a:lnTo>
                      <a:pt x="169" y="84"/>
                    </a:lnTo>
                    <a:lnTo>
                      <a:pt x="171" y="84"/>
                    </a:lnTo>
                    <a:lnTo>
                      <a:pt x="171" y="83"/>
                    </a:lnTo>
                    <a:lnTo>
                      <a:pt x="173" y="83"/>
                    </a:lnTo>
                    <a:lnTo>
                      <a:pt x="173" y="81"/>
                    </a:lnTo>
                    <a:lnTo>
                      <a:pt x="175" y="81"/>
                    </a:lnTo>
                    <a:lnTo>
                      <a:pt x="177" y="81"/>
                    </a:lnTo>
                    <a:lnTo>
                      <a:pt x="177" y="79"/>
                    </a:lnTo>
                    <a:lnTo>
                      <a:pt x="178" y="79"/>
                    </a:lnTo>
                    <a:lnTo>
                      <a:pt x="178" y="77"/>
                    </a:lnTo>
                    <a:lnTo>
                      <a:pt x="178" y="75"/>
                    </a:lnTo>
                    <a:lnTo>
                      <a:pt x="180" y="75"/>
                    </a:lnTo>
                    <a:lnTo>
                      <a:pt x="180" y="73"/>
                    </a:lnTo>
                    <a:lnTo>
                      <a:pt x="180" y="71"/>
                    </a:lnTo>
                    <a:lnTo>
                      <a:pt x="182" y="71"/>
                    </a:lnTo>
                    <a:lnTo>
                      <a:pt x="184" y="73"/>
                    </a:lnTo>
                    <a:lnTo>
                      <a:pt x="184" y="71"/>
                    </a:lnTo>
                    <a:lnTo>
                      <a:pt x="186" y="67"/>
                    </a:lnTo>
                    <a:lnTo>
                      <a:pt x="186" y="65"/>
                    </a:lnTo>
                    <a:lnTo>
                      <a:pt x="186" y="63"/>
                    </a:lnTo>
                    <a:lnTo>
                      <a:pt x="186" y="61"/>
                    </a:lnTo>
                    <a:lnTo>
                      <a:pt x="184" y="60"/>
                    </a:lnTo>
                    <a:lnTo>
                      <a:pt x="182" y="58"/>
                    </a:lnTo>
                    <a:lnTo>
                      <a:pt x="180" y="56"/>
                    </a:lnTo>
                    <a:lnTo>
                      <a:pt x="178" y="54"/>
                    </a:lnTo>
                    <a:lnTo>
                      <a:pt x="177" y="52"/>
                    </a:lnTo>
                    <a:lnTo>
                      <a:pt x="175" y="50"/>
                    </a:lnTo>
                    <a:lnTo>
                      <a:pt x="177" y="48"/>
                    </a:lnTo>
                    <a:lnTo>
                      <a:pt x="177" y="46"/>
                    </a:lnTo>
                    <a:lnTo>
                      <a:pt x="177" y="44"/>
                    </a:lnTo>
                    <a:lnTo>
                      <a:pt x="177" y="42"/>
                    </a:lnTo>
                    <a:lnTo>
                      <a:pt x="177" y="38"/>
                    </a:lnTo>
                    <a:lnTo>
                      <a:pt x="178" y="38"/>
                    </a:lnTo>
                    <a:lnTo>
                      <a:pt x="178" y="36"/>
                    </a:lnTo>
                    <a:lnTo>
                      <a:pt x="180" y="36"/>
                    </a:lnTo>
                    <a:lnTo>
                      <a:pt x="182" y="36"/>
                    </a:lnTo>
                    <a:lnTo>
                      <a:pt x="184" y="36"/>
                    </a:lnTo>
                    <a:lnTo>
                      <a:pt x="184" y="38"/>
                    </a:lnTo>
                    <a:lnTo>
                      <a:pt x="186" y="38"/>
                    </a:lnTo>
                    <a:lnTo>
                      <a:pt x="188" y="38"/>
                    </a:lnTo>
                    <a:lnTo>
                      <a:pt x="190" y="38"/>
                    </a:lnTo>
                    <a:lnTo>
                      <a:pt x="190" y="36"/>
                    </a:lnTo>
                    <a:lnTo>
                      <a:pt x="190" y="35"/>
                    </a:lnTo>
                    <a:lnTo>
                      <a:pt x="188" y="35"/>
                    </a:lnTo>
                    <a:lnTo>
                      <a:pt x="190" y="35"/>
                    </a:lnTo>
                    <a:lnTo>
                      <a:pt x="190" y="33"/>
                    </a:lnTo>
                    <a:lnTo>
                      <a:pt x="192" y="33"/>
                    </a:lnTo>
                    <a:lnTo>
                      <a:pt x="192" y="31"/>
                    </a:lnTo>
                    <a:lnTo>
                      <a:pt x="194" y="31"/>
                    </a:lnTo>
                    <a:lnTo>
                      <a:pt x="196" y="29"/>
                    </a:lnTo>
                    <a:lnTo>
                      <a:pt x="198" y="27"/>
                    </a:lnTo>
                    <a:lnTo>
                      <a:pt x="196" y="27"/>
                    </a:lnTo>
                    <a:lnTo>
                      <a:pt x="196" y="25"/>
                    </a:lnTo>
                    <a:lnTo>
                      <a:pt x="194" y="25"/>
                    </a:lnTo>
                    <a:lnTo>
                      <a:pt x="194" y="23"/>
                    </a:lnTo>
                    <a:lnTo>
                      <a:pt x="194" y="21"/>
                    </a:lnTo>
                    <a:lnTo>
                      <a:pt x="196" y="21"/>
                    </a:lnTo>
                    <a:lnTo>
                      <a:pt x="198" y="21"/>
                    </a:lnTo>
                    <a:lnTo>
                      <a:pt x="200" y="21"/>
                    </a:lnTo>
                    <a:lnTo>
                      <a:pt x="200" y="19"/>
                    </a:lnTo>
                    <a:lnTo>
                      <a:pt x="200" y="17"/>
                    </a:lnTo>
                    <a:lnTo>
                      <a:pt x="200" y="15"/>
                    </a:lnTo>
                    <a:lnTo>
                      <a:pt x="202" y="17"/>
                    </a:lnTo>
                    <a:lnTo>
                      <a:pt x="203" y="17"/>
                    </a:lnTo>
                    <a:lnTo>
                      <a:pt x="205" y="17"/>
                    </a:lnTo>
                    <a:lnTo>
                      <a:pt x="207" y="17"/>
                    </a:lnTo>
                    <a:lnTo>
                      <a:pt x="209" y="17"/>
                    </a:lnTo>
                    <a:lnTo>
                      <a:pt x="211" y="17"/>
                    </a:lnTo>
                    <a:lnTo>
                      <a:pt x="213" y="17"/>
                    </a:lnTo>
                    <a:lnTo>
                      <a:pt x="215" y="17"/>
                    </a:lnTo>
                    <a:lnTo>
                      <a:pt x="215" y="15"/>
                    </a:lnTo>
                    <a:lnTo>
                      <a:pt x="217" y="15"/>
                    </a:lnTo>
                    <a:lnTo>
                      <a:pt x="217" y="13"/>
                    </a:lnTo>
                    <a:lnTo>
                      <a:pt x="219" y="13"/>
                    </a:lnTo>
                    <a:lnTo>
                      <a:pt x="221" y="13"/>
                    </a:lnTo>
                    <a:lnTo>
                      <a:pt x="223" y="15"/>
                    </a:lnTo>
                    <a:lnTo>
                      <a:pt x="225" y="15"/>
                    </a:lnTo>
                    <a:lnTo>
                      <a:pt x="226" y="15"/>
                    </a:lnTo>
                    <a:lnTo>
                      <a:pt x="226" y="13"/>
                    </a:lnTo>
                    <a:lnTo>
                      <a:pt x="228" y="13"/>
                    </a:lnTo>
                    <a:lnTo>
                      <a:pt x="230" y="13"/>
                    </a:lnTo>
                    <a:lnTo>
                      <a:pt x="232" y="13"/>
                    </a:lnTo>
                    <a:lnTo>
                      <a:pt x="232" y="12"/>
                    </a:lnTo>
                    <a:lnTo>
                      <a:pt x="234" y="12"/>
                    </a:lnTo>
                    <a:lnTo>
                      <a:pt x="236" y="12"/>
                    </a:lnTo>
                    <a:lnTo>
                      <a:pt x="238" y="12"/>
                    </a:lnTo>
                    <a:lnTo>
                      <a:pt x="240" y="12"/>
                    </a:lnTo>
                    <a:lnTo>
                      <a:pt x="242" y="12"/>
                    </a:lnTo>
                    <a:lnTo>
                      <a:pt x="244" y="12"/>
                    </a:lnTo>
                    <a:lnTo>
                      <a:pt x="244" y="13"/>
                    </a:lnTo>
                    <a:lnTo>
                      <a:pt x="246" y="13"/>
                    </a:lnTo>
                    <a:lnTo>
                      <a:pt x="248" y="13"/>
                    </a:lnTo>
                    <a:lnTo>
                      <a:pt x="248" y="15"/>
                    </a:lnTo>
                    <a:lnTo>
                      <a:pt x="250" y="15"/>
                    </a:lnTo>
                    <a:lnTo>
                      <a:pt x="250" y="17"/>
                    </a:lnTo>
                    <a:lnTo>
                      <a:pt x="251" y="17"/>
                    </a:lnTo>
                    <a:lnTo>
                      <a:pt x="253" y="17"/>
                    </a:lnTo>
                    <a:lnTo>
                      <a:pt x="255" y="17"/>
                    </a:lnTo>
                    <a:lnTo>
                      <a:pt x="257" y="17"/>
                    </a:lnTo>
                    <a:lnTo>
                      <a:pt x="259" y="17"/>
                    </a:lnTo>
                    <a:lnTo>
                      <a:pt x="261" y="17"/>
                    </a:lnTo>
                    <a:lnTo>
                      <a:pt x="263" y="19"/>
                    </a:lnTo>
                    <a:lnTo>
                      <a:pt x="265" y="19"/>
                    </a:lnTo>
                    <a:lnTo>
                      <a:pt x="267" y="19"/>
                    </a:lnTo>
                    <a:lnTo>
                      <a:pt x="269" y="19"/>
                    </a:lnTo>
                    <a:lnTo>
                      <a:pt x="271" y="19"/>
                    </a:lnTo>
                    <a:lnTo>
                      <a:pt x="273" y="19"/>
                    </a:lnTo>
                    <a:lnTo>
                      <a:pt x="274" y="19"/>
                    </a:lnTo>
                    <a:lnTo>
                      <a:pt x="276" y="19"/>
                    </a:lnTo>
                    <a:lnTo>
                      <a:pt x="278" y="19"/>
                    </a:lnTo>
                    <a:lnTo>
                      <a:pt x="278" y="17"/>
                    </a:lnTo>
                    <a:lnTo>
                      <a:pt x="280" y="17"/>
                    </a:lnTo>
                    <a:lnTo>
                      <a:pt x="282" y="17"/>
                    </a:lnTo>
                    <a:lnTo>
                      <a:pt x="284" y="17"/>
                    </a:lnTo>
                    <a:lnTo>
                      <a:pt x="286" y="15"/>
                    </a:lnTo>
                    <a:lnTo>
                      <a:pt x="288" y="15"/>
                    </a:lnTo>
                    <a:lnTo>
                      <a:pt x="290" y="15"/>
                    </a:lnTo>
                    <a:lnTo>
                      <a:pt x="292" y="15"/>
                    </a:lnTo>
                    <a:lnTo>
                      <a:pt x="294" y="15"/>
                    </a:lnTo>
                    <a:lnTo>
                      <a:pt x="296" y="15"/>
                    </a:lnTo>
                    <a:lnTo>
                      <a:pt x="298" y="15"/>
                    </a:lnTo>
                    <a:lnTo>
                      <a:pt x="299" y="15"/>
                    </a:lnTo>
                    <a:lnTo>
                      <a:pt x="301" y="17"/>
                    </a:lnTo>
                    <a:lnTo>
                      <a:pt x="303" y="15"/>
                    </a:lnTo>
                    <a:lnTo>
                      <a:pt x="305" y="15"/>
                    </a:lnTo>
                    <a:lnTo>
                      <a:pt x="307" y="17"/>
                    </a:lnTo>
                    <a:lnTo>
                      <a:pt x="305" y="19"/>
                    </a:lnTo>
                    <a:lnTo>
                      <a:pt x="307" y="19"/>
                    </a:lnTo>
                    <a:lnTo>
                      <a:pt x="307" y="17"/>
                    </a:lnTo>
                    <a:lnTo>
                      <a:pt x="309" y="17"/>
                    </a:lnTo>
                    <a:lnTo>
                      <a:pt x="309" y="15"/>
                    </a:lnTo>
                    <a:lnTo>
                      <a:pt x="313" y="15"/>
                    </a:lnTo>
                    <a:lnTo>
                      <a:pt x="313" y="13"/>
                    </a:lnTo>
                    <a:lnTo>
                      <a:pt x="313" y="10"/>
                    </a:lnTo>
                    <a:lnTo>
                      <a:pt x="315" y="8"/>
                    </a:lnTo>
                    <a:lnTo>
                      <a:pt x="317" y="8"/>
                    </a:lnTo>
                    <a:lnTo>
                      <a:pt x="319" y="10"/>
                    </a:lnTo>
                    <a:lnTo>
                      <a:pt x="319" y="12"/>
                    </a:lnTo>
                    <a:lnTo>
                      <a:pt x="319" y="13"/>
                    </a:lnTo>
                    <a:lnTo>
                      <a:pt x="319" y="15"/>
                    </a:lnTo>
                    <a:lnTo>
                      <a:pt x="321" y="15"/>
                    </a:lnTo>
                    <a:lnTo>
                      <a:pt x="323" y="15"/>
                    </a:lnTo>
                    <a:lnTo>
                      <a:pt x="324" y="15"/>
                    </a:lnTo>
                    <a:lnTo>
                      <a:pt x="324" y="17"/>
                    </a:lnTo>
                    <a:lnTo>
                      <a:pt x="326" y="17"/>
                    </a:lnTo>
                    <a:lnTo>
                      <a:pt x="326" y="15"/>
                    </a:lnTo>
                    <a:lnTo>
                      <a:pt x="328" y="15"/>
                    </a:lnTo>
                    <a:lnTo>
                      <a:pt x="336" y="19"/>
                    </a:lnTo>
                    <a:lnTo>
                      <a:pt x="338" y="19"/>
                    </a:lnTo>
                    <a:lnTo>
                      <a:pt x="340" y="19"/>
                    </a:lnTo>
                    <a:lnTo>
                      <a:pt x="340" y="21"/>
                    </a:lnTo>
                    <a:lnTo>
                      <a:pt x="342" y="21"/>
                    </a:lnTo>
                    <a:lnTo>
                      <a:pt x="344" y="23"/>
                    </a:lnTo>
                    <a:lnTo>
                      <a:pt x="346" y="23"/>
                    </a:lnTo>
                    <a:lnTo>
                      <a:pt x="346" y="25"/>
                    </a:lnTo>
                    <a:lnTo>
                      <a:pt x="347" y="27"/>
                    </a:lnTo>
                    <a:lnTo>
                      <a:pt x="349" y="27"/>
                    </a:lnTo>
                    <a:lnTo>
                      <a:pt x="351" y="27"/>
                    </a:lnTo>
                    <a:lnTo>
                      <a:pt x="353" y="25"/>
                    </a:lnTo>
                    <a:lnTo>
                      <a:pt x="355" y="25"/>
                    </a:lnTo>
                    <a:lnTo>
                      <a:pt x="357" y="23"/>
                    </a:lnTo>
                    <a:lnTo>
                      <a:pt x="359" y="21"/>
                    </a:lnTo>
                    <a:lnTo>
                      <a:pt x="359" y="19"/>
                    </a:lnTo>
                    <a:lnTo>
                      <a:pt x="359" y="17"/>
                    </a:lnTo>
                    <a:lnTo>
                      <a:pt x="359" y="15"/>
                    </a:lnTo>
                    <a:lnTo>
                      <a:pt x="361" y="15"/>
                    </a:lnTo>
                    <a:lnTo>
                      <a:pt x="361" y="13"/>
                    </a:lnTo>
                    <a:lnTo>
                      <a:pt x="363" y="12"/>
                    </a:lnTo>
                    <a:lnTo>
                      <a:pt x="363" y="10"/>
                    </a:lnTo>
                    <a:lnTo>
                      <a:pt x="363" y="12"/>
                    </a:lnTo>
                    <a:lnTo>
                      <a:pt x="365" y="12"/>
                    </a:lnTo>
                    <a:lnTo>
                      <a:pt x="367" y="12"/>
                    </a:lnTo>
                    <a:lnTo>
                      <a:pt x="369" y="12"/>
                    </a:lnTo>
                    <a:lnTo>
                      <a:pt x="369" y="13"/>
                    </a:lnTo>
                    <a:lnTo>
                      <a:pt x="371" y="13"/>
                    </a:lnTo>
                    <a:lnTo>
                      <a:pt x="372" y="13"/>
                    </a:lnTo>
                    <a:lnTo>
                      <a:pt x="374" y="13"/>
                    </a:lnTo>
                    <a:lnTo>
                      <a:pt x="376" y="13"/>
                    </a:lnTo>
                    <a:lnTo>
                      <a:pt x="376" y="15"/>
                    </a:lnTo>
                    <a:lnTo>
                      <a:pt x="376" y="17"/>
                    </a:lnTo>
                    <a:lnTo>
                      <a:pt x="378" y="19"/>
                    </a:lnTo>
                    <a:lnTo>
                      <a:pt x="380" y="19"/>
                    </a:lnTo>
                    <a:lnTo>
                      <a:pt x="382" y="19"/>
                    </a:lnTo>
                    <a:lnTo>
                      <a:pt x="384" y="19"/>
                    </a:lnTo>
                    <a:lnTo>
                      <a:pt x="384" y="17"/>
                    </a:lnTo>
                    <a:lnTo>
                      <a:pt x="386" y="17"/>
                    </a:lnTo>
                    <a:lnTo>
                      <a:pt x="388" y="17"/>
                    </a:lnTo>
                    <a:lnTo>
                      <a:pt x="390" y="17"/>
                    </a:lnTo>
                    <a:lnTo>
                      <a:pt x="392" y="15"/>
                    </a:lnTo>
                    <a:lnTo>
                      <a:pt x="392" y="17"/>
                    </a:lnTo>
                    <a:lnTo>
                      <a:pt x="392" y="19"/>
                    </a:lnTo>
                    <a:lnTo>
                      <a:pt x="394" y="21"/>
                    </a:lnTo>
                    <a:lnTo>
                      <a:pt x="394" y="23"/>
                    </a:lnTo>
                    <a:lnTo>
                      <a:pt x="395" y="23"/>
                    </a:lnTo>
                    <a:lnTo>
                      <a:pt x="395" y="25"/>
                    </a:lnTo>
                    <a:lnTo>
                      <a:pt x="395" y="27"/>
                    </a:lnTo>
                    <a:lnTo>
                      <a:pt x="397" y="33"/>
                    </a:lnTo>
                    <a:lnTo>
                      <a:pt x="399" y="31"/>
                    </a:lnTo>
                    <a:lnTo>
                      <a:pt x="399" y="33"/>
                    </a:lnTo>
                    <a:lnTo>
                      <a:pt x="399" y="36"/>
                    </a:lnTo>
                    <a:lnTo>
                      <a:pt x="401" y="36"/>
                    </a:lnTo>
                    <a:lnTo>
                      <a:pt x="403" y="36"/>
                    </a:lnTo>
                    <a:lnTo>
                      <a:pt x="405" y="36"/>
                    </a:lnTo>
                    <a:lnTo>
                      <a:pt x="407" y="36"/>
                    </a:lnTo>
                    <a:lnTo>
                      <a:pt x="409" y="35"/>
                    </a:lnTo>
                    <a:lnTo>
                      <a:pt x="409" y="33"/>
                    </a:lnTo>
                    <a:lnTo>
                      <a:pt x="411" y="31"/>
                    </a:lnTo>
                    <a:lnTo>
                      <a:pt x="411" y="29"/>
                    </a:lnTo>
                    <a:lnTo>
                      <a:pt x="411" y="25"/>
                    </a:lnTo>
                    <a:lnTo>
                      <a:pt x="411" y="23"/>
                    </a:lnTo>
                    <a:lnTo>
                      <a:pt x="413" y="23"/>
                    </a:lnTo>
                    <a:lnTo>
                      <a:pt x="415" y="23"/>
                    </a:lnTo>
                    <a:lnTo>
                      <a:pt x="417" y="23"/>
                    </a:lnTo>
                    <a:lnTo>
                      <a:pt x="419" y="23"/>
                    </a:lnTo>
                    <a:lnTo>
                      <a:pt x="420" y="23"/>
                    </a:lnTo>
                    <a:lnTo>
                      <a:pt x="420" y="25"/>
                    </a:lnTo>
                    <a:lnTo>
                      <a:pt x="420" y="23"/>
                    </a:lnTo>
                    <a:lnTo>
                      <a:pt x="420" y="21"/>
                    </a:lnTo>
                    <a:lnTo>
                      <a:pt x="420" y="23"/>
                    </a:lnTo>
                    <a:lnTo>
                      <a:pt x="424" y="23"/>
                    </a:lnTo>
                    <a:lnTo>
                      <a:pt x="426" y="25"/>
                    </a:lnTo>
                    <a:lnTo>
                      <a:pt x="428" y="27"/>
                    </a:lnTo>
                    <a:lnTo>
                      <a:pt x="430" y="27"/>
                    </a:lnTo>
                    <a:lnTo>
                      <a:pt x="432" y="29"/>
                    </a:lnTo>
                    <a:lnTo>
                      <a:pt x="432" y="31"/>
                    </a:lnTo>
                    <a:lnTo>
                      <a:pt x="434" y="31"/>
                    </a:lnTo>
                    <a:lnTo>
                      <a:pt x="434" y="29"/>
                    </a:lnTo>
                    <a:lnTo>
                      <a:pt x="436" y="29"/>
                    </a:lnTo>
                    <a:lnTo>
                      <a:pt x="438" y="29"/>
                    </a:lnTo>
                    <a:lnTo>
                      <a:pt x="440" y="27"/>
                    </a:lnTo>
                    <a:lnTo>
                      <a:pt x="440" y="29"/>
                    </a:lnTo>
                    <a:lnTo>
                      <a:pt x="442" y="29"/>
                    </a:lnTo>
                    <a:lnTo>
                      <a:pt x="443" y="29"/>
                    </a:lnTo>
                    <a:lnTo>
                      <a:pt x="443" y="31"/>
                    </a:lnTo>
                    <a:lnTo>
                      <a:pt x="443" y="33"/>
                    </a:lnTo>
                    <a:lnTo>
                      <a:pt x="443" y="35"/>
                    </a:lnTo>
                    <a:lnTo>
                      <a:pt x="445" y="33"/>
                    </a:lnTo>
                    <a:lnTo>
                      <a:pt x="447" y="33"/>
                    </a:lnTo>
                    <a:lnTo>
                      <a:pt x="447" y="31"/>
                    </a:lnTo>
                    <a:lnTo>
                      <a:pt x="449" y="29"/>
                    </a:lnTo>
                    <a:lnTo>
                      <a:pt x="449" y="27"/>
                    </a:lnTo>
                    <a:lnTo>
                      <a:pt x="451" y="27"/>
                    </a:lnTo>
                    <a:lnTo>
                      <a:pt x="451" y="25"/>
                    </a:lnTo>
                    <a:lnTo>
                      <a:pt x="453" y="25"/>
                    </a:lnTo>
                    <a:lnTo>
                      <a:pt x="455" y="25"/>
                    </a:lnTo>
                    <a:lnTo>
                      <a:pt x="455" y="23"/>
                    </a:lnTo>
                    <a:lnTo>
                      <a:pt x="453" y="23"/>
                    </a:lnTo>
                    <a:lnTo>
                      <a:pt x="453" y="21"/>
                    </a:lnTo>
                    <a:lnTo>
                      <a:pt x="453" y="19"/>
                    </a:lnTo>
                    <a:lnTo>
                      <a:pt x="453" y="17"/>
                    </a:lnTo>
                    <a:lnTo>
                      <a:pt x="453" y="15"/>
                    </a:lnTo>
                    <a:lnTo>
                      <a:pt x="457" y="15"/>
                    </a:lnTo>
                    <a:lnTo>
                      <a:pt x="459" y="15"/>
                    </a:lnTo>
                    <a:lnTo>
                      <a:pt x="461" y="15"/>
                    </a:lnTo>
                    <a:lnTo>
                      <a:pt x="461" y="17"/>
                    </a:lnTo>
                    <a:lnTo>
                      <a:pt x="463" y="17"/>
                    </a:lnTo>
                    <a:lnTo>
                      <a:pt x="463" y="13"/>
                    </a:lnTo>
                    <a:lnTo>
                      <a:pt x="465" y="13"/>
                    </a:lnTo>
                    <a:lnTo>
                      <a:pt x="468" y="13"/>
                    </a:lnTo>
                    <a:lnTo>
                      <a:pt x="470" y="13"/>
                    </a:lnTo>
                    <a:lnTo>
                      <a:pt x="470" y="12"/>
                    </a:lnTo>
                    <a:lnTo>
                      <a:pt x="472" y="12"/>
                    </a:lnTo>
                    <a:lnTo>
                      <a:pt x="474" y="12"/>
                    </a:lnTo>
                    <a:lnTo>
                      <a:pt x="478" y="12"/>
                    </a:lnTo>
                    <a:lnTo>
                      <a:pt x="480" y="12"/>
                    </a:lnTo>
                    <a:lnTo>
                      <a:pt x="480" y="10"/>
                    </a:lnTo>
                    <a:lnTo>
                      <a:pt x="482" y="8"/>
                    </a:lnTo>
                    <a:lnTo>
                      <a:pt x="482" y="6"/>
                    </a:lnTo>
                    <a:lnTo>
                      <a:pt x="482" y="4"/>
                    </a:lnTo>
                    <a:lnTo>
                      <a:pt x="484" y="0"/>
                    </a:lnTo>
                    <a:lnTo>
                      <a:pt x="486" y="0"/>
                    </a:lnTo>
                    <a:lnTo>
                      <a:pt x="488" y="0"/>
                    </a:lnTo>
                    <a:lnTo>
                      <a:pt x="490" y="0"/>
                    </a:lnTo>
                    <a:lnTo>
                      <a:pt x="491" y="0"/>
                    </a:lnTo>
                    <a:lnTo>
                      <a:pt x="491"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63" name="Freeform 112">
                <a:extLst>
                  <a:ext uri="{FF2B5EF4-FFF2-40B4-BE49-F238E27FC236}">
                    <a16:creationId xmlns:a16="http://schemas.microsoft.com/office/drawing/2014/main" id="{834B54FD-B1A2-4636-9641-25BCAC541B33}"/>
                  </a:ext>
                </a:extLst>
              </p:cNvPr>
              <p:cNvSpPr>
                <a:spLocks/>
              </p:cNvSpPr>
              <p:nvPr/>
            </p:nvSpPr>
            <p:spPr bwMode="auto">
              <a:xfrm>
                <a:off x="3496557" y="1323690"/>
                <a:ext cx="928993" cy="1043264"/>
              </a:xfrm>
              <a:custGeom>
                <a:avLst/>
                <a:gdLst>
                  <a:gd name="T0" fmla="*/ 521 w 626"/>
                  <a:gd name="T1" fmla="*/ 37 h 703"/>
                  <a:gd name="T2" fmla="*/ 569 w 626"/>
                  <a:gd name="T3" fmla="*/ 56 h 703"/>
                  <a:gd name="T4" fmla="*/ 565 w 626"/>
                  <a:gd name="T5" fmla="*/ 92 h 703"/>
                  <a:gd name="T6" fmla="*/ 557 w 626"/>
                  <a:gd name="T7" fmla="*/ 138 h 703"/>
                  <a:gd name="T8" fmla="*/ 526 w 626"/>
                  <a:gd name="T9" fmla="*/ 171 h 703"/>
                  <a:gd name="T10" fmla="*/ 532 w 626"/>
                  <a:gd name="T11" fmla="*/ 225 h 703"/>
                  <a:gd name="T12" fmla="*/ 553 w 626"/>
                  <a:gd name="T13" fmla="*/ 271 h 703"/>
                  <a:gd name="T14" fmla="*/ 578 w 626"/>
                  <a:gd name="T15" fmla="*/ 304 h 703"/>
                  <a:gd name="T16" fmla="*/ 595 w 626"/>
                  <a:gd name="T17" fmla="*/ 327 h 703"/>
                  <a:gd name="T18" fmla="*/ 617 w 626"/>
                  <a:gd name="T19" fmla="*/ 361 h 703"/>
                  <a:gd name="T20" fmla="*/ 605 w 626"/>
                  <a:gd name="T21" fmla="*/ 390 h 703"/>
                  <a:gd name="T22" fmla="*/ 603 w 626"/>
                  <a:gd name="T23" fmla="*/ 415 h 703"/>
                  <a:gd name="T24" fmla="*/ 603 w 626"/>
                  <a:gd name="T25" fmla="*/ 465 h 703"/>
                  <a:gd name="T26" fmla="*/ 592 w 626"/>
                  <a:gd name="T27" fmla="*/ 519 h 703"/>
                  <a:gd name="T28" fmla="*/ 551 w 626"/>
                  <a:gd name="T29" fmla="*/ 528 h 703"/>
                  <a:gd name="T30" fmla="*/ 528 w 626"/>
                  <a:gd name="T31" fmla="*/ 582 h 703"/>
                  <a:gd name="T32" fmla="*/ 503 w 626"/>
                  <a:gd name="T33" fmla="*/ 574 h 703"/>
                  <a:gd name="T34" fmla="*/ 471 w 626"/>
                  <a:gd name="T35" fmla="*/ 549 h 703"/>
                  <a:gd name="T36" fmla="*/ 425 w 626"/>
                  <a:gd name="T37" fmla="*/ 563 h 703"/>
                  <a:gd name="T38" fmla="*/ 398 w 626"/>
                  <a:gd name="T39" fmla="*/ 565 h 703"/>
                  <a:gd name="T40" fmla="*/ 396 w 626"/>
                  <a:gd name="T41" fmla="*/ 582 h 703"/>
                  <a:gd name="T42" fmla="*/ 380 w 626"/>
                  <a:gd name="T43" fmla="*/ 601 h 703"/>
                  <a:gd name="T44" fmla="*/ 334 w 626"/>
                  <a:gd name="T45" fmla="*/ 595 h 703"/>
                  <a:gd name="T46" fmla="*/ 325 w 626"/>
                  <a:gd name="T47" fmla="*/ 628 h 703"/>
                  <a:gd name="T48" fmla="*/ 325 w 626"/>
                  <a:gd name="T49" fmla="*/ 645 h 703"/>
                  <a:gd name="T50" fmla="*/ 334 w 626"/>
                  <a:gd name="T51" fmla="*/ 674 h 703"/>
                  <a:gd name="T52" fmla="*/ 311 w 626"/>
                  <a:gd name="T53" fmla="*/ 691 h 703"/>
                  <a:gd name="T54" fmla="*/ 294 w 626"/>
                  <a:gd name="T55" fmla="*/ 682 h 703"/>
                  <a:gd name="T56" fmla="*/ 263 w 626"/>
                  <a:gd name="T57" fmla="*/ 657 h 703"/>
                  <a:gd name="T58" fmla="*/ 221 w 626"/>
                  <a:gd name="T59" fmla="*/ 663 h 703"/>
                  <a:gd name="T60" fmla="*/ 190 w 626"/>
                  <a:gd name="T61" fmla="*/ 628 h 703"/>
                  <a:gd name="T62" fmla="*/ 173 w 626"/>
                  <a:gd name="T63" fmla="*/ 592 h 703"/>
                  <a:gd name="T64" fmla="*/ 146 w 626"/>
                  <a:gd name="T65" fmla="*/ 563 h 703"/>
                  <a:gd name="T66" fmla="*/ 125 w 626"/>
                  <a:gd name="T67" fmla="*/ 534 h 703"/>
                  <a:gd name="T68" fmla="*/ 90 w 626"/>
                  <a:gd name="T69" fmla="*/ 530 h 703"/>
                  <a:gd name="T70" fmla="*/ 83 w 626"/>
                  <a:gd name="T71" fmla="*/ 511 h 703"/>
                  <a:gd name="T72" fmla="*/ 62 w 626"/>
                  <a:gd name="T73" fmla="*/ 496 h 703"/>
                  <a:gd name="T74" fmla="*/ 62 w 626"/>
                  <a:gd name="T75" fmla="*/ 471 h 703"/>
                  <a:gd name="T76" fmla="*/ 52 w 626"/>
                  <a:gd name="T77" fmla="*/ 451 h 703"/>
                  <a:gd name="T78" fmla="*/ 40 w 626"/>
                  <a:gd name="T79" fmla="*/ 436 h 703"/>
                  <a:gd name="T80" fmla="*/ 60 w 626"/>
                  <a:gd name="T81" fmla="*/ 415 h 703"/>
                  <a:gd name="T82" fmla="*/ 92 w 626"/>
                  <a:gd name="T83" fmla="*/ 415 h 703"/>
                  <a:gd name="T84" fmla="*/ 67 w 626"/>
                  <a:gd name="T85" fmla="*/ 386 h 703"/>
                  <a:gd name="T86" fmla="*/ 52 w 626"/>
                  <a:gd name="T87" fmla="*/ 344 h 703"/>
                  <a:gd name="T88" fmla="*/ 50 w 626"/>
                  <a:gd name="T89" fmla="*/ 317 h 703"/>
                  <a:gd name="T90" fmla="*/ 40 w 626"/>
                  <a:gd name="T91" fmla="*/ 292 h 703"/>
                  <a:gd name="T92" fmla="*/ 39 w 626"/>
                  <a:gd name="T93" fmla="*/ 271 h 703"/>
                  <a:gd name="T94" fmla="*/ 23 w 626"/>
                  <a:gd name="T95" fmla="*/ 244 h 703"/>
                  <a:gd name="T96" fmla="*/ 19 w 626"/>
                  <a:gd name="T97" fmla="*/ 223 h 703"/>
                  <a:gd name="T98" fmla="*/ 4 w 626"/>
                  <a:gd name="T99" fmla="*/ 208 h 703"/>
                  <a:gd name="T100" fmla="*/ 10 w 626"/>
                  <a:gd name="T101" fmla="*/ 181 h 703"/>
                  <a:gd name="T102" fmla="*/ 21 w 626"/>
                  <a:gd name="T103" fmla="*/ 163 h 703"/>
                  <a:gd name="T104" fmla="*/ 15 w 626"/>
                  <a:gd name="T105" fmla="*/ 137 h 703"/>
                  <a:gd name="T106" fmla="*/ 17 w 626"/>
                  <a:gd name="T107" fmla="*/ 117 h 703"/>
                  <a:gd name="T108" fmla="*/ 31 w 626"/>
                  <a:gd name="T109" fmla="*/ 83 h 703"/>
                  <a:gd name="T110" fmla="*/ 56 w 626"/>
                  <a:gd name="T111" fmla="*/ 60 h 703"/>
                  <a:gd name="T112" fmla="*/ 96 w 626"/>
                  <a:gd name="T113" fmla="*/ 75 h 703"/>
                  <a:gd name="T114" fmla="*/ 129 w 626"/>
                  <a:gd name="T115" fmla="*/ 96 h 703"/>
                  <a:gd name="T116" fmla="*/ 186 w 626"/>
                  <a:gd name="T117" fmla="*/ 67 h 703"/>
                  <a:gd name="T118" fmla="*/ 229 w 626"/>
                  <a:gd name="T119" fmla="*/ 12 h 703"/>
                  <a:gd name="T120" fmla="*/ 294 w 626"/>
                  <a:gd name="T121" fmla="*/ 4 h 703"/>
                  <a:gd name="T122" fmla="*/ 352 w 626"/>
                  <a:gd name="T123" fmla="*/ 16 h 703"/>
                  <a:gd name="T124" fmla="*/ 423 w 626"/>
                  <a:gd name="T125" fmla="*/ 1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6" h="703">
                    <a:moveTo>
                      <a:pt x="469" y="10"/>
                    </a:moveTo>
                    <a:lnTo>
                      <a:pt x="471" y="10"/>
                    </a:lnTo>
                    <a:lnTo>
                      <a:pt x="473" y="8"/>
                    </a:lnTo>
                    <a:lnTo>
                      <a:pt x="474" y="8"/>
                    </a:lnTo>
                    <a:lnTo>
                      <a:pt x="476" y="8"/>
                    </a:lnTo>
                    <a:lnTo>
                      <a:pt x="478" y="10"/>
                    </a:lnTo>
                    <a:lnTo>
                      <a:pt x="480" y="10"/>
                    </a:lnTo>
                    <a:lnTo>
                      <a:pt x="480" y="12"/>
                    </a:lnTo>
                    <a:lnTo>
                      <a:pt x="482" y="12"/>
                    </a:lnTo>
                    <a:lnTo>
                      <a:pt x="482" y="14"/>
                    </a:lnTo>
                    <a:lnTo>
                      <a:pt x="484" y="14"/>
                    </a:lnTo>
                    <a:lnTo>
                      <a:pt x="484" y="16"/>
                    </a:lnTo>
                    <a:lnTo>
                      <a:pt x="486" y="16"/>
                    </a:lnTo>
                    <a:lnTo>
                      <a:pt x="488" y="17"/>
                    </a:lnTo>
                    <a:lnTo>
                      <a:pt x="488" y="19"/>
                    </a:lnTo>
                    <a:lnTo>
                      <a:pt x="492" y="21"/>
                    </a:lnTo>
                    <a:lnTo>
                      <a:pt x="492" y="23"/>
                    </a:lnTo>
                    <a:lnTo>
                      <a:pt x="492" y="25"/>
                    </a:lnTo>
                    <a:lnTo>
                      <a:pt x="494" y="25"/>
                    </a:lnTo>
                    <a:lnTo>
                      <a:pt x="496" y="27"/>
                    </a:lnTo>
                    <a:lnTo>
                      <a:pt x="497" y="29"/>
                    </a:lnTo>
                    <a:lnTo>
                      <a:pt x="499" y="27"/>
                    </a:lnTo>
                    <a:lnTo>
                      <a:pt x="501" y="27"/>
                    </a:lnTo>
                    <a:lnTo>
                      <a:pt x="501" y="29"/>
                    </a:lnTo>
                    <a:lnTo>
                      <a:pt x="503" y="29"/>
                    </a:lnTo>
                    <a:lnTo>
                      <a:pt x="503" y="31"/>
                    </a:lnTo>
                    <a:lnTo>
                      <a:pt x="503" y="33"/>
                    </a:lnTo>
                    <a:lnTo>
                      <a:pt x="505" y="33"/>
                    </a:lnTo>
                    <a:lnTo>
                      <a:pt x="505" y="31"/>
                    </a:lnTo>
                    <a:lnTo>
                      <a:pt x="507" y="33"/>
                    </a:lnTo>
                    <a:lnTo>
                      <a:pt x="509" y="33"/>
                    </a:lnTo>
                    <a:lnTo>
                      <a:pt x="511" y="35"/>
                    </a:lnTo>
                    <a:lnTo>
                      <a:pt x="513" y="35"/>
                    </a:lnTo>
                    <a:lnTo>
                      <a:pt x="519" y="37"/>
                    </a:lnTo>
                    <a:lnTo>
                      <a:pt x="521" y="37"/>
                    </a:lnTo>
                    <a:lnTo>
                      <a:pt x="522" y="37"/>
                    </a:lnTo>
                    <a:lnTo>
                      <a:pt x="524" y="39"/>
                    </a:lnTo>
                    <a:lnTo>
                      <a:pt x="526" y="39"/>
                    </a:lnTo>
                    <a:lnTo>
                      <a:pt x="528" y="39"/>
                    </a:lnTo>
                    <a:lnTo>
                      <a:pt x="530" y="39"/>
                    </a:lnTo>
                    <a:lnTo>
                      <a:pt x="532" y="39"/>
                    </a:lnTo>
                    <a:lnTo>
                      <a:pt x="532" y="37"/>
                    </a:lnTo>
                    <a:lnTo>
                      <a:pt x="534" y="37"/>
                    </a:lnTo>
                    <a:lnTo>
                      <a:pt x="536" y="37"/>
                    </a:lnTo>
                    <a:lnTo>
                      <a:pt x="536" y="39"/>
                    </a:lnTo>
                    <a:lnTo>
                      <a:pt x="538" y="39"/>
                    </a:lnTo>
                    <a:lnTo>
                      <a:pt x="538" y="41"/>
                    </a:lnTo>
                    <a:lnTo>
                      <a:pt x="540" y="41"/>
                    </a:lnTo>
                    <a:lnTo>
                      <a:pt x="540" y="39"/>
                    </a:lnTo>
                    <a:lnTo>
                      <a:pt x="542" y="39"/>
                    </a:lnTo>
                    <a:lnTo>
                      <a:pt x="544" y="35"/>
                    </a:lnTo>
                    <a:lnTo>
                      <a:pt x="544" y="33"/>
                    </a:lnTo>
                    <a:lnTo>
                      <a:pt x="545" y="35"/>
                    </a:lnTo>
                    <a:lnTo>
                      <a:pt x="547" y="35"/>
                    </a:lnTo>
                    <a:lnTo>
                      <a:pt x="549" y="37"/>
                    </a:lnTo>
                    <a:lnTo>
                      <a:pt x="551" y="39"/>
                    </a:lnTo>
                    <a:lnTo>
                      <a:pt x="553" y="39"/>
                    </a:lnTo>
                    <a:lnTo>
                      <a:pt x="555" y="41"/>
                    </a:lnTo>
                    <a:lnTo>
                      <a:pt x="557" y="42"/>
                    </a:lnTo>
                    <a:lnTo>
                      <a:pt x="559" y="42"/>
                    </a:lnTo>
                    <a:lnTo>
                      <a:pt x="561" y="46"/>
                    </a:lnTo>
                    <a:lnTo>
                      <a:pt x="559" y="46"/>
                    </a:lnTo>
                    <a:lnTo>
                      <a:pt x="561" y="48"/>
                    </a:lnTo>
                    <a:lnTo>
                      <a:pt x="563" y="48"/>
                    </a:lnTo>
                    <a:lnTo>
                      <a:pt x="563" y="50"/>
                    </a:lnTo>
                    <a:lnTo>
                      <a:pt x="565" y="52"/>
                    </a:lnTo>
                    <a:lnTo>
                      <a:pt x="567" y="52"/>
                    </a:lnTo>
                    <a:lnTo>
                      <a:pt x="567" y="54"/>
                    </a:lnTo>
                    <a:lnTo>
                      <a:pt x="569" y="54"/>
                    </a:lnTo>
                    <a:lnTo>
                      <a:pt x="569" y="56"/>
                    </a:lnTo>
                    <a:lnTo>
                      <a:pt x="570" y="56"/>
                    </a:lnTo>
                    <a:lnTo>
                      <a:pt x="572" y="56"/>
                    </a:lnTo>
                    <a:lnTo>
                      <a:pt x="574" y="56"/>
                    </a:lnTo>
                    <a:lnTo>
                      <a:pt x="576" y="56"/>
                    </a:lnTo>
                    <a:lnTo>
                      <a:pt x="578" y="56"/>
                    </a:lnTo>
                    <a:lnTo>
                      <a:pt x="580" y="56"/>
                    </a:lnTo>
                    <a:lnTo>
                      <a:pt x="580" y="58"/>
                    </a:lnTo>
                    <a:lnTo>
                      <a:pt x="582" y="58"/>
                    </a:lnTo>
                    <a:lnTo>
                      <a:pt x="586" y="60"/>
                    </a:lnTo>
                    <a:lnTo>
                      <a:pt x="588" y="62"/>
                    </a:lnTo>
                    <a:lnTo>
                      <a:pt x="582" y="67"/>
                    </a:lnTo>
                    <a:lnTo>
                      <a:pt x="580" y="67"/>
                    </a:lnTo>
                    <a:lnTo>
                      <a:pt x="578" y="67"/>
                    </a:lnTo>
                    <a:lnTo>
                      <a:pt x="576" y="67"/>
                    </a:lnTo>
                    <a:lnTo>
                      <a:pt x="576" y="69"/>
                    </a:lnTo>
                    <a:lnTo>
                      <a:pt x="574" y="69"/>
                    </a:lnTo>
                    <a:lnTo>
                      <a:pt x="572" y="69"/>
                    </a:lnTo>
                    <a:lnTo>
                      <a:pt x="572" y="71"/>
                    </a:lnTo>
                    <a:lnTo>
                      <a:pt x="570" y="71"/>
                    </a:lnTo>
                    <a:lnTo>
                      <a:pt x="570" y="73"/>
                    </a:lnTo>
                    <a:lnTo>
                      <a:pt x="569" y="75"/>
                    </a:lnTo>
                    <a:lnTo>
                      <a:pt x="567" y="77"/>
                    </a:lnTo>
                    <a:lnTo>
                      <a:pt x="567" y="79"/>
                    </a:lnTo>
                    <a:lnTo>
                      <a:pt x="565" y="79"/>
                    </a:lnTo>
                    <a:lnTo>
                      <a:pt x="567" y="79"/>
                    </a:lnTo>
                    <a:lnTo>
                      <a:pt x="567" y="81"/>
                    </a:lnTo>
                    <a:lnTo>
                      <a:pt x="565" y="81"/>
                    </a:lnTo>
                    <a:lnTo>
                      <a:pt x="565" y="83"/>
                    </a:lnTo>
                    <a:lnTo>
                      <a:pt x="565" y="85"/>
                    </a:lnTo>
                    <a:lnTo>
                      <a:pt x="567" y="85"/>
                    </a:lnTo>
                    <a:lnTo>
                      <a:pt x="567" y="87"/>
                    </a:lnTo>
                    <a:lnTo>
                      <a:pt x="567" y="89"/>
                    </a:lnTo>
                    <a:lnTo>
                      <a:pt x="567" y="90"/>
                    </a:lnTo>
                    <a:lnTo>
                      <a:pt x="565" y="90"/>
                    </a:lnTo>
                    <a:lnTo>
                      <a:pt x="565" y="92"/>
                    </a:lnTo>
                    <a:lnTo>
                      <a:pt x="563" y="92"/>
                    </a:lnTo>
                    <a:lnTo>
                      <a:pt x="563" y="94"/>
                    </a:lnTo>
                    <a:lnTo>
                      <a:pt x="561" y="94"/>
                    </a:lnTo>
                    <a:lnTo>
                      <a:pt x="561" y="96"/>
                    </a:lnTo>
                    <a:lnTo>
                      <a:pt x="565" y="100"/>
                    </a:lnTo>
                    <a:lnTo>
                      <a:pt x="563" y="102"/>
                    </a:lnTo>
                    <a:lnTo>
                      <a:pt x="565" y="102"/>
                    </a:lnTo>
                    <a:lnTo>
                      <a:pt x="567" y="104"/>
                    </a:lnTo>
                    <a:lnTo>
                      <a:pt x="567" y="106"/>
                    </a:lnTo>
                    <a:lnTo>
                      <a:pt x="565" y="106"/>
                    </a:lnTo>
                    <a:lnTo>
                      <a:pt x="565" y="108"/>
                    </a:lnTo>
                    <a:lnTo>
                      <a:pt x="563" y="110"/>
                    </a:lnTo>
                    <a:lnTo>
                      <a:pt x="563" y="112"/>
                    </a:lnTo>
                    <a:lnTo>
                      <a:pt x="563" y="113"/>
                    </a:lnTo>
                    <a:lnTo>
                      <a:pt x="565" y="113"/>
                    </a:lnTo>
                    <a:lnTo>
                      <a:pt x="567" y="112"/>
                    </a:lnTo>
                    <a:lnTo>
                      <a:pt x="569" y="112"/>
                    </a:lnTo>
                    <a:lnTo>
                      <a:pt x="569" y="113"/>
                    </a:lnTo>
                    <a:lnTo>
                      <a:pt x="569" y="115"/>
                    </a:lnTo>
                    <a:lnTo>
                      <a:pt x="570" y="117"/>
                    </a:lnTo>
                    <a:lnTo>
                      <a:pt x="569" y="121"/>
                    </a:lnTo>
                    <a:lnTo>
                      <a:pt x="567" y="123"/>
                    </a:lnTo>
                    <a:lnTo>
                      <a:pt x="567" y="125"/>
                    </a:lnTo>
                    <a:lnTo>
                      <a:pt x="565" y="125"/>
                    </a:lnTo>
                    <a:lnTo>
                      <a:pt x="565" y="127"/>
                    </a:lnTo>
                    <a:lnTo>
                      <a:pt x="563" y="127"/>
                    </a:lnTo>
                    <a:lnTo>
                      <a:pt x="563" y="129"/>
                    </a:lnTo>
                    <a:lnTo>
                      <a:pt x="563" y="131"/>
                    </a:lnTo>
                    <a:lnTo>
                      <a:pt x="563" y="133"/>
                    </a:lnTo>
                    <a:lnTo>
                      <a:pt x="561" y="133"/>
                    </a:lnTo>
                    <a:lnTo>
                      <a:pt x="561" y="135"/>
                    </a:lnTo>
                    <a:lnTo>
                      <a:pt x="559" y="135"/>
                    </a:lnTo>
                    <a:lnTo>
                      <a:pt x="559" y="137"/>
                    </a:lnTo>
                    <a:lnTo>
                      <a:pt x="557" y="137"/>
                    </a:lnTo>
                    <a:lnTo>
                      <a:pt x="557" y="138"/>
                    </a:lnTo>
                    <a:lnTo>
                      <a:pt x="557" y="140"/>
                    </a:lnTo>
                    <a:lnTo>
                      <a:pt x="557" y="142"/>
                    </a:lnTo>
                    <a:lnTo>
                      <a:pt x="555" y="142"/>
                    </a:lnTo>
                    <a:lnTo>
                      <a:pt x="555" y="144"/>
                    </a:lnTo>
                    <a:lnTo>
                      <a:pt x="555" y="142"/>
                    </a:lnTo>
                    <a:lnTo>
                      <a:pt x="555" y="144"/>
                    </a:lnTo>
                    <a:lnTo>
                      <a:pt x="553" y="144"/>
                    </a:lnTo>
                    <a:lnTo>
                      <a:pt x="553" y="146"/>
                    </a:lnTo>
                    <a:lnTo>
                      <a:pt x="553" y="148"/>
                    </a:lnTo>
                    <a:lnTo>
                      <a:pt x="551" y="148"/>
                    </a:lnTo>
                    <a:lnTo>
                      <a:pt x="551" y="150"/>
                    </a:lnTo>
                    <a:lnTo>
                      <a:pt x="549" y="150"/>
                    </a:lnTo>
                    <a:lnTo>
                      <a:pt x="549" y="152"/>
                    </a:lnTo>
                    <a:lnTo>
                      <a:pt x="547" y="152"/>
                    </a:lnTo>
                    <a:lnTo>
                      <a:pt x="549" y="154"/>
                    </a:lnTo>
                    <a:lnTo>
                      <a:pt x="547" y="154"/>
                    </a:lnTo>
                    <a:lnTo>
                      <a:pt x="547" y="156"/>
                    </a:lnTo>
                    <a:lnTo>
                      <a:pt x="545" y="156"/>
                    </a:lnTo>
                    <a:lnTo>
                      <a:pt x="545" y="158"/>
                    </a:lnTo>
                    <a:lnTo>
                      <a:pt x="544" y="160"/>
                    </a:lnTo>
                    <a:lnTo>
                      <a:pt x="544" y="161"/>
                    </a:lnTo>
                    <a:lnTo>
                      <a:pt x="542" y="161"/>
                    </a:lnTo>
                    <a:lnTo>
                      <a:pt x="540" y="161"/>
                    </a:lnTo>
                    <a:lnTo>
                      <a:pt x="538" y="160"/>
                    </a:lnTo>
                    <a:lnTo>
                      <a:pt x="536" y="161"/>
                    </a:lnTo>
                    <a:lnTo>
                      <a:pt x="534" y="165"/>
                    </a:lnTo>
                    <a:lnTo>
                      <a:pt x="532" y="167"/>
                    </a:lnTo>
                    <a:lnTo>
                      <a:pt x="530" y="167"/>
                    </a:lnTo>
                    <a:lnTo>
                      <a:pt x="530" y="163"/>
                    </a:lnTo>
                    <a:lnTo>
                      <a:pt x="522" y="163"/>
                    </a:lnTo>
                    <a:lnTo>
                      <a:pt x="521" y="167"/>
                    </a:lnTo>
                    <a:lnTo>
                      <a:pt x="521" y="169"/>
                    </a:lnTo>
                    <a:lnTo>
                      <a:pt x="522" y="169"/>
                    </a:lnTo>
                    <a:lnTo>
                      <a:pt x="526" y="167"/>
                    </a:lnTo>
                    <a:lnTo>
                      <a:pt x="526" y="171"/>
                    </a:lnTo>
                    <a:lnTo>
                      <a:pt x="526" y="173"/>
                    </a:lnTo>
                    <a:lnTo>
                      <a:pt x="526" y="177"/>
                    </a:lnTo>
                    <a:lnTo>
                      <a:pt x="528" y="177"/>
                    </a:lnTo>
                    <a:lnTo>
                      <a:pt x="530" y="175"/>
                    </a:lnTo>
                    <a:lnTo>
                      <a:pt x="532" y="177"/>
                    </a:lnTo>
                    <a:lnTo>
                      <a:pt x="532" y="179"/>
                    </a:lnTo>
                    <a:lnTo>
                      <a:pt x="532" y="181"/>
                    </a:lnTo>
                    <a:lnTo>
                      <a:pt x="534" y="183"/>
                    </a:lnTo>
                    <a:lnTo>
                      <a:pt x="536" y="186"/>
                    </a:lnTo>
                    <a:lnTo>
                      <a:pt x="536" y="188"/>
                    </a:lnTo>
                    <a:lnTo>
                      <a:pt x="534" y="190"/>
                    </a:lnTo>
                    <a:lnTo>
                      <a:pt x="532" y="192"/>
                    </a:lnTo>
                    <a:lnTo>
                      <a:pt x="532" y="194"/>
                    </a:lnTo>
                    <a:lnTo>
                      <a:pt x="530" y="194"/>
                    </a:lnTo>
                    <a:lnTo>
                      <a:pt x="528" y="194"/>
                    </a:lnTo>
                    <a:lnTo>
                      <a:pt x="528" y="196"/>
                    </a:lnTo>
                    <a:lnTo>
                      <a:pt x="526" y="196"/>
                    </a:lnTo>
                    <a:lnTo>
                      <a:pt x="522" y="202"/>
                    </a:lnTo>
                    <a:lnTo>
                      <a:pt x="522" y="204"/>
                    </a:lnTo>
                    <a:lnTo>
                      <a:pt x="524" y="204"/>
                    </a:lnTo>
                    <a:lnTo>
                      <a:pt x="526" y="206"/>
                    </a:lnTo>
                    <a:lnTo>
                      <a:pt x="528" y="208"/>
                    </a:lnTo>
                    <a:lnTo>
                      <a:pt x="530" y="208"/>
                    </a:lnTo>
                    <a:lnTo>
                      <a:pt x="530" y="209"/>
                    </a:lnTo>
                    <a:lnTo>
                      <a:pt x="530" y="211"/>
                    </a:lnTo>
                    <a:lnTo>
                      <a:pt x="528" y="211"/>
                    </a:lnTo>
                    <a:lnTo>
                      <a:pt x="526" y="211"/>
                    </a:lnTo>
                    <a:lnTo>
                      <a:pt x="517" y="213"/>
                    </a:lnTo>
                    <a:lnTo>
                      <a:pt x="517" y="219"/>
                    </a:lnTo>
                    <a:lnTo>
                      <a:pt x="524" y="219"/>
                    </a:lnTo>
                    <a:lnTo>
                      <a:pt x="528" y="219"/>
                    </a:lnTo>
                    <a:lnTo>
                      <a:pt x="532" y="219"/>
                    </a:lnTo>
                    <a:lnTo>
                      <a:pt x="528" y="223"/>
                    </a:lnTo>
                    <a:lnTo>
                      <a:pt x="530" y="225"/>
                    </a:lnTo>
                    <a:lnTo>
                      <a:pt x="532" y="225"/>
                    </a:lnTo>
                    <a:lnTo>
                      <a:pt x="534" y="225"/>
                    </a:lnTo>
                    <a:lnTo>
                      <a:pt x="532" y="229"/>
                    </a:lnTo>
                    <a:lnTo>
                      <a:pt x="532" y="231"/>
                    </a:lnTo>
                    <a:lnTo>
                      <a:pt x="536" y="233"/>
                    </a:lnTo>
                    <a:lnTo>
                      <a:pt x="536" y="231"/>
                    </a:lnTo>
                    <a:lnTo>
                      <a:pt x="538" y="231"/>
                    </a:lnTo>
                    <a:lnTo>
                      <a:pt x="538" y="233"/>
                    </a:lnTo>
                    <a:lnTo>
                      <a:pt x="538" y="236"/>
                    </a:lnTo>
                    <a:lnTo>
                      <a:pt x="536" y="246"/>
                    </a:lnTo>
                    <a:lnTo>
                      <a:pt x="534" y="248"/>
                    </a:lnTo>
                    <a:lnTo>
                      <a:pt x="534" y="252"/>
                    </a:lnTo>
                    <a:lnTo>
                      <a:pt x="534" y="254"/>
                    </a:lnTo>
                    <a:lnTo>
                      <a:pt x="534" y="257"/>
                    </a:lnTo>
                    <a:lnTo>
                      <a:pt x="536" y="257"/>
                    </a:lnTo>
                    <a:lnTo>
                      <a:pt x="538" y="261"/>
                    </a:lnTo>
                    <a:lnTo>
                      <a:pt x="540" y="259"/>
                    </a:lnTo>
                    <a:lnTo>
                      <a:pt x="542" y="261"/>
                    </a:lnTo>
                    <a:lnTo>
                      <a:pt x="544" y="265"/>
                    </a:lnTo>
                    <a:lnTo>
                      <a:pt x="544" y="269"/>
                    </a:lnTo>
                    <a:lnTo>
                      <a:pt x="544" y="271"/>
                    </a:lnTo>
                    <a:lnTo>
                      <a:pt x="547" y="271"/>
                    </a:lnTo>
                    <a:lnTo>
                      <a:pt x="547" y="273"/>
                    </a:lnTo>
                    <a:lnTo>
                      <a:pt x="545" y="273"/>
                    </a:lnTo>
                    <a:lnTo>
                      <a:pt x="547" y="275"/>
                    </a:lnTo>
                    <a:lnTo>
                      <a:pt x="545" y="275"/>
                    </a:lnTo>
                    <a:lnTo>
                      <a:pt x="544" y="275"/>
                    </a:lnTo>
                    <a:lnTo>
                      <a:pt x="545" y="279"/>
                    </a:lnTo>
                    <a:lnTo>
                      <a:pt x="545" y="277"/>
                    </a:lnTo>
                    <a:lnTo>
                      <a:pt x="549" y="275"/>
                    </a:lnTo>
                    <a:lnTo>
                      <a:pt x="549" y="277"/>
                    </a:lnTo>
                    <a:lnTo>
                      <a:pt x="551" y="277"/>
                    </a:lnTo>
                    <a:lnTo>
                      <a:pt x="551" y="275"/>
                    </a:lnTo>
                    <a:lnTo>
                      <a:pt x="551" y="273"/>
                    </a:lnTo>
                    <a:lnTo>
                      <a:pt x="551" y="271"/>
                    </a:lnTo>
                    <a:lnTo>
                      <a:pt x="553" y="271"/>
                    </a:lnTo>
                    <a:lnTo>
                      <a:pt x="553" y="269"/>
                    </a:lnTo>
                    <a:lnTo>
                      <a:pt x="561" y="271"/>
                    </a:lnTo>
                    <a:lnTo>
                      <a:pt x="563" y="271"/>
                    </a:lnTo>
                    <a:lnTo>
                      <a:pt x="561" y="273"/>
                    </a:lnTo>
                    <a:lnTo>
                      <a:pt x="561" y="275"/>
                    </a:lnTo>
                    <a:lnTo>
                      <a:pt x="561" y="277"/>
                    </a:lnTo>
                    <a:lnTo>
                      <a:pt x="561" y="279"/>
                    </a:lnTo>
                    <a:lnTo>
                      <a:pt x="567" y="282"/>
                    </a:lnTo>
                    <a:lnTo>
                      <a:pt x="569" y="281"/>
                    </a:lnTo>
                    <a:lnTo>
                      <a:pt x="570" y="282"/>
                    </a:lnTo>
                    <a:lnTo>
                      <a:pt x="572" y="282"/>
                    </a:lnTo>
                    <a:lnTo>
                      <a:pt x="576" y="282"/>
                    </a:lnTo>
                    <a:lnTo>
                      <a:pt x="578" y="281"/>
                    </a:lnTo>
                    <a:lnTo>
                      <a:pt x="580" y="279"/>
                    </a:lnTo>
                    <a:lnTo>
                      <a:pt x="580" y="281"/>
                    </a:lnTo>
                    <a:lnTo>
                      <a:pt x="582" y="282"/>
                    </a:lnTo>
                    <a:lnTo>
                      <a:pt x="582" y="284"/>
                    </a:lnTo>
                    <a:lnTo>
                      <a:pt x="582" y="286"/>
                    </a:lnTo>
                    <a:lnTo>
                      <a:pt x="582" y="284"/>
                    </a:lnTo>
                    <a:lnTo>
                      <a:pt x="580" y="284"/>
                    </a:lnTo>
                    <a:lnTo>
                      <a:pt x="580" y="286"/>
                    </a:lnTo>
                    <a:lnTo>
                      <a:pt x="578" y="286"/>
                    </a:lnTo>
                    <a:lnTo>
                      <a:pt x="578" y="288"/>
                    </a:lnTo>
                    <a:lnTo>
                      <a:pt x="578" y="290"/>
                    </a:lnTo>
                    <a:lnTo>
                      <a:pt x="580" y="290"/>
                    </a:lnTo>
                    <a:lnTo>
                      <a:pt x="578" y="290"/>
                    </a:lnTo>
                    <a:lnTo>
                      <a:pt x="578" y="292"/>
                    </a:lnTo>
                    <a:lnTo>
                      <a:pt x="576" y="294"/>
                    </a:lnTo>
                    <a:lnTo>
                      <a:pt x="576" y="296"/>
                    </a:lnTo>
                    <a:lnTo>
                      <a:pt x="574" y="296"/>
                    </a:lnTo>
                    <a:lnTo>
                      <a:pt x="574" y="298"/>
                    </a:lnTo>
                    <a:lnTo>
                      <a:pt x="576" y="298"/>
                    </a:lnTo>
                    <a:lnTo>
                      <a:pt x="576" y="302"/>
                    </a:lnTo>
                    <a:lnTo>
                      <a:pt x="578" y="302"/>
                    </a:lnTo>
                    <a:lnTo>
                      <a:pt x="578" y="304"/>
                    </a:lnTo>
                    <a:lnTo>
                      <a:pt x="580" y="304"/>
                    </a:lnTo>
                    <a:lnTo>
                      <a:pt x="580" y="305"/>
                    </a:lnTo>
                    <a:lnTo>
                      <a:pt x="578" y="305"/>
                    </a:lnTo>
                    <a:lnTo>
                      <a:pt x="578" y="307"/>
                    </a:lnTo>
                    <a:lnTo>
                      <a:pt x="580" y="307"/>
                    </a:lnTo>
                    <a:lnTo>
                      <a:pt x="580" y="309"/>
                    </a:lnTo>
                    <a:lnTo>
                      <a:pt x="582" y="309"/>
                    </a:lnTo>
                    <a:lnTo>
                      <a:pt x="584" y="309"/>
                    </a:lnTo>
                    <a:lnTo>
                      <a:pt x="584" y="311"/>
                    </a:lnTo>
                    <a:lnTo>
                      <a:pt x="584" y="309"/>
                    </a:lnTo>
                    <a:lnTo>
                      <a:pt x="586" y="309"/>
                    </a:lnTo>
                    <a:lnTo>
                      <a:pt x="584" y="311"/>
                    </a:lnTo>
                    <a:lnTo>
                      <a:pt x="586" y="311"/>
                    </a:lnTo>
                    <a:lnTo>
                      <a:pt x="586" y="313"/>
                    </a:lnTo>
                    <a:lnTo>
                      <a:pt x="588" y="313"/>
                    </a:lnTo>
                    <a:lnTo>
                      <a:pt x="586" y="313"/>
                    </a:lnTo>
                    <a:lnTo>
                      <a:pt x="586" y="315"/>
                    </a:lnTo>
                    <a:lnTo>
                      <a:pt x="588" y="317"/>
                    </a:lnTo>
                    <a:lnTo>
                      <a:pt x="590" y="317"/>
                    </a:lnTo>
                    <a:lnTo>
                      <a:pt x="588" y="317"/>
                    </a:lnTo>
                    <a:lnTo>
                      <a:pt x="590" y="317"/>
                    </a:lnTo>
                    <a:lnTo>
                      <a:pt x="588" y="317"/>
                    </a:lnTo>
                    <a:lnTo>
                      <a:pt x="588" y="319"/>
                    </a:lnTo>
                    <a:lnTo>
                      <a:pt x="588" y="317"/>
                    </a:lnTo>
                    <a:lnTo>
                      <a:pt x="588" y="319"/>
                    </a:lnTo>
                    <a:lnTo>
                      <a:pt x="590" y="319"/>
                    </a:lnTo>
                    <a:lnTo>
                      <a:pt x="592" y="319"/>
                    </a:lnTo>
                    <a:lnTo>
                      <a:pt x="592" y="321"/>
                    </a:lnTo>
                    <a:lnTo>
                      <a:pt x="590" y="321"/>
                    </a:lnTo>
                    <a:lnTo>
                      <a:pt x="590" y="323"/>
                    </a:lnTo>
                    <a:lnTo>
                      <a:pt x="592" y="323"/>
                    </a:lnTo>
                    <a:lnTo>
                      <a:pt x="592" y="325"/>
                    </a:lnTo>
                    <a:lnTo>
                      <a:pt x="593" y="325"/>
                    </a:lnTo>
                    <a:lnTo>
                      <a:pt x="595" y="325"/>
                    </a:lnTo>
                    <a:lnTo>
                      <a:pt x="595" y="327"/>
                    </a:lnTo>
                    <a:lnTo>
                      <a:pt x="595" y="329"/>
                    </a:lnTo>
                    <a:lnTo>
                      <a:pt x="597" y="329"/>
                    </a:lnTo>
                    <a:lnTo>
                      <a:pt x="597" y="330"/>
                    </a:lnTo>
                    <a:lnTo>
                      <a:pt x="599" y="330"/>
                    </a:lnTo>
                    <a:lnTo>
                      <a:pt x="599" y="332"/>
                    </a:lnTo>
                    <a:lnTo>
                      <a:pt x="597" y="332"/>
                    </a:lnTo>
                    <a:lnTo>
                      <a:pt x="599" y="332"/>
                    </a:lnTo>
                    <a:lnTo>
                      <a:pt x="599" y="334"/>
                    </a:lnTo>
                    <a:lnTo>
                      <a:pt x="597" y="334"/>
                    </a:lnTo>
                    <a:lnTo>
                      <a:pt x="597" y="336"/>
                    </a:lnTo>
                    <a:lnTo>
                      <a:pt x="599" y="336"/>
                    </a:lnTo>
                    <a:lnTo>
                      <a:pt x="597" y="336"/>
                    </a:lnTo>
                    <a:lnTo>
                      <a:pt x="597" y="338"/>
                    </a:lnTo>
                    <a:lnTo>
                      <a:pt x="597" y="340"/>
                    </a:lnTo>
                    <a:lnTo>
                      <a:pt x="597" y="338"/>
                    </a:lnTo>
                    <a:lnTo>
                      <a:pt x="599" y="338"/>
                    </a:lnTo>
                    <a:lnTo>
                      <a:pt x="599" y="340"/>
                    </a:lnTo>
                    <a:lnTo>
                      <a:pt x="599" y="342"/>
                    </a:lnTo>
                    <a:lnTo>
                      <a:pt x="601" y="342"/>
                    </a:lnTo>
                    <a:lnTo>
                      <a:pt x="599" y="342"/>
                    </a:lnTo>
                    <a:lnTo>
                      <a:pt x="601" y="342"/>
                    </a:lnTo>
                    <a:lnTo>
                      <a:pt x="599" y="342"/>
                    </a:lnTo>
                    <a:lnTo>
                      <a:pt x="599" y="344"/>
                    </a:lnTo>
                    <a:lnTo>
                      <a:pt x="599" y="346"/>
                    </a:lnTo>
                    <a:lnTo>
                      <a:pt x="599" y="348"/>
                    </a:lnTo>
                    <a:lnTo>
                      <a:pt x="599" y="350"/>
                    </a:lnTo>
                    <a:lnTo>
                      <a:pt x="601" y="350"/>
                    </a:lnTo>
                    <a:lnTo>
                      <a:pt x="603" y="352"/>
                    </a:lnTo>
                    <a:lnTo>
                      <a:pt x="605" y="352"/>
                    </a:lnTo>
                    <a:lnTo>
                      <a:pt x="609" y="353"/>
                    </a:lnTo>
                    <a:lnTo>
                      <a:pt x="611" y="353"/>
                    </a:lnTo>
                    <a:lnTo>
                      <a:pt x="613" y="355"/>
                    </a:lnTo>
                    <a:lnTo>
                      <a:pt x="613" y="357"/>
                    </a:lnTo>
                    <a:lnTo>
                      <a:pt x="615" y="359"/>
                    </a:lnTo>
                    <a:lnTo>
                      <a:pt x="617" y="361"/>
                    </a:lnTo>
                    <a:lnTo>
                      <a:pt x="617" y="363"/>
                    </a:lnTo>
                    <a:lnTo>
                      <a:pt x="618" y="363"/>
                    </a:lnTo>
                    <a:lnTo>
                      <a:pt x="618" y="365"/>
                    </a:lnTo>
                    <a:lnTo>
                      <a:pt x="620" y="367"/>
                    </a:lnTo>
                    <a:lnTo>
                      <a:pt x="620" y="369"/>
                    </a:lnTo>
                    <a:lnTo>
                      <a:pt x="622" y="371"/>
                    </a:lnTo>
                    <a:lnTo>
                      <a:pt x="624" y="373"/>
                    </a:lnTo>
                    <a:lnTo>
                      <a:pt x="624" y="375"/>
                    </a:lnTo>
                    <a:lnTo>
                      <a:pt x="624" y="377"/>
                    </a:lnTo>
                    <a:lnTo>
                      <a:pt x="626" y="377"/>
                    </a:lnTo>
                    <a:lnTo>
                      <a:pt x="626" y="378"/>
                    </a:lnTo>
                    <a:lnTo>
                      <a:pt x="624" y="378"/>
                    </a:lnTo>
                    <a:lnTo>
                      <a:pt x="624" y="380"/>
                    </a:lnTo>
                    <a:lnTo>
                      <a:pt x="624" y="382"/>
                    </a:lnTo>
                    <a:lnTo>
                      <a:pt x="624" y="384"/>
                    </a:lnTo>
                    <a:lnTo>
                      <a:pt x="624" y="386"/>
                    </a:lnTo>
                    <a:lnTo>
                      <a:pt x="626" y="386"/>
                    </a:lnTo>
                    <a:lnTo>
                      <a:pt x="626" y="388"/>
                    </a:lnTo>
                    <a:lnTo>
                      <a:pt x="624" y="388"/>
                    </a:lnTo>
                    <a:lnTo>
                      <a:pt x="624" y="390"/>
                    </a:lnTo>
                    <a:lnTo>
                      <a:pt x="622" y="392"/>
                    </a:lnTo>
                    <a:lnTo>
                      <a:pt x="620" y="392"/>
                    </a:lnTo>
                    <a:lnTo>
                      <a:pt x="618" y="392"/>
                    </a:lnTo>
                    <a:lnTo>
                      <a:pt x="617" y="394"/>
                    </a:lnTo>
                    <a:lnTo>
                      <a:pt x="617" y="392"/>
                    </a:lnTo>
                    <a:lnTo>
                      <a:pt x="617" y="394"/>
                    </a:lnTo>
                    <a:lnTo>
                      <a:pt x="615" y="394"/>
                    </a:lnTo>
                    <a:lnTo>
                      <a:pt x="613" y="394"/>
                    </a:lnTo>
                    <a:lnTo>
                      <a:pt x="611" y="394"/>
                    </a:lnTo>
                    <a:lnTo>
                      <a:pt x="609" y="396"/>
                    </a:lnTo>
                    <a:lnTo>
                      <a:pt x="609" y="394"/>
                    </a:lnTo>
                    <a:lnTo>
                      <a:pt x="607" y="394"/>
                    </a:lnTo>
                    <a:lnTo>
                      <a:pt x="607" y="392"/>
                    </a:lnTo>
                    <a:lnTo>
                      <a:pt x="609" y="392"/>
                    </a:lnTo>
                    <a:lnTo>
                      <a:pt x="605" y="390"/>
                    </a:lnTo>
                    <a:lnTo>
                      <a:pt x="603" y="390"/>
                    </a:lnTo>
                    <a:lnTo>
                      <a:pt x="603" y="394"/>
                    </a:lnTo>
                    <a:lnTo>
                      <a:pt x="603" y="398"/>
                    </a:lnTo>
                    <a:lnTo>
                      <a:pt x="601" y="398"/>
                    </a:lnTo>
                    <a:lnTo>
                      <a:pt x="599" y="398"/>
                    </a:lnTo>
                    <a:lnTo>
                      <a:pt x="599" y="396"/>
                    </a:lnTo>
                    <a:lnTo>
                      <a:pt x="597" y="396"/>
                    </a:lnTo>
                    <a:lnTo>
                      <a:pt x="595" y="396"/>
                    </a:lnTo>
                    <a:lnTo>
                      <a:pt x="593" y="394"/>
                    </a:lnTo>
                    <a:lnTo>
                      <a:pt x="592" y="396"/>
                    </a:lnTo>
                    <a:lnTo>
                      <a:pt x="590" y="396"/>
                    </a:lnTo>
                    <a:lnTo>
                      <a:pt x="588" y="398"/>
                    </a:lnTo>
                    <a:lnTo>
                      <a:pt x="588" y="400"/>
                    </a:lnTo>
                    <a:lnTo>
                      <a:pt x="588" y="401"/>
                    </a:lnTo>
                    <a:lnTo>
                      <a:pt x="590" y="401"/>
                    </a:lnTo>
                    <a:lnTo>
                      <a:pt x="590" y="403"/>
                    </a:lnTo>
                    <a:lnTo>
                      <a:pt x="590" y="405"/>
                    </a:lnTo>
                    <a:lnTo>
                      <a:pt x="590" y="407"/>
                    </a:lnTo>
                    <a:lnTo>
                      <a:pt x="588" y="407"/>
                    </a:lnTo>
                    <a:lnTo>
                      <a:pt x="588" y="409"/>
                    </a:lnTo>
                    <a:lnTo>
                      <a:pt x="588" y="411"/>
                    </a:lnTo>
                    <a:lnTo>
                      <a:pt x="586" y="411"/>
                    </a:lnTo>
                    <a:lnTo>
                      <a:pt x="588" y="411"/>
                    </a:lnTo>
                    <a:lnTo>
                      <a:pt x="590" y="413"/>
                    </a:lnTo>
                    <a:lnTo>
                      <a:pt x="592" y="413"/>
                    </a:lnTo>
                    <a:lnTo>
                      <a:pt x="592" y="415"/>
                    </a:lnTo>
                    <a:lnTo>
                      <a:pt x="593" y="415"/>
                    </a:lnTo>
                    <a:lnTo>
                      <a:pt x="595" y="415"/>
                    </a:lnTo>
                    <a:lnTo>
                      <a:pt x="597" y="417"/>
                    </a:lnTo>
                    <a:lnTo>
                      <a:pt x="597" y="415"/>
                    </a:lnTo>
                    <a:lnTo>
                      <a:pt x="599" y="415"/>
                    </a:lnTo>
                    <a:lnTo>
                      <a:pt x="599" y="417"/>
                    </a:lnTo>
                    <a:lnTo>
                      <a:pt x="601" y="417"/>
                    </a:lnTo>
                    <a:lnTo>
                      <a:pt x="601" y="415"/>
                    </a:lnTo>
                    <a:lnTo>
                      <a:pt x="603" y="415"/>
                    </a:lnTo>
                    <a:lnTo>
                      <a:pt x="605" y="415"/>
                    </a:lnTo>
                    <a:lnTo>
                      <a:pt x="607" y="415"/>
                    </a:lnTo>
                    <a:lnTo>
                      <a:pt x="607" y="417"/>
                    </a:lnTo>
                    <a:lnTo>
                      <a:pt x="611" y="419"/>
                    </a:lnTo>
                    <a:lnTo>
                      <a:pt x="613" y="421"/>
                    </a:lnTo>
                    <a:lnTo>
                      <a:pt x="615" y="423"/>
                    </a:lnTo>
                    <a:lnTo>
                      <a:pt x="617" y="425"/>
                    </a:lnTo>
                    <a:lnTo>
                      <a:pt x="618" y="428"/>
                    </a:lnTo>
                    <a:lnTo>
                      <a:pt x="622" y="430"/>
                    </a:lnTo>
                    <a:lnTo>
                      <a:pt x="622" y="432"/>
                    </a:lnTo>
                    <a:lnTo>
                      <a:pt x="622" y="434"/>
                    </a:lnTo>
                    <a:lnTo>
                      <a:pt x="622" y="436"/>
                    </a:lnTo>
                    <a:lnTo>
                      <a:pt x="624" y="438"/>
                    </a:lnTo>
                    <a:lnTo>
                      <a:pt x="624" y="444"/>
                    </a:lnTo>
                    <a:lnTo>
                      <a:pt x="624" y="446"/>
                    </a:lnTo>
                    <a:lnTo>
                      <a:pt x="624" y="448"/>
                    </a:lnTo>
                    <a:lnTo>
                      <a:pt x="624" y="449"/>
                    </a:lnTo>
                    <a:lnTo>
                      <a:pt x="624" y="451"/>
                    </a:lnTo>
                    <a:lnTo>
                      <a:pt x="622" y="451"/>
                    </a:lnTo>
                    <a:lnTo>
                      <a:pt x="620" y="451"/>
                    </a:lnTo>
                    <a:lnTo>
                      <a:pt x="618" y="451"/>
                    </a:lnTo>
                    <a:lnTo>
                      <a:pt x="618" y="453"/>
                    </a:lnTo>
                    <a:lnTo>
                      <a:pt x="617" y="453"/>
                    </a:lnTo>
                    <a:lnTo>
                      <a:pt x="617" y="455"/>
                    </a:lnTo>
                    <a:lnTo>
                      <a:pt x="615" y="457"/>
                    </a:lnTo>
                    <a:lnTo>
                      <a:pt x="615" y="461"/>
                    </a:lnTo>
                    <a:lnTo>
                      <a:pt x="615" y="463"/>
                    </a:lnTo>
                    <a:lnTo>
                      <a:pt x="615" y="465"/>
                    </a:lnTo>
                    <a:lnTo>
                      <a:pt x="613" y="465"/>
                    </a:lnTo>
                    <a:lnTo>
                      <a:pt x="611" y="465"/>
                    </a:lnTo>
                    <a:lnTo>
                      <a:pt x="609" y="465"/>
                    </a:lnTo>
                    <a:lnTo>
                      <a:pt x="607" y="463"/>
                    </a:lnTo>
                    <a:lnTo>
                      <a:pt x="605" y="463"/>
                    </a:lnTo>
                    <a:lnTo>
                      <a:pt x="603" y="463"/>
                    </a:lnTo>
                    <a:lnTo>
                      <a:pt x="603" y="465"/>
                    </a:lnTo>
                    <a:lnTo>
                      <a:pt x="601" y="465"/>
                    </a:lnTo>
                    <a:lnTo>
                      <a:pt x="599" y="465"/>
                    </a:lnTo>
                    <a:lnTo>
                      <a:pt x="597" y="465"/>
                    </a:lnTo>
                    <a:lnTo>
                      <a:pt x="595" y="465"/>
                    </a:lnTo>
                    <a:lnTo>
                      <a:pt x="593" y="465"/>
                    </a:lnTo>
                    <a:lnTo>
                      <a:pt x="592" y="465"/>
                    </a:lnTo>
                    <a:lnTo>
                      <a:pt x="590" y="465"/>
                    </a:lnTo>
                    <a:lnTo>
                      <a:pt x="588" y="465"/>
                    </a:lnTo>
                    <a:lnTo>
                      <a:pt x="586" y="465"/>
                    </a:lnTo>
                    <a:lnTo>
                      <a:pt x="584" y="465"/>
                    </a:lnTo>
                    <a:lnTo>
                      <a:pt x="584" y="467"/>
                    </a:lnTo>
                    <a:lnTo>
                      <a:pt x="590" y="474"/>
                    </a:lnTo>
                    <a:lnTo>
                      <a:pt x="590" y="476"/>
                    </a:lnTo>
                    <a:lnTo>
                      <a:pt x="590" y="482"/>
                    </a:lnTo>
                    <a:lnTo>
                      <a:pt x="588" y="486"/>
                    </a:lnTo>
                    <a:lnTo>
                      <a:pt x="586" y="494"/>
                    </a:lnTo>
                    <a:lnTo>
                      <a:pt x="586" y="497"/>
                    </a:lnTo>
                    <a:lnTo>
                      <a:pt x="584" y="499"/>
                    </a:lnTo>
                    <a:lnTo>
                      <a:pt x="584" y="503"/>
                    </a:lnTo>
                    <a:lnTo>
                      <a:pt x="584" y="505"/>
                    </a:lnTo>
                    <a:lnTo>
                      <a:pt x="584" y="507"/>
                    </a:lnTo>
                    <a:lnTo>
                      <a:pt x="586" y="507"/>
                    </a:lnTo>
                    <a:lnTo>
                      <a:pt x="586" y="505"/>
                    </a:lnTo>
                    <a:lnTo>
                      <a:pt x="588" y="505"/>
                    </a:lnTo>
                    <a:lnTo>
                      <a:pt x="590" y="505"/>
                    </a:lnTo>
                    <a:lnTo>
                      <a:pt x="590" y="507"/>
                    </a:lnTo>
                    <a:lnTo>
                      <a:pt x="590" y="509"/>
                    </a:lnTo>
                    <a:lnTo>
                      <a:pt x="592" y="509"/>
                    </a:lnTo>
                    <a:lnTo>
                      <a:pt x="592" y="511"/>
                    </a:lnTo>
                    <a:lnTo>
                      <a:pt x="593" y="511"/>
                    </a:lnTo>
                    <a:lnTo>
                      <a:pt x="593" y="513"/>
                    </a:lnTo>
                    <a:lnTo>
                      <a:pt x="593" y="515"/>
                    </a:lnTo>
                    <a:lnTo>
                      <a:pt x="593" y="517"/>
                    </a:lnTo>
                    <a:lnTo>
                      <a:pt x="592" y="517"/>
                    </a:lnTo>
                    <a:lnTo>
                      <a:pt x="592" y="519"/>
                    </a:lnTo>
                    <a:lnTo>
                      <a:pt x="590" y="519"/>
                    </a:lnTo>
                    <a:lnTo>
                      <a:pt x="592" y="519"/>
                    </a:lnTo>
                    <a:lnTo>
                      <a:pt x="590" y="520"/>
                    </a:lnTo>
                    <a:lnTo>
                      <a:pt x="590" y="522"/>
                    </a:lnTo>
                    <a:lnTo>
                      <a:pt x="588" y="524"/>
                    </a:lnTo>
                    <a:lnTo>
                      <a:pt x="586" y="524"/>
                    </a:lnTo>
                    <a:lnTo>
                      <a:pt x="584" y="524"/>
                    </a:lnTo>
                    <a:lnTo>
                      <a:pt x="582" y="524"/>
                    </a:lnTo>
                    <a:lnTo>
                      <a:pt x="580" y="524"/>
                    </a:lnTo>
                    <a:lnTo>
                      <a:pt x="580" y="522"/>
                    </a:lnTo>
                    <a:lnTo>
                      <a:pt x="578" y="522"/>
                    </a:lnTo>
                    <a:lnTo>
                      <a:pt x="576" y="522"/>
                    </a:lnTo>
                    <a:lnTo>
                      <a:pt x="574" y="522"/>
                    </a:lnTo>
                    <a:lnTo>
                      <a:pt x="574" y="520"/>
                    </a:lnTo>
                    <a:lnTo>
                      <a:pt x="572" y="520"/>
                    </a:lnTo>
                    <a:lnTo>
                      <a:pt x="570" y="520"/>
                    </a:lnTo>
                    <a:lnTo>
                      <a:pt x="570" y="519"/>
                    </a:lnTo>
                    <a:lnTo>
                      <a:pt x="569" y="519"/>
                    </a:lnTo>
                    <a:lnTo>
                      <a:pt x="567" y="519"/>
                    </a:lnTo>
                    <a:lnTo>
                      <a:pt x="567" y="517"/>
                    </a:lnTo>
                    <a:lnTo>
                      <a:pt x="565" y="517"/>
                    </a:lnTo>
                    <a:lnTo>
                      <a:pt x="563" y="517"/>
                    </a:lnTo>
                    <a:lnTo>
                      <a:pt x="563" y="515"/>
                    </a:lnTo>
                    <a:lnTo>
                      <a:pt x="563" y="517"/>
                    </a:lnTo>
                    <a:lnTo>
                      <a:pt x="561" y="517"/>
                    </a:lnTo>
                    <a:lnTo>
                      <a:pt x="559" y="517"/>
                    </a:lnTo>
                    <a:lnTo>
                      <a:pt x="559" y="515"/>
                    </a:lnTo>
                    <a:lnTo>
                      <a:pt x="557" y="515"/>
                    </a:lnTo>
                    <a:lnTo>
                      <a:pt x="557" y="517"/>
                    </a:lnTo>
                    <a:lnTo>
                      <a:pt x="557" y="519"/>
                    </a:lnTo>
                    <a:lnTo>
                      <a:pt x="557" y="520"/>
                    </a:lnTo>
                    <a:lnTo>
                      <a:pt x="557" y="522"/>
                    </a:lnTo>
                    <a:lnTo>
                      <a:pt x="555" y="522"/>
                    </a:lnTo>
                    <a:lnTo>
                      <a:pt x="551" y="526"/>
                    </a:lnTo>
                    <a:lnTo>
                      <a:pt x="551" y="528"/>
                    </a:lnTo>
                    <a:lnTo>
                      <a:pt x="551" y="530"/>
                    </a:lnTo>
                    <a:lnTo>
                      <a:pt x="551" y="532"/>
                    </a:lnTo>
                    <a:lnTo>
                      <a:pt x="549" y="532"/>
                    </a:lnTo>
                    <a:lnTo>
                      <a:pt x="549" y="534"/>
                    </a:lnTo>
                    <a:lnTo>
                      <a:pt x="549" y="536"/>
                    </a:lnTo>
                    <a:lnTo>
                      <a:pt x="549" y="538"/>
                    </a:lnTo>
                    <a:lnTo>
                      <a:pt x="547" y="540"/>
                    </a:lnTo>
                    <a:lnTo>
                      <a:pt x="547" y="542"/>
                    </a:lnTo>
                    <a:lnTo>
                      <a:pt x="547" y="544"/>
                    </a:lnTo>
                    <a:lnTo>
                      <a:pt x="545" y="544"/>
                    </a:lnTo>
                    <a:lnTo>
                      <a:pt x="545" y="545"/>
                    </a:lnTo>
                    <a:lnTo>
                      <a:pt x="544" y="547"/>
                    </a:lnTo>
                    <a:lnTo>
                      <a:pt x="542" y="549"/>
                    </a:lnTo>
                    <a:lnTo>
                      <a:pt x="542" y="551"/>
                    </a:lnTo>
                    <a:lnTo>
                      <a:pt x="542" y="553"/>
                    </a:lnTo>
                    <a:lnTo>
                      <a:pt x="542" y="555"/>
                    </a:lnTo>
                    <a:lnTo>
                      <a:pt x="542" y="557"/>
                    </a:lnTo>
                    <a:lnTo>
                      <a:pt x="542" y="559"/>
                    </a:lnTo>
                    <a:lnTo>
                      <a:pt x="542" y="561"/>
                    </a:lnTo>
                    <a:lnTo>
                      <a:pt x="542" y="563"/>
                    </a:lnTo>
                    <a:lnTo>
                      <a:pt x="542" y="565"/>
                    </a:lnTo>
                    <a:lnTo>
                      <a:pt x="542" y="567"/>
                    </a:lnTo>
                    <a:lnTo>
                      <a:pt x="540" y="567"/>
                    </a:lnTo>
                    <a:lnTo>
                      <a:pt x="540" y="568"/>
                    </a:lnTo>
                    <a:lnTo>
                      <a:pt x="538" y="568"/>
                    </a:lnTo>
                    <a:lnTo>
                      <a:pt x="538" y="570"/>
                    </a:lnTo>
                    <a:lnTo>
                      <a:pt x="538" y="572"/>
                    </a:lnTo>
                    <a:lnTo>
                      <a:pt x="538" y="574"/>
                    </a:lnTo>
                    <a:lnTo>
                      <a:pt x="536" y="574"/>
                    </a:lnTo>
                    <a:lnTo>
                      <a:pt x="536" y="576"/>
                    </a:lnTo>
                    <a:lnTo>
                      <a:pt x="534" y="576"/>
                    </a:lnTo>
                    <a:lnTo>
                      <a:pt x="532" y="576"/>
                    </a:lnTo>
                    <a:lnTo>
                      <a:pt x="532" y="578"/>
                    </a:lnTo>
                    <a:lnTo>
                      <a:pt x="530" y="580"/>
                    </a:lnTo>
                    <a:lnTo>
                      <a:pt x="528" y="582"/>
                    </a:lnTo>
                    <a:lnTo>
                      <a:pt x="528" y="584"/>
                    </a:lnTo>
                    <a:lnTo>
                      <a:pt x="526" y="584"/>
                    </a:lnTo>
                    <a:lnTo>
                      <a:pt x="526" y="586"/>
                    </a:lnTo>
                    <a:lnTo>
                      <a:pt x="524" y="586"/>
                    </a:lnTo>
                    <a:lnTo>
                      <a:pt x="522" y="588"/>
                    </a:lnTo>
                    <a:lnTo>
                      <a:pt x="522" y="590"/>
                    </a:lnTo>
                    <a:lnTo>
                      <a:pt x="522" y="592"/>
                    </a:lnTo>
                    <a:lnTo>
                      <a:pt x="524" y="593"/>
                    </a:lnTo>
                    <a:lnTo>
                      <a:pt x="524" y="595"/>
                    </a:lnTo>
                    <a:lnTo>
                      <a:pt x="526" y="595"/>
                    </a:lnTo>
                    <a:lnTo>
                      <a:pt x="526" y="597"/>
                    </a:lnTo>
                    <a:lnTo>
                      <a:pt x="524" y="597"/>
                    </a:lnTo>
                    <a:lnTo>
                      <a:pt x="522" y="599"/>
                    </a:lnTo>
                    <a:lnTo>
                      <a:pt x="521" y="599"/>
                    </a:lnTo>
                    <a:lnTo>
                      <a:pt x="521" y="597"/>
                    </a:lnTo>
                    <a:lnTo>
                      <a:pt x="519" y="597"/>
                    </a:lnTo>
                    <a:lnTo>
                      <a:pt x="519" y="595"/>
                    </a:lnTo>
                    <a:lnTo>
                      <a:pt x="519" y="593"/>
                    </a:lnTo>
                    <a:lnTo>
                      <a:pt x="519" y="592"/>
                    </a:lnTo>
                    <a:lnTo>
                      <a:pt x="519" y="590"/>
                    </a:lnTo>
                    <a:lnTo>
                      <a:pt x="519" y="588"/>
                    </a:lnTo>
                    <a:lnTo>
                      <a:pt x="517" y="588"/>
                    </a:lnTo>
                    <a:lnTo>
                      <a:pt x="517" y="586"/>
                    </a:lnTo>
                    <a:lnTo>
                      <a:pt x="517" y="584"/>
                    </a:lnTo>
                    <a:lnTo>
                      <a:pt x="517" y="582"/>
                    </a:lnTo>
                    <a:lnTo>
                      <a:pt x="515" y="580"/>
                    </a:lnTo>
                    <a:lnTo>
                      <a:pt x="515" y="578"/>
                    </a:lnTo>
                    <a:lnTo>
                      <a:pt x="517" y="578"/>
                    </a:lnTo>
                    <a:lnTo>
                      <a:pt x="513" y="576"/>
                    </a:lnTo>
                    <a:lnTo>
                      <a:pt x="513" y="574"/>
                    </a:lnTo>
                    <a:lnTo>
                      <a:pt x="511" y="574"/>
                    </a:lnTo>
                    <a:lnTo>
                      <a:pt x="509" y="574"/>
                    </a:lnTo>
                    <a:lnTo>
                      <a:pt x="507" y="574"/>
                    </a:lnTo>
                    <a:lnTo>
                      <a:pt x="505" y="574"/>
                    </a:lnTo>
                    <a:lnTo>
                      <a:pt x="503" y="574"/>
                    </a:lnTo>
                    <a:lnTo>
                      <a:pt x="501" y="574"/>
                    </a:lnTo>
                    <a:lnTo>
                      <a:pt x="499" y="574"/>
                    </a:lnTo>
                    <a:lnTo>
                      <a:pt x="497" y="574"/>
                    </a:lnTo>
                    <a:lnTo>
                      <a:pt x="497" y="572"/>
                    </a:lnTo>
                    <a:lnTo>
                      <a:pt x="496" y="572"/>
                    </a:lnTo>
                    <a:lnTo>
                      <a:pt x="494" y="572"/>
                    </a:lnTo>
                    <a:lnTo>
                      <a:pt x="494" y="570"/>
                    </a:lnTo>
                    <a:lnTo>
                      <a:pt x="494" y="568"/>
                    </a:lnTo>
                    <a:lnTo>
                      <a:pt x="496" y="568"/>
                    </a:lnTo>
                    <a:lnTo>
                      <a:pt x="497" y="568"/>
                    </a:lnTo>
                    <a:lnTo>
                      <a:pt x="497" y="567"/>
                    </a:lnTo>
                    <a:lnTo>
                      <a:pt x="496" y="567"/>
                    </a:lnTo>
                    <a:lnTo>
                      <a:pt x="496" y="565"/>
                    </a:lnTo>
                    <a:lnTo>
                      <a:pt x="494" y="563"/>
                    </a:lnTo>
                    <a:lnTo>
                      <a:pt x="494" y="561"/>
                    </a:lnTo>
                    <a:lnTo>
                      <a:pt x="494" y="559"/>
                    </a:lnTo>
                    <a:lnTo>
                      <a:pt x="492" y="559"/>
                    </a:lnTo>
                    <a:lnTo>
                      <a:pt x="494" y="559"/>
                    </a:lnTo>
                    <a:lnTo>
                      <a:pt x="494" y="557"/>
                    </a:lnTo>
                    <a:lnTo>
                      <a:pt x="494" y="555"/>
                    </a:lnTo>
                    <a:lnTo>
                      <a:pt x="494" y="551"/>
                    </a:lnTo>
                    <a:lnTo>
                      <a:pt x="494" y="549"/>
                    </a:lnTo>
                    <a:lnTo>
                      <a:pt x="492" y="549"/>
                    </a:lnTo>
                    <a:lnTo>
                      <a:pt x="490" y="549"/>
                    </a:lnTo>
                    <a:lnTo>
                      <a:pt x="488" y="549"/>
                    </a:lnTo>
                    <a:lnTo>
                      <a:pt x="486" y="549"/>
                    </a:lnTo>
                    <a:lnTo>
                      <a:pt x="484" y="551"/>
                    </a:lnTo>
                    <a:lnTo>
                      <a:pt x="482" y="551"/>
                    </a:lnTo>
                    <a:lnTo>
                      <a:pt x="480" y="551"/>
                    </a:lnTo>
                    <a:lnTo>
                      <a:pt x="478" y="551"/>
                    </a:lnTo>
                    <a:lnTo>
                      <a:pt x="476" y="551"/>
                    </a:lnTo>
                    <a:lnTo>
                      <a:pt x="474" y="551"/>
                    </a:lnTo>
                    <a:lnTo>
                      <a:pt x="474" y="549"/>
                    </a:lnTo>
                    <a:lnTo>
                      <a:pt x="473" y="549"/>
                    </a:lnTo>
                    <a:lnTo>
                      <a:pt x="471" y="549"/>
                    </a:lnTo>
                    <a:lnTo>
                      <a:pt x="469" y="549"/>
                    </a:lnTo>
                    <a:lnTo>
                      <a:pt x="467" y="549"/>
                    </a:lnTo>
                    <a:lnTo>
                      <a:pt x="467" y="551"/>
                    </a:lnTo>
                    <a:lnTo>
                      <a:pt x="467" y="553"/>
                    </a:lnTo>
                    <a:lnTo>
                      <a:pt x="467" y="555"/>
                    </a:lnTo>
                    <a:lnTo>
                      <a:pt x="467" y="557"/>
                    </a:lnTo>
                    <a:lnTo>
                      <a:pt x="465" y="557"/>
                    </a:lnTo>
                    <a:lnTo>
                      <a:pt x="465" y="555"/>
                    </a:lnTo>
                    <a:lnTo>
                      <a:pt x="463" y="555"/>
                    </a:lnTo>
                    <a:lnTo>
                      <a:pt x="461" y="555"/>
                    </a:lnTo>
                    <a:lnTo>
                      <a:pt x="459" y="555"/>
                    </a:lnTo>
                    <a:lnTo>
                      <a:pt x="459" y="557"/>
                    </a:lnTo>
                    <a:lnTo>
                      <a:pt x="457" y="557"/>
                    </a:lnTo>
                    <a:lnTo>
                      <a:pt x="455" y="555"/>
                    </a:lnTo>
                    <a:lnTo>
                      <a:pt x="453" y="557"/>
                    </a:lnTo>
                    <a:lnTo>
                      <a:pt x="451" y="557"/>
                    </a:lnTo>
                    <a:lnTo>
                      <a:pt x="449" y="557"/>
                    </a:lnTo>
                    <a:lnTo>
                      <a:pt x="448" y="559"/>
                    </a:lnTo>
                    <a:lnTo>
                      <a:pt x="446" y="559"/>
                    </a:lnTo>
                    <a:lnTo>
                      <a:pt x="446" y="557"/>
                    </a:lnTo>
                    <a:lnTo>
                      <a:pt x="444" y="557"/>
                    </a:lnTo>
                    <a:lnTo>
                      <a:pt x="442" y="557"/>
                    </a:lnTo>
                    <a:lnTo>
                      <a:pt x="440" y="559"/>
                    </a:lnTo>
                    <a:lnTo>
                      <a:pt x="436" y="559"/>
                    </a:lnTo>
                    <a:lnTo>
                      <a:pt x="434" y="561"/>
                    </a:lnTo>
                    <a:lnTo>
                      <a:pt x="432" y="561"/>
                    </a:lnTo>
                    <a:lnTo>
                      <a:pt x="430" y="559"/>
                    </a:lnTo>
                    <a:lnTo>
                      <a:pt x="430" y="557"/>
                    </a:lnTo>
                    <a:lnTo>
                      <a:pt x="428" y="559"/>
                    </a:lnTo>
                    <a:lnTo>
                      <a:pt x="426" y="559"/>
                    </a:lnTo>
                    <a:lnTo>
                      <a:pt x="428" y="561"/>
                    </a:lnTo>
                    <a:lnTo>
                      <a:pt x="426" y="563"/>
                    </a:lnTo>
                    <a:lnTo>
                      <a:pt x="426" y="565"/>
                    </a:lnTo>
                    <a:lnTo>
                      <a:pt x="425" y="565"/>
                    </a:lnTo>
                    <a:lnTo>
                      <a:pt x="425" y="563"/>
                    </a:lnTo>
                    <a:lnTo>
                      <a:pt x="423" y="563"/>
                    </a:lnTo>
                    <a:lnTo>
                      <a:pt x="421" y="563"/>
                    </a:lnTo>
                    <a:lnTo>
                      <a:pt x="421" y="561"/>
                    </a:lnTo>
                    <a:lnTo>
                      <a:pt x="419" y="561"/>
                    </a:lnTo>
                    <a:lnTo>
                      <a:pt x="417" y="561"/>
                    </a:lnTo>
                    <a:lnTo>
                      <a:pt x="415" y="561"/>
                    </a:lnTo>
                    <a:lnTo>
                      <a:pt x="415" y="559"/>
                    </a:lnTo>
                    <a:lnTo>
                      <a:pt x="413" y="559"/>
                    </a:lnTo>
                    <a:lnTo>
                      <a:pt x="413" y="557"/>
                    </a:lnTo>
                    <a:lnTo>
                      <a:pt x="411" y="557"/>
                    </a:lnTo>
                    <a:lnTo>
                      <a:pt x="411" y="555"/>
                    </a:lnTo>
                    <a:lnTo>
                      <a:pt x="409" y="555"/>
                    </a:lnTo>
                    <a:lnTo>
                      <a:pt x="409" y="553"/>
                    </a:lnTo>
                    <a:lnTo>
                      <a:pt x="409" y="551"/>
                    </a:lnTo>
                    <a:lnTo>
                      <a:pt x="409" y="549"/>
                    </a:lnTo>
                    <a:lnTo>
                      <a:pt x="407" y="549"/>
                    </a:lnTo>
                    <a:lnTo>
                      <a:pt x="407" y="551"/>
                    </a:lnTo>
                    <a:lnTo>
                      <a:pt x="405" y="551"/>
                    </a:lnTo>
                    <a:lnTo>
                      <a:pt x="407" y="551"/>
                    </a:lnTo>
                    <a:lnTo>
                      <a:pt x="407" y="553"/>
                    </a:lnTo>
                    <a:lnTo>
                      <a:pt x="407" y="555"/>
                    </a:lnTo>
                    <a:lnTo>
                      <a:pt x="407" y="557"/>
                    </a:lnTo>
                    <a:lnTo>
                      <a:pt x="407" y="559"/>
                    </a:lnTo>
                    <a:lnTo>
                      <a:pt x="407" y="561"/>
                    </a:lnTo>
                    <a:lnTo>
                      <a:pt x="407" y="563"/>
                    </a:lnTo>
                    <a:lnTo>
                      <a:pt x="405" y="563"/>
                    </a:lnTo>
                    <a:lnTo>
                      <a:pt x="405" y="565"/>
                    </a:lnTo>
                    <a:lnTo>
                      <a:pt x="403" y="565"/>
                    </a:lnTo>
                    <a:lnTo>
                      <a:pt x="401" y="565"/>
                    </a:lnTo>
                    <a:lnTo>
                      <a:pt x="401" y="563"/>
                    </a:lnTo>
                    <a:lnTo>
                      <a:pt x="403" y="563"/>
                    </a:lnTo>
                    <a:lnTo>
                      <a:pt x="401" y="563"/>
                    </a:lnTo>
                    <a:lnTo>
                      <a:pt x="400" y="563"/>
                    </a:lnTo>
                    <a:lnTo>
                      <a:pt x="400" y="565"/>
                    </a:lnTo>
                    <a:lnTo>
                      <a:pt x="398" y="565"/>
                    </a:lnTo>
                    <a:lnTo>
                      <a:pt x="398" y="567"/>
                    </a:lnTo>
                    <a:lnTo>
                      <a:pt x="398" y="565"/>
                    </a:lnTo>
                    <a:lnTo>
                      <a:pt x="396" y="565"/>
                    </a:lnTo>
                    <a:lnTo>
                      <a:pt x="396" y="567"/>
                    </a:lnTo>
                    <a:lnTo>
                      <a:pt x="398" y="567"/>
                    </a:lnTo>
                    <a:lnTo>
                      <a:pt x="396" y="567"/>
                    </a:lnTo>
                    <a:lnTo>
                      <a:pt x="396" y="568"/>
                    </a:lnTo>
                    <a:lnTo>
                      <a:pt x="398" y="568"/>
                    </a:lnTo>
                    <a:lnTo>
                      <a:pt x="398" y="567"/>
                    </a:lnTo>
                    <a:lnTo>
                      <a:pt x="400" y="567"/>
                    </a:lnTo>
                    <a:lnTo>
                      <a:pt x="400" y="568"/>
                    </a:lnTo>
                    <a:lnTo>
                      <a:pt x="398" y="568"/>
                    </a:lnTo>
                    <a:lnTo>
                      <a:pt x="400" y="568"/>
                    </a:lnTo>
                    <a:lnTo>
                      <a:pt x="400" y="570"/>
                    </a:lnTo>
                    <a:lnTo>
                      <a:pt x="401" y="572"/>
                    </a:lnTo>
                    <a:lnTo>
                      <a:pt x="403" y="572"/>
                    </a:lnTo>
                    <a:lnTo>
                      <a:pt x="401" y="572"/>
                    </a:lnTo>
                    <a:lnTo>
                      <a:pt x="403" y="572"/>
                    </a:lnTo>
                    <a:lnTo>
                      <a:pt x="403" y="574"/>
                    </a:lnTo>
                    <a:lnTo>
                      <a:pt x="403" y="572"/>
                    </a:lnTo>
                    <a:lnTo>
                      <a:pt x="403" y="574"/>
                    </a:lnTo>
                    <a:lnTo>
                      <a:pt x="403" y="576"/>
                    </a:lnTo>
                    <a:lnTo>
                      <a:pt x="403" y="578"/>
                    </a:lnTo>
                    <a:lnTo>
                      <a:pt x="403" y="580"/>
                    </a:lnTo>
                    <a:lnTo>
                      <a:pt x="405" y="580"/>
                    </a:lnTo>
                    <a:lnTo>
                      <a:pt x="407" y="580"/>
                    </a:lnTo>
                    <a:lnTo>
                      <a:pt x="407" y="582"/>
                    </a:lnTo>
                    <a:lnTo>
                      <a:pt x="407" y="584"/>
                    </a:lnTo>
                    <a:lnTo>
                      <a:pt x="405" y="584"/>
                    </a:lnTo>
                    <a:lnTo>
                      <a:pt x="403" y="584"/>
                    </a:lnTo>
                    <a:lnTo>
                      <a:pt x="401" y="584"/>
                    </a:lnTo>
                    <a:lnTo>
                      <a:pt x="401" y="582"/>
                    </a:lnTo>
                    <a:lnTo>
                      <a:pt x="400" y="582"/>
                    </a:lnTo>
                    <a:lnTo>
                      <a:pt x="398" y="582"/>
                    </a:lnTo>
                    <a:lnTo>
                      <a:pt x="396" y="582"/>
                    </a:lnTo>
                    <a:lnTo>
                      <a:pt x="394" y="580"/>
                    </a:lnTo>
                    <a:lnTo>
                      <a:pt x="394" y="578"/>
                    </a:lnTo>
                    <a:lnTo>
                      <a:pt x="392" y="578"/>
                    </a:lnTo>
                    <a:lnTo>
                      <a:pt x="390" y="578"/>
                    </a:lnTo>
                    <a:lnTo>
                      <a:pt x="388" y="578"/>
                    </a:lnTo>
                    <a:lnTo>
                      <a:pt x="386" y="576"/>
                    </a:lnTo>
                    <a:lnTo>
                      <a:pt x="386" y="574"/>
                    </a:lnTo>
                    <a:lnTo>
                      <a:pt x="386" y="572"/>
                    </a:lnTo>
                    <a:lnTo>
                      <a:pt x="384" y="572"/>
                    </a:lnTo>
                    <a:lnTo>
                      <a:pt x="384" y="570"/>
                    </a:lnTo>
                    <a:lnTo>
                      <a:pt x="382" y="570"/>
                    </a:lnTo>
                    <a:lnTo>
                      <a:pt x="380" y="568"/>
                    </a:lnTo>
                    <a:lnTo>
                      <a:pt x="378" y="568"/>
                    </a:lnTo>
                    <a:lnTo>
                      <a:pt x="378" y="572"/>
                    </a:lnTo>
                    <a:lnTo>
                      <a:pt x="378" y="574"/>
                    </a:lnTo>
                    <a:lnTo>
                      <a:pt x="378" y="576"/>
                    </a:lnTo>
                    <a:lnTo>
                      <a:pt x="380" y="578"/>
                    </a:lnTo>
                    <a:lnTo>
                      <a:pt x="380" y="580"/>
                    </a:lnTo>
                    <a:lnTo>
                      <a:pt x="378" y="580"/>
                    </a:lnTo>
                    <a:lnTo>
                      <a:pt x="380" y="580"/>
                    </a:lnTo>
                    <a:lnTo>
                      <a:pt x="380" y="582"/>
                    </a:lnTo>
                    <a:lnTo>
                      <a:pt x="380" y="584"/>
                    </a:lnTo>
                    <a:lnTo>
                      <a:pt x="380" y="586"/>
                    </a:lnTo>
                    <a:lnTo>
                      <a:pt x="378" y="586"/>
                    </a:lnTo>
                    <a:lnTo>
                      <a:pt x="378" y="590"/>
                    </a:lnTo>
                    <a:lnTo>
                      <a:pt x="377" y="592"/>
                    </a:lnTo>
                    <a:lnTo>
                      <a:pt x="378" y="590"/>
                    </a:lnTo>
                    <a:lnTo>
                      <a:pt x="380" y="590"/>
                    </a:lnTo>
                    <a:lnTo>
                      <a:pt x="382" y="590"/>
                    </a:lnTo>
                    <a:lnTo>
                      <a:pt x="382" y="592"/>
                    </a:lnTo>
                    <a:lnTo>
                      <a:pt x="382" y="593"/>
                    </a:lnTo>
                    <a:lnTo>
                      <a:pt x="382" y="595"/>
                    </a:lnTo>
                    <a:lnTo>
                      <a:pt x="382" y="597"/>
                    </a:lnTo>
                    <a:lnTo>
                      <a:pt x="380" y="599"/>
                    </a:lnTo>
                    <a:lnTo>
                      <a:pt x="380" y="601"/>
                    </a:lnTo>
                    <a:lnTo>
                      <a:pt x="378" y="601"/>
                    </a:lnTo>
                    <a:lnTo>
                      <a:pt x="378" y="605"/>
                    </a:lnTo>
                    <a:lnTo>
                      <a:pt x="377" y="605"/>
                    </a:lnTo>
                    <a:lnTo>
                      <a:pt x="377" y="607"/>
                    </a:lnTo>
                    <a:lnTo>
                      <a:pt x="375" y="607"/>
                    </a:lnTo>
                    <a:lnTo>
                      <a:pt x="375" y="609"/>
                    </a:lnTo>
                    <a:lnTo>
                      <a:pt x="373" y="607"/>
                    </a:lnTo>
                    <a:lnTo>
                      <a:pt x="371" y="607"/>
                    </a:lnTo>
                    <a:lnTo>
                      <a:pt x="369" y="607"/>
                    </a:lnTo>
                    <a:lnTo>
                      <a:pt x="367" y="607"/>
                    </a:lnTo>
                    <a:lnTo>
                      <a:pt x="367" y="609"/>
                    </a:lnTo>
                    <a:lnTo>
                      <a:pt x="365" y="609"/>
                    </a:lnTo>
                    <a:lnTo>
                      <a:pt x="363" y="609"/>
                    </a:lnTo>
                    <a:lnTo>
                      <a:pt x="361" y="609"/>
                    </a:lnTo>
                    <a:lnTo>
                      <a:pt x="361" y="607"/>
                    </a:lnTo>
                    <a:lnTo>
                      <a:pt x="359" y="607"/>
                    </a:lnTo>
                    <a:lnTo>
                      <a:pt x="359" y="605"/>
                    </a:lnTo>
                    <a:lnTo>
                      <a:pt x="357" y="605"/>
                    </a:lnTo>
                    <a:lnTo>
                      <a:pt x="357" y="603"/>
                    </a:lnTo>
                    <a:lnTo>
                      <a:pt x="355" y="603"/>
                    </a:lnTo>
                    <a:lnTo>
                      <a:pt x="353" y="603"/>
                    </a:lnTo>
                    <a:lnTo>
                      <a:pt x="352" y="603"/>
                    </a:lnTo>
                    <a:lnTo>
                      <a:pt x="350" y="603"/>
                    </a:lnTo>
                    <a:lnTo>
                      <a:pt x="350" y="601"/>
                    </a:lnTo>
                    <a:lnTo>
                      <a:pt x="348" y="601"/>
                    </a:lnTo>
                    <a:lnTo>
                      <a:pt x="346" y="601"/>
                    </a:lnTo>
                    <a:lnTo>
                      <a:pt x="346" y="599"/>
                    </a:lnTo>
                    <a:lnTo>
                      <a:pt x="346" y="597"/>
                    </a:lnTo>
                    <a:lnTo>
                      <a:pt x="344" y="597"/>
                    </a:lnTo>
                    <a:lnTo>
                      <a:pt x="342" y="597"/>
                    </a:lnTo>
                    <a:lnTo>
                      <a:pt x="340" y="597"/>
                    </a:lnTo>
                    <a:lnTo>
                      <a:pt x="338" y="597"/>
                    </a:lnTo>
                    <a:lnTo>
                      <a:pt x="336" y="597"/>
                    </a:lnTo>
                    <a:lnTo>
                      <a:pt x="334" y="597"/>
                    </a:lnTo>
                    <a:lnTo>
                      <a:pt x="334" y="595"/>
                    </a:lnTo>
                    <a:lnTo>
                      <a:pt x="332" y="595"/>
                    </a:lnTo>
                    <a:lnTo>
                      <a:pt x="330" y="595"/>
                    </a:lnTo>
                    <a:lnTo>
                      <a:pt x="330" y="593"/>
                    </a:lnTo>
                    <a:lnTo>
                      <a:pt x="328" y="593"/>
                    </a:lnTo>
                    <a:lnTo>
                      <a:pt x="328" y="595"/>
                    </a:lnTo>
                    <a:lnTo>
                      <a:pt x="327" y="595"/>
                    </a:lnTo>
                    <a:lnTo>
                      <a:pt x="327" y="597"/>
                    </a:lnTo>
                    <a:lnTo>
                      <a:pt x="327" y="599"/>
                    </a:lnTo>
                    <a:lnTo>
                      <a:pt x="325" y="599"/>
                    </a:lnTo>
                    <a:lnTo>
                      <a:pt x="327" y="601"/>
                    </a:lnTo>
                    <a:lnTo>
                      <a:pt x="327" y="603"/>
                    </a:lnTo>
                    <a:lnTo>
                      <a:pt x="327" y="605"/>
                    </a:lnTo>
                    <a:lnTo>
                      <a:pt x="328" y="605"/>
                    </a:lnTo>
                    <a:lnTo>
                      <a:pt x="328" y="607"/>
                    </a:lnTo>
                    <a:lnTo>
                      <a:pt x="330" y="607"/>
                    </a:lnTo>
                    <a:lnTo>
                      <a:pt x="332" y="607"/>
                    </a:lnTo>
                    <a:lnTo>
                      <a:pt x="332" y="609"/>
                    </a:lnTo>
                    <a:lnTo>
                      <a:pt x="332" y="611"/>
                    </a:lnTo>
                    <a:lnTo>
                      <a:pt x="332" y="613"/>
                    </a:lnTo>
                    <a:lnTo>
                      <a:pt x="334" y="613"/>
                    </a:lnTo>
                    <a:lnTo>
                      <a:pt x="334" y="615"/>
                    </a:lnTo>
                    <a:lnTo>
                      <a:pt x="334" y="616"/>
                    </a:lnTo>
                    <a:lnTo>
                      <a:pt x="334" y="618"/>
                    </a:lnTo>
                    <a:lnTo>
                      <a:pt x="332" y="620"/>
                    </a:lnTo>
                    <a:lnTo>
                      <a:pt x="332" y="622"/>
                    </a:lnTo>
                    <a:lnTo>
                      <a:pt x="332" y="624"/>
                    </a:lnTo>
                    <a:lnTo>
                      <a:pt x="330" y="626"/>
                    </a:lnTo>
                    <a:lnTo>
                      <a:pt x="330" y="628"/>
                    </a:lnTo>
                    <a:lnTo>
                      <a:pt x="328" y="628"/>
                    </a:lnTo>
                    <a:lnTo>
                      <a:pt x="328" y="630"/>
                    </a:lnTo>
                    <a:lnTo>
                      <a:pt x="327" y="630"/>
                    </a:lnTo>
                    <a:lnTo>
                      <a:pt x="327" y="628"/>
                    </a:lnTo>
                    <a:lnTo>
                      <a:pt x="325" y="628"/>
                    </a:lnTo>
                    <a:lnTo>
                      <a:pt x="325" y="630"/>
                    </a:lnTo>
                    <a:lnTo>
                      <a:pt x="325" y="628"/>
                    </a:lnTo>
                    <a:lnTo>
                      <a:pt x="323" y="628"/>
                    </a:lnTo>
                    <a:lnTo>
                      <a:pt x="321" y="628"/>
                    </a:lnTo>
                    <a:lnTo>
                      <a:pt x="321" y="626"/>
                    </a:lnTo>
                    <a:lnTo>
                      <a:pt x="319" y="626"/>
                    </a:lnTo>
                    <a:lnTo>
                      <a:pt x="317" y="626"/>
                    </a:lnTo>
                    <a:lnTo>
                      <a:pt x="315" y="626"/>
                    </a:lnTo>
                    <a:lnTo>
                      <a:pt x="315" y="624"/>
                    </a:lnTo>
                    <a:lnTo>
                      <a:pt x="313" y="624"/>
                    </a:lnTo>
                    <a:lnTo>
                      <a:pt x="311" y="624"/>
                    </a:lnTo>
                    <a:lnTo>
                      <a:pt x="313" y="624"/>
                    </a:lnTo>
                    <a:lnTo>
                      <a:pt x="313" y="626"/>
                    </a:lnTo>
                    <a:lnTo>
                      <a:pt x="315" y="626"/>
                    </a:lnTo>
                    <a:lnTo>
                      <a:pt x="315" y="628"/>
                    </a:lnTo>
                    <a:lnTo>
                      <a:pt x="317" y="628"/>
                    </a:lnTo>
                    <a:lnTo>
                      <a:pt x="319" y="628"/>
                    </a:lnTo>
                    <a:lnTo>
                      <a:pt x="319" y="630"/>
                    </a:lnTo>
                    <a:lnTo>
                      <a:pt x="321" y="630"/>
                    </a:lnTo>
                    <a:lnTo>
                      <a:pt x="321" y="632"/>
                    </a:lnTo>
                    <a:lnTo>
                      <a:pt x="323" y="632"/>
                    </a:lnTo>
                    <a:lnTo>
                      <a:pt x="325" y="632"/>
                    </a:lnTo>
                    <a:lnTo>
                      <a:pt x="325" y="634"/>
                    </a:lnTo>
                    <a:lnTo>
                      <a:pt x="325" y="636"/>
                    </a:lnTo>
                    <a:lnTo>
                      <a:pt x="327" y="636"/>
                    </a:lnTo>
                    <a:lnTo>
                      <a:pt x="327" y="640"/>
                    </a:lnTo>
                    <a:lnTo>
                      <a:pt x="327" y="641"/>
                    </a:lnTo>
                    <a:lnTo>
                      <a:pt x="325" y="641"/>
                    </a:lnTo>
                    <a:lnTo>
                      <a:pt x="325" y="640"/>
                    </a:lnTo>
                    <a:lnTo>
                      <a:pt x="325" y="641"/>
                    </a:lnTo>
                    <a:lnTo>
                      <a:pt x="323" y="641"/>
                    </a:lnTo>
                    <a:lnTo>
                      <a:pt x="323" y="643"/>
                    </a:lnTo>
                    <a:lnTo>
                      <a:pt x="323" y="645"/>
                    </a:lnTo>
                    <a:lnTo>
                      <a:pt x="323" y="647"/>
                    </a:lnTo>
                    <a:lnTo>
                      <a:pt x="323" y="645"/>
                    </a:lnTo>
                    <a:lnTo>
                      <a:pt x="323" y="647"/>
                    </a:lnTo>
                    <a:lnTo>
                      <a:pt x="325" y="645"/>
                    </a:lnTo>
                    <a:lnTo>
                      <a:pt x="325" y="647"/>
                    </a:lnTo>
                    <a:lnTo>
                      <a:pt x="325" y="645"/>
                    </a:lnTo>
                    <a:lnTo>
                      <a:pt x="325" y="647"/>
                    </a:lnTo>
                    <a:lnTo>
                      <a:pt x="327" y="647"/>
                    </a:lnTo>
                    <a:lnTo>
                      <a:pt x="328" y="647"/>
                    </a:lnTo>
                    <a:lnTo>
                      <a:pt x="327" y="647"/>
                    </a:lnTo>
                    <a:lnTo>
                      <a:pt x="328" y="647"/>
                    </a:lnTo>
                    <a:lnTo>
                      <a:pt x="327" y="647"/>
                    </a:lnTo>
                    <a:lnTo>
                      <a:pt x="327" y="649"/>
                    </a:lnTo>
                    <a:lnTo>
                      <a:pt x="328" y="649"/>
                    </a:lnTo>
                    <a:lnTo>
                      <a:pt x="328" y="651"/>
                    </a:lnTo>
                    <a:lnTo>
                      <a:pt x="328" y="653"/>
                    </a:lnTo>
                    <a:lnTo>
                      <a:pt x="328" y="655"/>
                    </a:lnTo>
                    <a:lnTo>
                      <a:pt x="328" y="657"/>
                    </a:lnTo>
                    <a:lnTo>
                      <a:pt x="328" y="659"/>
                    </a:lnTo>
                    <a:lnTo>
                      <a:pt x="328" y="661"/>
                    </a:lnTo>
                    <a:lnTo>
                      <a:pt x="328" y="663"/>
                    </a:lnTo>
                    <a:lnTo>
                      <a:pt x="330" y="663"/>
                    </a:lnTo>
                    <a:lnTo>
                      <a:pt x="330" y="661"/>
                    </a:lnTo>
                    <a:lnTo>
                      <a:pt x="332" y="663"/>
                    </a:lnTo>
                    <a:lnTo>
                      <a:pt x="334" y="663"/>
                    </a:lnTo>
                    <a:lnTo>
                      <a:pt x="336" y="663"/>
                    </a:lnTo>
                    <a:lnTo>
                      <a:pt x="336" y="664"/>
                    </a:lnTo>
                    <a:lnTo>
                      <a:pt x="336" y="666"/>
                    </a:lnTo>
                    <a:lnTo>
                      <a:pt x="338" y="666"/>
                    </a:lnTo>
                    <a:lnTo>
                      <a:pt x="336" y="666"/>
                    </a:lnTo>
                    <a:lnTo>
                      <a:pt x="336" y="668"/>
                    </a:lnTo>
                    <a:lnTo>
                      <a:pt x="336" y="670"/>
                    </a:lnTo>
                    <a:lnTo>
                      <a:pt x="336" y="668"/>
                    </a:lnTo>
                    <a:lnTo>
                      <a:pt x="338" y="668"/>
                    </a:lnTo>
                    <a:lnTo>
                      <a:pt x="338" y="670"/>
                    </a:lnTo>
                    <a:lnTo>
                      <a:pt x="336" y="670"/>
                    </a:lnTo>
                    <a:lnTo>
                      <a:pt x="336" y="672"/>
                    </a:lnTo>
                    <a:lnTo>
                      <a:pt x="336" y="674"/>
                    </a:lnTo>
                    <a:lnTo>
                      <a:pt x="334" y="674"/>
                    </a:lnTo>
                    <a:lnTo>
                      <a:pt x="336" y="674"/>
                    </a:lnTo>
                    <a:lnTo>
                      <a:pt x="334" y="674"/>
                    </a:lnTo>
                    <a:lnTo>
                      <a:pt x="334" y="676"/>
                    </a:lnTo>
                    <a:lnTo>
                      <a:pt x="332" y="676"/>
                    </a:lnTo>
                    <a:lnTo>
                      <a:pt x="330" y="676"/>
                    </a:lnTo>
                    <a:lnTo>
                      <a:pt x="330" y="674"/>
                    </a:lnTo>
                    <a:lnTo>
                      <a:pt x="330" y="676"/>
                    </a:lnTo>
                    <a:lnTo>
                      <a:pt x="328" y="676"/>
                    </a:lnTo>
                    <a:lnTo>
                      <a:pt x="328" y="674"/>
                    </a:lnTo>
                    <a:lnTo>
                      <a:pt x="328" y="672"/>
                    </a:lnTo>
                    <a:lnTo>
                      <a:pt x="327" y="672"/>
                    </a:lnTo>
                    <a:lnTo>
                      <a:pt x="327" y="670"/>
                    </a:lnTo>
                    <a:lnTo>
                      <a:pt x="327" y="668"/>
                    </a:lnTo>
                    <a:lnTo>
                      <a:pt x="325" y="668"/>
                    </a:lnTo>
                    <a:lnTo>
                      <a:pt x="325" y="670"/>
                    </a:lnTo>
                    <a:lnTo>
                      <a:pt x="323" y="670"/>
                    </a:lnTo>
                    <a:lnTo>
                      <a:pt x="321" y="670"/>
                    </a:lnTo>
                    <a:lnTo>
                      <a:pt x="319" y="670"/>
                    </a:lnTo>
                    <a:lnTo>
                      <a:pt x="319" y="672"/>
                    </a:lnTo>
                    <a:lnTo>
                      <a:pt x="319" y="674"/>
                    </a:lnTo>
                    <a:lnTo>
                      <a:pt x="319" y="676"/>
                    </a:lnTo>
                    <a:lnTo>
                      <a:pt x="321" y="678"/>
                    </a:lnTo>
                    <a:lnTo>
                      <a:pt x="319" y="678"/>
                    </a:lnTo>
                    <a:lnTo>
                      <a:pt x="319" y="680"/>
                    </a:lnTo>
                    <a:lnTo>
                      <a:pt x="317" y="682"/>
                    </a:lnTo>
                    <a:lnTo>
                      <a:pt x="319" y="682"/>
                    </a:lnTo>
                    <a:lnTo>
                      <a:pt x="319" y="684"/>
                    </a:lnTo>
                    <a:lnTo>
                      <a:pt x="321" y="684"/>
                    </a:lnTo>
                    <a:lnTo>
                      <a:pt x="321" y="686"/>
                    </a:lnTo>
                    <a:lnTo>
                      <a:pt x="323" y="688"/>
                    </a:lnTo>
                    <a:lnTo>
                      <a:pt x="321" y="688"/>
                    </a:lnTo>
                    <a:lnTo>
                      <a:pt x="319" y="689"/>
                    </a:lnTo>
                    <a:lnTo>
                      <a:pt x="317" y="689"/>
                    </a:lnTo>
                    <a:lnTo>
                      <a:pt x="315" y="691"/>
                    </a:lnTo>
                    <a:lnTo>
                      <a:pt x="311" y="691"/>
                    </a:lnTo>
                    <a:lnTo>
                      <a:pt x="311" y="693"/>
                    </a:lnTo>
                    <a:lnTo>
                      <a:pt x="311" y="695"/>
                    </a:lnTo>
                    <a:lnTo>
                      <a:pt x="309" y="695"/>
                    </a:lnTo>
                    <a:lnTo>
                      <a:pt x="309" y="693"/>
                    </a:lnTo>
                    <a:lnTo>
                      <a:pt x="307" y="693"/>
                    </a:lnTo>
                    <a:lnTo>
                      <a:pt x="305" y="693"/>
                    </a:lnTo>
                    <a:lnTo>
                      <a:pt x="305" y="695"/>
                    </a:lnTo>
                    <a:lnTo>
                      <a:pt x="304" y="695"/>
                    </a:lnTo>
                    <a:lnTo>
                      <a:pt x="304" y="697"/>
                    </a:lnTo>
                    <a:lnTo>
                      <a:pt x="302" y="697"/>
                    </a:lnTo>
                    <a:lnTo>
                      <a:pt x="302" y="699"/>
                    </a:lnTo>
                    <a:lnTo>
                      <a:pt x="304" y="701"/>
                    </a:lnTo>
                    <a:lnTo>
                      <a:pt x="304" y="703"/>
                    </a:lnTo>
                    <a:lnTo>
                      <a:pt x="302" y="703"/>
                    </a:lnTo>
                    <a:lnTo>
                      <a:pt x="302" y="701"/>
                    </a:lnTo>
                    <a:lnTo>
                      <a:pt x="300" y="701"/>
                    </a:lnTo>
                    <a:lnTo>
                      <a:pt x="298" y="701"/>
                    </a:lnTo>
                    <a:lnTo>
                      <a:pt x="296" y="699"/>
                    </a:lnTo>
                    <a:lnTo>
                      <a:pt x="294" y="699"/>
                    </a:lnTo>
                    <a:lnTo>
                      <a:pt x="292" y="697"/>
                    </a:lnTo>
                    <a:lnTo>
                      <a:pt x="292" y="695"/>
                    </a:lnTo>
                    <a:lnTo>
                      <a:pt x="290" y="695"/>
                    </a:lnTo>
                    <a:lnTo>
                      <a:pt x="290" y="693"/>
                    </a:lnTo>
                    <a:lnTo>
                      <a:pt x="290" y="691"/>
                    </a:lnTo>
                    <a:lnTo>
                      <a:pt x="292" y="691"/>
                    </a:lnTo>
                    <a:lnTo>
                      <a:pt x="292" y="689"/>
                    </a:lnTo>
                    <a:lnTo>
                      <a:pt x="290" y="689"/>
                    </a:lnTo>
                    <a:lnTo>
                      <a:pt x="290" y="688"/>
                    </a:lnTo>
                    <a:lnTo>
                      <a:pt x="292" y="688"/>
                    </a:lnTo>
                    <a:lnTo>
                      <a:pt x="292" y="686"/>
                    </a:lnTo>
                    <a:lnTo>
                      <a:pt x="294" y="686"/>
                    </a:lnTo>
                    <a:lnTo>
                      <a:pt x="292" y="686"/>
                    </a:lnTo>
                    <a:lnTo>
                      <a:pt x="292" y="684"/>
                    </a:lnTo>
                    <a:lnTo>
                      <a:pt x="294" y="684"/>
                    </a:lnTo>
                    <a:lnTo>
                      <a:pt x="294" y="682"/>
                    </a:lnTo>
                    <a:lnTo>
                      <a:pt x="292" y="682"/>
                    </a:lnTo>
                    <a:lnTo>
                      <a:pt x="292" y="680"/>
                    </a:lnTo>
                    <a:lnTo>
                      <a:pt x="294" y="680"/>
                    </a:lnTo>
                    <a:lnTo>
                      <a:pt x="294" y="678"/>
                    </a:lnTo>
                    <a:lnTo>
                      <a:pt x="292" y="678"/>
                    </a:lnTo>
                    <a:lnTo>
                      <a:pt x="290" y="678"/>
                    </a:lnTo>
                    <a:lnTo>
                      <a:pt x="290" y="676"/>
                    </a:lnTo>
                    <a:lnTo>
                      <a:pt x="288" y="676"/>
                    </a:lnTo>
                    <a:lnTo>
                      <a:pt x="288" y="674"/>
                    </a:lnTo>
                    <a:lnTo>
                      <a:pt x="286" y="674"/>
                    </a:lnTo>
                    <a:lnTo>
                      <a:pt x="286" y="676"/>
                    </a:lnTo>
                    <a:lnTo>
                      <a:pt x="284" y="676"/>
                    </a:lnTo>
                    <a:lnTo>
                      <a:pt x="282" y="676"/>
                    </a:lnTo>
                    <a:lnTo>
                      <a:pt x="282" y="674"/>
                    </a:lnTo>
                    <a:lnTo>
                      <a:pt x="280" y="672"/>
                    </a:lnTo>
                    <a:lnTo>
                      <a:pt x="280" y="670"/>
                    </a:lnTo>
                    <a:lnTo>
                      <a:pt x="279" y="670"/>
                    </a:lnTo>
                    <a:lnTo>
                      <a:pt x="279" y="668"/>
                    </a:lnTo>
                    <a:lnTo>
                      <a:pt x="277" y="668"/>
                    </a:lnTo>
                    <a:lnTo>
                      <a:pt x="277" y="666"/>
                    </a:lnTo>
                    <a:lnTo>
                      <a:pt x="275" y="664"/>
                    </a:lnTo>
                    <a:lnTo>
                      <a:pt x="275" y="663"/>
                    </a:lnTo>
                    <a:lnTo>
                      <a:pt x="273" y="663"/>
                    </a:lnTo>
                    <a:lnTo>
                      <a:pt x="273" y="661"/>
                    </a:lnTo>
                    <a:lnTo>
                      <a:pt x="271" y="659"/>
                    </a:lnTo>
                    <a:lnTo>
                      <a:pt x="271" y="657"/>
                    </a:lnTo>
                    <a:lnTo>
                      <a:pt x="269" y="657"/>
                    </a:lnTo>
                    <a:lnTo>
                      <a:pt x="269" y="655"/>
                    </a:lnTo>
                    <a:lnTo>
                      <a:pt x="269" y="653"/>
                    </a:lnTo>
                    <a:lnTo>
                      <a:pt x="267" y="653"/>
                    </a:lnTo>
                    <a:lnTo>
                      <a:pt x="267" y="651"/>
                    </a:lnTo>
                    <a:lnTo>
                      <a:pt x="265" y="653"/>
                    </a:lnTo>
                    <a:lnTo>
                      <a:pt x="265" y="655"/>
                    </a:lnTo>
                    <a:lnTo>
                      <a:pt x="263" y="655"/>
                    </a:lnTo>
                    <a:lnTo>
                      <a:pt x="263" y="657"/>
                    </a:lnTo>
                    <a:lnTo>
                      <a:pt x="263" y="659"/>
                    </a:lnTo>
                    <a:lnTo>
                      <a:pt x="263" y="661"/>
                    </a:lnTo>
                    <a:lnTo>
                      <a:pt x="263" y="663"/>
                    </a:lnTo>
                    <a:lnTo>
                      <a:pt x="263" y="664"/>
                    </a:lnTo>
                    <a:lnTo>
                      <a:pt x="263" y="666"/>
                    </a:lnTo>
                    <a:lnTo>
                      <a:pt x="263" y="668"/>
                    </a:lnTo>
                    <a:lnTo>
                      <a:pt x="261" y="670"/>
                    </a:lnTo>
                    <a:lnTo>
                      <a:pt x="259" y="668"/>
                    </a:lnTo>
                    <a:lnTo>
                      <a:pt x="257" y="668"/>
                    </a:lnTo>
                    <a:lnTo>
                      <a:pt x="257" y="670"/>
                    </a:lnTo>
                    <a:lnTo>
                      <a:pt x="257" y="668"/>
                    </a:lnTo>
                    <a:lnTo>
                      <a:pt x="256" y="668"/>
                    </a:lnTo>
                    <a:lnTo>
                      <a:pt x="254" y="668"/>
                    </a:lnTo>
                    <a:lnTo>
                      <a:pt x="252" y="668"/>
                    </a:lnTo>
                    <a:lnTo>
                      <a:pt x="250" y="668"/>
                    </a:lnTo>
                    <a:lnTo>
                      <a:pt x="248" y="668"/>
                    </a:lnTo>
                    <a:lnTo>
                      <a:pt x="248" y="666"/>
                    </a:lnTo>
                    <a:lnTo>
                      <a:pt x="250" y="664"/>
                    </a:lnTo>
                    <a:lnTo>
                      <a:pt x="250" y="663"/>
                    </a:lnTo>
                    <a:lnTo>
                      <a:pt x="246" y="661"/>
                    </a:lnTo>
                    <a:lnTo>
                      <a:pt x="244" y="661"/>
                    </a:lnTo>
                    <a:lnTo>
                      <a:pt x="242" y="663"/>
                    </a:lnTo>
                    <a:lnTo>
                      <a:pt x="242" y="664"/>
                    </a:lnTo>
                    <a:lnTo>
                      <a:pt x="240" y="664"/>
                    </a:lnTo>
                    <a:lnTo>
                      <a:pt x="240" y="663"/>
                    </a:lnTo>
                    <a:lnTo>
                      <a:pt x="238" y="663"/>
                    </a:lnTo>
                    <a:lnTo>
                      <a:pt x="236" y="663"/>
                    </a:lnTo>
                    <a:lnTo>
                      <a:pt x="234" y="663"/>
                    </a:lnTo>
                    <a:lnTo>
                      <a:pt x="232" y="663"/>
                    </a:lnTo>
                    <a:lnTo>
                      <a:pt x="231" y="663"/>
                    </a:lnTo>
                    <a:lnTo>
                      <a:pt x="229" y="663"/>
                    </a:lnTo>
                    <a:lnTo>
                      <a:pt x="227" y="663"/>
                    </a:lnTo>
                    <a:lnTo>
                      <a:pt x="225" y="663"/>
                    </a:lnTo>
                    <a:lnTo>
                      <a:pt x="223" y="663"/>
                    </a:lnTo>
                    <a:lnTo>
                      <a:pt x="221" y="663"/>
                    </a:lnTo>
                    <a:lnTo>
                      <a:pt x="221" y="664"/>
                    </a:lnTo>
                    <a:lnTo>
                      <a:pt x="219" y="664"/>
                    </a:lnTo>
                    <a:lnTo>
                      <a:pt x="215" y="664"/>
                    </a:lnTo>
                    <a:lnTo>
                      <a:pt x="213" y="663"/>
                    </a:lnTo>
                    <a:lnTo>
                      <a:pt x="211" y="663"/>
                    </a:lnTo>
                    <a:lnTo>
                      <a:pt x="208" y="663"/>
                    </a:lnTo>
                    <a:lnTo>
                      <a:pt x="206" y="661"/>
                    </a:lnTo>
                    <a:lnTo>
                      <a:pt x="202" y="661"/>
                    </a:lnTo>
                    <a:lnTo>
                      <a:pt x="202" y="659"/>
                    </a:lnTo>
                    <a:lnTo>
                      <a:pt x="204" y="657"/>
                    </a:lnTo>
                    <a:lnTo>
                      <a:pt x="204" y="655"/>
                    </a:lnTo>
                    <a:lnTo>
                      <a:pt x="204" y="653"/>
                    </a:lnTo>
                    <a:lnTo>
                      <a:pt x="204" y="651"/>
                    </a:lnTo>
                    <a:lnTo>
                      <a:pt x="206" y="651"/>
                    </a:lnTo>
                    <a:lnTo>
                      <a:pt x="206" y="649"/>
                    </a:lnTo>
                    <a:lnTo>
                      <a:pt x="206" y="647"/>
                    </a:lnTo>
                    <a:lnTo>
                      <a:pt x="208" y="647"/>
                    </a:lnTo>
                    <a:lnTo>
                      <a:pt x="206" y="647"/>
                    </a:lnTo>
                    <a:lnTo>
                      <a:pt x="206" y="645"/>
                    </a:lnTo>
                    <a:lnTo>
                      <a:pt x="204" y="643"/>
                    </a:lnTo>
                    <a:lnTo>
                      <a:pt x="204" y="641"/>
                    </a:lnTo>
                    <a:lnTo>
                      <a:pt x="202" y="641"/>
                    </a:lnTo>
                    <a:lnTo>
                      <a:pt x="200" y="640"/>
                    </a:lnTo>
                    <a:lnTo>
                      <a:pt x="198" y="638"/>
                    </a:lnTo>
                    <a:lnTo>
                      <a:pt x="198" y="636"/>
                    </a:lnTo>
                    <a:lnTo>
                      <a:pt x="196" y="636"/>
                    </a:lnTo>
                    <a:lnTo>
                      <a:pt x="196" y="634"/>
                    </a:lnTo>
                    <a:lnTo>
                      <a:pt x="194" y="634"/>
                    </a:lnTo>
                    <a:lnTo>
                      <a:pt x="192" y="634"/>
                    </a:lnTo>
                    <a:lnTo>
                      <a:pt x="192" y="632"/>
                    </a:lnTo>
                    <a:lnTo>
                      <a:pt x="190" y="632"/>
                    </a:lnTo>
                    <a:lnTo>
                      <a:pt x="190" y="630"/>
                    </a:lnTo>
                    <a:lnTo>
                      <a:pt x="192" y="630"/>
                    </a:lnTo>
                    <a:lnTo>
                      <a:pt x="192" y="628"/>
                    </a:lnTo>
                    <a:lnTo>
                      <a:pt x="190" y="628"/>
                    </a:lnTo>
                    <a:lnTo>
                      <a:pt x="188" y="628"/>
                    </a:lnTo>
                    <a:lnTo>
                      <a:pt x="186" y="628"/>
                    </a:lnTo>
                    <a:lnTo>
                      <a:pt x="184" y="628"/>
                    </a:lnTo>
                    <a:lnTo>
                      <a:pt x="183" y="628"/>
                    </a:lnTo>
                    <a:lnTo>
                      <a:pt x="183" y="626"/>
                    </a:lnTo>
                    <a:lnTo>
                      <a:pt x="181" y="626"/>
                    </a:lnTo>
                    <a:lnTo>
                      <a:pt x="179" y="626"/>
                    </a:lnTo>
                    <a:lnTo>
                      <a:pt x="179" y="624"/>
                    </a:lnTo>
                    <a:lnTo>
                      <a:pt x="177" y="624"/>
                    </a:lnTo>
                    <a:lnTo>
                      <a:pt x="177" y="622"/>
                    </a:lnTo>
                    <a:lnTo>
                      <a:pt x="179" y="618"/>
                    </a:lnTo>
                    <a:lnTo>
                      <a:pt x="179" y="616"/>
                    </a:lnTo>
                    <a:lnTo>
                      <a:pt x="179" y="615"/>
                    </a:lnTo>
                    <a:lnTo>
                      <a:pt x="179" y="613"/>
                    </a:lnTo>
                    <a:lnTo>
                      <a:pt x="179" y="611"/>
                    </a:lnTo>
                    <a:lnTo>
                      <a:pt x="181" y="609"/>
                    </a:lnTo>
                    <a:lnTo>
                      <a:pt x="181" y="607"/>
                    </a:lnTo>
                    <a:lnTo>
                      <a:pt x="181" y="605"/>
                    </a:lnTo>
                    <a:lnTo>
                      <a:pt x="179" y="605"/>
                    </a:lnTo>
                    <a:lnTo>
                      <a:pt x="179" y="603"/>
                    </a:lnTo>
                    <a:lnTo>
                      <a:pt x="181" y="601"/>
                    </a:lnTo>
                    <a:lnTo>
                      <a:pt x="183" y="599"/>
                    </a:lnTo>
                    <a:lnTo>
                      <a:pt x="183" y="597"/>
                    </a:lnTo>
                    <a:lnTo>
                      <a:pt x="181" y="595"/>
                    </a:lnTo>
                    <a:lnTo>
                      <a:pt x="181" y="593"/>
                    </a:lnTo>
                    <a:lnTo>
                      <a:pt x="181" y="592"/>
                    </a:lnTo>
                    <a:lnTo>
                      <a:pt x="181" y="590"/>
                    </a:lnTo>
                    <a:lnTo>
                      <a:pt x="183" y="590"/>
                    </a:lnTo>
                    <a:lnTo>
                      <a:pt x="183" y="588"/>
                    </a:lnTo>
                    <a:lnTo>
                      <a:pt x="181" y="588"/>
                    </a:lnTo>
                    <a:lnTo>
                      <a:pt x="181" y="590"/>
                    </a:lnTo>
                    <a:lnTo>
                      <a:pt x="179" y="592"/>
                    </a:lnTo>
                    <a:lnTo>
                      <a:pt x="177" y="592"/>
                    </a:lnTo>
                    <a:lnTo>
                      <a:pt x="175" y="592"/>
                    </a:lnTo>
                    <a:lnTo>
                      <a:pt x="173" y="592"/>
                    </a:lnTo>
                    <a:lnTo>
                      <a:pt x="175" y="590"/>
                    </a:lnTo>
                    <a:lnTo>
                      <a:pt x="171" y="588"/>
                    </a:lnTo>
                    <a:lnTo>
                      <a:pt x="173" y="584"/>
                    </a:lnTo>
                    <a:lnTo>
                      <a:pt x="173" y="582"/>
                    </a:lnTo>
                    <a:lnTo>
                      <a:pt x="175" y="582"/>
                    </a:lnTo>
                    <a:lnTo>
                      <a:pt x="175" y="580"/>
                    </a:lnTo>
                    <a:lnTo>
                      <a:pt x="173" y="580"/>
                    </a:lnTo>
                    <a:lnTo>
                      <a:pt x="175" y="578"/>
                    </a:lnTo>
                    <a:lnTo>
                      <a:pt x="173" y="578"/>
                    </a:lnTo>
                    <a:lnTo>
                      <a:pt x="173" y="576"/>
                    </a:lnTo>
                    <a:lnTo>
                      <a:pt x="173" y="574"/>
                    </a:lnTo>
                    <a:lnTo>
                      <a:pt x="173" y="572"/>
                    </a:lnTo>
                    <a:lnTo>
                      <a:pt x="173" y="570"/>
                    </a:lnTo>
                    <a:lnTo>
                      <a:pt x="173" y="568"/>
                    </a:lnTo>
                    <a:lnTo>
                      <a:pt x="171" y="568"/>
                    </a:lnTo>
                    <a:lnTo>
                      <a:pt x="171" y="567"/>
                    </a:lnTo>
                    <a:lnTo>
                      <a:pt x="171" y="565"/>
                    </a:lnTo>
                    <a:lnTo>
                      <a:pt x="171" y="563"/>
                    </a:lnTo>
                    <a:lnTo>
                      <a:pt x="169" y="563"/>
                    </a:lnTo>
                    <a:lnTo>
                      <a:pt x="167" y="561"/>
                    </a:lnTo>
                    <a:lnTo>
                      <a:pt x="165" y="561"/>
                    </a:lnTo>
                    <a:lnTo>
                      <a:pt x="165" y="559"/>
                    </a:lnTo>
                    <a:lnTo>
                      <a:pt x="163" y="561"/>
                    </a:lnTo>
                    <a:lnTo>
                      <a:pt x="161" y="561"/>
                    </a:lnTo>
                    <a:lnTo>
                      <a:pt x="160" y="561"/>
                    </a:lnTo>
                    <a:lnTo>
                      <a:pt x="158" y="561"/>
                    </a:lnTo>
                    <a:lnTo>
                      <a:pt x="156" y="561"/>
                    </a:lnTo>
                    <a:lnTo>
                      <a:pt x="156" y="563"/>
                    </a:lnTo>
                    <a:lnTo>
                      <a:pt x="154" y="563"/>
                    </a:lnTo>
                    <a:lnTo>
                      <a:pt x="152" y="563"/>
                    </a:lnTo>
                    <a:lnTo>
                      <a:pt x="152" y="565"/>
                    </a:lnTo>
                    <a:lnTo>
                      <a:pt x="150" y="565"/>
                    </a:lnTo>
                    <a:lnTo>
                      <a:pt x="150" y="563"/>
                    </a:lnTo>
                    <a:lnTo>
                      <a:pt x="148" y="563"/>
                    </a:lnTo>
                    <a:lnTo>
                      <a:pt x="146" y="563"/>
                    </a:lnTo>
                    <a:lnTo>
                      <a:pt x="146" y="561"/>
                    </a:lnTo>
                    <a:lnTo>
                      <a:pt x="144" y="561"/>
                    </a:lnTo>
                    <a:lnTo>
                      <a:pt x="144" y="559"/>
                    </a:lnTo>
                    <a:lnTo>
                      <a:pt x="142" y="559"/>
                    </a:lnTo>
                    <a:lnTo>
                      <a:pt x="142" y="557"/>
                    </a:lnTo>
                    <a:lnTo>
                      <a:pt x="140" y="555"/>
                    </a:lnTo>
                    <a:lnTo>
                      <a:pt x="140" y="553"/>
                    </a:lnTo>
                    <a:lnTo>
                      <a:pt x="138" y="553"/>
                    </a:lnTo>
                    <a:lnTo>
                      <a:pt x="138" y="551"/>
                    </a:lnTo>
                    <a:lnTo>
                      <a:pt x="138" y="549"/>
                    </a:lnTo>
                    <a:lnTo>
                      <a:pt x="136" y="549"/>
                    </a:lnTo>
                    <a:lnTo>
                      <a:pt x="138" y="549"/>
                    </a:lnTo>
                    <a:lnTo>
                      <a:pt x="138" y="547"/>
                    </a:lnTo>
                    <a:lnTo>
                      <a:pt x="136" y="545"/>
                    </a:lnTo>
                    <a:lnTo>
                      <a:pt x="138" y="545"/>
                    </a:lnTo>
                    <a:lnTo>
                      <a:pt x="140" y="544"/>
                    </a:lnTo>
                    <a:lnTo>
                      <a:pt x="142" y="544"/>
                    </a:lnTo>
                    <a:lnTo>
                      <a:pt x="142" y="542"/>
                    </a:lnTo>
                    <a:lnTo>
                      <a:pt x="140" y="542"/>
                    </a:lnTo>
                    <a:lnTo>
                      <a:pt x="140" y="540"/>
                    </a:lnTo>
                    <a:lnTo>
                      <a:pt x="138" y="540"/>
                    </a:lnTo>
                    <a:lnTo>
                      <a:pt x="138" y="538"/>
                    </a:lnTo>
                    <a:lnTo>
                      <a:pt x="138" y="536"/>
                    </a:lnTo>
                    <a:lnTo>
                      <a:pt x="136" y="534"/>
                    </a:lnTo>
                    <a:lnTo>
                      <a:pt x="136" y="532"/>
                    </a:lnTo>
                    <a:lnTo>
                      <a:pt x="135" y="530"/>
                    </a:lnTo>
                    <a:lnTo>
                      <a:pt x="135" y="532"/>
                    </a:lnTo>
                    <a:lnTo>
                      <a:pt x="133" y="532"/>
                    </a:lnTo>
                    <a:lnTo>
                      <a:pt x="133" y="534"/>
                    </a:lnTo>
                    <a:lnTo>
                      <a:pt x="131" y="534"/>
                    </a:lnTo>
                    <a:lnTo>
                      <a:pt x="129" y="534"/>
                    </a:lnTo>
                    <a:lnTo>
                      <a:pt x="129" y="536"/>
                    </a:lnTo>
                    <a:lnTo>
                      <a:pt x="129" y="534"/>
                    </a:lnTo>
                    <a:lnTo>
                      <a:pt x="127" y="534"/>
                    </a:lnTo>
                    <a:lnTo>
                      <a:pt x="125" y="534"/>
                    </a:lnTo>
                    <a:lnTo>
                      <a:pt x="123" y="534"/>
                    </a:lnTo>
                    <a:lnTo>
                      <a:pt x="123" y="532"/>
                    </a:lnTo>
                    <a:lnTo>
                      <a:pt x="121" y="532"/>
                    </a:lnTo>
                    <a:lnTo>
                      <a:pt x="119" y="532"/>
                    </a:lnTo>
                    <a:lnTo>
                      <a:pt x="119" y="534"/>
                    </a:lnTo>
                    <a:lnTo>
                      <a:pt x="117" y="536"/>
                    </a:lnTo>
                    <a:lnTo>
                      <a:pt x="117" y="538"/>
                    </a:lnTo>
                    <a:lnTo>
                      <a:pt x="117" y="540"/>
                    </a:lnTo>
                    <a:lnTo>
                      <a:pt x="115" y="540"/>
                    </a:lnTo>
                    <a:lnTo>
                      <a:pt x="115" y="542"/>
                    </a:lnTo>
                    <a:lnTo>
                      <a:pt x="113" y="544"/>
                    </a:lnTo>
                    <a:lnTo>
                      <a:pt x="113" y="542"/>
                    </a:lnTo>
                    <a:lnTo>
                      <a:pt x="111" y="542"/>
                    </a:lnTo>
                    <a:lnTo>
                      <a:pt x="110" y="542"/>
                    </a:lnTo>
                    <a:lnTo>
                      <a:pt x="110" y="540"/>
                    </a:lnTo>
                    <a:lnTo>
                      <a:pt x="108" y="540"/>
                    </a:lnTo>
                    <a:lnTo>
                      <a:pt x="106" y="540"/>
                    </a:lnTo>
                    <a:lnTo>
                      <a:pt x="106" y="538"/>
                    </a:lnTo>
                    <a:lnTo>
                      <a:pt x="104" y="538"/>
                    </a:lnTo>
                    <a:lnTo>
                      <a:pt x="102" y="536"/>
                    </a:lnTo>
                    <a:lnTo>
                      <a:pt x="100" y="536"/>
                    </a:lnTo>
                    <a:lnTo>
                      <a:pt x="98" y="536"/>
                    </a:lnTo>
                    <a:lnTo>
                      <a:pt x="96" y="536"/>
                    </a:lnTo>
                    <a:lnTo>
                      <a:pt x="96" y="534"/>
                    </a:lnTo>
                    <a:lnTo>
                      <a:pt x="94" y="534"/>
                    </a:lnTo>
                    <a:lnTo>
                      <a:pt x="94" y="532"/>
                    </a:lnTo>
                    <a:lnTo>
                      <a:pt x="94" y="534"/>
                    </a:lnTo>
                    <a:lnTo>
                      <a:pt x="92" y="534"/>
                    </a:lnTo>
                    <a:lnTo>
                      <a:pt x="92" y="532"/>
                    </a:lnTo>
                    <a:lnTo>
                      <a:pt x="92" y="530"/>
                    </a:lnTo>
                    <a:lnTo>
                      <a:pt x="90" y="530"/>
                    </a:lnTo>
                    <a:lnTo>
                      <a:pt x="92" y="530"/>
                    </a:lnTo>
                    <a:lnTo>
                      <a:pt x="92" y="528"/>
                    </a:lnTo>
                    <a:lnTo>
                      <a:pt x="90" y="528"/>
                    </a:lnTo>
                    <a:lnTo>
                      <a:pt x="90" y="530"/>
                    </a:lnTo>
                    <a:lnTo>
                      <a:pt x="88" y="530"/>
                    </a:lnTo>
                    <a:lnTo>
                      <a:pt x="88" y="528"/>
                    </a:lnTo>
                    <a:lnTo>
                      <a:pt x="90" y="528"/>
                    </a:lnTo>
                    <a:lnTo>
                      <a:pt x="90" y="526"/>
                    </a:lnTo>
                    <a:lnTo>
                      <a:pt x="88" y="526"/>
                    </a:lnTo>
                    <a:lnTo>
                      <a:pt x="90" y="526"/>
                    </a:lnTo>
                    <a:lnTo>
                      <a:pt x="88" y="526"/>
                    </a:lnTo>
                    <a:lnTo>
                      <a:pt x="88" y="524"/>
                    </a:lnTo>
                    <a:lnTo>
                      <a:pt x="88" y="522"/>
                    </a:lnTo>
                    <a:lnTo>
                      <a:pt x="87" y="522"/>
                    </a:lnTo>
                    <a:lnTo>
                      <a:pt x="87" y="520"/>
                    </a:lnTo>
                    <a:lnTo>
                      <a:pt x="88" y="520"/>
                    </a:lnTo>
                    <a:lnTo>
                      <a:pt x="88" y="519"/>
                    </a:lnTo>
                    <a:lnTo>
                      <a:pt x="87" y="519"/>
                    </a:lnTo>
                    <a:lnTo>
                      <a:pt x="87" y="517"/>
                    </a:lnTo>
                    <a:lnTo>
                      <a:pt x="85" y="517"/>
                    </a:lnTo>
                    <a:lnTo>
                      <a:pt x="85" y="519"/>
                    </a:lnTo>
                    <a:lnTo>
                      <a:pt x="85" y="517"/>
                    </a:lnTo>
                    <a:lnTo>
                      <a:pt x="83" y="517"/>
                    </a:lnTo>
                    <a:lnTo>
                      <a:pt x="81" y="517"/>
                    </a:lnTo>
                    <a:lnTo>
                      <a:pt x="81" y="515"/>
                    </a:lnTo>
                    <a:lnTo>
                      <a:pt x="81" y="517"/>
                    </a:lnTo>
                    <a:lnTo>
                      <a:pt x="83" y="515"/>
                    </a:lnTo>
                    <a:lnTo>
                      <a:pt x="81" y="515"/>
                    </a:lnTo>
                    <a:lnTo>
                      <a:pt x="83" y="515"/>
                    </a:lnTo>
                    <a:lnTo>
                      <a:pt x="83" y="513"/>
                    </a:lnTo>
                    <a:lnTo>
                      <a:pt x="81" y="513"/>
                    </a:lnTo>
                    <a:lnTo>
                      <a:pt x="83" y="513"/>
                    </a:lnTo>
                    <a:lnTo>
                      <a:pt x="81" y="513"/>
                    </a:lnTo>
                    <a:lnTo>
                      <a:pt x="81" y="511"/>
                    </a:lnTo>
                    <a:lnTo>
                      <a:pt x="79" y="511"/>
                    </a:lnTo>
                    <a:lnTo>
                      <a:pt x="79" y="509"/>
                    </a:lnTo>
                    <a:lnTo>
                      <a:pt x="81" y="509"/>
                    </a:lnTo>
                    <a:lnTo>
                      <a:pt x="81" y="511"/>
                    </a:lnTo>
                    <a:lnTo>
                      <a:pt x="83" y="511"/>
                    </a:lnTo>
                    <a:lnTo>
                      <a:pt x="83" y="509"/>
                    </a:lnTo>
                    <a:lnTo>
                      <a:pt x="81" y="509"/>
                    </a:lnTo>
                    <a:lnTo>
                      <a:pt x="81" y="507"/>
                    </a:lnTo>
                    <a:lnTo>
                      <a:pt x="79" y="507"/>
                    </a:lnTo>
                    <a:lnTo>
                      <a:pt x="79" y="505"/>
                    </a:lnTo>
                    <a:lnTo>
                      <a:pt x="77" y="505"/>
                    </a:lnTo>
                    <a:lnTo>
                      <a:pt x="77" y="503"/>
                    </a:lnTo>
                    <a:lnTo>
                      <a:pt x="79" y="503"/>
                    </a:lnTo>
                    <a:lnTo>
                      <a:pt x="77" y="503"/>
                    </a:lnTo>
                    <a:lnTo>
                      <a:pt x="75" y="503"/>
                    </a:lnTo>
                    <a:lnTo>
                      <a:pt x="75" y="501"/>
                    </a:lnTo>
                    <a:lnTo>
                      <a:pt x="73" y="503"/>
                    </a:lnTo>
                    <a:lnTo>
                      <a:pt x="71" y="501"/>
                    </a:lnTo>
                    <a:lnTo>
                      <a:pt x="73" y="501"/>
                    </a:lnTo>
                    <a:lnTo>
                      <a:pt x="71" y="501"/>
                    </a:lnTo>
                    <a:lnTo>
                      <a:pt x="69" y="501"/>
                    </a:lnTo>
                    <a:lnTo>
                      <a:pt x="69" y="503"/>
                    </a:lnTo>
                    <a:lnTo>
                      <a:pt x="67" y="503"/>
                    </a:lnTo>
                    <a:lnTo>
                      <a:pt x="65" y="503"/>
                    </a:lnTo>
                    <a:lnTo>
                      <a:pt x="65" y="505"/>
                    </a:lnTo>
                    <a:lnTo>
                      <a:pt x="63" y="505"/>
                    </a:lnTo>
                    <a:lnTo>
                      <a:pt x="63" y="503"/>
                    </a:lnTo>
                    <a:lnTo>
                      <a:pt x="62" y="503"/>
                    </a:lnTo>
                    <a:lnTo>
                      <a:pt x="62" y="505"/>
                    </a:lnTo>
                    <a:lnTo>
                      <a:pt x="62" y="503"/>
                    </a:lnTo>
                    <a:lnTo>
                      <a:pt x="60" y="503"/>
                    </a:lnTo>
                    <a:lnTo>
                      <a:pt x="60" y="501"/>
                    </a:lnTo>
                    <a:lnTo>
                      <a:pt x="60" y="499"/>
                    </a:lnTo>
                    <a:lnTo>
                      <a:pt x="58" y="499"/>
                    </a:lnTo>
                    <a:lnTo>
                      <a:pt x="60" y="499"/>
                    </a:lnTo>
                    <a:lnTo>
                      <a:pt x="60" y="497"/>
                    </a:lnTo>
                    <a:lnTo>
                      <a:pt x="62" y="497"/>
                    </a:lnTo>
                    <a:lnTo>
                      <a:pt x="62" y="496"/>
                    </a:lnTo>
                    <a:lnTo>
                      <a:pt x="62" y="497"/>
                    </a:lnTo>
                    <a:lnTo>
                      <a:pt x="62" y="496"/>
                    </a:lnTo>
                    <a:lnTo>
                      <a:pt x="62" y="494"/>
                    </a:lnTo>
                    <a:lnTo>
                      <a:pt x="63" y="494"/>
                    </a:lnTo>
                    <a:lnTo>
                      <a:pt x="63" y="492"/>
                    </a:lnTo>
                    <a:lnTo>
                      <a:pt x="62" y="492"/>
                    </a:lnTo>
                    <a:lnTo>
                      <a:pt x="62" y="494"/>
                    </a:lnTo>
                    <a:lnTo>
                      <a:pt x="62" y="492"/>
                    </a:lnTo>
                    <a:lnTo>
                      <a:pt x="62" y="490"/>
                    </a:lnTo>
                    <a:lnTo>
                      <a:pt x="62" y="488"/>
                    </a:lnTo>
                    <a:lnTo>
                      <a:pt x="60" y="488"/>
                    </a:lnTo>
                    <a:lnTo>
                      <a:pt x="60" y="486"/>
                    </a:lnTo>
                    <a:lnTo>
                      <a:pt x="60" y="488"/>
                    </a:lnTo>
                    <a:lnTo>
                      <a:pt x="60" y="486"/>
                    </a:lnTo>
                    <a:lnTo>
                      <a:pt x="60" y="488"/>
                    </a:lnTo>
                    <a:lnTo>
                      <a:pt x="60" y="486"/>
                    </a:lnTo>
                    <a:lnTo>
                      <a:pt x="60" y="484"/>
                    </a:lnTo>
                    <a:lnTo>
                      <a:pt x="58" y="484"/>
                    </a:lnTo>
                    <a:lnTo>
                      <a:pt x="58" y="486"/>
                    </a:lnTo>
                    <a:lnTo>
                      <a:pt x="56" y="486"/>
                    </a:lnTo>
                    <a:lnTo>
                      <a:pt x="56" y="484"/>
                    </a:lnTo>
                    <a:lnTo>
                      <a:pt x="58" y="484"/>
                    </a:lnTo>
                    <a:lnTo>
                      <a:pt x="58" y="482"/>
                    </a:lnTo>
                    <a:lnTo>
                      <a:pt x="60" y="482"/>
                    </a:lnTo>
                    <a:lnTo>
                      <a:pt x="58" y="482"/>
                    </a:lnTo>
                    <a:lnTo>
                      <a:pt x="58" y="480"/>
                    </a:lnTo>
                    <a:lnTo>
                      <a:pt x="60" y="480"/>
                    </a:lnTo>
                    <a:lnTo>
                      <a:pt x="60" y="478"/>
                    </a:lnTo>
                    <a:lnTo>
                      <a:pt x="60" y="476"/>
                    </a:lnTo>
                    <a:lnTo>
                      <a:pt x="62" y="476"/>
                    </a:lnTo>
                    <a:lnTo>
                      <a:pt x="60" y="476"/>
                    </a:lnTo>
                    <a:lnTo>
                      <a:pt x="62" y="474"/>
                    </a:lnTo>
                    <a:lnTo>
                      <a:pt x="60" y="473"/>
                    </a:lnTo>
                    <a:lnTo>
                      <a:pt x="62" y="473"/>
                    </a:lnTo>
                    <a:lnTo>
                      <a:pt x="63" y="473"/>
                    </a:lnTo>
                    <a:lnTo>
                      <a:pt x="63" y="471"/>
                    </a:lnTo>
                    <a:lnTo>
                      <a:pt x="62" y="471"/>
                    </a:lnTo>
                    <a:lnTo>
                      <a:pt x="63" y="471"/>
                    </a:lnTo>
                    <a:lnTo>
                      <a:pt x="62" y="471"/>
                    </a:lnTo>
                    <a:lnTo>
                      <a:pt x="62" y="469"/>
                    </a:lnTo>
                    <a:lnTo>
                      <a:pt x="63" y="469"/>
                    </a:lnTo>
                    <a:lnTo>
                      <a:pt x="63" y="467"/>
                    </a:lnTo>
                    <a:lnTo>
                      <a:pt x="62" y="467"/>
                    </a:lnTo>
                    <a:lnTo>
                      <a:pt x="62" y="469"/>
                    </a:lnTo>
                    <a:lnTo>
                      <a:pt x="60" y="469"/>
                    </a:lnTo>
                    <a:lnTo>
                      <a:pt x="60" y="467"/>
                    </a:lnTo>
                    <a:lnTo>
                      <a:pt x="58" y="467"/>
                    </a:lnTo>
                    <a:lnTo>
                      <a:pt x="56" y="467"/>
                    </a:lnTo>
                    <a:lnTo>
                      <a:pt x="56" y="469"/>
                    </a:lnTo>
                    <a:lnTo>
                      <a:pt x="56" y="467"/>
                    </a:lnTo>
                    <a:lnTo>
                      <a:pt x="54" y="467"/>
                    </a:lnTo>
                    <a:lnTo>
                      <a:pt x="52" y="465"/>
                    </a:lnTo>
                    <a:lnTo>
                      <a:pt x="50" y="463"/>
                    </a:lnTo>
                    <a:lnTo>
                      <a:pt x="50" y="465"/>
                    </a:lnTo>
                    <a:lnTo>
                      <a:pt x="50" y="463"/>
                    </a:lnTo>
                    <a:lnTo>
                      <a:pt x="48" y="463"/>
                    </a:lnTo>
                    <a:lnTo>
                      <a:pt x="50" y="463"/>
                    </a:lnTo>
                    <a:lnTo>
                      <a:pt x="50" y="461"/>
                    </a:lnTo>
                    <a:lnTo>
                      <a:pt x="48" y="461"/>
                    </a:lnTo>
                    <a:lnTo>
                      <a:pt x="50" y="461"/>
                    </a:lnTo>
                    <a:lnTo>
                      <a:pt x="50" y="459"/>
                    </a:lnTo>
                    <a:lnTo>
                      <a:pt x="50" y="457"/>
                    </a:lnTo>
                    <a:lnTo>
                      <a:pt x="50" y="455"/>
                    </a:lnTo>
                    <a:lnTo>
                      <a:pt x="52" y="455"/>
                    </a:lnTo>
                    <a:lnTo>
                      <a:pt x="52" y="453"/>
                    </a:lnTo>
                    <a:lnTo>
                      <a:pt x="52" y="455"/>
                    </a:lnTo>
                    <a:lnTo>
                      <a:pt x="52" y="453"/>
                    </a:lnTo>
                    <a:lnTo>
                      <a:pt x="50" y="453"/>
                    </a:lnTo>
                    <a:lnTo>
                      <a:pt x="50" y="451"/>
                    </a:lnTo>
                    <a:lnTo>
                      <a:pt x="52" y="451"/>
                    </a:lnTo>
                    <a:lnTo>
                      <a:pt x="52" y="453"/>
                    </a:lnTo>
                    <a:lnTo>
                      <a:pt x="52" y="451"/>
                    </a:lnTo>
                    <a:lnTo>
                      <a:pt x="50" y="451"/>
                    </a:lnTo>
                    <a:lnTo>
                      <a:pt x="52" y="451"/>
                    </a:lnTo>
                    <a:lnTo>
                      <a:pt x="52" y="449"/>
                    </a:lnTo>
                    <a:lnTo>
                      <a:pt x="50" y="449"/>
                    </a:lnTo>
                    <a:lnTo>
                      <a:pt x="50" y="451"/>
                    </a:lnTo>
                    <a:lnTo>
                      <a:pt x="50" y="449"/>
                    </a:lnTo>
                    <a:lnTo>
                      <a:pt x="52" y="449"/>
                    </a:lnTo>
                    <a:lnTo>
                      <a:pt x="50" y="449"/>
                    </a:lnTo>
                    <a:lnTo>
                      <a:pt x="50" y="448"/>
                    </a:lnTo>
                    <a:lnTo>
                      <a:pt x="52" y="448"/>
                    </a:lnTo>
                    <a:lnTo>
                      <a:pt x="50" y="448"/>
                    </a:lnTo>
                    <a:lnTo>
                      <a:pt x="52" y="448"/>
                    </a:lnTo>
                    <a:lnTo>
                      <a:pt x="52" y="449"/>
                    </a:lnTo>
                    <a:lnTo>
                      <a:pt x="54" y="449"/>
                    </a:lnTo>
                    <a:lnTo>
                      <a:pt x="54" y="448"/>
                    </a:lnTo>
                    <a:lnTo>
                      <a:pt x="54" y="446"/>
                    </a:lnTo>
                    <a:lnTo>
                      <a:pt x="54" y="444"/>
                    </a:lnTo>
                    <a:lnTo>
                      <a:pt x="52" y="444"/>
                    </a:lnTo>
                    <a:lnTo>
                      <a:pt x="52" y="442"/>
                    </a:lnTo>
                    <a:lnTo>
                      <a:pt x="50" y="442"/>
                    </a:lnTo>
                    <a:lnTo>
                      <a:pt x="48" y="444"/>
                    </a:lnTo>
                    <a:lnTo>
                      <a:pt x="46" y="444"/>
                    </a:lnTo>
                    <a:lnTo>
                      <a:pt x="46" y="442"/>
                    </a:lnTo>
                    <a:lnTo>
                      <a:pt x="44" y="442"/>
                    </a:lnTo>
                    <a:lnTo>
                      <a:pt x="42" y="442"/>
                    </a:lnTo>
                    <a:lnTo>
                      <a:pt x="42" y="444"/>
                    </a:lnTo>
                    <a:lnTo>
                      <a:pt x="42" y="442"/>
                    </a:lnTo>
                    <a:lnTo>
                      <a:pt x="42" y="440"/>
                    </a:lnTo>
                    <a:lnTo>
                      <a:pt x="40" y="440"/>
                    </a:lnTo>
                    <a:lnTo>
                      <a:pt x="40" y="438"/>
                    </a:lnTo>
                    <a:lnTo>
                      <a:pt x="40" y="440"/>
                    </a:lnTo>
                    <a:lnTo>
                      <a:pt x="40" y="438"/>
                    </a:lnTo>
                    <a:lnTo>
                      <a:pt x="40" y="436"/>
                    </a:lnTo>
                    <a:lnTo>
                      <a:pt x="39" y="436"/>
                    </a:lnTo>
                    <a:lnTo>
                      <a:pt x="40" y="436"/>
                    </a:lnTo>
                    <a:lnTo>
                      <a:pt x="40" y="434"/>
                    </a:lnTo>
                    <a:lnTo>
                      <a:pt x="40" y="432"/>
                    </a:lnTo>
                    <a:lnTo>
                      <a:pt x="40" y="434"/>
                    </a:lnTo>
                    <a:lnTo>
                      <a:pt x="40" y="432"/>
                    </a:lnTo>
                    <a:lnTo>
                      <a:pt x="39" y="432"/>
                    </a:lnTo>
                    <a:lnTo>
                      <a:pt x="39" y="430"/>
                    </a:lnTo>
                    <a:lnTo>
                      <a:pt x="40" y="430"/>
                    </a:lnTo>
                    <a:lnTo>
                      <a:pt x="40" y="428"/>
                    </a:lnTo>
                    <a:lnTo>
                      <a:pt x="42" y="428"/>
                    </a:lnTo>
                    <a:lnTo>
                      <a:pt x="42" y="426"/>
                    </a:lnTo>
                    <a:lnTo>
                      <a:pt x="42" y="425"/>
                    </a:lnTo>
                    <a:lnTo>
                      <a:pt x="44" y="425"/>
                    </a:lnTo>
                    <a:lnTo>
                      <a:pt x="42" y="425"/>
                    </a:lnTo>
                    <a:lnTo>
                      <a:pt x="42" y="423"/>
                    </a:lnTo>
                    <a:lnTo>
                      <a:pt x="44" y="423"/>
                    </a:lnTo>
                    <a:lnTo>
                      <a:pt x="44" y="421"/>
                    </a:lnTo>
                    <a:lnTo>
                      <a:pt x="44" y="423"/>
                    </a:lnTo>
                    <a:lnTo>
                      <a:pt x="46" y="423"/>
                    </a:lnTo>
                    <a:lnTo>
                      <a:pt x="46" y="421"/>
                    </a:lnTo>
                    <a:lnTo>
                      <a:pt x="44" y="421"/>
                    </a:lnTo>
                    <a:lnTo>
                      <a:pt x="46" y="421"/>
                    </a:lnTo>
                    <a:lnTo>
                      <a:pt x="46" y="419"/>
                    </a:lnTo>
                    <a:lnTo>
                      <a:pt x="48" y="419"/>
                    </a:lnTo>
                    <a:lnTo>
                      <a:pt x="48" y="417"/>
                    </a:lnTo>
                    <a:lnTo>
                      <a:pt x="48" y="419"/>
                    </a:lnTo>
                    <a:lnTo>
                      <a:pt x="48" y="417"/>
                    </a:lnTo>
                    <a:lnTo>
                      <a:pt x="48" y="415"/>
                    </a:lnTo>
                    <a:lnTo>
                      <a:pt x="50" y="415"/>
                    </a:lnTo>
                    <a:lnTo>
                      <a:pt x="52" y="415"/>
                    </a:lnTo>
                    <a:lnTo>
                      <a:pt x="52" y="413"/>
                    </a:lnTo>
                    <a:lnTo>
                      <a:pt x="54" y="413"/>
                    </a:lnTo>
                    <a:lnTo>
                      <a:pt x="56" y="413"/>
                    </a:lnTo>
                    <a:lnTo>
                      <a:pt x="56" y="415"/>
                    </a:lnTo>
                    <a:lnTo>
                      <a:pt x="58" y="415"/>
                    </a:lnTo>
                    <a:lnTo>
                      <a:pt x="60" y="415"/>
                    </a:lnTo>
                    <a:lnTo>
                      <a:pt x="62" y="415"/>
                    </a:lnTo>
                    <a:lnTo>
                      <a:pt x="62" y="417"/>
                    </a:lnTo>
                    <a:lnTo>
                      <a:pt x="62" y="415"/>
                    </a:lnTo>
                    <a:lnTo>
                      <a:pt x="62" y="417"/>
                    </a:lnTo>
                    <a:lnTo>
                      <a:pt x="63" y="417"/>
                    </a:lnTo>
                    <a:lnTo>
                      <a:pt x="63" y="415"/>
                    </a:lnTo>
                    <a:lnTo>
                      <a:pt x="63" y="417"/>
                    </a:lnTo>
                    <a:lnTo>
                      <a:pt x="65" y="417"/>
                    </a:lnTo>
                    <a:lnTo>
                      <a:pt x="67" y="417"/>
                    </a:lnTo>
                    <a:lnTo>
                      <a:pt x="65" y="417"/>
                    </a:lnTo>
                    <a:lnTo>
                      <a:pt x="63" y="417"/>
                    </a:lnTo>
                    <a:lnTo>
                      <a:pt x="63" y="419"/>
                    </a:lnTo>
                    <a:lnTo>
                      <a:pt x="65" y="419"/>
                    </a:lnTo>
                    <a:lnTo>
                      <a:pt x="67" y="419"/>
                    </a:lnTo>
                    <a:lnTo>
                      <a:pt x="69" y="419"/>
                    </a:lnTo>
                    <a:lnTo>
                      <a:pt x="71" y="419"/>
                    </a:lnTo>
                    <a:lnTo>
                      <a:pt x="71" y="421"/>
                    </a:lnTo>
                    <a:lnTo>
                      <a:pt x="71" y="419"/>
                    </a:lnTo>
                    <a:lnTo>
                      <a:pt x="71" y="421"/>
                    </a:lnTo>
                    <a:lnTo>
                      <a:pt x="73" y="421"/>
                    </a:lnTo>
                    <a:lnTo>
                      <a:pt x="75" y="421"/>
                    </a:lnTo>
                    <a:lnTo>
                      <a:pt x="75" y="419"/>
                    </a:lnTo>
                    <a:lnTo>
                      <a:pt x="75" y="421"/>
                    </a:lnTo>
                    <a:lnTo>
                      <a:pt x="77" y="421"/>
                    </a:lnTo>
                    <a:lnTo>
                      <a:pt x="79" y="421"/>
                    </a:lnTo>
                    <a:lnTo>
                      <a:pt x="81" y="421"/>
                    </a:lnTo>
                    <a:lnTo>
                      <a:pt x="83" y="421"/>
                    </a:lnTo>
                    <a:lnTo>
                      <a:pt x="83" y="419"/>
                    </a:lnTo>
                    <a:lnTo>
                      <a:pt x="85" y="419"/>
                    </a:lnTo>
                    <a:lnTo>
                      <a:pt x="87" y="419"/>
                    </a:lnTo>
                    <a:lnTo>
                      <a:pt x="87" y="417"/>
                    </a:lnTo>
                    <a:lnTo>
                      <a:pt x="88" y="417"/>
                    </a:lnTo>
                    <a:lnTo>
                      <a:pt x="90" y="417"/>
                    </a:lnTo>
                    <a:lnTo>
                      <a:pt x="90" y="415"/>
                    </a:lnTo>
                    <a:lnTo>
                      <a:pt x="92" y="415"/>
                    </a:lnTo>
                    <a:lnTo>
                      <a:pt x="94" y="415"/>
                    </a:lnTo>
                    <a:lnTo>
                      <a:pt x="94" y="413"/>
                    </a:lnTo>
                    <a:lnTo>
                      <a:pt x="94" y="411"/>
                    </a:lnTo>
                    <a:lnTo>
                      <a:pt x="94" y="409"/>
                    </a:lnTo>
                    <a:lnTo>
                      <a:pt x="92" y="409"/>
                    </a:lnTo>
                    <a:lnTo>
                      <a:pt x="90" y="409"/>
                    </a:lnTo>
                    <a:lnTo>
                      <a:pt x="90" y="407"/>
                    </a:lnTo>
                    <a:lnTo>
                      <a:pt x="88" y="407"/>
                    </a:lnTo>
                    <a:lnTo>
                      <a:pt x="87" y="407"/>
                    </a:lnTo>
                    <a:lnTo>
                      <a:pt x="88" y="407"/>
                    </a:lnTo>
                    <a:lnTo>
                      <a:pt x="87" y="405"/>
                    </a:lnTo>
                    <a:lnTo>
                      <a:pt x="85" y="405"/>
                    </a:lnTo>
                    <a:lnTo>
                      <a:pt x="85" y="403"/>
                    </a:lnTo>
                    <a:lnTo>
                      <a:pt x="83" y="403"/>
                    </a:lnTo>
                    <a:lnTo>
                      <a:pt x="83" y="401"/>
                    </a:lnTo>
                    <a:lnTo>
                      <a:pt x="83" y="400"/>
                    </a:lnTo>
                    <a:lnTo>
                      <a:pt x="81" y="400"/>
                    </a:lnTo>
                    <a:lnTo>
                      <a:pt x="81" y="398"/>
                    </a:lnTo>
                    <a:lnTo>
                      <a:pt x="81" y="400"/>
                    </a:lnTo>
                    <a:lnTo>
                      <a:pt x="81" y="398"/>
                    </a:lnTo>
                    <a:lnTo>
                      <a:pt x="79" y="398"/>
                    </a:lnTo>
                    <a:lnTo>
                      <a:pt x="79" y="396"/>
                    </a:lnTo>
                    <a:lnTo>
                      <a:pt x="77" y="396"/>
                    </a:lnTo>
                    <a:lnTo>
                      <a:pt x="75" y="396"/>
                    </a:lnTo>
                    <a:lnTo>
                      <a:pt x="73" y="396"/>
                    </a:lnTo>
                    <a:lnTo>
                      <a:pt x="73" y="394"/>
                    </a:lnTo>
                    <a:lnTo>
                      <a:pt x="71" y="394"/>
                    </a:lnTo>
                    <a:lnTo>
                      <a:pt x="73" y="394"/>
                    </a:lnTo>
                    <a:lnTo>
                      <a:pt x="73" y="392"/>
                    </a:lnTo>
                    <a:lnTo>
                      <a:pt x="71" y="392"/>
                    </a:lnTo>
                    <a:lnTo>
                      <a:pt x="71" y="390"/>
                    </a:lnTo>
                    <a:lnTo>
                      <a:pt x="69" y="390"/>
                    </a:lnTo>
                    <a:lnTo>
                      <a:pt x="69" y="388"/>
                    </a:lnTo>
                    <a:lnTo>
                      <a:pt x="69" y="386"/>
                    </a:lnTo>
                    <a:lnTo>
                      <a:pt x="67" y="386"/>
                    </a:lnTo>
                    <a:lnTo>
                      <a:pt x="67" y="384"/>
                    </a:lnTo>
                    <a:lnTo>
                      <a:pt x="67" y="382"/>
                    </a:lnTo>
                    <a:lnTo>
                      <a:pt x="65" y="382"/>
                    </a:lnTo>
                    <a:lnTo>
                      <a:pt x="63" y="382"/>
                    </a:lnTo>
                    <a:lnTo>
                      <a:pt x="63" y="380"/>
                    </a:lnTo>
                    <a:lnTo>
                      <a:pt x="63" y="378"/>
                    </a:lnTo>
                    <a:lnTo>
                      <a:pt x="62" y="378"/>
                    </a:lnTo>
                    <a:lnTo>
                      <a:pt x="62" y="377"/>
                    </a:lnTo>
                    <a:lnTo>
                      <a:pt x="62" y="375"/>
                    </a:lnTo>
                    <a:lnTo>
                      <a:pt x="62" y="373"/>
                    </a:lnTo>
                    <a:lnTo>
                      <a:pt x="62" y="371"/>
                    </a:lnTo>
                    <a:lnTo>
                      <a:pt x="60" y="371"/>
                    </a:lnTo>
                    <a:lnTo>
                      <a:pt x="62" y="371"/>
                    </a:lnTo>
                    <a:lnTo>
                      <a:pt x="60" y="371"/>
                    </a:lnTo>
                    <a:lnTo>
                      <a:pt x="60" y="369"/>
                    </a:lnTo>
                    <a:lnTo>
                      <a:pt x="58" y="369"/>
                    </a:lnTo>
                    <a:lnTo>
                      <a:pt x="58" y="367"/>
                    </a:lnTo>
                    <a:lnTo>
                      <a:pt x="58" y="369"/>
                    </a:lnTo>
                    <a:lnTo>
                      <a:pt x="58" y="367"/>
                    </a:lnTo>
                    <a:lnTo>
                      <a:pt x="56" y="367"/>
                    </a:lnTo>
                    <a:lnTo>
                      <a:pt x="56" y="365"/>
                    </a:lnTo>
                    <a:lnTo>
                      <a:pt x="56" y="363"/>
                    </a:lnTo>
                    <a:lnTo>
                      <a:pt x="56" y="361"/>
                    </a:lnTo>
                    <a:lnTo>
                      <a:pt x="56" y="359"/>
                    </a:lnTo>
                    <a:lnTo>
                      <a:pt x="56" y="357"/>
                    </a:lnTo>
                    <a:lnTo>
                      <a:pt x="58" y="357"/>
                    </a:lnTo>
                    <a:lnTo>
                      <a:pt x="58" y="355"/>
                    </a:lnTo>
                    <a:lnTo>
                      <a:pt x="58" y="353"/>
                    </a:lnTo>
                    <a:lnTo>
                      <a:pt x="58" y="352"/>
                    </a:lnTo>
                    <a:lnTo>
                      <a:pt x="56" y="352"/>
                    </a:lnTo>
                    <a:lnTo>
                      <a:pt x="56" y="350"/>
                    </a:lnTo>
                    <a:lnTo>
                      <a:pt x="56" y="348"/>
                    </a:lnTo>
                    <a:lnTo>
                      <a:pt x="54" y="346"/>
                    </a:lnTo>
                    <a:lnTo>
                      <a:pt x="54" y="344"/>
                    </a:lnTo>
                    <a:lnTo>
                      <a:pt x="52" y="344"/>
                    </a:lnTo>
                    <a:lnTo>
                      <a:pt x="52" y="342"/>
                    </a:lnTo>
                    <a:lnTo>
                      <a:pt x="50" y="342"/>
                    </a:lnTo>
                    <a:lnTo>
                      <a:pt x="50" y="340"/>
                    </a:lnTo>
                    <a:lnTo>
                      <a:pt x="48" y="340"/>
                    </a:lnTo>
                    <a:lnTo>
                      <a:pt x="46" y="340"/>
                    </a:lnTo>
                    <a:lnTo>
                      <a:pt x="46" y="338"/>
                    </a:lnTo>
                    <a:lnTo>
                      <a:pt x="48" y="338"/>
                    </a:lnTo>
                    <a:lnTo>
                      <a:pt x="46" y="338"/>
                    </a:lnTo>
                    <a:lnTo>
                      <a:pt x="48" y="338"/>
                    </a:lnTo>
                    <a:lnTo>
                      <a:pt x="50" y="338"/>
                    </a:lnTo>
                    <a:lnTo>
                      <a:pt x="50" y="336"/>
                    </a:lnTo>
                    <a:lnTo>
                      <a:pt x="50" y="338"/>
                    </a:lnTo>
                    <a:lnTo>
                      <a:pt x="52" y="338"/>
                    </a:lnTo>
                    <a:lnTo>
                      <a:pt x="52" y="336"/>
                    </a:lnTo>
                    <a:lnTo>
                      <a:pt x="50" y="336"/>
                    </a:lnTo>
                    <a:lnTo>
                      <a:pt x="50" y="334"/>
                    </a:lnTo>
                    <a:lnTo>
                      <a:pt x="50" y="332"/>
                    </a:lnTo>
                    <a:lnTo>
                      <a:pt x="48" y="332"/>
                    </a:lnTo>
                    <a:lnTo>
                      <a:pt x="50" y="332"/>
                    </a:lnTo>
                    <a:lnTo>
                      <a:pt x="50" y="330"/>
                    </a:lnTo>
                    <a:lnTo>
                      <a:pt x="48" y="330"/>
                    </a:lnTo>
                    <a:lnTo>
                      <a:pt x="50" y="330"/>
                    </a:lnTo>
                    <a:lnTo>
                      <a:pt x="50" y="329"/>
                    </a:lnTo>
                    <a:lnTo>
                      <a:pt x="52" y="329"/>
                    </a:lnTo>
                    <a:lnTo>
                      <a:pt x="54" y="329"/>
                    </a:lnTo>
                    <a:lnTo>
                      <a:pt x="54" y="327"/>
                    </a:lnTo>
                    <a:lnTo>
                      <a:pt x="52" y="327"/>
                    </a:lnTo>
                    <a:lnTo>
                      <a:pt x="50" y="327"/>
                    </a:lnTo>
                    <a:lnTo>
                      <a:pt x="50" y="325"/>
                    </a:lnTo>
                    <a:lnTo>
                      <a:pt x="48" y="325"/>
                    </a:lnTo>
                    <a:lnTo>
                      <a:pt x="50" y="325"/>
                    </a:lnTo>
                    <a:lnTo>
                      <a:pt x="50" y="323"/>
                    </a:lnTo>
                    <a:lnTo>
                      <a:pt x="50" y="321"/>
                    </a:lnTo>
                    <a:lnTo>
                      <a:pt x="50" y="319"/>
                    </a:lnTo>
                    <a:lnTo>
                      <a:pt x="50" y="317"/>
                    </a:lnTo>
                    <a:lnTo>
                      <a:pt x="50" y="315"/>
                    </a:lnTo>
                    <a:lnTo>
                      <a:pt x="50" y="313"/>
                    </a:lnTo>
                    <a:lnTo>
                      <a:pt x="52" y="313"/>
                    </a:lnTo>
                    <a:lnTo>
                      <a:pt x="50" y="311"/>
                    </a:lnTo>
                    <a:lnTo>
                      <a:pt x="52" y="311"/>
                    </a:lnTo>
                    <a:lnTo>
                      <a:pt x="50" y="311"/>
                    </a:lnTo>
                    <a:lnTo>
                      <a:pt x="50" y="309"/>
                    </a:lnTo>
                    <a:lnTo>
                      <a:pt x="50" y="311"/>
                    </a:lnTo>
                    <a:lnTo>
                      <a:pt x="48" y="311"/>
                    </a:lnTo>
                    <a:lnTo>
                      <a:pt x="48" y="309"/>
                    </a:lnTo>
                    <a:lnTo>
                      <a:pt x="46" y="309"/>
                    </a:lnTo>
                    <a:lnTo>
                      <a:pt x="46" y="307"/>
                    </a:lnTo>
                    <a:lnTo>
                      <a:pt x="44" y="307"/>
                    </a:lnTo>
                    <a:lnTo>
                      <a:pt x="44" y="305"/>
                    </a:lnTo>
                    <a:lnTo>
                      <a:pt x="44" y="307"/>
                    </a:lnTo>
                    <a:lnTo>
                      <a:pt x="42" y="307"/>
                    </a:lnTo>
                    <a:lnTo>
                      <a:pt x="42" y="305"/>
                    </a:lnTo>
                    <a:lnTo>
                      <a:pt x="42" y="304"/>
                    </a:lnTo>
                    <a:lnTo>
                      <a:pt x="42" y="302"/>
                    </a:lnTo>
                    <a:lnTo>
                      <a:pt x="42" y="300"/>
                    </a:lnTo>
                    <a:lnTo>
                      <a:pt x="42" y="302"/>
                    </a:lnTo>
                    <a:lnTo>
                      <a:pt x="40" y="302"/>
                    </a:lnTo>
                    <a:lnTo>
                      <a:pt x="40" y="300"/>
                    </a:lnTo>
                    <a:lnTo>
                      <a:pt x="42" y="300"/>
                    </a:lnTo>
                    <a:lnTo>
                      <a:pt x="42" y="298"/>
                    </a:lnTo>
                    <a:lnTo>
                      <a:pt x="40" y="298"/>
                    </a:lnTo>
                    <a:lnTo>
                      <a:pt x="40" y="300"/>
                    </a:lnTo>
                    <a:lnTo>
                      <a:pt x="40" y="298"/>
                    </a:lnTo>
                    <a:lnTo>
                      <a:pt x="39" y="298"/>
                    </a:lnTo>
                    <a:lnTo>
                      <a:pt x="40" y="298"/>
                    </a:lnTo>
                    <a:lnTo>
                      <a:pt x="40" y="296"/>
                    </a:lnTo>
                    <a:lnTo>
                      <a:pt x="40" y="294"/>
                    </a:lnTo>
                    <a:lnTo>
                      <a:pt x="40" y="292"/>
                    </a:lnTo>
                    <a:lnTo>
                      <a:pt x="42" y="292"/>
                    </a:lnTo>
                    <a:lnTo>
                      <a:pt x="40" y="292"/>
                    </a:lnTo>
                    <a:lnTo>
                      <a:pt x="40" y="290"/>
                    </a:lnTo>
                    <a:lnTo>
                      <a:pt x="39" y="290"/>
                    </a:lnTo>
                    <a:lnTo>
                      <a:pt x="39" y="288"/>
                    </a:lnTo>
                    <a:lnTo>
                      <a:pt x="40" y="288"/>
                    </a:lnTo>
                    <a:lnTo>
                      <a:pt x="39" y="288"/>
                    </a:lnTo>
                    <a:lnTo>
                      <a:pt x="39" y="286"/>
                    </a:lnTo>
                    <a:lnTo>
                      <a:pt x="40" y="286"/>
                    </a:lnTo>
                    <a:lnTo>
                      <a:pt x="40" y="284"/>
                    </a:lnTo>
                    <a:lnTo>
                      <a:pt x="40" y="286"/>
                    </a:lnTo>
                    <a:lnTo>
                      <a:pt x="42" y="286"/>
                    </a:lnTo>
                    <a:lnTo>
                      <a:pt x="42" y="284"/>
                    </a:lnTo>
                    <a:lnTo>
                      <a:pt x="42" y="286"/>
                    </a:lnTo>
                    <a:lnTo>
                      <a:pt x="44" y="286"/>
                    </a:lnTo>
                    <a:lnTo>
                      <a:pt x="44" y="284"/>
                    </a:lnTo>
                    <a:lnTo>
                      <a:pt x="46" y="284"/>
                    </a:lnTo>
                    <a:lnTo>
                      <a:pt x="44" y="284"/>
                    </a:lnTo>
                    <a:lnTo>
                      <a:pt x="44" y="282"/>
                    </a:lnTo>
                    <a:lnTo>
                      <a:pt x="46" y="282"/>
                    </a:lnTo>
                    <a:lnTo>
                      <a:pt x="46" y="281"/>
                    </a:lnTo>
                    <a:lnTo>
                      <a:pt x="46" y="279"/>
                    </a:lnTo>
                    <a:lnTo>
                      <a:pt x="46" y="277"/>
                    </a:lnTo>
                    <a:lnTo>
                      <a:pt x="44" y="277"/>
                    </a:lnTo>
                    <a:lnTo>
                      <a:pt x="44" y="275"/>
                    </a:lnTo>
                    <a:lnTo>
                      <a:pt x="46" y="275"/>
                    </a:lnTo>
                    <a:lnTo>
                      <a:pt x="46" y="273"/>
                    </a:lnTo>
                    <a:lnTo>
                      <a:pt x="44" y="273"/>
                    </a:lnTo>
                    <a:lnTo>
                      <a:pt x="42" y="275"/>
                    </a:lnTo>
                    <a:lnTo>
                      <a:pt x="42" y="273"/>
                    </a:lnTo>
                    <a:lnTo>
                      <a:pt x="42" y="271"/>
                    </a:lnTo>
                    <a:lnTo>
                      <a:pt x="40" y="271"/>
                    </a:lnTo>
                    <a:lnTo>
                      <a:pt x="40" y="269"/>
                    </a:lnTo>
                    <a:lnTo>
                      <a:pt x="40" y="271"/>
                    </a:lnTo>
                    <a:lnTo>
                      <a:pt x="39" y="271"/>
                    </a:lnTo>
                    <a:lnTo>
                      <a:pt x="39" y="269"/>
                    </a:lnTo>
                    <a:lnTo>
                      <a:pt x="39" y="271"/>
                    </a:lnTo>
                    <a:lnTo>
                      <a:pt x="37" y="269"/>
                    </a:lnTo>
                    <a:lnTo>
                      <a:pt x="37" y="271"/>
                    </a:lnTo>
                    <a:lnTo>
                      <a:pt x="37" y="269"/>
                    </a:lnTo>
                    <a:lnTo>
                      <a:pt x="35" y="269"/>
                    </a:lnTo>
                    <a:lnTo>
                      <a:pt x="35" y="267"/>
                    </a:lnTo>
                    <a:lnTo>
                      <a:pt x="37" y="267"/>
                    </a:lnTo>
                    <a:lnTo>
                      <a:pt x="35" y="267"/>
                    </a:lnTo>
                    <a:lnTo>
                      <a:pt x="35" y="265"/>
                    </a:lnTo>
                    <a:lnTo>
                      <a:pt x="35" y="263"/>
                    </a:lnTo>
                    <a:lnTo>
                      <a:pt x="35" y="261"/>
                    </a:lnTo>
                    <a:lnTo>
                      <a:pt x="35" y="259"/>
                    </a:lnTo>
                    <a:lnTo>
                      <a:pt x="33" y="259"/>
                    </a:lnTo>
                    <a:lnTo>
                      <a:pt x="31" y="259"/>
                    </a:lnTo>
                    <a:lnTo>
                      <a:pt x="31" y="257"/>
                    </a:lnTo>
                    <a:lnTo>
                      <a:pt x="29" y="257"/>
                    </a:lnTo>
                    <a:lnTo>
                      <a:pt x="29" y="256"/>
                    </a:lnTo>
                    <a:lnTo>
                      <a:pt x="27" y="256"/>
                    </a:lnTo>
                    <a:lnTo>
                      <a:pt x="27" y="254"/>
                    </a:lnTo>
                    <a:lnTo>
                      <a:pt x="29" y="254"/>
                    </a:lnTo>
                    <a:lnTo>
                      <a:pt x="27" y="254"/>
                    </a:lnTo>
                    <a:lnTo>
                      <a:pt x="27" y="252"/>
                    </a:lnTo>
                    <a:lnTo>
                      <a:pt x="29" y="252"/>
                    </a:lnTo>
                    <a:lnTo>
                      <a:pt x="27" y="252"/>
                    </a:lnTo>
                    <a:lnTo>
                      <a:pt x="25" y="252"/>
                    </a:lnTo>
                    <a:lnTo>
                      <a:pt x="25" y="250"/>
                    </a:lnTo>
                    <a:lnTo>
                      <a:pt x="25" y="252"/>
                    </a:lnTo>
                    <a:lnTo>
                      <a:pt x="25" y="250"/>
                    </a:lnTo>
                    <a:lnTo>
                      <a:pt x="23" y="250"/>
                    </a:lnTo>
                    <a:lnTo>
                      <a:pt x="23" y="248"/>
                    </a:lnTo>
                    <a:lnTo>
                      <a:pt x="25" y="248"/>
                    </a:lnTo>
                    <a:lnTo>
                      <a:pt x="23" y="248"/>
                    </a:lnTo>
                    <a:lnTo>
                      <a:pt x="23" y="250"/>
                    </a:lnTo>
                    <a:lnTo>
                      <a:pt x="23" y="248"/>
                    </a:lnTo>
                    <a:lnTo>
                      <a:pt x="23" y="246"/>
                    </a:lnTo>
                    <a:lnTo>
                      <a:pt x="23" y="244"/>
                    </a:lnTo>
                    <a:lnTo>
                      <a:pt x="21" y="244"/>
                    </a:lnTo>
                    <a:lnTo>
                      <a:pt x="21" y="246"/>
                    </a:lnTo>
                    <a:lnTo>
                      <a:pt x="21" y="244"/>
                    </a:lnTo>
                    <a:lnTo>
                      <a:pt x="19" y="244"/>
                    </a:lnTo>
                    <a:lnTo>
                      <a:pt x="19" y="242"/>
                    </a:lnTo>
                    <a:lnTo>
                      <a:pt x="19" y="244"/>
                    </a:lnTo>
                    <a:lnTo>
                      <a:pt x="17" y="244"/>
                    </a:lnTo>
                    <a:lnTo>
                      <a:pt x="19" y="244"/>
                    </a:lnTo>
                    <a:lnTo>
                      <a:pt x="19" y="242"/>
                    </a:lnTo>
                    <a:lnTo>
                      <a:pt x="17" y="242"/>
                    </a:lnTo>
                    <a:lnTo>
                      <a:pt x="17" y="240"/>
                    </a:lnTo>
                    <a:lnTo>
                      <a:pt x="19" y="240"/>
                    </a:lnTo>
                    <a:lnTo>
                      <a:pt x="19" y="238"/>
                    </a:lnTo>
                    <a:lnTo>
                      <a:pt x="19" y="236"/>
                    </a:lnTo>
                    <a:lnTo>
                      <a:pt x="19" y="234"/>
                    </a:lnTo>
                    <a:lnTo>
                      <a:pt x="17" y="234"/>
                    </a:lnTo>
                    <a:lnTo>
                      <a:pt x="19" y="234"/>
                    </a:lnTo>
                    <a:lnTo>
                      <a:pt x="17" y="234"/>
                    </a:lnTo>
                    <a:lnTo>
                      <a:pt x="17" y="233"/>
                    </a:lnTo>
                    <a:lnTo>
                      <a:pt x="19" y="233"/>
                    </a:lnTo>
                    <a:lnTo>
                      <a:pt x="17" y="233"/>
                    </a:lnTo>
                    <a:lnTo>
                      <a:pt x="17" y="231"/>
                    </a:lnTo>
                    <a:lnTo>
                      <a:pt x="19" y="231"/>
                    </a:lnTo>
                    <a:lnTo>
                      <a:pt x="17" y="231"/>
                    </a:lnTo>
                    <a:lnTo>
                      <a:pt x="19" y="231"/>
                    </a:lnTo>
                    <a:lnTo>
                      <a:pt x="17" y="231"/>
                    </a:lnTo>
                    <a:lnTo>
                      <a:pt x="17" y="229"/>
                    </a:lnTo>
                    <a:lnTo>
                      <a:pt x="17" y="227"/>
                    </a:lnTo>
                    <a:lnTo>
                      <a:pt x="17" y="225"/>
                    </a:lnTo>
                    <a:lnTo>
                      <a:pt x="19" y="225"/>
                    </a:lnTo>
                    <a:lnTo>
                      <a:pt x="17" y="225"/>
                    </a:lnTo>
                    <a:lnTo>
                      <a:pt x="17" y="223"/>
                    </a:lnTo>
                    <a:lnTo>
                      <a:pt x="19" y="223"/>
                    </a:lnTo>
                    <a:lnTo>
                      <a:pt x="17" y="223"/>
                    </a:lnTo>
                    <a:lnTo>
                      <a:pt x="19" y="223"/>
                    </a:lnTo>
                    <a:lnTo>
                      <a:pt x="17" y="223"/>
                    </a:lnTo>
                    <a:lnTo>
                      <a:pt x="17" y="221"/>
                    </a:lnTo>
                    <a:lnTo>
                      <a:pt x="17" y="219"/>
                    </a:lnTo>
                    <a:lnTo>
                      <a:pt x="19" y="219"/>
                    </a:lnTo>
                    <a:lnTo>
                      <a:pt x="17" y="219"/>
                    </a:lnTo>
                    <a:lnTo>
                      <a:pt x="17" y="217"/>
                    </a:lnTo>
                    <a:lnTo>
                      <a:pt x="17" y="219"/>
                    </a:lnTo>
                    <a:lnTo>
                      <a:pt x="15" y="219"/>
                    </a:lnTo>
                    <a:lnTo>
                      <a:pt x="17" y="219"/>
                    </a:lnTo>
                    <a:lnTo>
                      <a:pt x="17" y="217"/>
                    </a:lnTo>
                    <a:lnTo>
                      <a:pt x="15" y="217"/>
                    </a:lnTo>
                    <a:lnTo>
                      <a:pt x="17" y="217"/>
                    </a:lnTo>
                    <a:lnTo>
                      <a:pt x="15" y="217"/>
                    </a:lnTo>
                    <a:lnTo>
                      <a:pt x="15" y="215"/>
                    </a:lnTo>
                    <a:lnTo>
                      <a:pt x="15" y="217"/>
                    </a:lnTo>
                    <a:lnTo>
                      <a:pt x="15" y="215"/>
                    </a:lnTo>
                    <a:lnTo>
                      <a:pt x="15" y="213"/>
                    </a:lnTo>
                    <a:lnTo>
                      <a:pt x="14" y="213"/>
                    </a:lnTo>
                    <a:lnTo>
                      <a:pt x="14" y="211"/>
                    </a:lnTo>
                    <a:lnTo>
                      <a:pt x="14" y="209"/>
                    </a:lnTo>
                    <a:lnTo>
                      <a:pt x="14" y="208"/>
                    </a:lnTo>
                    <a:lnTo>
                      <a:pt x="14" y="209"/>
                    </a:lnTo>
                    <a:lnTo>
                      <a:pt x="14" y="211"/>
                    </a:lnTo>
                    <a:lnTo>
                      <a:pt x="12" y="211"/>
                    </a:lnTo>
                    <a:lnTo>
                      <a:pt x="12" y="209"/>
                    </a:lnTo>
                    <a:lnTo>
                      <a:pt x="10" y="209"/>
                    </a:lnTo>
                    <a:lnTo>
                      <a:pt x="12" y="209"/>
                    </a:lnTo>
                    <a:lnTo>
                      <a:pt x="12" y="208"/>
                    </a:lnTo>
                    <a:lnTo>
                      <a:pt x="10" y="208"/>
                    </a:lnTo>
                    <a:lnTo>
                      <a:pt x="8" y="208"/>
                    </a:lnTo>
                    <a:lnTo>
                      <a:pt x="6" y="208"/>
                    </a:lnTo>
                    <a:lnTo>
                      <a:pt x="8" y="208"/>
                    </a:lnTo>
                    <a:lnTo>
                      <a:pt x="6" y="208"/>
                    </a:lnTo>
                    <a:lnTo>
                      <a:pt x="6" y="206"/>
                    </a:lnTo>
                    <a:lnTo>
                      <a:pt x="4" y="208"/>
                    </a:lnTo>
                    <a:lnTo>
                      <a:pt x="2" y="208"/>
                    </a:lnTo>
                    <a:lnTo>
                      <a:pt x="0" y="208"/>
                    </a:lnTo>
                    <a:lnTo>
                      <a:pt x="2" y="208"/>
                    </a:lnTo>
                    <a:lnTo>
                      <a:pt x="2" y="206"/>
                    </a:lnTo>
                    <a:lnTo>
                      <a:pt x="0" y="206"/>
                    </a:lnTo>
                    <a:lnTo>
                      <a:pt x="2" y="206"/>
                    </a:lnTo>
                    <a:lnTo>
                      <a:pt x="2" y="204"/>
                    </a:lnTo>
                    <a:lnTo>
                      <a:pt x="4" y="204"/>
                    </a:lnTo>
                    <a:lnTo>
                      <a:pt x="4" y="202"/>
                    </a:lnTo>
                    <a:lnTo>
                      <a:pt x="2" y="202"/>
                    </a:lnTo>
                    <a:lnTo>
                      <a:pt x="2" y="200"/>
                    </a:lnTo>
                    <a:lnTo>
                      <a:pt x="0" y="200"/>
                    </a:lnTo>
                    <a:lnTo>
                      <a:pt x="0" y="198"/>
                    </a:lnTo>
                    <a:lnTo>
                      <a:pt x="2" y="198"/>
                    </a:lnTo>
                    <a:lnTo>
                      <a:pt x="2" y="196"/>
                    </a:lnTo>
                    <a:lnTo>
                      <a:pt x="2" y="194"/>
                    </a:lnTo>
                    <a:lnTo>
                      <a:pt x="0" y="194"/>
                    </a:lnTo>
                    <a:lnTo>
                      <a:pt x="0" y="192"/>
                    </a:lnTo>
                    <a:lnTo>
                      <a:pt x="2" y="192"/>
                    </a:lnTo>
                    <a:lnTo>
                      <a:pt x="2" y="190"/>
                    </a:lnTo>
                    <a:lnTo>
                      <a:pt x="2" y="188"/>
                    </a:lnTo>
                    <a:lnTo>
                      <a:pt x="4" y="188"/>
                    </a:lnTo>
                    <a:lnTo>
                      <a:pt x="4" y="186"/>
                    </a:lnTo>
                    <a:lnTo>
                      <a:pt x="6" y="186"/>
                    </a:lnTo>
                    <a:lnTo>
                      <a:pt x="8" y="186"/>
                    </a:lnTo>
                    <a:lnTo>
                      <a:pt x="8" y="185"/>
                    </a:lnTo>
                    <a:lnTo>
                      <a:pt x="6" y="185"/>
                    </a:lnTo>
                    <a:lnTo>
                      <a:pt x="8" y="185"/>
                    </a:lnTo>
                    <a:lnTo>
                      <a:pt x="8" y="183"/>
                    </a:lnTo>
                    <a:lnTo>
                      <a:pt x="8" y="181"/>
                    </a:lnTo>
                    <a:lnTo>
                      <a:pt x="8" y="183"/>
                    </a:lnTo>
                    <a:lnTo>
                      <a:pt x="10" y="183"/>
                    </a:lnTo>
                    <a:lnTo>
                      <a:pt x="10" y="181"/>
                    </a:lnTo>
                    <a:lnTo>
                      <a:pt x="8" y="181"/>
                    </a:lnTo>
                    <a:lnTo>
                      <a:pt x="10" y="181"/>
                    </a:lnTo>
                    <a:lnTo>
                      <a:pt x="10" y="179"/>
                    </a:lnTo>
                    <a:lnTo>
                      <a:pt x="12" y="179"/>
                    </a:lnTo>
                    <a:lnTo>
                      <a:pt x="12" y="177"/>
                    </a:lnTo>
                    <a:lnTo>
                      <a:pt x="12" y="179"/>
                    </a:lnTo>
                    <a:lnTo>
                      <a:pt x="14" y="179"/>
                    </a:lnTo>
                    <a:lnTo>
                      <a:pt x="14" y="177"/>
                    </a:lnTo>
                    <a:lnTo>
                      <a:pt x="12" y="177"/>
                    </a:lnTo>
                    <a:lnTo>
                      <a:pt x="12" y="175"/>
                    </a:lnTo>
                    <a:lnTo>
                      <a:pt x="14" y="175"/>
                    </a:lnTo>
                    <a:lnTo>
                      <a:pt x="15" y="177"/>
                    </a:lnTo>
                    <a:lnTo>
                      <a:pt x="15" y="175"/>
                    </a:lnTo>
                    <a:lnTo>
                      <a:pt x="17" y="175"/>
                    </a:lnTo>
                    <a:lnTo>
                      <a:pt x="17" y="177"/>
                    </a:lnTo>
                    <a:lnTo>
                      <a:pt x="17" y="175"/>
                    </a:lnTo>
                    <a:lnTo>
                      <a:pt x="19" y="175"/>
                    </a:lnTo>
                    <a:lnTo>
                      <a:pt x="17" y="175"/>
                    </a:lnTo>
                    <a:lnTo>
                      <a:pt x="17" y="173"/>
                    </a:lnTo>
                    <a:lnTo>
                      <a:pt x="19" y="173"/>
                    </a:lnTo>
                    <a:lnTo>
                      <a:pt x="19" y="171"/>
                    </a:lnTo>
                    <a:lnTo>
                      <a:pt x="17" y="171"/>
                    </a:lnTo>
                    <a:lnTo>
                      <a:pt x="17" y="173"/>
                    </a:lnTo>
                    <a:lnTo>
                      <a:pt x="17" y="171"/>
                    </a:lnTo>
                    <a:lnTo>
                      <a:pt x="17" y="169"/>
                    </a:lnTo>
                    <a:lnTo>
                      <a:pt x="19" y="169"/>
                    </a:lnTo>
                    <a:lnTo>
                      <a:pt x="19" y="167"/>
                    </a:lnTo>
                    <a:lnTo>
                      <a:pt x="19" y="169"/>
                    </a:lnTo>
                    <a:lnTo>
                      <a:pt x="21" y="169"/>
                    </a:lnTo>
                    <a:lnTo>
                      <a:pt x="21" y="167"/>
                    </a:lnTo>
                    <a:lnTo>
                      <a:pt x="19" y="167"/>
                    </a:lnTo>
                    <a:lnTo>
                      <a:pt x="17" y="165"/>
                    </a:lnTo>
                    <a:lnTo>
                      <a:pt x="19" y="165"/>
                    </a:lnTo>
                    <a:lnTo>
                      <a:pt x="19" y="163"/>
                    </a:lnTo>
                    <a:lnTo>
                      <a:pt x="19" y="165"/>
                    </a:lnTo>
                    <a:lnTo>
                      <a:pt x="21" y="165"/>
                    </a:lnTo>
                    <a:lnTo>
                      <a:pt x="21" y="163"/>
                    </a:lnTo>
                    <a:lnTo>
                      <a:pt x="19" y="163"/>
                    </a:lnTo>
                    <a:lnTo>
                      <a:pt x="21" y="163"/>
                    </a:lnTo>
                    <a:lnTo>
                      <a:pt x="23" y="163"/>
                    </a:lnTo>
                    <a:lnTo>
                      <a:pt x="23" y="161"/>
                    </a:lnTo>
                    <a:lnTo>
                      <a:pt x="25" y="161"/>
                    </a:lnTo>
                    <a:lnTo>
                      <a:pt x="25" y="160"/>
                    </a:lnTo>
                    <a:lnTo>
                      <a:pt x="27" y="160"/>
                    </a:lnTo>
                    <a:lnTo>
                      <a:pt x="27" y="158"/>
                    </a:lnTo>
                    <a:lnTo>
                      <a:pt x="25" y="158"/>
                    </a:lnTo>
                    <a:lnTo>
                      <a:pt x="23" y="158"/>
                    </a:lnTo>
                    <a:lnTo>
                      <a:pt x="25" y="158"/>
                    </a:lnTo>
                    <a:lnTo>
                      <a:pt x="25" y="156"/>
                    </a:lnTo>
                    <a:lnTo>
                      <a:pt x="27" y="156"/>
                    </a:lnTo>
                    <a:lnTo>
                      <a:pt x="25" y="156"/>
                    </a:lnTo>
                    <a:lnTo>
                      <a:pt x="23" y="156"/>
                    </a:lnTo>
                    <a:lnTo>
                      <a:pt x="23" y="154"/>
                    </a:lnTo>
                    <a:lnTo>
                      <a:pt x="23" y="152"/>
                    </a:lnTo>
                    <a:lnTo>
                      <a:pt x="23" y="150"/>
                    </a:lnTo>
                    <a:lnTo>
                      <a:pt x="21" y="150"/>
                    </a:lnTo>
                    <a:lnTo>
                      <a:pt x="21" y="148"/>
                    </a:lnTo>
                    <a:lnTo>
                      <a:pt x="23" y="148"/>
                    </a:lnTo>
                    <a:lnTo>
                      <a:pt x="23" y="146"/>
                    </a:lnTo>
                    <a:lnTo>
                      <a:pt x="25" y="146"/>
                    </a:lnTo>
                    <a:lnTo>
                      <a:pt x="25" y="144"/>
                    </a:lnTo>
                    <a:lnTo>
                      <a:pt x="23" y="144"/>
                    </a:lnTo>
                    <a:lnTo>
                      <a:pt x="21" y="144"/>
                    </a:lnTo>
                    <a:lnTo>
                      <a:pt x="21" y="142"/>
                    </a:lnTo>
                    <a:lnTo>
                      <a:pt x="19" y="142"/>
                    </a:lnTo>
                    <a:lnTo>
                      <a:pt x="17" y="142"/>
                    </a:lnTo>
                    <a:lnTo>
                      <a:pt x="15" y="142"/>
                    </a:lnTo>
                    <a:lnTo>
                      <a:pt x="15" y="140"/>
                    </a:lnTo>
                    <a:lnTo>
                      <a:pt x="15" y="138"/>
                    </a:lnTo>
                    <a:lnTo>
                      <a:pt x="17" y="138"/>
                    </a:lnTo>
                    <a:lnTo>
                      <a:pt x="15" y="138"/>
                    </a:lnTo>
                    <a:lnTo>
                      <a:pt x="15" y="137"/>
                    </a:lnTo>
                    <a:lnTo>
                      <a:pt x="17" y="137"/>
                    </a:lnTo>
                    <a:lnTo>
                      <a:pt x="19" y="137"/>
                    </a:lnTo>
                    <a:lnTo>
                      <a:pt x="19" y="135"/>
                    </a:lnTo>
                    <a:lnTo>
                      <a:pt x="21" y="135"/>
                    </a:lnTo>
                    <a:lnTo>
                      <a:pt x="21" y="133"/>
                    </a:lnTo>
                    <a:lnTo>
                      <a:pt x="23" y="133"/>
                    </a:lnTo>
                    <a:lnTo>
                      <a:pt x="25" y="133"/>
                    </a:lnTo>
                    <a:lnTo>
                      <a:pt x="25" y="131"/>
                    </a:lnTo>
                    <a:lnTo>
                      <a:pt x="23" y="131"/>
                    </a:lnTo>
                    <a:lnTo>
                      <a:pt x="23" y="129"/>
                    </a:lnTo>
                    <a:lnTo>
                      <a:pt x="25" y="129"/>
                    </a:lnTo>
                    <a:lnTo>
                      <a:pt x="25" y="127"/>
                    </a:lnTo>
                    <a:lnTo>
                      <a:pt x="23" y="127"/>
                    </a:lnTo>
                    <a:lnTo>
                      <a:pt x="23" y="125"/>
                    </a:lnTo>
                    <a:lnTo>
                      <a:pt x="23" y="123"/>
                    </a:lnTo>
                    <a:lnTo>
                      <a:pt x="21" y="123"/>
                    </a:lnTo>
                    <a:lnTo>
                      <a:pt x="21" y="125"/>
                    </a:lnTo>
                    <a:lnTo>
                      <a:pt x="19" y="125"/>
                    </a:lnTo>
                    <a:lnTo>
                      <a:pt x="17" y="125"/>
                    </a:lnTo>
                    <a:lnTo>
                      <a:pt x="15" y="125"/>
                    </a:lnTo>
                    <a:lnTo>
                      <a:pt x="15" y="123"/>
                    </a:lnTo>
                    <a:lnTo>
                      <a:pt x="15" y="121"/>
                    </a:lnTo>
                    <a:lnTo>
                      <a:pt x="14" y="121"/>
                    </a:lnTo>
                    <a:lnTo>
                      <a:pt x="14" y="119"/>
                    </a:lnTo>
                    <a:lnTo>
                      <a:pt x="12" y="119"/>
                    </a:lnTo>
                    <a:lnTo>
                      <a:pt x="12" y="117"/>
                    </a:lnTo>
                    <a:lnTo>
                      <a:pt x="14" y="117"/>
                    </a:lnTo>
                    <a:lnTo>
                      <a:pt x="12" y="117"/>
                    </a:lnTo>
                    <a:lnTo>
                      <a:pt x="12" y="115"/>
                    </a:lnTo>
                    <a:lnTo>
                      <a:pt x="14" y="115"/>
                    </a:lnTo>
                    <a:lnTo>
                      <a:pt x="14" y="113"/>
                    </a:lnTo>
                    <a:lnTo>
                      <a:pt x="14" y="115"/>
                    </a:lnTo>
                    <a:lnTo>
                      <a:pt x="15" y="115"/>
                    </a:lnTo>
                    <a:lnTo>
                      <a:pt x="15" y="117"/>
                    </a:lnTo>
                    <a:lnTo>
                      <a:pt x="17" y="117"/>
                    </a:lnTo>
                    <a:lnTo>
                      <a:pt x="19" y="117"/>
                    </a:lnTo>
                    <a:lnTo>
                      <a:pt x="21" y="119"/>
                    </a:lnTo>
                    <a:lnTo>
                      <a:pt x="23" y="119"/>
                    </a:lnTo>
                    <a:lnTo>
                      <a:pt x="25" y="119"/>
                    </a:lnTo>
                    <a:lnTo>
                      <a:pt x="25" y="121"/>
                    </a:lnTo>
                    <a:lnTo>
                      <a:pt x="27" y="121"/>
                    </a:lnTo>
                    <a:lnTo>
                      <a:pt x="27" y="119"/>
                    </a:lnTo>
                    <a:lnTo>
                      <a:pt x="27" y="117"/>
                    </a:lnTo>
                    <a:lnTo>
                      <a:pt x="29" y="117"/>
                    </a:lnTo>
                    <a:lnTo>
                      <a:pt x="27" y="117"/>
                    </a:lnTo>
                    <a:lnTo>
                      <a:pt x="27" y="115"/>
                    </a:lnTo>
                    <a:lnTo>
                      <a:pt x="27" y="113"/>
                    </a:lnTo>
                    <a:lnTo>
                      <a:pt x="27" y="112"/>
                    </a:lnTo>
                    <a:lnTo>
                      <a:pt x="27" y="110"/>
                    </a:lnTo>
                    <a:lnTo>
                      <a:pt x="27" y="108"/>
                    </a:lnTo>
                    <a:lnTo>
                      <a:pt x="25" y="108"/>
                    </a:lnTo>
                    <a:lnTo>
                      <a:pt x="25" y="106"/>
                    </a:lnTo>
                    <a:lnTo>
                      <a:pt x="25" y="104"/>
                    </a:lnTo>
                    <a:lnTo>
                      <a:pt x="23" y="102"/>
                    </a:lnTo>
                    <a:lnTo>
                      <a:pt x="23" y="100"/>
                    </a:lnTo>
                    <a:lnTo>
                      <a:pt x="21" y="100"/>
                    </a:lnTo>
                    <a:lnTo>
                      <a:pt x="21" y="98"/>
                    </a:lnTo>
                    <a:lnTo>
                      <a:pt x="21" y="96"/>
                    </a:lnTo>
                    <a:lnTo>
                      <a:pt x="21" y="94"/>
                    </a:lnTo>
                    <a:lnTo>
                      <a:pt x="23" y="94"/>
                    </a:lnTo>
                    <a:lnTo>
                      <a:pt x="25" y="94"/>
                    </a:lnTo>
                    <a:lnTo>
                      <a:pt x="25" y="92"/>
                    </a:lnTo>
                    <a:lnTo>
                      <a:pt x="27" y="92"/>
                    </a:lnTo>
                    <a:lnTo>
                      <a:pt x="27" y="90"/>
                    </a:lnTo>
                    <a:lnTo>
                      <a:pt x="29" y="90"/>
                    </a:lnTo>
                    <a:lnTo>
                      <a:pt x="29" y="92"/>
                    </a:lnTo>
                    <a:lnTo>
                      <a:pt x="31" y="89"/>
                    </a:lnTo>
                    <a:lnTo>
                      <a:pt x="31" y="87"/>
                    </a:lnTo>
                    <a:lnTo>
                      <a:pt x="31" y="85"/>
                    </a:lnTo>
                    <a:lnTo>
                      <a:pt x="31" y="83"/>
                    </a:lnTo>
                    <a:lnTo>
                      <a:pt x="29" y="83"/>
                    </a:lnTo>
                    <a:lnTo>
                      <a:pt x="29" y="81"/>
                    </a:lnTo>
                    <a:lnTo>
                      <a:pt x="27" y="81"/>
                    </a:lnTo>
                    <a:lnTo>
                      <a:pt x="25" y="79"/>
                    </a:lnTo>
                    <a:lnTo>
                      <a:pt x="23" y="79"/>
                    </a:lnTo>
                    <a:lnTo>
                      <a:pt x="23" y="77"/>
                    </a:lnTo>
                    <a:lnTo>
                      <a:pt x="23" y="75"/>
                    </a:lnTo>
                    <a:lnTo>
                      <a:pt x="23" y="73"/>
                    </a:lnTo>
                    <a:lnTo>
                      <a:pt x="23" y="71"/>
                    </a:lnTo>
                    <a:lnTo>
                      <a:pt x="21" y="71"/>
                    </a:lnTo>
                    <a:lnTo>
                      <a:pt x="21" y="69"/>
                    </a:lnTo>
                    <a:lnTo>
                      <a:pt x="19" y="67"/>
                    </a:lnTo>
                    <a:lnTo>
                      <a:pt x="19" y="65"/>
                    </a:lnTo>
                    <a:lnTo>
                      <a:pt x="21" y="65"/>
                    </a:lnTo>
                    <a:lnTo>
                      <a:pt x="23" y="65"/>
                    </a:lnTo>
                    <a:lnTo>
                      <a:pt x="25" y="65"/>
                    </a:lnTo>
                    <a:lnTo>
                      <a:pt x="25" y="64"/>
                    </a:lnTo>
                    <a:lnTo>
                      <a:pt x="27" y="64"/>
                    </a:lnTo>
                    <a:lnTo>
                      <a:pt x="29" y="64"/>
                    </a:lnTo>
                    <a:lnTo>
                      <a:pt x="31" y="62"/>
                    </a:lnTo>
                    <a:lnTo>
                      <a:pt x="33" y="62"/>
                    </a:lnTo>
                    <a:lnTo>
                      <a:pt x="35" y="62"/>
                    </a:lnTo>
                    <a:lnTo>
                      <a:pt x="37" y="62"/>
                    </a:lnTo>
                    <a:lnTo>
                      <a:pt x="39" y="60"/>
                    </a:lnTo>
                    <a:lnTo>
                      <a:pt x="40" y="60"/>
                    </a:lnTo>
                    <a:lnTo>
                      <a:pt x="40" y="58"/>
                    </a:lnTo>
                    <a:lnTo>
                      <a:pt x="42" y="58"/>
                    </a:lnTo>
                    <a:lnTo>
                      <a:pt x="44" y="58"/>
                    </a:lnTo>
                    <a:lnTo>
                      <a:pt x="44" y="60"/>
                    </a:lnTo>
                    <a:lnTo>
                      <a:pt x="46" y="60"/>
                    </a:lnTo>
                    <a:lnTo>
                      <a:pt x="48" y="60"/>
                    </a:lnTo>
                    <a:lnTo>
                      <a:pt x="50" y="60"/>
                    </a:lnTo>
                    <a:lnTo>
                      <a:pt x="52" y="60"/>
                    </a:lnTo>
                    <a:lnTo>
                      <a:pt x="54" y="60"/>
                    </a:lnTo>
                    <a:lnTo>
                      <a:pt x="56" y="60"/>
                    </a:lnTo>
                    <a:lnTo>
                      <a:pt x="56" y="58"/>
                    </a:lnTo>
                    <a:lnTo>
                      <a:pt x="58" y="58"/>
                    </a:lnTo>
                    <a:lnTo>
                      <a:pt x="60" y="58"/>
                    </a:lnTo>
                    <a:lnTo>
                      <a:pt x="62" y="58"/>
                    </a:lnTo>
                    <a:lnTo>
                      <a:pt x="63" y="58"/>
                    </a:lnTo>
                    <a:lnTo>
                      <a:pt x="65" y="58"/>
                    </a:lnTo>
                    <a:lnTo>
                      <a:pt x="67" y="58"/>
                    </a:lnTo>
                    <a:lnTo>
                      <a:pt x="69" y="58"/>
                    </a:lnTo>
                    <a:lnTo>
                      <a:pt x="69" y="56"/>
                    </a:lnTo>
                    <a:lnTo>
                      <a:pt x="69" y="58"/>
                    </a:lnTo>
                    <a:lnTo>
                      <a:pt x="71" y="58"/>
                    </a:lnTo>
                    <a:lnTo>
                      <a:pt x="71" y="60"/>
                    </a:lnTo>
                    <a:lnTo>
                      <a:pt x="71" y="62"/>
                    </a:lnTo>
                    <a:lnTo>
                      <a:pt x="71" y="64"/>
                    </a:lnTo>
                    <a:lnTo>
                      <a:pt x="69" y="64"/>
                    </a:lnTo>
                    <a:lnTo>
                      <a:pt x="69" y="65"/>
                    </a:lnTo>
                    <a:lnTo>
                      <a:pt x="69" y="67"/>
                    </a:lnTo>
                    <a:lnTo>
                      <a:pt x="69" y="69"/>
                    </a:lnTo>
                    <a:lnTo>
                      <a:pt x="71" y="69"/>
                    </a:lnTo>
                    <a:lnTo>
                      <a:pt x="73" y="69"/>
                    </a:lnTo>
                    <a:lnTo>
                      <a:pt x="75" y="69"/>
                    </a:lnTo>
                    <a:lnTo>
                      <a:pt x="77" y="69"/>
                    </a:lnTo>
                    <a:lnTo>
                      <a:pt x="79" y="69"/>
                    </a:lnTo>
                    <a:lnTo>
                      <a:pt x="79" y="67"/>
                    </a:lnTo>
                    <a:lnTo>
                      <a:pt x="81" y="69"/>
                    </a:lnTo>
                    <a:lnTo>
                      <a:pt x="83" y="69"/>
                    </a:lnTo>
                    <a:lnTo>
                      <a:pt x="83" y="71"/>
                    </a:lnTo>
                    <a:lnTo>
                      <a:pt x="85" y="71"/>
                    </a:lnTo>
                    <a:lnTo>
                      <a:pt x="87" y="71"/>
                    </a:lnTo>
                    <a:lnTo>
                      <a:pt x="88" y="71"/>
                    </a:lnTo>
                    <a:lnTo>
                      <a:pt x="90" y="71"/>
                    </a:lnTo>
                    <a:lnTo>
                      <a:pt x="90" y="73"/>
                    </a:lnTo>
                    <a:lnTo>
                      <a:pt x="92" y="73"/>
                    </a:lnTo>
                    <a:lnTo>
                      <a:pt x="94" y="75"/>
                    </a:lnTo>
                    <a:lnTo>
                      <a:pt x="96" y="75"/>
                    </a:lnTo>
                    <a:lnTo>
                      <a:pt x="98" y="77"/>
                    </a:lnTo>
                    <a:lnTo>
                      <a:pt x="100" y="79"/>
                    </a:lnTo>
                    <a:lnTo>
                      <a:pt x="98" y="81"/>
                    </a:lnTo>
                    <a:lnTo>
                      <a:pt x="96" y="83"/>
                    </a:lnTo>
                    <a:lnTo>
                      <a:pt x="94" y="85"/>
                    </a:lnTo>
                    <a:lnTo>
                      <a:pt x="92" y="85"/>
                    </a:lnTo>
                    <a:lnTo>
                      <a:pt x="90" y="87"/>
                    </a:lnTo>
                    <a:lnTo>
                      <a:pt x="88" y="90"/>
                    </a:lnTo>
                    <a:lnTo>
                      <a:pt x="88" y="92"/>
                    </a:lnTo>
                    <a:lnTo>
                      <a:pt x="88" y="94"/>
                    </a:lnTo>
                    <a:lnTo>
                      <a:pt x="90" y="94"/>
                    </a:lnTo>
                    <a:lnTo>
                      <a:pt x="90" y="92"/>
                    </a:lnTo>
                    <a:lnTo>
                      <a:pt x="92" y="92"/>
                    </a:lnTo>
                    <a:lnTo>
                      <a:pt x="94" y="92"/>
                    </a:lnTo>
                    <a:lnTo>
                      <a:pt x="96" y="92"/>
                    </a:lnTo>
                    <a:lnTo>
                      <a:pt x="98" y="92"/>
                    </a:lnTo>
                    <a:lnTo>
                      <a:pt x="102" y="94"/>
                    </a:lnTo>
                    <a:lnTo>
                      <a:pt x="104" y="94"/>
                    </a:lnTo>
                    <a:lnTo>
                      <a:pt x="106" y="94"/>
                    </a:lnTo>
                    <a:lnTo>
                      <a:pt x="106" y="96"/>
                    </a:lnTo>
                    <a:lnTo>
                      <a:pt x="108" y="98"/>
                    </a:lnTo>
                    <a:lnTo>
                      <a:pt x="110" y="100"/>
                    </a:lnTo>
                    <a:lnTo>
                      <a:pt x="111" y="100"/>
                    </a:lnTo>
                    <a:lnTo>
                      <a:pt x="113" y="102"/>
                    </a:lnTo>
                    <a:lnTo>
                      <a:pt x="115" y="102"/>
                    </a:lnTo>
                    <a:lnTo>
                      <a:pt x="115" y="104"/>
                    </a:lnTo>
                    <a:lnTo>
                      <a:pt x="117" y="104"/>
                    </a:lnTo>
                    <a:lnTo>
                      <a:pt x="119" y="104"/>
                    </a:lnTo>
                    <a:lnTo>
                      <a:pt x="121" y="102"/>
                    </a:lnTo>
                    <a:lnTo>
                      <a:pt x="123" y="102"/>
                    </a:lnTo>
                    <a:lnTo>
                      <a:pt x="125" y="102"/>
                    </a:lnTo>
                    <a:lnTo>
                      <a:pt x="125" y="100"/>
                    </a:lnTo>
                    <a:lnTo>
                      <a:pt x="125" y="98"/>
                    </a:lnTo>
                    <a:lnTo>
                      <a:pt x="129" y="98"/>
                    </a:lnTo>
                    <a:lnTo>
                      <a:pt x="129" y="96"/>
                    </a:lnTo>
                    <a:lnTo>
                      <a:pt x="131" y="96"/>
                    </a:lnTo>
                    <a:lnTo>
                      <a:pt x="133" y="96"/>
                    </a:lnTo>
                    <a:lnTo>
                      <a:pt x="135" y="96"/>
                    </a:lnTo>
                    <a:lnTo>
                      <a:pt x="136" y="94"/>
                    </a:lnTo>
                    <a:lnTo>
                      <a:pt x="138" y="94"/>
                    </a:lnTo>
                    <a:lnTo>
                      <a:pt x="140" y="94"/>
                    </a:lnTo>
                    <a:lnTo>
                      <a:pt x="142" y="92"/>
                    </a:lnTo>
                    <a:lnTo>
                      <a:pt x="144" y="90"/>
                    </a:lnTo>
                    <a:lnTo>
                      <a:pt x="146" y="89"/>
                    </a:lnTo>
                    <a:lnTo>
                      <a:pt x="148" y="87"/>
                    </a:lnTo>
                    <a:lnTo>
                      <a:pt x="150" y="87"/>
                    </a:lnTo>
                    <a:lnTo>
                      <a:pt x="150" y="85"/>
                    </a:lnTo>
                    <a:lnTo>
                      <a:pt x="152" y="85"/>
                    </a:lnTo>
                    <a:lnTo>
                      <a:pt x="152" y="83"/>
                    </a:lnTo>
                    <a:lnTo>
                      <a:pt x="154" y="81"/>
                    </a:lnTo>
                    <a:lnTo>
                      <a:pt x="156" y="79"/>
                    </a:lnTo>
                    <a:lnTo>
                      <a:pt x="156" y="77"/>
                    </a:lnTo>
                    <a:lnTo>
                      <a:pt x="158" y="77"/>
                    </a:lnTo>
                    <a:lnTo>
                      <a:pt x="158" y="75"/>
                    </a:lnTo>
                    <a:lnTo>
                      <a:pt x="160" y="75"/>
                    </a:lnTo>
                    <a:lnTo>
                      <a:pt x="161" y="75"/>
                    </a:lnTo>
                    <a:lnTo>
                      <a:pt x="163" y="73"/>
                    </a:lnTo>
                    <a:lnTo>
                      <a:pt x="165" y="73"/>
                    </a:lnTo>
                    <a:lnTo>
                      <a:pt x="167" y="73"/>
                    </a:lnTo>
                    <a:lnTo>
                      <a:pt x="169" y="71"/>
                    </a:lnTo>
                    <a:lnTo>
                      <a:pt x="171" y="71"/>
                    </a:lnTo>
                    <a:lnTo>
                      <a:pt x="173" y="71"/>
                    </a:lnTo>
                    <a:lnTo>
                      <a:pt x="175" y="71"/>
                    </a:lnTo>
                    <a:lnTo>
                      <a:pt x="175" y="69"/>
                    </a:lnTo>
                    <a:lnTo>
                      <a:pt x="177" y="69"/>
                    </a:lnTo>
                    <a:lnTo>
                      <a:pt x="179" y="69"/>
                    </a:lnTo>
                    <a:lnTo>
                      <a:pt x="181" y="69"/>
                    </a:lnTo>
                    <a:lnTo>
                      <a:pt x="183" y="67"/>
                    </a:lnTo>
                    <a:lnTo>
                      <a:pt x="184" y="67"/>
                    </a:lnTo>
                    <a:lnTo>
                      <a:pt x="186" y="67"/>
                    </a:lnTo>
                    <a:lnTo>
                      <a:pt x="188" y="65"/>
                    </a:lnTo>
                    <a:lnTo>
                      <a:pt x="190" y="65"/>
                    </a:lnTo>
                    <a:lnTo>
                      <a:pt x="192" y="65"/>
                    </a:lnTo>
                    <a:lnTo>
                      <a:pt x="194" y="65"/>
                    </a:lnTo>
                    <a:lnTo>
                      <a:pt x="194" y="64"/>
                    </a:lnTo>
                    <a:lnTo>
                      <a:pt x="196" y="64"/>
                    </a:lnTo>
                    <a:lnTo>
                      <a:pt x="198" y="64"/>
                    </a:lnTo>
                    <a:lnTo>
                      <a:pt x="200" y="64"/>
                    </a:lnTo>
                    <a:lnTo>
                      <a:pt x="200" y="62"/>
                    </a:lnTo>
                    <a:lnTo>
                      <a:pt x="206" y="60"/>
                    </a:lnTo>
                    <a:lnTo>
                      <a:pt x="208" y="58"/>
                    </a:lnTo>
                    <a:lnTo>
                      <a:pt x="211" y="56"/>
                    </a:lnTo>
                    <a:lnTo>
                      <a:pt x="211" y="54"/>
                    </a:lnTo>
                    <a:lnTo>
                      <a:pt x="213" y="54"/>
                    </a:lnTo>
                    <a:lnTo>
                      <a:pt x="217" y="50"/>
                    </a:lnTo>
                    <a:lnTo>
                      <a:pt x="215" y="46"/>
                    </a:lnTo>
                    <a:lnTo>
                      <a:pt x="215" y="44"/>
                    </a:lnTo>
                    <a:lnTo>
                      <a:pt x="215" y="42"/>
                    </a:lnTo>
                    <a:lnTo>
                      <a:pt x="215" y="39"/>
                    </a:lnTo>
                    <a:lnTo>
                      <a:pt x="215" y="35"/>
                    </a:lnTo>
                    <a:lnTo>
                      <a:pt x="215" y="33"/>
                    </a:lnTo>
                    <a:lnTo>
                      <a:pt x="213" y="31"/>
                    </a:lnTo>
                    <a:lnTo>
                      <a:pt x="213" y="29"/>
                    </a:lnTo>
                    <a:lnTo>
                      <a:pt x="215" y="27"/>
                    </a:lnTo>
                    <a:lnTo>
                      <a:pt x="215" y="25"/>
                    </a:lnTo>
                    <a:lnTo>
                      <a:pt x="217" y="25"/>
                    </a:lnTo>
                    <a:lnTo>
                      <a:pt x="217" y="23"/>
                    </a:lnTo>
                    <a:lnTo>
                      <a:pt x="217" y="21"/>
                    </a:lnTo>
                    <a:lnTo>
                      <a:pt x="219" y="21"/>
                    </a:lnTo>
                    <a:lnTo>
                      <a:pt x="221" y="19"/>
                    </a:lnTo>
                    <a:lnTo>
                      <a:pt x="223" y="17"/>
                    </a:lnTo>
                    <a:lnTo>
                      <a:pt x="225" y="16"/>
                    </a:lnTo>
                    <a:lnTo>
                      <a:pt x="227" y="14"/>
                    </a:lnTo>
                    <a:lnTo>
                      <a:pt x="229" y="14"/>
                    </a:lnTo>
                    <a:lnTo>
                      <a:pt x="229" y="12"/>
                    </a:lnTo>
                    <a:lnTo>
                      <a:pt x="231" y="12"/>
                    </a:lnTo>
                    <a:lnTo>
                      <a:pt x="229" y="10"/>
                    </a:lnTo>
                    <a:lnTo>
                      <a:pt x="229" y="8"/>
                    </a:lnTo>
                    <a:lnTo>
                      <a:pt x="231" y="6"/>
                    </a:lnTo>
                    <a:lnTo>
                      <a:pt x="231" y="4"/>
                    </a:lnTo>
                    <a:lnTo>
                      <a:pt x="232" y="6"/>
                    </a:lnTo>
                    <a:lnTo>
                      <a:pt x="236" y="4"/>
                    </a:lnTo>
                    <a:lnTo>
                      <a:pt x="238" y="2"/>
                    </a:lnTo>
                    <a:lnTo>
                      <a:pt x="240" y="2"/>
                    </a:lnTo>
                    <a:lnTo>
                      <a:pt x="240" y="0"/>
                    </a:lnTo>
                    <a:lnTo>
                      <a:pt x="242" y="0"/>
                    </a:lnTo>
                    <a:lnTo>
                      <a:pt x="244" y="0"/>
                    </a:lnTo>
                    <a:lnTo>
                      <a:pt x="246" y="0"/>
                    </a:lnTo>
                    <a:lnTo>
                      <a:pt x="248" y="0"/>
                    </a:lnTo>
                    <a:lnTo>
                      <a:pt x="250" y="0"/>
                    </a:lnTo>
                    <a:lnTo>
                      <a:pt x="252" y="2"/>
                    </a:lnTo>
                    <a:lnTo>
                      <a:pt x="254" y="2"/>
                    </a:lnTo>
                    <a:lnTo>
                      <a:pt x="257" y="2"/>
                    </a:lnTo>
                    <a:lnTo>
                      <a:pt x="259" y="2"/>
                    </a:lnTo>
                    <a:lnTo>
                      <a:pt x="261" y="2"/>
                    </a:lnTo>
                    <a:lnTo>
                      <a:pt x="263" y="4"/>
                    </a:lnTo>
                    <a:lnTo>
                      <a:pt x="265" y="4"/>
                    </a:lnTo>
                    <a:lnTo>
                      <a:pt x="267" y="4"/>
                    </a:lnTo>
                    <a:lnTo>
                      <a:pt x="269" y="4"/>
                    </a:lnTo>
                    <a:lnTo>
                      <a:pt x="271" y="4"/>
                    </a:lnTo>
                    <a:lnTo>
                      <a:pt x="275" y="4"/>
                    </a:lnTo>
                    <a:lnTo>
                      <a:pt x="277" y="4"/>
                    </a:lnTo>
                    <a:lnTo>
                      <a:pt x="279" y="4"/>
                    </a:lnTo>
                    <a:lnTo>
                      <a:pt x="280" y="4"/>
                    </a:lnTo>
                    <a:lnTo>
                      <a:pt x="282" y="6"/>
                    </a:lnTo>
                    <a:lnTo>
                      <a:pt x="284" y="6"/>
                    </a:lnTo>
                    <a:lnTo>
                      <a:pt x="286" y="6"/>
                    </a:lnTo>
                    <a:lnTo>
                      <a:pt x="290" y="6"/>
                    </a:lnTo>
                    <a:lnTo>
                      <a:pt x="292" y="6"/>
                    </a:lnTo>
                    <a:lnTo>
                      <a:pt x="294" y="4"/>
                    </a:lnTo>
                    <a:lnTo>
                      <a:pt x="296" y="4"/>
                    </a:lnTo>
                    <a:lnTo>
                      <a:pt x="298" y="4"/>
                    </a:lnTo>
                    <a:lnTo>
                      <a:pt x="300" y="4"/>
                    </a:lnTo>
                    <a:lnTo>
                      <a:pt x="302" y="4"/>
                    </a:lnTo>
                    <a:lnTo>
                      <a:pt x="304" y="4"/>
                    </a:lnTo>
                    <a:lnTo>
                      <a:pt x="305" y="4"/>
                    </a:lnTo>
                    <a:lnTo>
                      <a:pt x="307" y="4"/>
                    </a:lnTo>
                    <a:lnTo>
                      <a:pt x="309" y="4"/>
                    </a:lnTo>
                    <a:lnTo>
                      <a:pt x="311" y="4"/>
                    </a:lnTo>
                    <a:lnTo>
                      <a:pt x="311" y="6"/>
                    </a:lnTo>
                    <a:lnTo>
                      <a:pt x="313" y="6"/>
                    </a:lnTo>
                    <a:lnTo>
                      <a:pt x="315" y="6"/>
                    </a:lnTo>
                    <a:lnTo>
                      <a:pt x="317" y="6"/>
                    </a:lnTo>
                    <a:lnTo>
                      <a:pt x="317" y="8"/>
                    </a:lnTo>
                    <a:lnTo>
                      <a:pt x="319" y="8"/>
                    </a:lnTo>
                    <a:lnTo>
                      <a:pt x="319" y="10"/>
                    </a:lnTo>
                    <a:lnTo>
                      <a:pt x="321" y="10"/>
                    </a:lnTo>
                    <a:lnTo>
                      <a:pt x="323" y="10"/>
                    </a:lnTo>
                    <a:lnTo>
                      <a:pt x="325" y="10"/>
                    </a:lnTo>
                    <a:lnTo>
                      <a:pt x="327" y="12"/>
                    </a:lnTo>
                    <a:lnTo>
                      <a:pt x="328" y="12"/>
                    </a:lnTo>
                    <a:lnTo>
                      <a:pt x="330" y="12"/>
                    </a:lnTo>
                    <a:lnTo>
                      <a:pt x="332" y="12"/>
                    </a:lnTo>
                    <a:lnTo>
                      <a:pt x="332" y="14"/>
                    </a:lnTo>
                    <a:lnTo>
                      <a:pt x="334" y="14"/>
                    </a:lnTo>
                    <a:lnTo>
                      <a:pt x="334" y="16"/>
                    </a:lnTo>
                    <a:lnTo>
                      <a:pt x="334" y="17"/>
                    </a:lnTo>
                    <a:lnTo>
                      <a:pt x="336" y="17"/>
                    </a:lnTo>
                    <a:lnTo>
                      <a:pt x="338" y="19"/>
                    </a:lnTo>
                    <a:lnTo>
                      <a:pt x="340" y="19"/>
                    </a:lnTo>
                    <a:lnTo>
                      <a:pt x="342" y="19"/>
                    </a:lnTo>
                    <a:lnTo>
                      <a:pt x="344" y="19"/>
                    </a:lnTo>
                    <a:lnTo>
                      <a:pt x="348" y="16"/>
                    </a:lnTo>
                    <a:lnTo>
                      <a:pt x="350" y="16"/>
                    </a:lnTo>
                    <a:lnTo>
                      <a:pt x="352" y="16"/>
                    </a:lnTo>
                    <a:lnTo>
                      <a:pt x="352" y="14"/>
                    </a:lnTo>
                    <a:lnTo>
                      <a:pt x="353" y="14"/>
                    </a:lnTo>
                    <a:lnTo>
                      <a:pt x="353" y="12"/>
                    </a:lnTo>
                    <a:lnTo>
                      <a:pt x="355" y="12"/>
                    </a:lnTo>
                    <a:lnTo>
                      <a:pt x="355" y="10"/>
                    </a:lnTo>
                    <a:lnTo>
                      <a:pt x="357" y="10"/>
                    </a:lnTo>
                    <a:lnTo>
                      <a:pt x="359" y="10"/>
                    </a:lnTo>
                    <a:lnTo>
                      <a:pt x="361" y="10"/>
                    </a:lnTo>
                    <a:lnTo>
                      <a:pt x="363" y="10"/>
                    </a:lnTo>
                    <a:lnTo>
                      <a:pt x="363" y="12"/>
                    </a:lnTo>
                    <a:lnTo>
                      <a:pt x="363" y="17"/>
                    </a:lnTo>
                    <a:lnTo>
                      <a:pt x="369" y="17"/>
                    </a:lnTo>
                    <a:lnTo>
                      <a:pt x="375" y="16"/>
                    </a:lnTo>
                    <a:lnTo>
                      <a:pt x="384" y="16"/>
                    </a:lnTo>
                    <a:lnTo>
                      <a:pt x="386" y="17"/>
                    </a:lnTo>
                    <a:lnTo>
                      <a:pt x="386" y="19"/>
                    </a:lnTo>
                    <a:lnTo>
                      <a:pt x="386" y="21"/>
                    </a:lnTo>
                    <a:lnTo>
                      <a:pt x="388" y="21"/>
                    </a:lnTo>
                    <a:lnTo>
                      <a:pt x="390" y="23"/>
                    </a:lnTo>
                    <a:lnTo>
                      <a:pt x="392" y="23"/>
                    </a:lnTo>
                    <a:lnTo>
                      <a:pt x="396" y="23"/>
                    </a:lnTo>
                    <a:lnTo>
                      <a:pt x="400" y="21"/>
                    </a:lnTo>
                    <a:lnTo>
                      <a:pt x="403" y="19"/>
                    </a:lnTo>
                    <a:lnTo>
                      <a:pt x="403" y="17"/>
                    </a:lnTo>
                    <a:lnTo>
                      <a:pt x="405" y="17"/>
                    </a:lnTo>
                    <a:lnTo>
                      <a:pt x="407" y="17"/>
                    </a:lnTo>
                    <a:lnTo>
                      <a:pt x="409" y="17"/>
                    </a:lnTo>
                    <a:lnTo>
                      <a:pt x="411" y="17"/>
                    </a:lnTo>
                    <a:lnTo>
                      <a:pt x="413" y="16"/>
                    </a:lnTo>
                    <a:lnTo>
                      <a:pt x="415" y="16"/>
                    </a:lnTo>
                    <a:lnTo>
                      <a:pt x="417" y="14"/>
                    </a:lnTo>
                    <a:lnTo>
                      <a:pt x="419" y="14"/>
                    </a:lnTo>
                    <a:lnTo>
                      <a:pt x="421" y="12"/>
                    </a:lnTo>
                    <a:lnTo>
                      <a:pt x="423" y="12"/>
                    </a:lnTo>
                    <a:lnTo>
                      <a:pt x="423" y="10"/>
                    </a:lnTo>
                    <a:lnTo>
                      <a:pt x="425" y="10"/>
                    </a:lnTo>
                    <a:lnTo>
                      <a:pt x="426" y="10"/>
                    </a:lnTo>
                    <a:lnTo>
                      <a:pt x="428" y="10"/>
                    </a:lnTo>
                    <a:lnTo>
                      <a:pt x="428" y="8"/>
                    </a:lnTo>
                    <a:lnTo>
                      <a:pt x="430" y="8"/>
                    </a:lnTo>
                    <a:lnTo>
                      <a:pt x="432" y="8"/>
                    </a:lnTo>
                    <a:lnTo>
                      <a:pt x="434" y="8"/>
                    </a:lnTo>
                    <a:lnTo>
                      <a:pt x="434" y="6"/>
                    </a:lnTo>
                    <a:lnTo>
                      <a:pt x="436" y="8"/>
                    </a:lnTo>
                    <a:lnTo>
                      <a:pt x="438" y="8"/>
                    </a:lnTo>
                    <a:lnTo>
                      <a:pt x="440" y="8"/>
                    </a:lnTo>
                    <a:lnTo>
                      <a:pt x="442" y="8"/>
                    </a:lnTo>
                    <a:lnTo>
                      <a:pt x="446" y="10"/>
                    </a:lnTo>
                    <a:lnTo>
                      <a:pt x="449" y="8"/>
                    </a:lnTo>
                    <a:lnTo>
                      <a:pt x="451" y="8"/>
                    </a:lnTo>
                    <a:lnTo>
                      <a:pt x="453" y="6"/>
                    </a:lnTo>
                    <a:lnTo>
                      <a:pt x="455" y="6"/>
                    </a:lnTo>
                    <a:lnTo>
                      <a:pt x="457" y="6"/>
                    </a:lnTo>
                    <a:lnTo>
                      <a:pt x="459" y="4"/>
                    </a:lnTo>
                    <a:lnTo>
                      <a:pt x="463" y="6"/>
                    </a:lnTo>
                    <a:lnTo>
                      <a:pt x="465" y="8"/>
                    </a:lnTo>
                    <a:lnTo>
                      <a:pt x="467" y="8"/>
                    </a:lnTo>
                    <a:lnTo>
                      <a:pt x="467" y="10"/>
                    </a:lnTo>
                    <a:lnTo>
                      <a:pt x="469" y="1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64" name="Freeform 124">
                <a:extLst>
                  <a:ext uri="{FF2B5EF4-FFF2-40B4-BE49-F238E27FC236}">
                    <a16:creationId xmlns:a16="http://schemas.microsoft.com/office/drawing/2014/main" id="{649D6FB9-72BF-4142-8B8E-C62FDB124000}"/>
                  </a:ext>
                </a:extLst>
              </p:cNvPr>
              <p:cNvSpPr>
                <a:spLocks/>
              </p:cNvSpPr>
              <p:nvPr/>
            </p:nvSpPr>
            <p:spPr bwMode="auto">
              <a:xfrm>
                <a:off x="4805460" y="1711019"/>
                <a:ext cx="967578" cy="1356390"/>
              </a:xfrm>
              <a:custGeom>
                <a:avLst/>
                <a:gdLst>
                  <a:gd name="T0" fmla="*/ 368 w 652"/>
                  <a:gd name="T1" fmla="*/ 62 h 914"/>
                  <a:gd name="T2" fmla="*/ 424 w 652"/>
                  <a:gd name="T3" fmla="*/ 58 h 914"/>
                  <a:gd name="T4" fmla="*/ 447 w 652"/>
                  <a:gd name="T5" fmla="*/ 96 h 914"/>
                  <a:gd name="T6" fmla="*/ 470 w 652"/>
                  <a:gd name="T7" fmla="*/ 125 h 914"/>
                  <a:gd name="T8" fmla="*/ 497 w 652"/>
                  <a:gd name="T9" fmla="*/ 71 h 914"/>
                  <a:gd name="T10" fmla="*/ 549 w 652"/>
                  <a:gd name="T11" fmla="*/ 66 h 914"/>
                  <a:gd name="T12" fmla="*/ 589 w 652"/>
                  <a:gd name="T13" fmla="*/ 48 h 914"/>
                  <a:gd name="T14" fmla="*/ 604 w 652"/>
                  <a:gd name="T15" fmla="*/ 89 h 914"/>
                  <a:gd name="T16" fmla="*/ 614 w 652"/>
                  <a:gd name="T17" fmla="*/ 152 h 914"/>
                  <a:gd name="T18" fmla="*/ 614 w 652"/>
                  <a:gd name="T19" fmla="*/ 212 h 914"/>
                  <a:gd name="T20" fmla="*/ 597 w 652"/>
                  <a:gd name="T21" fmla="*/ 265 h 914"/>
                  <a:gd name="T22" fmla="*/ 643 w 652"/>
                  <a:gd name="T23" fmla="*/ 304 h 914"/>
                  <a:gd name="T24" fmla="*/ 620 w 652"/>
                  <a:gd name="T25" fmla="*/ 355 h 914"/>
                  <a:gd name="T26" fmla="*/ 633 w 652"/>
                  <a:gd name="T27" fmla="*/ 407 h 914"/>
                  <a:gd name="T28" fmla="*/ 639 w 652"/>
                  <a:gd name="T29" fmla="*/ 428 h 914"/>
                  <a:gd name="T30" fmla="*/ 641 w 652"/>
                  <a:gd name="T31" fmla="*/ 461 h 914"/>
                  <a:gd name="T32" fmla="*/ 616 w 652"/>
                  <a:gd name="T33" fmla="*/ 475 h 914"/>
                  <a:gd name="T34" fmla="*/ 606 w 652"/>
                  <a:gd name="T35" fmla="*/ 523 h 914"/>
                  <a:gd name="T36" fmla="*/ 599 w 652"/>
                  <a:gd name="T37" fmla="*/ 553 h 914"/>
                  <a:gd name="T38" fmla="*/ 612 w 652"/>
                  <a:gd name="T39" fmla="*/ 576 h 914"/>
                  <a:gd name="T40" fmla="*/ 635 w 652"/>
                  <a:gd name="T41" fmla="*/ 615 h 914"/>
                  <a:gd name="T42" fmla="*/ 645 w 652"/>
                  <a:gd name="T43" fmla="*/ 649 h 914"/>
                  <a:gd name="T44" fmla="*/ 641 w 652"/>
                  <a:gd name="T45" fmla="*/ 691 h 914"/>
                  <a:gd name="T46" fmla="*/ 631 w 652"/>
                  <a:gd name="T47" fmla="*/ 743 h 914"/>
                  <a:gd name="T48" fmla="*/ 637 w 652"/>
                  <a:gd name="T49" fmla="*/ 789 h 914"/>
                  <a:gd name="T50" fmla="*/ 595 w 652"/>
                  <a:gd name="T51" fmla="*/ 820 h 914"/>
                  <a:gd name="T52" fmla="*/ 562 w 652"/>
                  <a:gd name="T53" fmla="*/ 830 h 914"/>
                  <a:gd name="T54" fmla="*/ 558 w 652"/>
                  <a:gd name="T55" fmla="*/ 895 h 914"/>
                  <a:gd name="T56" fmla="*/ 503 w 652"/>
                  <a:gd name="T57" fmla="*/ 903 h 914"/>
                  <a:gd name="T58" fmla="*/ 443 w 652"/>
                  <a:gd name="T59" fmla="*/ 906 h 914"/>
                  <a:gd name="T60" fmla="*/ 420 w 652"/>
                  <a:gd name="T61" fmla="*/ 868 h 914"/>
                  <a:gd name="T62" fmla="*/ 428 w 652"/>
                  <a:gd name="T63" fmla="*/ 816 h 914"/>
                  <a:gd name="T64" fmla="*/ 403 w 652"/>
                  <a:gd name="T65" fmla="*/ 774 h 914"/>
                  <a:gd name="T66" fmla="*/ 359 w 652"/>
                  <a:gd name="T67" fmla="*/ 801 h 914"/>
                  <a:gd name="T68" fmla="*/ 311 w 652"/>
                  <a:gd name="T69" fmla="*/ 791 h 914"/>
                  <a:gd name="T70" fmla="*/ 259 w 652"/>
                  <a:gd name="T71" fmla="*/ 793 h 914"/>
                  <a:gd name="T72" fmla="*/ 197 w 652"/>
                  <a:gd name="T73" fmla="*/ 793 h 914"/>
                  <a:gd name="T74" fmla="*/ 134 w 652"/>
                  <a:gd name="T75" fmla="*/ 791 h 914"/>
                  <a:gd name="T76" fmla="*/ 88 w 652"/>
                  <a:gd name="T77" fmla="*/ 780 h 914"/>
                  <a:gd name="T78" fmla="*/ 69 w 652"/>
                  <a:gd name="T79" fmla="*/ 755 h 914"/>
                  <a:gd name="T80" fmla="*/ 53 w 652"/>
                  <a:gd name="T81" fmla="*/ 715 h 914"/>
                  <a:gd name="T82" fmla="*/ 61 w 652"/>
                  <a:gd name="T83" fmla="*/ 670 h 914"/>
                  <a:gd name="T84" fmla="*/ 94 w 652"/>
                  <a:gd name="T85" fmla="*/ 657 h 914"/>
                  <a:gd name="T86" fmla="*/ 92 w 652"/>
                  <a:gd name="T87" fmla="*/ 619 h 914"/>
                  <a:gd name="T88" fmla="*/ 86 w 652"/>
                  <a:gd name="T89" fmla="*/ 592 h 914"/>
                  <a:gd name="T90" fmla="*/ 59 w 652"/>
                  <a:gd name="T91" fmla="*/ 576 h 914"/>
                  <a:gd name="T92" fmla="*/ 40 w 652"/>
                  <a:gd name="T93" fmla="*/ 547 h 914"/>
                  <a:gd name="T94" fmla="*/ 7 w 652"/>
                  <a:gd name="T95" fmla="*/ 503 h 914"/>
                  <a:gd name="T96" fmla="*/ 13 w 652"/>
                  <a:gd name="T97" fmla="*/ 451 h 914"/>
                  <a:gd name="T98" fmla="*/ 1 w 652"/>
                  <a:gd name="T99" fmla="*/ 402 h 914"/>
                  <a:gd name="T100" fmla="*/ 23 w 652"/>
                  <a:gd name="T101" fmla="*/ 373 h 914"/>
                  <a:gd name="T102" fmla="*/ 26 w 652"/>
                  <a:gd name="T103" fmla="*/ 340 h 914"/>
                  <a:gd name="T104" fmla="*/ 30 w 652"/>
                  <a:gd name="T105" fmla="*/ 281 h 914"/>
                  <a:gd name="T106" fmla="*/ 46 w 652"/>
                  <a:gd name="T107" fmla="*/ 231 h 914"/>
                  <a:gd name="T108" fmla="*/ 94 w 652"/>
                  <a:gd name="T109" fmla="*/ 179 h 914"/>
                  <a:gd name="T110" fmla="*/ 134 w 652"/>
                  <a:gd name="T111" fmla="*/ 117 h 914"/>
                  <a:gd name="T112" fmla="*/ 157 w 652"/>
                  <a:gd name="T113" fmla="*/ 87 h 914"/>
                  <a:gd name="T114" fmla="*/ 201 w 652"/>
                  <a:gd name="T115" fmla="*/ 60 h 914"/>
                  <a:gd name="T116" fmla="*/ 234 w 652"/>
                  <a:gd name="T117" fmla="*/ 35 h 914"/>
                  <a:gd name="T118" fmla="*/ 259 w 652"/>
                  <a:gd name="T119" fmla="*/ 18 h 914"/>
                  <a:gd name="T120" fmla="*/ 284 w 652"/>
                  <a:gd name="T121" fmla="*/ 41 h 914"/>
                  <a:gd name="T122" fmla="*/ 326 w 652"/>
                  <a:gd name="T123" fmla="*/ 14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914">
                    <a:moveTo>
                      <a:pt x="355" y="0"/>
                    </a:moveTo>
                    <a:lnTo>
                      <a:pt x="355" y="2"/>
                    </a:lnTo>
                    <a:lnTo>
                      <a:pt x="355" y="4"/>
                    </a:lnTo>
                    <a:lnTo>
                      <a:pt x="353" y="6"/>
                    </a:lnTo>
                    <a:lnTo>
                      <a:pt x="353" y="8"/>
                    </a:lnTo>
                    <a:lnTo>
                      <a:pt x="351" y="10"/>
                    </a:lnTo>
                    <a:lnTo>
                      <a:pt x="351" y="12"/>
                    </a:lnTo>
                    <a:lnTo>
                      <a:pt x="351" y="14"/>
                    </a:lnTo>
                    <a:lnTo>
                      <a:pt x="351" y="16"/>
                    </a:lnTo>
                    <a:lnTo>
                      <a:pt x="349" y="18"/>
                    </a:lnTo>
                    <a:lnTo>
                      <a:pt x="347" y="21"/>
                    </a:lnTo>
                    <a:lnTo>
                      <a:pt x="347" y="23"/>
                    </a:lnTo>
                    <a:lnTo>
                      <a:pt x="347" y="25"/>
                    </a:lnTo>
                    <a:lnTo>
                      <a:pt x="349" y="25"/>
                    </a:lnTo>
                    <a:lnTo>
                      <a:pt x="351" y="25"/>
                    </a:lnTo>
                    <a:lnTo>
                      <a:pt x="353" y="25"/>
                    </a:lnTo>
                    <a:lnTo>
                      <a:pt x="355" y="25"/>
                    </a:lnTo>
                    <a:lnTo>
                      <a:pt x="355" y="27"/>
                    </a:lnTo>
                    <a:lnTo>
                      <a:pt x="357" y="29"/>
                    </a:lnTo>
                    <a:lnTo>
                      <a:pt x="359" y="31"/>
                    </a:lnTo>
                    <a:lnTo>
                      <a:pt x="359" y="33"/>
                    </a:lnTo>
                    <a:lnTo>
                      <a:pt x="359" y="35"/>
                    </a:lnTo>
                    <a:lnTo>
                      <a:pt x="361" y="35"/>
                    </a:lnTo>
                    <a:lnTo>
                      <a:pt x="361" y="37"/>
                    </a:lnTo>
                    <a:lnTo>
                      <a:pt x="362" y="39"/>
                    </a:lnTo>
                    <a:lnTo>
                      <a:pt x="362" y="41"/>
                    </a:lnTo>
                    <a:lnTo>
                      <a:pt x="364" y="41"/>
                    </a:lnTo>
                    <a:lnTo>
                      <a:pt x="364" y="43"/>
                    </a:lnTo>
                    <a:lnTo>
                      <a:pt x="364" y="44"/>
                    </a:lnTo>
                    <a:lnTo>
                      <a:pt x="366" y="44"/>
                    </a:lnTo>
                    <a:lnTo>
                      <a:pt x="366" y="46"/>
                    </a:lnTo>
                    <a:lnTo>
                      <a:pt x="368" y="46"/>
                    </a:lnTo>
                    <a:lnTo>
                      <a:pt x="368" y="48"/>
                    </a:lnTo>
                    <a:lnTo>
                      <a:pt x="368" y="50"/>
                    </a:lnTo>
                    <a:lnTo>
                      <a:pt x="368" y="52"/>
                    </a:lnTo>
                    <a:lnTo>
                      <a:pt x="368" y="54"/>
                    </a:lnTo>
                    <a:lnTo>
                      <a:pt x="370" y="56"/>
                    </a:lnTo>
                    <a:lnTo>
                      <a:pt x="368" y="58"/>
                    </a:lnTo>
                    <a:lnTo>
                      <a:pt x="368" y="60"/>
                    </a:lnTo>
                    <a:lnTo>
                      <a:pt x="368" y="62"/>
                    </a:lnTo>
                    <a:lnTo>
                      <a:pt x="368" y="64"/>
                    </a:lnTo>
                    <a:lnTo>
                      <a:pt x="370" y="64"/>
                    </a:lnTo>
                    <a:lnTo>
                      <a:pt x="372" y="64"/>
                    </a:lnTo>
                    <a:lnTo>
                      <a:pt x="374" y="62"/>
                    </a:lnTo>
                    <a:lnTo>
                      <a:pt x="376" y="62"/>
                    </a:lnTo>
                    <a:lnTo>
                      <a:pt x="378" y="60"/>
                    </a:lnTo>
                    <a:lnTo>
                      <a:pt x="380" y="60"/>
                    </a:lnTo>
                    <a:lnTo>
                      <a:pt x="382" y="58"/>
                    </a:lnTo>
                    <a:lnTo>
                      <a:pt x="384" y="58"/>
                    </a:lnTo>
                    <a:lnTo>
                      <a:pt x="384" y="56"/>
                    </a:lnTo>
                    <a:lnTo>
                      <a:pt x="386" y="56"/>
                    </a:lnTo>
                    <a:lnTo>
                      <a:pt x="387" y="56"/>
                    </a:lnTo>
                    <a:lnTo>
                      <a:pt x="387" y="54"/>
                    </a:lnTo>
                    <a:lnTo>
                      <a:pt x="389" y="54"/>
                    </a:lnTo>
                    <a:lnTo>
                      <a:pt x="391" y="52"/>
                    </a:lnTo>
                    <a:lnTo>
                      <a:pt x="393" y="50"/>
                    </a:lnTo>
                    <a:lnTo>
                      <a:pt x="395" y="50"/>
                    </a:lnTo>
                    <a:lnTo>
                      <a:pt x="395" y="48"/>
                    </a:lnTo>
                    <a:lnTo>
                      <a:pt x="397" y="48"/>
                    </a:lnTo>
                    <a:lnTo>
                      <a:pt x="397" y="46"/>
                    </a:lnTo>
                    <a:lnTo>
                      <a:pt x="399" y="46"/>
                    </a:lnTo>
                    <a:lnTo>
                      <a:pt x="401" y="46"/>
                    </a:lnTo>
                    <a:lnTo>
                      <a:pt x="401" y="44"/>
                    </a:lnTo>
                    <a:lnTo>
                      <a:pt x="403" y="46"/>
                    </a:lnTo>
                    <a:lnTo>
                      <a:pt x="405" y="46"/>
                    </a:lnTo>
                    <a:lnTo>
                      <a:pt x="407" y="46"/>
                    </a:lnTo>
                    <a:lnTo>
                      <a:pt x="409" y="46"/>
                    </a:lnTo>
                    <a:lnTo>
                      <a:pt x="410" y="48"/>
                    </a:lnTo>
                    <a:lnTo>
                      <a:pt x="412" y="48"/>
                    </a:lnTo>
                    <a:lnTo>
                      <a:pt x="414" y="48"/>
                    </a:lnTo>
                    <a:lnTo>
                      <a:pt x="414" y="50"/>
                    </a:lnTo>
                    <a:lnTo>
                      <a:pt x="414" y="52"/>
                    </a:lnTo>
                    <a:lnTo>
                      <a:pt x="416" y="52"/>
                    </a:lnTo>
                    <a:lnTo>
                      <a:pt x="418" y="52"/>
                    </a:lnTo>
                    <a:lnTo>
                      <a:pt x="420" y="52"/>
                    </a:lnTo>
                    <a:lnTo>
                      <a:pt x="422" y="52"/>
                    </a:lnTo>
                    <a:lnTo>
                      <a:pt x="424" y="54"/>
                    </a:lnTo>
                    <a:lnTo>
                      <a:pt x="422" y="56"/>
                    </a:lnTo>
                    <a:lnTo>
                      <a:pt x="422" y="58"/>
                    </a:lnTo>
                    <a:lnTo>
                      <a:pt x="424" y="58"/>
                    </a:lnTo>
                    <a:lnTo>
                      <a:pt x="426" y="58"/>
                    </a:lnTo>
                    <a:lnTo>
                      <a:pt x="428" y="58"/>
                    </a:lnTo>
                    <a:lnTo>
                      <a:pt x="430" y="58"/>
                    </a:lnTo>
                    <a:lnTo>
                      <a:pt x="432" y="58"/>
                    </a:lnTo>
                    <a:lnTo>
                      <a:pt x="435" y="60"/>
                    </a:lnTo>
                    <a:lnTo>
                      <a:pt x="437" y="60"/>
                    </a:lnTo>
                    <a:lnTo>
                      <a:pt x="439" y="60"/>
                    </a:lnTo>
                    <a:lnTo>
                      <a:pt x="441" y="60"/>
                    </a:lnTo>
                    <a:lnTo>
                      <a:pt x="443" y="60"/>
                    </a:lnTo>
                    <a:lnTo>
                      <a:pt x="443" y="62"/>
                    </a:lnTo>
                    <a:lnTo>
                      <a:pt x="445" y="62"/>
                    </a:lnTo>
                    <a:lnTo>
                      <a:pt x="447" y="62"/>
                    </a:lnTo>
                    <a:lnTo>
                      <a:pt x="449" y="62"/>
                    </a:lnTo>
                    <a:lnTo>
                      <a:pt x="449" y="64"/>
                    </a:lnTo>
                    <a:lnTo>
                      <a:pt x="447" y="64"/>
                    </a:lnTo>
                    <a:lnTo>
                      <a:pt x="445" y="64"/>
                    </a:lnTo>
                    <a:lnTo>
                      <a:pt x="443" y="64"/>
                    </a:lnTo>
                    <a:lnTo>
                      <a:pt x="441" y="66"/>
                    </a:lnTo>
                    <a:lnTo>
                      <a:pt x="443" y="68"/>
                    </a:lnTo>
                    <a:lnTo>
                      <a:pt x="443" y="66"/>
                    </a:lnTo>
                    <a:lnTo>
                      <a:pt x="445" y="66"/>
                    </a:lnTo>
                    <a:lnTo>
                      <a:pt x="447" y="68"/>
                    </a:lnTo>
                    <a:lnTo>
                      <a:pt x="445" y="68"/>
                    </a:lnTo>
                    <a:lnTo>
                      <a:pt x="443" y="68"/>
                    </a:lnTo>
                    <a:lnTo>
                      <a:pt x="445" y="69"/>
                    </a:lnTo>
                    <a:lnTo>
                      <a:pt x="445" y="71"/>
                    </a:lnTo>
                    <a:lnTo>
                      <a:pt x="445" y="73"/>
                    </a:lnTo>
                    <a:lnTo>
                      <a:pt x="445" y="75"/>
                    </a:lnTo>
                    <a:lnTo>
                      <a:pt x="445" y="77"/>
                    </a:lnTo>
                    <a:lnTo>
                      <a:pt x="445" y="79"/>
                    </a:lnTo>
                    <a:lnTo>
                      <a:pt x="447" y="81"/>
                    </a:lnTo>
                    <a:lnTo>
                      <a:pt x="445" y="81"/>
                    </a:lnTo>
                    <a:lnTo>
                      <a:pt x="445" y="83"/>
                    </a:lnTo>
                    <a:lnTo>
                      <a:pt x="445" y="85"/>
                    </a:lnTo>
                    <a:lnTo>
                      <a:pt x="445" y="87"/>
                    </a:lnTo>
                    <a:lnTo>
                      <a:pt x="445" y="89"/>
                    </a:lnTo>
                    <a:lnTo>
                      <a:pt x="445" y="91"/>
                    </a:lnTo>
                    <a:lnTo>
                      <a:pt x="447" y="92"/>
                    </a:lnTo>
                    <a:lnTo>
                      <a:pt x="447" y="94"/>
                    </a:lnTo>
                    <a:lnTo>
                      <a:pt x="447" y="96"/>
                    </a:lnTo>
                    <a:lnTo>
                      <a:pt x="447" y="98"/>
                    </a:lnTo>
                    <a:lnTo>
                      <a:pt x="447" y="100"/>
                    </a:lnTo>
                    <a:lnTo>
                      <a:pt x="447" y="102"/>
                    </a:lnTo>
                    <a:lnTo>
                      <a:pt x="447" y="104"/>
                    </a:lnTo>
                    <a:lnTo>
                      <a:pt x="447" y="106"/>
                    </a:lnTo>
                    <a:lnTo>
                      <a:pt x="447" y="108"/>
                    </a:lnTo>
                    <a:lnTo>
                      <a:pt x="447" y="110"/>
                    </a:lnTo>
                    <a:lnTo>
                      <a:pt x="449" y="110"/>
                    </a:lnTo>
                    <a:lnTo>
                      <a:pt x="449" y="114"/>
                    </a:lnTo>
                    <a:lnTo>
                      <a:pt x="449" y="116"/>
                    </a:lnTo>
                    <a:lnTo>
                      <a:pt x="451" y="117"/>
                    </a:lnTo>
                    <a:lnTo>
                      <a:pt x="453" y="117"/>
                    </a:lnTo>
                    <a:lnTo>
                      <a:pt x="455" y="116"/>
                    </a:lnTo>
                    <a:lnTo>
                      <a:pt x="457" y="116"/>
                    </a:lnTo>
                    <a:lnTo>
                      <a:pt x="458" y="116"/>
                    </a:lnTo>
                    <a:lnTo>
                      <a:pt x="458" y="114"/>
                    </a:lnTo>
                    <a:lnTo>
                      <a:pt x="458" y="112"/>
                    </a:lnTo>
                    <a:lnTo>
                      <a:pt x="460" y="110"/>
                    </a:lnTo>
                    <a:lnTo>
                      <a:pt x="462" y="110"/>
                    </a:lnTo>
                    <a:lnTo>
                      <a:pt x="464" y="110"/>
                    </a:lnTo>
                    <a:lnTo>
                      <a:pt x="462" y="110"/>
                    </a:lnTo>
                    <a:lnTo>
                      <a:pt x="462" y="112"/>
                    </a:lnTo>
                    <a:lnTo>
                      <a:pt x="464" y="112"/>
                    </a:lnTo>
                    <a:lnTo>
                      <a:pt x="462" y="112"/>
                    </a:lnTo>
                    <a:lnTo>
                      <a:pt x="462" y="114"/>
                    </a:lnTo>
                    <a:lnTo>
                      <a:pt x="462" y="116"/>
                    </a:lnTo>
                    <a:lnTo>
                      <a:pt x="462" y="117"/>
                    </a:lnTo>
                    <a:lnTo>
                      <a:pt x="462" y="119"/>
                    </a:lnTo>
                    <a:lnTo>
                      <a:pt x="460" y="119"/>
                    </a:lnTo>
                    <a:lnTo>
                      <a:pt x="460" y="121"/>
                    </a:lnTo>
                    <a:lnTo>
                      <a:pt x="460" y="123"/>
                    </a:lnTo>
                    <a:lnTo>
                      <a:pt x="462" y="123"/>
                    </a:lnTo>
                    <a:lnTo>
                      <a:pt x="462" y="125"/>
                    </a:lnTo>
                    <a:lnTo>
                      <a:pt x="464" y="125"/>
                    </a:lnTo>
                    <a:lnTo>
                      <a:pt x="464" y="127"/>
                    </a:lnTo>
                    <a:lnTo>
                      <a:pt x="464" y="129"/>
                    </a:lnTo>
                    <a:lnTo>
                      <a:pt x="464" y="131"/>
                    </a:lnTo>
                    <a:lnTo>
                      <a:pt x="466" y="129"/>
                    </a:lnTo>
                    <a:lnTo>
                      <a:pt x="468" y="127"/>
                    </a:lnTo>
                    <a:lnTo>
                      <a:pt x="470" y="125"/>
                    </a:lnTo>
                    <a:lnTo>
                      <a:pt x="470" y="123"/>
                    </a:lnTo>
                    <a:lnTo>
                      <a:pt x="470" y="121"/>
                    </a:lnTo>
                    <a:lnTo>
                      <a:pt x="470" y="119"/>
                    </a:lnTo>
                    <a:lnTo>
                      <a:pt x="472" y="119"/>
                    </a:lnTo>
                    <a:lnTo>
                      <a:pt x="472" y="117"/>
                    </a:lnTo>
                    <a:lnTo>
                      <a:pt x="474" y="117"/>
                    </a:lnTo>
                    <a:lnTo>
                      <a:pt x="474" y="116"/>
                    </a:lnTo>
                    <a:lnTo>
                      <a:pt x="474" y="114"/>
                    </a:lnTo>
                    <a:lnTo>
                      <a:pt x="474" y="112"/>
                    </a:lnTo>
                    <a:lnTo>
                      <a:pt x="474" y="110"/>
                    </a:lnTo>
                    <a:lnTo>
                      <a:pt x="474" y="108"/>
                    </a:lnTo>
                    <a:lnTo>
                      <a:pt x="474" y="106"/>
                    </a:lnTo>
                    <a:lnTo>
                      <a:pt x="474" y="104"/>
                    </a:lnTo>
                    <a:lnTo>
                      <a:pt x="472" y="104"/>
                    </a:lnTo>
                    <a:lnTo>
                      <a:pt x="472" y="102"/>
                    </a:lnTo>
                    <a:lnTo>
                      <a:pt x="472" y="100"/>
                    </a:lnTo>
                    <a:lnTo>
                      <a:pt x="472" y="98"/>
                    </a:lnTo>
                    <a:lnTo>
                      <a:pt x="474" y="98"/>
                    </a:lnTo>
                    <a:lnTo>
                      <a:pt x="474" y="96"/>
                    </a:lnTo>
                    <a:lnTo>
                      <a:pt x="476" y="96"/>
                    </a:lnTo>
                    <a:lnTo>
                      <a:pt x="476" y="94"/>
                    </a:lnTo>
                    <a:lnTo>
                      <a:pt x="478" y="92"/>
                    </a:lnTo>
                    <a:lnTo>
                      <a:pt x="478" y="91"/>
                    </a:lnTo>
                    <a:lnTo>
                      <a:pt x="480" y="89"/>
                    </a:lnTo>
                    <a:lnTo>
                      <a:pt x="480" y="87"/>
                    </a:lnTo>
                    <a:lnTo>
                      <a:pt x="482" y="87"/>
                    </a:lnTo>
                    <a:lnTo>
                      <a:pt x="482" y="85"/>
                    </a:lnTo>
                    <a:lnTo>
                      <a:pt x="483" y="83"/>
                    </a:lnTo>
                    <a:lnTo>
                      <a:pt x="485" y="81"/>
                    </a:lnTo>
                    <a:lnTo>
                      <a:pt x="485" y="79"/>
                    </a:lnTo>
                    <a:lnTo>
                      <a:pt x="487" y="79"/>
                    </a:lnTo>
                    <a:lnTo>
                      <a:pt x="487" y="77"/>
                    </a:lnTo>
                    <a:lnTo>
                      <a:pt x="487" y="75"/>
                    </a:lnTo>
                    <a:lnTo>
                      <a:pt x="489" y="75"/>
                    </a:lnTo>
                    <a:lnTo>
                      <a:pt x="489" y="73"/>
                    </a:lnTo>
                    <a:lnTo>
                      <a:pt x="491" y="73"/>
                    </a:lnTo>
                    <a:lnTo>
                      <a:pt x="493" y="73"/>
                    </a:lnTo>
                    <a:lnTo>
                      <a:pt x="495" y="73"/>
                    </a:lnTo>
                    <a:lnTo>
                      <a:pt x="497" y="73"/>
                    </a:lnTo>
                    <a:lnTo>
                      <a:pt x="497" y="71"/>
                    </a:lnTo>
                    <a:lnTo>
                      <a:pt x="499" y="71"/>
                    </a:lnTo>
                    <a:lnTo>
                      <a:pt x="501" y="71"/>
                    </a:lnTo>
                    <a:lnTo>
                      <a:pt x="501" y="69"/>
                    </a:lnTo>
                    <a:lnTo>
                      <a:pt x="503" y="69"/>
                    </a:lnTo>
                    <a:lnTo>
                      <a:pt x="505" y="69"/>
                    </a:lnTo>
                    <a:lnTo>
                      <a:pt x="505" y="68"/>
                    </a:lnTo>
                    <a:lnTo>
                      <a:pt x="507" y="68"/>
                    </a:lnTo>
                    <a:lnTo>
                      <a:pt x="508" y="68"/>
                    </a:lnTo>
                    <a:lnTo>
                      <a:pt x="508" y="66"/>
                    </a:lnTo>
                    <a:lnTo>
                      <a:pt x="508" y="64"/>
                    </a:lnTo>
                    <a:lnTo>
                      <a:pt x="510" y="64"/>
                    </a:lnTo>
                    <a:lnTo>
                      <a:pt x="512" y="64"/>
                    </a:lnTo>
                    <a:lnTo>
                      <a:pt x="514" y="64"/>
                    </a:lnTo>
                    <a:lnTo>
                      <a:pt x="516" y="64"/>
                    </a:lnTo>
                    <a:lnTo>
                      <a:pt x="518" y="64"/>
                    </a:lnTo>
                    <a:lnTo>
                      <a:pt x="520" y="66"/>
                    </a:lnTo>
                    <a:lnTo>
                      <a:pt x="522" y="66"/>
                    </a:lnTo>
                    <a:lnTo>
                      <a:pt x="524" y="66"/>
                    </a:lnTo>
                    <a:lnTo>
                      <a:pt x="526" y="66"/>
                    </a:lnTo>
                    <a:lnTo>
                      <a:pt x="528" y="66"/>
                    </a:lnTo>
                    <a:lnTo>
                      <a:pt x="528" y="64"/>
                    </a:lnTo>
                    <a:lnTo>
                      <a:pt x="530" y="64"/>
                    </a:lnTo>
                    <a:lnTo>
                      <a:pt x="531" y="64"/>
                    </a:lnTo>
                    <a:lnTo>
                      <a:pt x="531" y="66"/>
                    </a:lnTo>
                    <a:lnTo>
                      <a:pt x="531" y="68"/>
                    </a:lnTo>
                    <a:lnTo>
                      <a:pt x="531" y="69"/>
                    </a:lnTo>
                    <a:lnTo>
                      <a:pt x="531" y="71"/>
                    </a:lnTo>
                    <a:lnTo>
                      <a:pt x="531" y="73"/>
                    </a:lnTo>
                    <a:lnTo>
                      <a:pt x="533" y="73"/>
                    </a:lnTo>
                    <a:lnTo>
                      <a:pt x="535" y="73"/>
                    </a:lnTo>
                    <a:lnTo>
                      <a:pt x="537" y="73"/>
                    </a:lnTo>
                    <a:lnTo>
                      <a:pt x="539" y="73"/>
                    </a:lnTo>
                    <a:lnTo>
                      <a:pt x="539" y="71"/>
                    </a:lnTo>
                    <a:lnTo>
                      <a:pt x="541" y="71"/>
                    </a:lnTo>
                    <a:lnTo>
                      <a:pt x="543" y="69"/>
                    </a:lnTo>
                    <a:lnTo>
                      <a:pt x="545" y="69"/>
                    </a:lnTo>
                    <a:lnTo>
                      <a:pt x="545" y="68"/>
                    </a:lnTo>
                    <a:lnTo>
                      <a:pt x="547" y="68"/>
                    </a:lnTo>
                    <a:lnTo>
                      <a:pt x="549" y="68"/>
                    </a:lnTo>
                    <a:lnTo>
                      <a:pt x="549" y="66"/>
                    </a:lnTo>
                    <a:lnTo>
                      <a:pt x="549" y="64"/>
                    </a:lnTo>
                    <a:lnTo>
                      <a:pt x="551" y="64"/>
                    </a:lnTo>
                    <a:lnTo>
                      <a:pt x="551" y="62"/>
                    </a:lnTo>
                    <a:lnTo>
                      <a:pt x="553" y="62"/>
                    </a:lnTo>
                    <a:lnTo>
                      <a:pt x="553" y="60"/>
                    </a:lnTo>
                    <a:lnTo>
                      <a:pt x="555" y="60"/>
                    </a:lnTo>
                    <a:lnTo>
                      <a:pt x="555" y="58"/>
                    </a:lnTo>
                    <a:lnTo>
                      <a:pt x="556" y="58"/>
                    </a:lnTo>
                    <a:lnTo>
                      <a:pt x="556" y="56"/>
                    </a:lnTo>
                    <a:lnTo>
                      <a:pt x="558" y="56"/>
                    </a:lnTo>
                    <a:lnTo>
                      <a:pt x="558" y="54"/>
                    </a:lnTo>
                    <a:lnTo>
                      <a:pt x="560" y="54"/>
                    </a:lnTo>
                    <a:lnTo>
                      <a:pt x="562" y="52"/>
                    </a:lnTo>
                    <a:lnTo>
                      <a:pt x="562" y="54"/>
                    </a:lnTo>
                    <a:lnTo>
                      <a:pt x="562" y="52"/>
                    </a:lnTo>
                    <a:lnTo>
                      <a:pt x="562" y="54"/>
                    </a:lnTo>
                    <a:lnTo>
                      <a:pt x="562" y="52"/>
                    </a:lnTo>
                    <a:lnTo>
                      <a:pt x="564" y="52"/>
                    </a:lnTo>
                    <a:lnTo>
                      <a:pt x="564" y="54"/>
                    </a:lnTo>
                    <a:lnTo>
                      <a:pt x="566" y="54"/>
                    </a:lnTo>
                    <a:lnTo>
                      <a:pt x="566" y="52"/>
                    </a:lnTo>
                    <a:lnTo>
                      <a:pt x="568" y="50"/>
                    </a:lnTo>
                    <a:lnTo>
                      <a:pt x="568" y="48"/>
                    </a:lnTo>
                    <a:lnTo>
                      <a:pt x="568" y="46"/>
                    </a:lnTo>
                    <a:lnTo>
                      <a:pt x="570" y="46"/>
                    </a:lnTo>
                    <a:lnTo>
                      <a:pt x="570" y="44"/>
                    </a:lnTo>
                    <a:lnTo>
                      <a:pt x="572" y="44"/>
                    </a:lnTo>
                    <a:lnTo>
                      <a:pt x="574" y="44"/>
                    </a:lnTo>
                    <a:lnTo>
                      <a:pt x="574" y="43"/>
                    </a:lnTo>
                    <a:lnTo>
                      <a:pt x="576" y="43"/>
                    </a:lnTo>
                    <a:lnTo>
                      <a:pt x="576" y="44"/>
                    </a:lnTo>
                    <a:lnTo>
                      <a:pt x="578" y="44"/>
                    </a:lnTo>
                    <a:lnTo>
                      <a:pt x="578" y="46"/>
                    </a:lnTo>
                    <a:lnTo>
                      <a:pt x="579" y="46"/>
                    </a:lnTo>
                    <a:lnTo>
                      <a:pt x="581" y="46"/>
                    </a:lnTo>
                    <a:lnTo>
                      <a:pt x="583" y="46"/>
                    </a:lnTo>
                    <a:lnTo>
                      <a:pt x="585" y="46"/>
                    </a:lnTo>
                    <a:lnTo>
                      <a:pt x="587" y="46"/>
                    </a:lnTo>
                    <a:lnTo>
                      <a:pt x="589" y="46"/>
                    </a:lnTo>
                    <a:lnTo>
                      <a:pt x="589" y="48"/>
                    </a:lnTo>
                    <a:lnTo>
                      <a:pt x="589" y="46"/>
                    </a:lnTo>
                    <a:lnTo>
                      <a:pt x="589" y="48"/>
                    </a:lnTo>
                    <a:lnTo>
                      <a:pt x="587" y="48"/>
                    </a:lnTo>
                    <a:lnTo>
                      <a:pt x="587" y="50"/>
                    </a:lnTo>
                    <a:lnTo>
                      <a:pt x="585" y="50"/>
                    </a:lnTo>
                    <a:lnTo>
                      <a:pt x="585" y="52"/>
                    </a:lnTo>
                    <a:lnTo>
                      <a:pt x="585" y="54"/>
                    </a:lnTo>
                    <a:lnTo>
                      <a:pt x="583" y="54"/>
                    </a:lnTo>
                    <a:lnTo>
                      <a:pt x="583" y="56"/>
                    </a:lnTo>
                    <a:lnTo>
                      <a:pt x="585" y="58"/>
                    </a:lnTo>
                    <a:lnTo>
                      <a:pt x="587" y="58"/>
                    </a:lnTo>
                    <a:lnTo>
                      <a:pt x="589" y="60"/>
                    </a:lnTo>
                    <a:lnTo>
                      <a:pt x="591" y="60"/>
                    </a:lnTo>
                    <a:lnTo>
                      <a:pt x="589" y="60"/>
                    </a:lnTo>
                    <a:lnTo>
                      <a:pt x="589" y="62"/>
                    </a:lnTo>
                    <a:lnTo>
                      <a:pt x="587" y="62"/>
                    </a:lnTo>
                    <a:lnTo>
                      <a:pt x="587" y="64"/>
                    </a:lnTo>
                    <a:lnTo>
                      <a:pt x="587" y="66"/>
                    </a:lnTo>
                    <a:lnTo>
                      <a:pt x="589" y="66"/>
                    </a:lnTo>
                    <a:lnTo>
                      <a:pt x="591" y="68"/>
                    </a:lnTo>
                    <a:lnTo>
                      <a:pt x="591" y="69"/>
                    </a:lnTo>
                    <a:lnTo>
                      <a:pt x="593" y="69"/>
                    </a:lnTo>
                    <a:lnTo>
                      <a:pt x="593" y="71"/>
                    </a:lnTo>
                    <a:lnTo>
                      <a:pt x="595" y="71"/>
                    </a:lnTo>
                    <a:lnTo>
                      <a:pt x="595" y="73"/>
                    </a:lnTo>
                    <a:lnTo>
                      <a:pt x="593" y="73"/>
                    </a:lnTo>
                    <a:lnTo>
                      <a:pt x="593" y="75"/>
                    </a:lnTo>
                    <a:lnTo>
                      <a:pt x="593" y="77"/>
                    </a:lnTo>
                    <a:lnTo>
                      <a:pt x="593" y="79"/>
                    </a:lnTo>
                    <a:lnTo>
                      <a:pt x="593" y="81"/>
                    </a:lnTo>
                    <a:lnTo>
                      <a:pt x="595" y="81"/>
                    </a:lnTo>
                    <a:lnTo>
                      <a:pt x="595" y="83"/>
                    </a:lnTo>
                    <a:lnTo>
                      <a:pt x="597" y="83"/>
                    </a:lnTo>
                    <a:lnTo>
                      <a:pt x="599" y="83"/>
                    </a:lnTo>
                    <a:lnTo>
                      <a:pt x="601" y="83"/>
                    </a:lnTo>
                    <a:lnTo>
                      <a:pt x="603" y="83"/>
                    </a:lnTo>
                    <a:lnTo>
                      <a:pt x="603" y="85"/>
                    </a:lnTo>
                    <a:lnTo>
                      <a:pt x="604" y="85"/>
                    </a:lnTo>
                    <a:lnTo>
                      <a:pt x="604" y="87"/>
                    </a:lnTo>
                    <a:lnTo>
                      <a:pt x="604" y="89"/>
                    </a:lnTo>
                    <a:lnTo>
                      <a:pt x="604" y="91"/>
                    </a:lnTo>
                    <a:lnTo>
                      <a:pt x="604" y="92"/>
                    </a:lnTo>
                    <a:lnTo>
                      <a:pt x="604" y="94"/>
                    </a:lnTo>
                    <a:lnTo>
                      <a:pt x="604" y="96"/>
                    </a:lnTo>
                    <a:lnTo>
                      <a:pt x="604" y="98"/>
                    </a:lnTo>
                    <a:lnTo>
                      <a:pt x="604" y="100"/>
                    </a:lnTo>
                    <a:lnTo>
                      <a:pt x="604" y="102"/>
                    </a:lnTo>
                    <a:lnTo>
                      <a:pt x="603" y="102"/>
                    </a:lnTo>
                    <a:lnTo>
                      <a:pt x="603" y="104"/>
                    </a:lnTo>
                    <a:lnTo>
                      <a:pt x="601" y="104"/>
                    </a:lnTo>
                    <a:lnTo>
                      <a:pt x="601" y="106"/>
                    </a:lnTo>
                    <a:lnTo>
                      <a:pt x="601" y="108"/>
                    </a:lnTo>
                    <a:lnTo>
                      <a:pt x="601" y="110"/>
                    </a:lnTo>
                    <a:lnTo>
                      <a:pt x="599" y="112"/>
                    </a:lnTo>
                    <a:lnTo>
                      <a:pt x="599" y="114"/>
                    </a:lnTo>
                    <a:lnTo>
                      <a:pt x="599" y="116"/>
                    </a:lnTo>
                    <a:lnTo>
                      <a:pt x="599" y="117"/>
                    </a:lnTo>
                    <a:lnTo>
                      <a:pt x="599" y="119"/>
                    </a:lnTo>
                    <a:lnTo>
                      <a:pt x="601" y="121"/>
                    </a:lnTo>
                    <a:lnTo>
                      <a:pt x="603" y="123"/>
                    </a:lnTo>
                    <a:lnTo>
                      <a:pt x="603" y="125"/>
                    </a:lnTo>
                    <a:lnTo>
                      <a:pt x="603" y="127"/>
                    </a:lnTo>
                    <a:lnTo>
                      <a:pt x="603" y="129"/>
                    </a:lnTo>
                    <a:lnTo>
                      <a:pt x="603" y="131"/>
                    </a:lnTo>
                    <a:lnTo>
                      <a:pt x="604" y="131"/>
                    </a:lnTo>
                    <a:lnTo>
                      <a:pt x="606" y="131"/>
                    </a:lnTo>
                    <a:lnTo>
                      <a:pt x="608" y="131"/>
                    </a:lnTo>
                    <a:lnTo>
                      <a:pt x="610" y="133"/>
                    </a:lnTo>
                    <a:lnTo>
                      <a:pt x="612" y="135"/>
                    </a:lnTo>
                    <a:lnTo>
                      <a:pt x="612" y="137"/>
                    </a:lnTo>
                    <a:lnTo>
                      <a:pt x="610" y="137"/>
                    </a:lnTo>
                    <a:lnTo>
                      <a:pt x="610" y="139"/>
                    </a:lnTo>
                    <a:lnTo>
                      <a:pt x="612" y="140"/>
                    </a:lnTo>
                    <a:lnTo>
                      <a:pt x="612" y="142"/>
                    </a:lnTo>
                    <a:lnTo>
                      <a:pt x="612" y="144"/>
                    </a:lnTo>
                    <a:lnTo>
                      <a:pt x="612" y="146"/>
                    </a:lnTo>
                    <a:lnTo>
                      <a:pt x="612" y="148"/>
                    </a:lnTo>
                    <a:lnTo>
                      <a:pt x="612" y="150"/>
                    </a:lnTo>
                    <a:lnTo>
                      <a:pt x="612" y="152"/>
                    </a:lnTo>
                    <a:lnTo>
                      <a:pt x="614" y="152"/>
                    </a:lnTo>
                    <a:lnTo>
                      <a:pt x="614" y="154"/>
                    </a:lnTo>
                    <a:lnTo>
                      <a:pt x="614" y="156"/>
                    </a:lnTo>
                    <a:lnTo>
                      <a:pt x="614" y="158"/>
                    </a:lnTo>
                    <a:lnTo>
                      <a:pt x="614" y="160"/>
                    </a:lnTo>
                    <a:lnTo>
                      <a:pt x="612" y="160"/>
                    </a:lnTo>
                    <a:lnTo>
                      <a:pt x="612" y="162"/>
                    </a:lnTo>
                    <a:lnTo>
                      <a:pt x="612" y="164"/>
                    </a:lnTo>
                    <a:lnTo>
                      <a:pt x="610" y="164"/>
                    </a:lnTo>
                    <a:lnTo>
                      <a:pt x="612" y="164"/>
                    </a:lnTo>
                    <a:lnTo>
                      <a:pt x="612" y="165"/>
                    </a:lnTo>
                    <a:lnTo>
                      <a:pt x="612" y="167"/>
                    </a:lnTo>
                    <a:lnTo>
                      <a:pt x="612" y="165"/>
                    </a:lnTo>
                    <a:lnTo>
                      <a:pt x="614" y="165"/>
                    </a:lnTo>
                    <a:lnTo>
                      <a:pt x="614" y="164"/>
                    </a:lnTo>
                    <a:lnTo>
                      <a:pt x="616" y="164"/>
                    </a:lnTo>
                    <a:lnTo>
                      <a:pt x="618" y="164"/>
                    </a:lnTo>
                    <a:lnTo>
                      <a:pt x="618" y="165"/>
                    </a:lnTo>
                    <a:lnTo>
                      <a:pt x="620" y="165"/>
                    </a:lnTo>
                    <a:lnTo>
                      <a:pt x="622" y="165"/>
                    </a:lnTo>
                    <a:lnTo>
                      <a:pt x="622" y="164"/>
                    </a:lnTo>
                    <a:lnTo>
                      <a:pt x="622" y="165"/>
                    </a:lnTo>
                    <a:lnTo>
                      <a:pt x="622" y="167"/>
                    </a:lnTo>
                    <a:lnTo>
                      <a:pt x="622" y="169"/>
                    </a:lnTo>
                    <a:lnTo>
                      <a:pt x="624" y="169"/>
                    </a:lnTo>
                    <a:lnTo>
                      <a:pt x="627" y="169"/>
                    </a:lnTo>
                    <a:lnTo>
                      <a:pt x="631" y="169"/>
                    </a:lnTo>
                    <a:lnTo>
                      <a:pt x="631" y="171"/>
                    </a:lnTo>
                    <a:lnTo>
                      <a:pt x="629" y="175"/>
                    </a:lnTo>
                    <a:lnTo>
                      <a:pt x="629" y="179"/>
                    </a:lnTo>
                    <a:lnTo>
                      <a:pt x="629" y="183"/>
                    </a:lnTo>
                    <a:lnTo>
                      <a:pt x="629" y="185"/>
                    </a:lnTo>
                    <a:lnTo>
                      <a:pt x="629" y="187"/>
                    </a:lnTo>
                    <a:lnTo>
                      <a:pt x="629" y="190"/>
                    </a:lnTo>
                    <a:lnTo>
                      <a:pt x="629" y="192"/>
                    </a:lnTo>
                    <a:lnTo>
                      <a:pt x="626" y="198"/>
                    </a:lnTo>
                    <a:lnTo>
                      <a:pt x="622" y="202"/>
                    </a:lnTo>
                    <a:lnTo>
                      <a:pt x="620" y="206"/>
                    </a:lnTo>
                    <a:lnTo>
                      <a:pt x="618" y="208"/>
                    </a:lnTo>
                    <a:lnTo>
                      <a:pt x="616" y="210"/>
                    </a:lnTo>
                    <a:lnTo>
                      <a:pt x="614" y="212"/>
                    </a:lnTo>
                    <a:lnTo>
                      <a:pt x="612" y="212"/>
                    </a:lnTo>
                    <a:lnTo>
                      <a:pt x="610" y="212"/>
                    </a:lnTo>
                    <a:lnTo>
                      <a:pt x="608" y="212"/>
                    </a:lnTo>
                    <a:lnTo>
                      <a:pt x="608" y="210"/>
                    </a:lnTo>
                    <a:lnTo>
                      <a:pt x="610" y="210"/>
                    </a:lnTo>
                    <a:lnTo>
                      <a:pt x="608" y="208"/>
                    </a:lnTo>
                    <a:lnTo>
                      <a:pt x="608" y="210"/>
                    </a:lnTo>
                    <a:lnTo>
                      <a:pt x="606" y="210"/>
                    </a:lnTo>
                    <a:lnTo>
                      <a:pt x="604" y="210"/>
                    </a:lnTo>
                    <a:lnTo>
                      <a:pt x="603" y="210"/>
                    </a:lnTo>
                    <a:lnTo>
                      <a:pt x="603" y="212"/>
                    </a:lnTo>
                    <a:lnTo>
                      <a:pt x="603" y="210"/>
                    </a:lnTo>
                    <a:lnTo>
                      <a:pt x="601" y="210"/>
                    </a:lnTo>
                    <a:lnTo>
                      <a:pt x="599" y="210"/>
                    </a:lnTo>
                    <a:lnTo>
                      <a:pt x="597" y="210"/>
                    </a:lnTo>
                    <a:lnTo>
                      <a:pt x="593" y="212"/>
                    </a:lnTo>
                    <a:lnTo>
                      <a:pt x="591" y="212"/>
                    </a:lnTo>
                    <a:lnTo>
                      <a:pt x="591" y="213"/>
                    </a:lnTo>
                    <a:lnTo>
                      <a:pt x="591" y="215"/>
                    </a:lnTo>
                    <a:lnTo>
                      <a:pt x="591" y="217"/>
                    </a:lnTo>
                    <a:lnTo>
                      <a:pt x="593" y="219"/>
                    </a:lnTo>
                    <a:lnTo>
                      <a:pt x="593" y="223"/>
                    </a:lnTo>
                    <a:lnTo>
                      <a:pt x="593" y="225"/>
                    </a:lnTo>
                    <a:lnTo>
                      <a:pt x="593" y="227"/>
                    </a:lnTo>
                    <a:lnTo>
                      <a:pt x="593" y="229"/>
                    </a:lnTo>
                    <a:lnTo>
                      <a:pt x="593" y="231"/>
                    </a:lnTo>
                    <a:lnTo>
                      <a:pt x="593" y="233"/>
                    </a:lnTo>
                    <a:lnTo>
                      <a:pt x="593" y="238"/>
                    </a:lnTo>
                    <a:lnTo>
                      <a:pt x="595" y="240"/>
                    </a:lnTo>
                    <a:lnTo>
                      <a:pt x="595" y="242"/>
                    </a:lnTo>
                    <a:lnTo>
                      <a:pt x="595" y="246"/>
                    </a:lnTo>
                    <a:lnTo>
                      <a:pt x="595" y="248"/>
                    </a:lnTo>
                    <a:lnTo>
                      <a:pt x="595" y="250"/>
                    </a:lnTo>
                    <a:lnTo>
                      <a:pt x="595" y="252"/>
                    </a:lnTo>
                    <a:lnTo>
                      <a:pt x="595" y="254"/>
                    </a:lnTo>
                    <a:lnTo>
                      <a:pt x="595" y="258"/>
                    </a:lnTo>
                    <a:lnTo>
                      <a:pt x="595" y="259"/>
                    </a:lnTo>
                    <a:lnTo>
                      <a:pt x="595" y="261"/>
                    </a:lnTo>
                    <a:lnTo>
                      <a:pt x="597" y="263"/>
                    </a:lnTo>
                    <a:lnTo>
                      <a:pt x="597" y="265"/>
                    </a:lnTo>
                    <a:lnTo>
                      <a:pt x="597" y="269"/>
                    </a:lnTo>
                    <a:lnTo>
                      <a:pt x="597" y="271"/>
                    </a:lnTo>
                    <a:lnTo>
                      <a:pt x="599" y="271"/>
                    </a:lnTo>
                    <a:lnTo>
                      <a:pt x="599" y="273"/>
                    </a:lnTo>
                    <a:lnTo>
                      <a:pt x="601" y="273"/>
                    </a:lnTo>
                    <a:lnTo>
                      <a:pt x="601" y="269"/>
                    </a:lnTo>
                    <a:lnTo>
                      <a:pt x="601" y="265"/>
                    </a:lnTo>
                    <a:lnTo>
                      <a:pt x="601" y="263"/>
                    </a:lnTo>
                    <a:lnTo>
                      <a:pt x="603" y="259"/>
                    </a:lnTo>
                    <a:lnTo>
                      <a:pt x="606" y="259"/>
                    </a:lnTo>
                    <a:lnTo>
                      <a:pt x="608" y="259"/>
                    </a:lnTo>
                    <a:lnTo>
                      <a:pt x="608" y="261"/>
                    </a:lnTo>
                    <a:lnTo>
                      <a:pt x="610" y="261"/>
                    </a:lnTo>
                    <a:lnTo>
                      <a:pt x="612" y="263"/>
                    </a:lnTo>
                    <a:lnTo>
                      <a:pt x="614" y="265"/>
                    </a:lnTo>
                    <a:lnTo>
                      <a:pt x="618" y="269"/>
                    </a:lnTo>
                    <a:lnTo>
                      <a:pt x="620" y="271"/>
                    </a:lnTo>
                    <a:lnTo>
                      <a:pt x="622" y="273"/>
                    </a:lnTo>
                    <a:lnTo>
                      <a:pt x="624" y="273"/>
                    </a:lnTo>
                    <a:lnTo>
                      <a:pt x="624" y="275"/>
                    </a:lnTo>
                    <a:lnTo>
                      <a:pt x="626" y="275"/>
                    </a:lnTo>
                    <a:lnTo>
                      <a:pt x="626" y="277"/>
                    </a:lnTo>
                    <a:lnTo>
                      <a:pt x="627" y="279"/>
                    </a:lnTo>
                    <a:lnTo>
                      <a:pt x="627" y="281"/>
                    </a:lnTo>
                    <a:lnTo>
                      <a:pt x="629" y="284"/>
                    </a:lnTo>
                    <a:lnTo>
                      <a:pt x="629" y="286"/>
                    </a:lnTo>
                    <a:lnTo>
                      <a:pt x="631" y="290"/>
                    </a:lnTo>
                    <a:lnTo>
                      <a:pt x="631" y="292"/>
                    </a:lnTo>
                    <a:lnTo>
                      <a:pt x="633" y="292"/>
                    </a:lnTo>
                    <a:lnTo>
                      <a:pt x="633" y="294"/>
                    </a:lnTo>
                    <a:lnTo>
                      <a:pt x="635" y="294"/>
                    </a:lnTo>
                    <a:lnTo>
                      <a:pt x="635" y="296"/>
                    </a:lnTo>
                    <a:lnTo>
                      <a:pt x="637" y="296"/>
                    </a:lnTo>
                    <a:lnTo>
                      <a:pt x="637" y="298"/>
                    </a:lnTo>
                    <a:lnTo>
                      <a:pt x="639" y="298"/>
                    </a:lnTo>
                    <a:lnTo>
                      <a:pt x="639" y="300"/>
                    </a:lnTo>
                    <a:lnTo>
                      <a:pt x="641" y="300"/>
                    </a:lnTo>
                    <a:lnTo>
                      <a:pt x="641" y="302"/>
                    </a:lnTo>
                    <a:lnTo>
                      <a:pt x="643" y="302"/>
                    </a:lnTo>
                    <a:lnTo>
                      <a:pt x="643" y="304"/>
                    </a:lnTo>
                    <a:lnTo>
                      <a:pt x="643" y="306"/>
                    </a:lnTo>
                    <a:lnTo>
                      <a:pt x="645" y="306"/>
                    </a:lnTo>
                    <a:lnTo>
                      <a:pt x="637" y="313"/>
                    </a:lnTo>
                    <a:lnTo>
                      <a:pt x="637" y="315"/>
                    </a:lnTo>
                    <a:lnTo>
                      <a:pt x="635" y="315"/>
                    </a:lnTo>
                    <a:lnTo>
                      <a:pt x="635" y="317"/>
                    </a:lnTo>
                    <a:lnTo>
                      <a:pt x="633" y="317"/>
                    </a:lnTo>
                    <a:lnTo>
                      <a:pt x="631" y="321"/>
                    </a:lnTo>
                    <a:lnTo>
                      <a:pt x="631" y="323"/>
                    </a:lnTo>
                    <a:lnTo>
                      <a:pt x="629" y="323"/>
                    </a:lnTo>
                    <a:lnTo>
                      <a:pt x="629" y="325"/>
                    </a:lnTo>
                    <a:lnTo>
                      <a:pt x="629" y="327"/>
                    </a:lnTo>
                    <a:lnTo>
                      <a:pt x="631" y="327"/>
                    </a:lnTo>
                    <a:lnTo>
                      <a:pt x="629" y="327"/>
                    </a:lnTo>
                    <a:lnTo>
                      <a:pt x="629" y="329"/>
                    </a:lnTo>
                    <a:lnTo>
                      <a:pt x="629" y="331"/>
                    </a:lnTo>
                    <a:lnTo>
                      <a:pt x="629" y="332"/>
                    </a:lnTo>
                    <a:lnTo>
                      <a:pt x="629" y="334"/>
                    </a:lnTo>
                    <a:lnTo>
                      <a:pt x="629" y="336"/>
                    </a:lnTo>
                    <a:lnTo>
                      <a:pt x="629" y="338"/>
                    </a:lnTo>
                    <a:lnTo>
                      <a:pt x="631" y="338"/>
                    </a:lnTo>
                    <a:lnTo>
                      <a:pt x="629" y="338"/>
                    </a:lnTo>
                    <a:lnTo>
                      <a:pt x="627" y="336"/>
                    </a:lnTo>
                    <a:lnTo>
                      <a:pt x="626" y="336"/>
                    </a:lnTo>
                    <a:lnTo>
                      <a:pt x="624" y="336"/>
                    </a:lnTo>
                    <a:lnTo>
                      <a:pt x="624" y="334"/>
                    </a:lnTo>
                    <a:lnTo>
                      <a:pt x="622" y="334"/>
                    </a:lnTo>
                    <a:lnTo>
                      <a:pt x="620" y="334"/>
                    </a:lnTo>
                    <a:lnTo>
                      <a:pt x="618" y="334"/>
                    </a:lnTo>
                    <a:lnTo>
                      <a:pt x="614" y="334"/>
                    </a:lnTo>
                    <a:lnTo>
                      <a:pt x="614" y="336"/>
                    </a:lnTo>
                    <a:lnTo>
                      <a:pt x="614" y="338"/>
                    </a:lnTo>
                    <a:lnTo>
                      <a:pt x="614" y="342"/>
                    </a:lnTo>
                    <a:lnTo>
                      <a:pt x="612" y="350"/>
                    </a:lnTo>
                    <a:lnTo>
                      <a:pt x="614" y="350"/>
                    </a:lnTo>
                    <a:lnTo>
                      <a:pt x="616" y="352"/>
                    </a:lnTo>
                    <a:lnTo>
                      <a:pt x="618" y="352"/>
                    </a:lnTo>
                    <a:lnTo>
                      <a:pt x="618" y="354"/>
                    </a:lnTo>
                    <a:lnTo>
                      <a:pt x="620" y="354"/>
                    </a:lnTo>
                    <a:lnTo>
                      <a:pt x="620" y="355"/>
                    </a:lnTo>
                    <a:lnTo>
                      <a:pt x="622" y="355"/>
                    </a:lnTo>
                    <a:lnTo>
                      <a:pt x="624" y="359"/>
                    </a:lnTo>
                    <a:lnTo>
                      <a:pt x="624" y="361"/>
                    </a:lnTo>
                    <a:lnTo>
                      <a:pt x="626" y="361"/>
                    </a:lnTo>
                    <a:lnTo>
                      <a:pt x="626" y="363"/>
                    </a:lnTo>
                    <a:lnTo>
                      <a:pt x="626" y="365"/>
                    </a:lnTo>
                    <a:lnTo>
                      <a:pt x="627" y="365"/>
                    </a:lnTo>
                    <a:lnTo>
                      <a:pt x="626" y="371"/>
                    </a:lnTo>
                    <a:lnTo>
                      <a:pt x="627" y="373"/>
                    </a:lnTo>
                    <a:lnTo>
                      <a:pt x="627" y="375"/>
                    </a:lnTo>
                    <a:lnTo>
                      <a:pt x="629" y="375"/>
                    </a:lnTo>
                    <a:lnTo>
                      <a:pt x="629" y="377"/>
                    </a:lnTo>
                    <a:lnTo>
                      <a:pt x="631" y="379"/>
                    </a:lnTo>
                    <a:lnTo>
                      <a:pt x="633" y="379"/>
                    </a:lnTo>
                    <a:lnTo>
                      <a:pt x="633" y="380"/>
                    </a:lnTo>
                    <a:lnTo>
                      <a:pt x="635" y="380"/>
                    </a:lnTo>
                    <a:lnTo>
                      <a:pt x="635" y="382"/>
                    </a:lnTo>
                    <a:lnTo>
                      <a:pt x="635" y="384"/>
                    </a:lnTo>
                    <a:lnTo>
                      <a:pt x="637" y="386"/>
                    </a:lnTo>
                    <a:lnTo>
                      <a:pt x="637" y="388"/>
                    </a:lnTo>
                    <a:lnTo>
                      <a:pt x="635" y="388"/>
                    </a:lnTo>
                    <a:lnTo>
                      <a:pt x="635" y="390"/>
                    </a:lnTo>
                    <a:lnTo>
                      <a:pt x="633" y="392"/>
                    </a:lnTo>
                    <a:lnTo>
                      <a:pt x="633" y="394"/>
                    </a:lnTo>
                    <a:lnTo>
                      <a:pt x="631" y="396"/>
                    </a:lnTo>
                    <a:lnTo>
                      <a:pt x="629" y="396"/>
                    </a:lnTo>
                    <a:lnTo>
                      <a:pt x="629" y="398"/>
                    </a:lnTo>
                    <a:lnTo>
                      <a:pt x="629" y="400"/>
                    </a:lnTo>
                    <a:lnTo>
                      <a:pt x="631" y="402"/>
                    </a:lnTo>
                    <a:lnTo>
                      <a:pt x="633" y="403"/>
                    </a:lnTo>
                    <a:lnTo>
                      <a:pt x="637" y="405"/>
                    </a:lnTo>
                    <a:lnTo>
                      <a:pt x="639" y="403"/>
                    </a:lnTo>
                    <a:lnTo>
                      <a:pt x="641" y="405"/>
                    </a:lnTo>
                    <a:lnTo>
                      <a:pt x="641" y="407"/>
                    </a:lnTo>
                    <a:lnTo>
                      <a:pt x="641" y="409"/>
                    </a:lnTo>
                    <a:lnTo>
                      <a:pt x="641" y="411"/>
                    </a:lnTo>
                    <a:lnTo>
                      <a:pt x="639" y="411"/>
                    </a:lnTo>
                    <a:lnTo>
                      <a:pt x="637" y="411"/>
                    </a:lnTo>
                    <a:lnTo>
                      <a:pt x="635" y="409"/>
                    </a:lnTo>
                    <a:lnTo>
                      <a:pt x="633" y="407"/>
                    </a:lnTo>
                    <a:lnTo>
                      <a:pt x="629" y="407"/>
                    </a:lnTo>
                    <a:lnTo>
                      <a:pt x="626" y="409"/>
                    </a:lnTo>
                    <a:lnTo>
                      <a:pt x="626" y="411"/>
                    </a:lnTo>
                    <a:lnTo>
                      <a:pt x="627" y="413"/>
                    </a:lnTo>
                    <a:lnTo>
                      <a:pt x="627" y="415"/>
                    </a:lnTo>
                    <a:lnTo>
                      <a:pt x="629" y="417"/>
                    </a:lnTo>
                    <a:lnTo>
                      <a:pt x="631" y="419"/>
                    </a:lnTo>
                    <a:lnTo>
                      <a:pt x="633" y="419"/>
                    </a:lnTo>
                    <a:lnTo>
                      <a:pt x="631" y="421"/>
                    </a:lnTo>
                    <a:lnTo>
                      <a:pt x="629" y="421"/>
                    </a:lnTo>
                    <a:lnTo>
                      <a:pt x="627" y="421"/>
                    </a:lnTo>
                    <a:lnTo>
                      <a:pt x="627" y="423"/>
                    </a:lnTo>
                    <a:lnTo>
                      <a:pt x="629" y="423"/>
                    </a:lnTo>
                    <a:lnTo>
                      <a:pt x="629" y="425"/>
                    </a:lnTo>
                    <a:lnTo>
                      <a:pt x="629" y="427"/>
                    </a:lnTo>
                    <a:lnTo>
                      <a:pt x="627" y="427"/>
                    </a:lnTo>
                    <a:lnTo>
                      <a:pt x="626" y="427"/>
                    </a:lnTo>
                    <a:lnTo>
                      <a:pt x="626" y="425"/>
                    </a:lnTo>
                    <a:lnTo>
                      <a:pt x="624" y="425"/>
                    </a:lnTo>
                    <a:lnTo>
                      <a:pt x="624" y="427"/>
                    </a:lnTo>
                    <a:lnTo>
                      <a:pt x="622" y="425"/>
                    </a:lnTo>
                    <a:lnTo>
                      <a:pt x="620" y="425"/>
                    </a:lnTo>
                    <a:lnTo>
                      <a:pt x="620" y="427"/>
                    </a:lnTo>
                    <a:lnTo>
                      <a:pt x="622" y="427"/>
                    </a:lnTo>
                    <a:lnTo>
                      <a:pt x="624" y="427"/>
                    </a:lnTo>
                    <a:lnTo>
                      <a:pt x="624" y="428"/>
                    </a:lnTo>
                    <a:lnTo>
                      <a:pt x="626" y="428"/>
                    </a:lnTo>
                    <a:lnTo>
                      <a:pt x="627" y="428"/>
                    </a:lnTo>
                    <a:lnTo>
                      <a:pt x="629" y="428"/>
                    </a:lnTo>
                    <a:lnTo>
                      <a:pt x="629" y="427"/>
                    </a:lnTo>
                    <a:lnTo>
                      <a:pt x="631" y="427"/>
                    </a:lnTo>
                    <a:lnTo>
                      <a:pt x="631" y="428"/>
                    </a:lnTo>
                    <a:lnTo>
                      <a:pt x="633" y="428"/>
                    </a:lnTo>
                    <a:lnTo>
                      <a:pt x="633" y="427"/>
                    </a:lnTo>
                    <a:lnTo>
                      <a:pt x="633" y="428"/>
                    </a:lnTo>
                    <a:lnTo>
                      <a:pt x="633" y="427"/>
                    </a:lnTo>
                    <a:lnTo>
                      <a:pt x="635" y="427"/>
                    </a:lnTo>
                    <a:lnTo>
                      <a:pt x="637" y="427"/>
                    </a:lnTo>
                    <a:lnTo>
                      <a:pt x="637" y="428"/>
                    </a:lnTo>
                    <a:lnTo>
                      <a:pt x="639" y="428"/>
                    </a:lnTo>
                    <a:lnTo>
                      <a:pt x="641" y="428"/>
                    </a:lnTo>
                    <a:lnTo>
                      <a:pt x="643" y="428"/>
                    </a:lnTo>
                    <a:lnTo>
                      <a:pt x="643" y="430"/>
                    </a:lnTo>
                    <a:lnTo>
                      <a:pt x="643" y="428"/>
                    </a:lnTo>
                    <a:lnTo>
                      <a:pt x="645" y="428"/>
                    </a:lnTo>
                    <a:lnTo>
                      <a:pt x="645" y="430"/>
                    </a:lnTo>
                    <a:lnTo>
                      <a:pt x="645" y="432"/>
                    </a:lnTo>
                    <a:lnTo>
                      <a:pt x="645" y="430"/>
                    </a:lnTo>
                    <a:lnTo>
                      <a:pt x="643" y="430"/>
                    </a:lnTo>
                    <a:lnTo>
                      <a:pt x="643" y="432"/>
                    </a:lnTo>
                    <a:lnTo>
                      <a:pt x="645" y="432"/>
                    </a:lnTo>
                    <a:lnTo>
                      <a:pt x="643" y="432"/>
                    </a:lnTo>
                    <a:lnTo>
                      <a:pt x="643" y="434"/>
                    </a:lnTo>
                    <a:lnTo>
                      <a:pt x="643" y="432"/>
                    </a:lnTo>
                    <a:lnTo>
                      <a:pt x="645" y="432"/>
                    </a:lnTo>
                    <a:lnTo>
                      <a:pt x="645" y="434"/>
                    </a:lnTo>
                    <a:lnTo>
                      <a:pt x="645" y="436"/>
                    </a:lnTo>
                    <a:lnTo>
                      <a:pt x="645" y="438"/>
                    </a:lnTo>
                    <a:lnTo>
                      <a:pt x="645" y="440"/>
                    </a:lnTo>
                    <a:lnTo>
                      <a:pt x="645" y="438"/>
                    </a:lnTo>
                    <a:lnTo>
                      <a:pt x="647" y="438"/>
                    </a:lnTo>
                    <a:lnTo>
                      <a:pt x="647" y="440"/>
                    </a:lnTo>
                    <a:lnTo>
                      <a:pt x="645" y="440"/>
                    </a:lnTo>
                    <a:lnTo>
                      <a:pt x="645" y="442"/>
                    </a:lnTo>
                    <a:lnTo>
                      <a:pt x="645" y="444"/>
                    </a:lnTo>
                    <a:lnTo>
                      <a:pt x="647" y="444"/>
                    </a:lnTo>
                    <a:lnTo>
                      <a:pt x="647" y="446"/>
                    </a:lnTo>
                    <a:lnTo>
                      <a:pt x="647" y="448"/>
                    </a:lnTo>
                    <a:lnTo>
                      <a:pt x="649" y="448"/>
                    </a:lnTo>
                    <a:lnTo>
                      <a:pt x="649" y="450"/>
                    </a:lnTo>
                    <a:lnTo>
                      <a:pt x="649" y="451"/>
                    </a:lnTo>
                    <a:lnTo>
                      <a:pt x="647" y="451"/>
                    </a:lnTo>
                    <a:lnTo>
                      <a:pt x="647" y="453"/>
                    </a:lnTo>
                    <a:lnTo>
                      <a:pt x="647" y="455"/>
                    </a:lnTo>
                    <a:lnTo>
                      <a:pt x="645" y="455"/>
                    </a:lnTo>
                    <a:lnTo>
                      <a:pt x="645" y="457"/>
                    </a:lnTo>
                    <a:lnTo>
                      <a:pt x="643" y="457"/>
                    </a:lnTo>
                    <a:lnTo>
                      <a:pt x="643" y="459"/>
                    </a:lnTo>
                    <a:lnTo>
                      <a:pt x="641" y="459"/>
                    </a:lnTo>
                    <a:lnTo>
                      <a:pt x="641" y="461"/>
                    </a:lnTo>
                    <a:lnTo>
                      <a:pt x="641" y="459"/>
                    </a:lnTo>
                    <a:lnTo>
                      <a:pt x="641" y="461"/>
                    </a:lnTo>
                    <a:lnTo>
                      <a:pt x="639" y="461"/>
                    </a:lnTo>
                    <a:lnTo>
                      <a:pt x="637" y="463"/>
                    </a:lnTo>
                    <a:lnTo>
                      <a:pt x="637" y="461"/>
                    </a:lnTo>
                    <a:lnTo>
                      <a:pt x="637" y="463"/>
                    </a:lnTo>
                    <a:lnTo>
                      <a:pt x="637" y="461"/>
                    </a:lnTo>
                    <a:lnTo>
                      <a:pt x="635" y="463"/>
                    </a:lnTo>
                    <a:lnTo>
                      <a:pt x="635" y="461"/>
                    </a:lnTo>
                    <a:lnTo>
                      <a:pt x="635" y="463"/>
                    </a:lnTo>
                    <a:lnTo>
                      <a:pt x="633" y="463"/>
                    </a:lnTo>
                    <a:lnTo>
                      <a:pt x="633" y="465"/>
                    </a:lnTo>
                    <a:lnTo>
                      <a:pt x="631" y="465"/>
                    </a:lnTo>
                    <a:lnTo>
                      <a:pt x="631" y="467"/>
                    </a:lnTo>
                    <a:lnTo>
                      <a:pt x="631" y="465"/>
                    </a:lnTo>
                    <a:lnTo>
                      <a:pt x="631" y="467"/>
                    </a:lnTo>
                    <a:lnTo>
                      <a:pt x="629" y="467"/>
                    </a:lnTo>
                    <a:lnTo>
                      <a:pt x="627" y="467"/>
                    </a:lnTo>
                    <a:lnTo>
                      <a:pt x="627" y="469"/>
                    </a:lnTo>
                    <a:lnTo>
                      <a:pt x="629" y="469"/>
                    </a:lnTo>
                    <a:lnTo>
                      <a:pt x="627" y="469"/>
                    </a:lnTo>
                    <a:lnTo>
                      <a:pt x="627" y="471"/>
                    </a:lnTo>
                    <a:lnTo>
                      <a:pt x="627" y="473"/>
                    </a:lnTo>
                    <a:lnTo>
                      <a:pt x="627" y="471"/>
                    </a:lnTo>
                    <a:lnTo>
                      <a:pt x="629" y="473"/>
                    </a:lnTo>
                    <a:lnTo>
                      <a:pt x="627" y="473"/>
                    </a:lnTo>
                    <a:lnTo>
                      <a:pt x="626" y="475"/>
                    </a:lnTo>
                    <a:lnTo>
                      <a:pt x="624" y="475"/>
                    </a:lnTo>
                    <a:lnTo>
                      <a:pt x="622" y="475"/>
                    </a:lnTo>
                    <a:lnTo>
                      <a:pt x="620" y="475"/>
                    </a:lnTo>
                    <a:lnTo>
                      <a:pt x="620" y="473"/>
                    </a:lnTo>
                    <a:lnTo>
                      <a:pt x="620" y="475"/>
                    </a:lnTo>
                    <a:lnTo>
                      <a:pt x="620" y="473"/>
                    </a:lnTo>
                    <a:lnTo>
                      <a:pt x="618" y="473"/>
                    </a:lnTo>
                    <a:lnTo>
                      <a:pt x="618" y="475"/>
                    </a:lnTo>
                    <a:lnTo>
                      <a:pt x="618" y="473"/>
                    </a:lnTo>
                    <a:lnTo>
                      <a:pt x="616" y="473"/>
                    </a:lnTo>
                    <a:lnTo>
                      <a:pt x="616" y="475"/>
                    </a:lnTo>
                    <a:lnTo>
                      <a:pt x="616" y="473"/>
                    </a:lnTo>
                    <a:lnTo>
                      <a:pt x="616" y="475"/>
                    </a:lnTo>
                    <a:lnTo>
                      <a:pt x="614" y="475"/>
                    </a:lnTo>
                    <a:lnTo>
                      <a:pt x="614" y="476"/>
                    </a:lnTo>
                    <a:lnTo>
                      <a:pt x="612" y="476"/>
                    </a:lnTo>
                    <a:lnTo>
                      <a:pt x="614" y="476"/>
                    </a:lnTo>
                    <a:lnTo>
                      <a:pt x="614" y="478"/>
                    </a:lnTo>
                    <a:lnTo>
                      <a:pt x="614" y="480"/>
                    </a:lnTo>
                    <a:lnTo>
                      <a:pt x="612" y="480"/>
                    </a:lnTo>
                    <a:lnTo>
                      <a:pt x="612" y="482"/>
                    </a:lnTo>
                    <a:lnTo>
                      <a:pt x="608" y="484"/>
                    </a:lnTo>
                    <a:lnTo>
                      <a:pt x="610" y="486"/>
                    </a:lnTo>
                    <a:lnTo>
                      <a:pt x="608" y="486"/>
                    </a:lnTo>
                    <a:lnTo>
                      <a:pt x="603" y="488"/>
                    </a:lnTo>
                    <a:lnTo>
                      <a:pt x="604" y="490"/>
                    </a:lnTo>
                    <a:lnTo>
                      <a:pt x="606" y="490"/>
                    </a:lnTo>
                    <a:lnTo>
                      <a:pt x="606" y="492"/>
                    </a:lnTo>
                    <a:lnTo>
                      <a:pt x="608" y="494"/>
                    </a:lnTo>
                    <a:lnTo>
                      <a:pt x="610" y="494"/>
                    </a:lnTo>
                    <a:lnTo>
                      <a:pt x="610" y="496"/>
                    </a:lnTo>
                    <a:lnTo>
                      <a:pt x="612" y="498"/>
                    </a:lnTo>
                    <a:lnTo>
                      <a:pt x="612" y="499"/>
                    </a:lnTo>
                    <a:lnTo>
                      <a:pt x="614" y="499"/>
                    </a:lnTo>
                    <a:lnTo>
                      <a:pt x="614" y="501"/>
                    </a:lnTo>
                    <a:lnTo>
                      <a:pt x="616" y="501"/>
                    </a:lnTo>
                    <a:lnTo>
                      <a:pt x="616" y="503"/>
                    </a:lnTo>
                    <a:lnTo>
                      <a:pt x="616" y="505"/>
                    </a:lnTo>
                    <a:lnTo>
                      <a:pt x="614" y="507"/>
                    </a:lnTo>
                    <a:lnTo>
                      <a:pt x="614" y="509"/>
                    </a:lnTo>
                    <a:lnTo>
                      <a:pt x="616" y="509"/>
                    </a:lnTo>
                    <a:lnTo>
                      <a:pt x="616" y="511"/>
                    </a:lnTo>
                    <a:lnTo>
                      <a:pt x="614" y="513"/>
                    </a:lnTo>
                    <a:lnTo>
                      <a:pt x="614" y="515"/>
                    </a:lnTo>
                    <a:lnTo>
                      <a:pt x="614" y="517"/>
                    </a:lnTo>
                    <a:lnTo>
                      <a:pt x="614" y="519"/>
                    </a:lnTo>
                    <a:lnTo>
                      <a:pt x="614" y="521"/>
                    </a:lnTo>
                    <a:lnTo>
                      <a:pt x="612" y="521"/>
                    </a:lnTo>
                    <a:lnTo>
                      <a:pt x="612" y="523"/>
                    </a:lnTo>
                    <a:lnTo>
                      <a:pt x="610" y="523"/>
                    </a:lnTo>
                    <a:lnTo>
                      <a:pt x="610" y="524"/>
                    </a:lnTo>
                    <a:lnTo>
                      <a:pt x="608" y="524"/>
                    </a:lnTo>
                    <a:lnTo>
                      <a:pt x="606" y="523"/>
                    </a:lnTo>
                    <a:lnTo>
                      <a:pt x="604" y="523"/>
                    </a:lnTo>
                    <a:lnTo>
                      <a:pt x="603" y="523"/>
                    </a:lnTo>
                    <a:lnTo>
                      <a:pt x="603" y="524"/>
                    </a:lnTo>
                    <a:lnTo>
                      <a:pt x="603" y="526"/>
                    </a:lnTo>
                    <a:lnTo>
                      <a:pt x="603" y="528"/>
                    </a:lnTo>
                    <a:lnTo>
                      <a:pt x="604" y="528"/>
                    </a:lnTo>
                    <a:lnTo>
                      <a:pt x="603" y="528"/>
                    </a:lnTo>
                    <a:lnTo>
                      <a:pt x="604" y="528"/>
                    </a:lnTo>
                    <a:lnTo>
                      <a:pt x="603" y="528"/>
                    </a:lnTo>
                    <a:lnTo>
                      <a:pt x="603" y="530"/>
                    </a:lnTo>
                    <a:lnTo>
                      <a:pt x="603" y="528"/>
                    </a:lnTo>
                    <a:lnTo>
                      <a:pt x="603" y="530"/>
                    </a:lnTo>
                    <a:lnTo>
                      <a:pt x="603" y="532"/>
                    </a:lnTo>
                    <a:lnTo>
                      <a:pt x="601" y="532"/>
                    </a:lnTo>
                    <a:lnTo>
                      <a:pt x="603" y="532"/>
                    </a:lnTo>
                    <a:lnTo>
                      <a:pt x="603" y="534"/>
                    </a:lnTo>
                    <a:lnTo>
                      <a:pt x="604" y="534"/>
                    </a:lnTo>
                    <a:lnTo>
                      <a:pt x="604" y="536"/>
                    </a:lnTo>
                    <a:lnTo>
                      <a:pt x="606" y="536"/>
                    </a:lnTo>
                    <a:lnTo>
                      <a:pt x="606" y="538"/>
                    </a:lnTo>
                    <a:lnTo>
                      <a:pt x="608" y="538"/>
                    </a:lnTo>
                    <a:lnTo>
                      <a:pt x="608" y="540"/>
                    </a:lnTo>
                    <a:lnTo>
                      <a:pt x="610" y="540"/>
                    </a:lnTo>
                    <a:lnTo>
                      <a:pt x="612" y="540"/>
                    </a:lnTo>
                    <a:lnTo>
                      <a:pt x="612" y="542"/>
                    </a:lnTo>
                    <a:lnTo>
                      <a:pt x="612" y="544"/>
                    </a:lnTo>
                    <a:lnTo>
                      <a:pt x="612" y="546"/>
                    </a:lnTo>
                    <a:lnTo>
                      <a:pt x="610" y="547"/>
                    </a:lnTo>
                    <a:lnTo>
                      <a:pt x="612" y="549"/>
                    </a:lnTo>
                    <a:lnTo>
                      <a:pt x="612" y="551"/>
                    </a:lnTo>
                    <a:lnTo>
                      <a:pt x="612" y="553"/>
                    </a:lnTo>
                    <a:lnTo>
                      <a:pt x="610" y="555"/>
                    </a:lnTo>
                    <a:lnTo>
                      <a:pt x="608" y="555"/>
                    </a:lnTo>
                    <a:lnTo>
                      <a:pt x="606" y="555"/>
                    </a:lnTo>
                    <a:lnTo>
                      <a:pt x="604" y="557"/>
                    </a:lnTo>
                    <a:lnTo>
                      <a:pt x="603" y="557"/>
                    </a:lnTo>
                    <a:lnTo>
                      <a:pt x="603" y="555"/>
                    </a:lnTo>
                    <a:lnTo>
                      <a:pt x="601" y="555"/>
                    </a:lnTo>
                    <a:lnTo>
                      <a:pt x="601" y="553"/>
                    </a:lnTo>
                    <a:lnTo>
                      <a:pt x="599" y="553"/>
                    </a:lnTo>
                    <a:lnTo>
                      <a:pt x="599" y="551"/>
                    </a:lnTo>
                    <a:lnTo>
                      <a:pt x="597" y="551"/>
                    </a:lnTo>
                    <a:lnTo>
                      <a:pt x="597" y="553"/>
                    </a:lnTo>
                    <a:lnTo>
                      <a:pt x="597" y="555"/>
                    </a:lnTo>
                    <a:lnTo>
                      <a:pt x="595" y="557"/>
                    </a:lnTo>
                    <a:lnTo>
                      <a:pt x="595" y="559"/>
                    </a:lnTo>
                    <a:lnTo>
                      <a:pt x="597" y="559"/>
                    </a:lnTo>
                    <a:lnTo>
                      <a:pt x="599" y="559"/>
                    </a:lnTo>
                    <a:lnTo>
                      <a:pt x="603" y="561"/>
                    </a:lnTo>
                    <a:lnTo>
                      <a:pt x="604" y="561"/>
                    </a:lnTo>
                    <a:lnTo>
                      <a:pt x="606" y="561"/>
                    </a:lnTo>
                    <a:lnTo>
                      <a:pt x="608" y="561"/>
                    </a:lnTo>
                    <a:lnTo>
                      <a:pt x="608" y="563"/>
                    </a:lnTo>
                    <a:lnTo>
                      <a:pt x="608" y="565"/>
                    </a:lnTo>
                    <a:lnTo>
                      <a:pt x="606" y="567"/>
                    </a:lnTo>
                    <a:lnTo>
                      <a:pt x="606" y="569"/>
                    </a:lnTo>
                    <a:lnTo>
                      <a:pt x="604" y="569"/>
                    </a:lnTo>
                    <a:lnTo>
                      <a:pt x="604" y="571"/>
                    </a:lnTo>
                    <a:lnTo>
                      <a:pt x="603" y="572"/>
                    </a:lnTo>
                    <a:lnTo>
                      <a:pt x="603" y="574"/>
                    </a:lnTo>
                    <a:lnTo>
                      <a:pt x="601" y="572"/>
                    </a:lnTo>
                    <a:lnTo>
                      <a:pt x="599" y="572"/>
                    </a:lnTo>
                    <a:lnTo>
                      <a:pt x="599" y="574"/>
                    </a:lnTo>
                    <a:lnTo>
                      <a:pt x="597" y="574"/>
                    </a:lnTo>
                    <a:lnTo>
                      <a:pt x="595" y="574"/>
                    </a:lnTo>
                    <a:lnTo>
                      <a:pt x="595" y="572"/>
                    </a:lnTo>
                    <a:lnTo>
                      <a:pt x="593" y="572"/>
                    </a:lnTo>
                    <a:lnTo>
                      <a:pt x="591" y="572"/>
                    </a:lnTo>
                    <a:lnTo>
                      <a:pt x="591" y="574"/>
                    </a:lnTo>
                    <a:lnTo>
                      <a:pt x="591" y="576"/>
                    </a:lnTo>
                    <a:lnTo>
                      <a:pt x="593" y="578"/>
                    </a:lnTo>
                    <a:lnTo>
                      <a:pt x="593" y="580"/>
                    </a:lnTo>
                    <a:lnTo>
                      <a:pt x="595" y="580"/>
                    </a:lnTo>
                    <a:lnTo>
                      <a:pt x="599" y="580"/>
                    </a:lnTo>
                    <a:lnTo>
                      <a:pt x="601" y="580"/>
                    </a:lnTo>
                    <a:lnTo>
                      <a:pt x="601" y="578"/>
                    </a:lnTo>
                    <a:lnTo>
                      <a:pt x="601" y="576"/>
                    </a:lnTo>
                    <a:lnTo>
                      <a:pt x="606" y="576"/>
                    </a:lnTo>
                    <a:lnTo>
                      <a:pt x="608" y="576"/>
                    </a:lnTo>
                    <a:lnTo>
                      <a:pt x="612" y="576"/>
                    </a:lnTo>
                    <a:lnTo>
                      <a:pt x="614" y="576"/>
                    </a:lnTo>
                    <a:lnTo>
                      <a:pt x="616" y="576"/>
                    </a:lnTo>
                    <a:lnTo>
                      <a:pt x="620" y="576"/>
                    </a:lnTo>
                    <a:lnTo>
                      <a:pt x="622" y="576"/>
                    </a:lnTo>
                    <a:lnTo>
                      <a:pt x="624" y="576"/>
                    </a:lnTo>
                    <a:lnTo>
                      <a:pt x="624" y="578"/>
                    </a:lnTo>
                    <a:lnTo>
                      <a:pt x="626" y="580"/>
                    </a:lnTo>
                    <a:lnTo>
                      <a:pt x="627" y="582"/>
                    </a:lnTo>
                    <a:lnTo>
                      <a:pt x="627" y="584"/>
                    </a:lnTo>
                    <a:lnTo>
                      <a:pt x="629" y="584"/>
                    </a:lnTo>
                    <a:lnTo>
                      <a:pt x="629" y="586"/>
                    </a:lnTo>
                    <a:lnTo>
                      <a:pt x="629" y="588"/>
                    </a:lnTo>
                    <a:lnTo>
                      <a:pt x="629" y="590"/>
                    </a:lnTo>
                    <a:lnTo>
                      <a:pt x="627" y="590"/>
                    </a:lnTo>
                    <a:lnTo>
                      <a:pt x="627" y="592"/>
                    </a:lnTo>
                    <a:lnTo>
                      <a:pt x="629" y="594"/>
                    </a:lnTo>
                    <a:lnTo>
                      <a:pt x="627" y="595"/>
                    </a:lnTo>
                    <a:lnTo>
                      <a:pt x="629" y="597"/>
                    </a:lnTo>
                    <a:lnTo>
                      <a:pt x="631" y="597"/>
                    </a:lnTo>
                    <a:lnTo>
                      <a:pt x="633" y="597"/>
                    </a:lnTo>
                    <a:lnTo>
                      <a:pt x="633" y="599"/>
                    </a:lnTo>
                    <a:lnTo>
                      <a:pt x="635" y="599"/>
                    </a:lnTo>
                    <a:lnTo>
                      <a:pt x="635" y="601"/>
                    </a:lnTo>
                    <a:lnTo>
                      <a:pt x="637" y="601"/>
                    </a:lnTo>
                    <a:lnTo>
                      <a:pt x="639" y="599"/>
                    </a:lnTo>
                    <a:lnTo>
                      <a:pt x="641" y="599"/>
                    </a:lnTo>
                    <a:lnTo>
                      <a:pt x="641" y="601"/>
                    </a:lnTo>
                    <a:lnTo>
                      <a:pt x="639" y="601"/>
                    </a:lnTo>
                    <a:lnTo>
                      <a:pt x="641" y="603"/>
                    </a:lnTo>
                    <a:lnTo>
                      <a:pt x="641" y="605"/>
                    </a:lnTo>
                    <a:lnTo>
                      <a:pt x="639" y="605"/>
                    </a:lnTo>
                    <a:lnTo>
                      <a:pt x="639" y="607"/>
                    </a:lnTo>
                    <a:lnTo>
                      <a:pt x="639" y="605"/>
                    </a:lnTo>
                    <a:lnTo>
                      <a:pt x="639" y="607"/>
                    </a:lnTo>
                    <a:lnTo>
                      <a:pt x="637" y="607"/>
                    </a:lnTo>
                    <a:lnTo>
                      <a:pt x="635" y="609"/>
                    </a:lnTo>
                    <a:lnTo>
                      <a:pt x="633" y="611"/>
                    </a:lnTo>
                    <a:lnTo>
                      <a:pt x="633" y="613"/>
                    </a:lnTo>
                    <a:lnTo>
                      <a:pt x="635" y="613"/>
                    </a:lnTo>
                    <a:lnTo>
                      <a:pt x="635" y="615"/>
                    </a:lnTo>
                    <a:lnTo>
                      <a:pt x="635" y="617"/>
                    </a:lnTo>
                    <a:lnTo>
                      <a:pt x="637" y="617"/>
                    </a:lnTo>
                    <a:lnTo>
                      <a:pt x="637" y="619"/>
                    </a:lnTo>
                    <a:lnTo>
                      <a:pt x="639" y="619"/>
                    </a:lnTo>
                    <a:lnTo>
                      <a:pt x="641" y="619"/>
                    </a:lnTo>
                    <a:lnTo>
                      <a:pt x="641" y="620"/>
                    </a:lnTo>
                    <a:lnTo>
                      <a:pt x="643" y="620"/>
                    </a:lnTo>
                    <a:lnTo>
                      <a:pt x="645" y="620"/>
                    </a:lnTo>
                    <a:lnTo>
                      <a:pt x="647" y="620"/>
                    </a:lnTo>
                    <a:lnTo>
                      <a:pt x="647" y="622"/>
                    </a:lnTo>
                    <a:lnTo>
                      <a:pt x="649" y="622"/>
                    </a:lnTo>
                    <a:lnTo>
                      <a:pt x="651" y="622"/>
                    </a:lnTo>
                    <a:lnTo>
                      <a:pt x="652" y="620"/>
                    </a:lnTo>
                    <a:lnTo>
                      <a:pt x="652" y="622"/>
                    </a:lnTo>
                    <a:lnTo>
                      <a:pt x="652" y="624"/>
                    </a:lnTo>
                    <a:lnTo>
                      <a:pt x="652" y="626"/>
                    </a:lnTo>
                    <a:lnTo>
                      <a:pt x="651" y="626"/>
                    </a:lnTo>
                    <a:lnTo>
                      <a:pt x="649" y="626"/>
                    </a:lnTo>
                    <a:lnTo>
                      <a:pt x="649" y="628"/>
                    </a:lnTo>
                    <a:lnTo>
                      <a:pt x="649" y="630"/>
                    </a:lnTo>
                    <a:lnTo>
                      <a:pt x="647" y="632"/>
                    </a:lnTo>
                    <a:lnTo>
                      <a:pt x="647" y="634"/>
                    </a:lnTo>
                    <a:lnTo>
                      <a:pt x="647" y="636"/>
                    </a:lnTo>
                    <a:lnTo>
                      <a:pt x="647" y="638"/>
                    </a:lnTo>
                    <a:lnTo>
                      <a:pt x="649" y="638"/>
                    </a:lnTo>
                    <a:lnTo>
                      <a:pt x="651" y="638"/>
                    </a:lnTo>
                    <a:lnTo>
                      <a:pt x="651" y="640"/>
                    </a:lnTo>
                    <a:lnTo>
                      <a:pt x="649" y="640"/>
                    </a:lnTo>
                    <a:lnTo>
                      <a:pt x="649" y="642"/>
                    </a:lnTo>
                    <a:lnTo>
                      <a:pt x="647" y="642"/>
                    </a:lnTo>
                    <a:lnTo>
                      <a:pt x="647" y="640"/>
                    </a:lnTo>
                    <a:lnTo>
                      <a:pt x="645" y="640"/>
                    </a:lnTo>
                    <a:lnTo>
                      <a:pt x="645" y="642"/>
                    </a:lnTo>
                    <a:lnTo>
                      <a:pt x="643" y="642"/>
                    </a:lnTo>
                    <a:lnTo>
                      <a:pt x="645" y="642"/>
                    </a:lnTo>
                    <a:lnTo>
                      <a:pt x="645" y="643"/>
                    </a:lnTo>
                    <a:lnTo>
                      <a:pt x="645" y="645"/>
                    </a:lnTo>
                    <a:lnTo>
                      <a:pt x="643" y="645"/>
                    </a:lnTo>
                    <a:lnTo>
                      <a:pt x="645" y="647"/>
                    </a:lnTo>
                    <a:lnTo>
                      <a:pt x="645" y="649"/>
                    </a:lnTo>
                    <a:lnTo>
                      <a:pt x="647" y="649"/>
                    </a:lnTo>
                    <a:lnTo>
                      <a:pt x="647" y="651"/>
                    </a:lnTo>
                    <a:lnTo>
                      <a:pt x="647" y="653"/>
                    </a:lnTo>
                    <a:lnTo>
                      <a:pt x="647" y="655"/>
                    </a:lnTo>
                    <a:lnTo>
                      <a:pt x="649" y="655"/>
                    </a:lnTo>
                    <a:lnTo>
                      <a:pt x="649" y="657"/>
                    </a:lnTo>
                    <a:lnTo>
                      <a:pt x="649" y="659"/>
                    </a:lnTo>
                    <a:lnTo>
                      <a:pt x="651" y="659"/>
                    </a:lnTo>
                    <a:lnTo>
                      <a:pt x="651" y="661"/>
                    </a:lnTo>
                    <a:lnTo>
                      <a:pt x="649" y="661"/>
                    </a:lnTo>
                    <a:lnTo>
                      <a:pt x="647" y="661"/>
                    </a:lnTo>
                    <a:lnTo>
                      <a:pt x="647" y="663"/>
                    </a:lnTo>
                    <a:lnTo>
                      <a:pt x="645" y="663"/>
                    </a:lnTo>
                    <a:lnTo>
                      <a:pt x="645" y="665"/>
                    </a:lnTo>
                    <a:lnTo>
                      <a:pt x="645" y="667"/>
                    </a:lnTo>
                    <a:lnTo>
                      <a:pt x="645" y="668"/>
                    </a:lnTo>
                    <a:lnTo>
                      <a:pt x="643" y="668"/>
                    </a:lnTo>
                    <a:lnTo>
                      <a:pt x="643" y="670"/>
                    </a:lnTo>
                    <a:lnTo>
                      <a:pt x="641" y="670"/>
                    </a:lnTo>
                    <a:lnTo>
                      <a:pt x="641" y="672"/>
                    </a:lnTo>
                    <a:lnTo>
                      <a:pt x="639" y="672"/>
                    </a:lnTo>
                    <a:lnTo>
                      <a:pt x="639" y="674"/>
                    </a:lnTo>
                    <a:lnTo>
                      <a:pt x="637" y="674"/>
                    </a:lnTo>
                    <a:lnTo>
                      <a:pt x="637" y="676"/>
                    </a:lnTo>
                    <a:lnTo>
                      <a:pt x="635" y="676"/>
                    </a:lnTo>
                    <a:lnTo>
                      <a:pt x="635" y="678"/>
                    </a:lnTo>
                    <a:lnTo>
                      <a:pt x="633" y="678"/>
                    </a:lnTo>
                    <a:lnTo>
                      <a:pt x="633" y="680"/>
                    </a:lnTo>
                    <a:lnTo>
                      <a:pt x="631" y="680"/>
                    </a:lnTo>
                    <a:lnTo>
                      <a:pt x="633" y="680"/>
                    </a:lnTo>
                    <a:lnTo>
                      <a:pt x="633" y="682"/>
                    </a:lnTo>
                    <a:lnTo>
                      <a:pt x="633" y="684"/>
                    </a:lnTo>
                    <a:lnTo>
                      <a:pt x="635" y="684"/>
                    </a:lnTo>
                    <a:lnTo>
                      <a:pt x="637" y="684"/>
                    </a:lnTo>
                    <a:lnTo>
                      <a:pt x="637" y="686"/>
                    </a:lnTo>
                    <a:lnTo>
                      <a:pt x="639" y="686"/>
                    </a:lnTo>
                    <a:lnTo>
                      <a:pt x="639" y="688"/>
                    </a:lnTo>
                    <a:lnTo>
                      <a:pt x="639" y="690"/>
                    </a:lnTo>
                    <a:lnTo>
                      <a:pt x="641" y="690"/>
                    </a:lnTo>
                    <a:lnTo>
                      <a:pt x="641" y="691"/>
                    </a:lnTo>
                    <a:lnTo>
                      <a:pt x="643" y="691"/>
                    </a:lnTo>
                    <a:lnTo>
                      <a:pt x="645" y="691"/>
                    </a:lnTo>
                    <a:lnTo>
                      <a:pt x="645" y="693"/>
                    </a:lnTo>
                    <a:lnTo>
                      <a:pt x="643" y="695"/>
                    </a:lnTo>
                    <a:lnTo>
                      <a:pt x="643" y="697"/>
                    </a:lnTo>
                    <a:lnTo>
                      <a:pt x="635" y="701"/>
                    </a:lnTo>
                    <a:lnTo>
                      <a:pt x="633" y="703"/>
                    </a:lnTo>
                    <a:lnTo>
                      <a:pt x="633" y="705"/>
                    </a:lnTo>
                    <a:lnTo>
                      <a:pt x="633" y="707"/>
                    </a:lnTo>
                    <a:lnTo>
                      <a:pt x="635" y="707"/>
                    </a:lnTo>
                    <a:lnTo>
                      <a:pt x="637" y="707"/>
                    </a:lnTo>
                    <a:lnTo>
                      <a:pt x="637" y="709"/>
                    </a:lnTo>
                    <a:lnTo>
                      <a:pt x="635" y="709"/>
                    </a:lnTo>
                    <a:lnTo>
                      <a:pt x="633" y="709"/>
                    </a:lnTo>
                    <a:lnTo>
                      <a:pt x="631" y="709"/>
                    </a:lnTo>
                    <a:lnTo>
                      <a:pt x="631" y="711"/>
                    </a:lnTo>
                    <a:lnTo>
                      <a:pt x="631" y="709"/>
                    </a:lnTo>
                    <a:lnTo>
                      <a:pt x="631" y="711"/>
                    </a:lnTo>
                    <a:lnTo>
                      <a:pt x="629" y="711"/>
                    </a:lnTo>
                    <a:lnTo>
                      <a:pt x="629" y="713"/>
                    </a:lnTo>
                    <a:lnTo>
                      <a:pt x="631" y="713"/>
                    </a:lnTo>
                    <a:lnTo>
                      <a:pt x="631" y="715"/>
                    </a:lnTo>
                    <a:lnTo>
                      <a:pt x="633" y="715"/>
                    </a:lnTo>
                    <a:lnTo>
                      <a:pt x="633" y="716"/>
                    </a:lnTo>
                    <a:lnTo>
                      <a:pt x="633" y="718"/>
                    </a:lnTo>
                    <a:lnTo>
                      <a:pt x="637" y="722"/>
                    </a:lnTo>
                    <a:lnTo>
                      <a:pt x="639" y="726"/>
                    </a:lnTo>
                    <a:lnTo>
                      <a:pt x="641" y="728"/>
                    </a:lnTo>
                    <a:lnTo>
                      <a:pt x="641" y="730"/>
                    </a:lnTo>
                    <a:lnTo>
                      <a:pt x="641" y="732"/>
                    </a:lnTo>
                    <a:lnTo>
                      <a:pt x="641" y="734"/>
                    </a:lnTo>
                    <a:lnTo>
                      <a:pt x="639" y="734"/>
                    </a:lnTo>
                    <a:lnTo>
                      <a:pt x="639" y="736"/>
                    </a:lnTo>
                    <a:lnTo>
                      <a:pt x="639" y="738"/>
                    </a:lnTo>
                    <a:lnTo>
                      <a:pt x="639" y="739"/>
                    </a:lnTo>
                    <a:lnTo>
                      <a:pt x="637" y="739"/>
                    </a:lnTo>
                    <a:lnTo>
                      <a:pt x="637" y="741"/>
                    </a:lnTo>
                    <a:lnTo>
                      <a:pt x="635" y="741"/>
                    </a:lnTo>
                    <a:lnTo>
                      <a:pt x="633" y="743"/>
                    </a:lnTo>
                    <a:lnTo>
                      <a:pt x="631" y="743"/>
                    </a:lnTo>
                    <a:lnTo>
                      <a:pt x="633" y="743"/>
                    </a:lnTo>
                    <a:lnTo>
                      <a:pt x="633" y="745"/>
                    </a:lnTo>
                    <a:lnTo>
                      <a:pt x="633" y="747"/>
                    </a:lnTo>
                    <a:lnTo>
                      <a:pt x="633" y="749"/>
                    </a:lnTo>
                    <a:lnTo>
                      <a:pt x="633" y="751"/>
                    </a:lnTo>
                    <a:lnTo>
                      <a:pt x="635" y="751"/>
                    </a:lnTo>
                    <a:lnTo>
                      <a:pt x="633" y="751"/>
                    </a:lnTo>
                    <a:lnTo>
                      <a:pt x="635" y="751"/>
                    </a:lnTo>
                    <a:lnTo>
                      <a:pt x="635" y="753"/>
                    </a:lnTo>
                    <a:lnTo>
                      <a:pt x="637" y="755"/>
                    </a:lnTo>
                    <a:lnTo>
                      <a:pt x="635" y="755"/>
                    </a:lnTo>
                    <a:lnTo>
                      <a:pt x="637" y="755"/>
                    </a:lnTo>
                    <a:lnTo>
                      <a:pt x="637" y="757"/>
                    </a:lnTo>
                    <a:lnTo>
                      <a:pt x="635" y="757"/>
                    </a:lnTo>
                    <a:lnTo>
                      <a:pt x="635" y="759"/>
                    </a:lnTo>
                    <a:lnTo>
                      <a:pt x="637" y="759"/>
                    </a:lnTo>
                    <a:lnTo>
                      <a:pt x="637" y="761"/>
                    </a:lnTo>
                    <a:lnTo>
                      <a:pt x="637" y="763"/>
                    </a:lnTo>
                    <a:lnTo>
                      <a:pt x="639" y="763"/>
                    </a:lnTo>
                    <a:lnTo>
                      <a:pt x="639" y="764"/>
                    </a:lnTo>
                    <a:lnTo>
                      <a:pt x="641" y="764"/>
                    </a:lnTo>
                    <a:lnTo>
                      <a:pt x="641" y="766"/>
                    </a:lnTo>
                    <a:lnTo>
                      <a:pt x="641" y="768"/>
                    </a:lnTo>
                    <a:lnTo>
                      <a:pt x="639" y="770"/>
                    </a:lnTo>
                    <a:lnTo>
                      <a:pt x="641" y="772"/>
                    </a:lnTo>
                    <a:lnTo>
                      <a:pt x="645" y="770"/>
                    </a:lnTo>
                    <a:lnTo>
                      <a:pt x="645" y="772"/>
                    </a:lnTo>
                    <a:lnTo>
                      <a:pt x="645" y="774"/>
                    </a:lnTo>
                    <a:lnTo>
                      <a:pt x="643" y="774"/>
                    </a:lnTo>
                    <a:lnTo>
                      <a:pt x="643" y="776"/>
                    </a:lnTo>
                    <a:lnTo>
                      <a:pt x="641" y="776"/>
                    </a:lnTo>
                    <a:lnTo>
                      <a:pt x="643" y="776"/>
                    </a:lnTo>
                    <a:lnTo>
                      <a:pt x="643" y="778"/>
                    </a:lnTo>
                    <a:lnTo>
                      <a:pt x="643" y="780"/>
                    </a:lnTo>
                    <a:lnTo>
                      <a:pt x="645" y="780"/>
                    </a:lnTo>
                    <a:lnTo>
                      <a:pt x="645" y="782"/>
                    </a:lnTo>
                    <a:lnTo>
                      <a:pt x="641" y="782"/>
                    </a:lnTo>
                    <a:lnTo>
                      <a:pt x="643" y="786"/>
                    </a:lnTo>
                    <a:lnTo>
                      <a:pt x="641" y="787"/>
                    </a:lnTo>
                    <a:lnTo>
                      <a:pt x="637" y="789"/>
                    </a:lnTo>
                    <a:lnTo>
                      <a:pt x="631" y="791"/>
                    </a:lnTo>
                    <a:lnTo>
                      <a:pt x="627" y="791"/>
                    </a:lnTo>
                    <a:lnTo>
                      <a:pt x="624" y="793"/>
                    </a:lnTo>
                    <a:lnTo>
                      <a:pt x="622" y="797"/>
                    </a:lnTo>
                    <a:lnTo>
                      <a:pt x="620" y="797"/>
                    </a:lnTo>
                    <a:lnTo>
                      <a:pt x="618" y="797"/>
                    </a:lnTo>
                    <a:lnTo>
                      <a:pt x="618" y="799"/>
                    </a:lnTo>
                    <a:lnTo>
                      <a:pt x="616" y="799"/>
                    </a:lnTo>
                    <a:lnTo>
                      <a:pt x="616" y="801"/>
                    </a:lnTo>
                    <a:lnTo>
                      <a:pt x="614" y="801"/>
                    </a:lnTo>
                    <a:lnTo>
                      <a:pt x="614" y="803"/>
                    </a:lnTo>
                    <a:lnTo>
                      <a:pt x="612" y="803"/>
                    </a:lnTo>
                    <a:lnTo>
                      <a:pt x="612" y="805"/>
                    </a:lnTo>
                    <a:lnTo>
                      <a:pt x="614" y="805"/>
                    </a:lnTo>
                    <a:lnTo>
                      <a:pt x="614" y="807"/>
                    </a:lnTo>
                    <a:lnTo>
                      <a:pt x="616" y="807"/>
                    </a:lnTo>
                    <a:lnTo>
                      <a:pt x="618" y="807"/>
                    </a:lnTo>
                    <a:lnTo>
                      <a:pt x="620" y="809"/>
                    </a:lnTo>
                    <a:lnTo>
                      <a:pt x="622" y="809"/>
                    </a:lnTo>
                    <a:lnTo>
                      <a:pt x="622" y="810"/>
                    </a:lnTo>
                    <a:lnTo>
                      <a:pt x="620" y="810"/>
                    </a:lnTo>
                    <a:lnTo>
                      <a:pt x="620" y="812"/>
                    </a:lnTo>
                    <a:lnTo>
                      <a:pt x="618" y="812"/>
                    </a:lnTo>
                    <a:lnTo>
                      <a:pt x="616" y="810"/>
                    </a:lnTo>
                    <a:lnTo>
                      <a:pt x="614" y="810"/>
                    </a:lnTo>
                    <a:lnTo>
                      <a:pt x="614" y="812"/>
                    </a:lnTo>
                    <a:lnTo>
                      <a:pt x="612" y="812"/>
                    </a:lnTo>
                    <a:lnTo>
                      <a:pt x="610" y="812"/>
                    </a:lnTo>
                    <a:lnTo>
                      <a:pt x="610" y="814"/>
                    </a:lnTo>
                    <a:lnTo>
                      <a:pt x="610" y="816"/>
                    </a:lnTo>
                    <a:lnTo>
                      <a:pt x="608" y="816"/>
                    </a:lnTo>
                    <a:lnTo>
                      <a:pt x="606" y="816"/>
                    </a:lnTo>
                    <a:lnTo>
                      <a:pt x="604" y="814"/>
                    </a:lnTo>
                    <a:lnTo>
                      <a:pt x="604" y="816"/>
                    </a:lnTo>
                    <a:lnTo>
                      <a:pt x="603" y="816"/>
                    </a:lnTo>
                    <a:lnTo>
                      <a:pt x="603" y="818"/>
                    </a:lnTo>
                    <a:lnTo>
                      <a:pt x="601" y="820"/>
                    </a:lnTo>
                    <a:lnTo>
                      <a:pt x="599" y="820"/>
                    </a:lnTo>
                    <a:lnTo>
                      <a:pt x="597" y="820"/>
                    </a:lnTo>
                    <a:lnTo>
                      <a:pt x="595" y="820"/>
                    </a:lnTo>
                    <a:lnTo>
                      <a:pt x="595" y="822"/>
                    </a:lnTo>
                    <a:lnTo>
                      <a:pt x="593" y="822"/>
                    </a:lnTo>
                    <a:lnTo>
                      <a:pt x="593" y="820"/>
                    </a:lnTo>
                    <a:lnTo>
                      <a:pt x="591" y="820"/>
                    </a:lnTo>
                    <a:lnTo>
                      <a:pt x="589" y="820"/>
                    </a:lnTo>
                    <a:lnTo>
                      <a:pt x="589" y="822"/>
                    </a:lnTo>
                    <a:lnTo>
                      <a:pt x="589" y="820"/>
                    </a:lnTo>
                    <a:lnTo>
                      <a:pt x="587" y="820"/>
                    </a:lnTo>
                    <a:lnTo>
                      <a:pt x="587" y="822"/>
                    </a:lnTo>
                    <a:lnTo>
                      <a:pt x="587" y="824"/>
                    </a:lnTo>
                    <a:lnTo>
                      <a:pt x="589" y="824"/>
                    </a:lnTo>
                    <a:lnTo>
                      <a:pt x="587" y="826"/>
                    </a:lnTo>
                    <a:lnTo>
                      <a:pt x="587" y="828"/>
                    </a:lnTo>
                    <a:lnTo>
                      <a:pt x="585" y="828"/>
                    </a:lnTo>
                    <a:lnTo>
                      <a:pt x="585" y="826"/>
                    </a:lnTo>
                    <a:lnTo>
                      <a:pt x="583" y="826"/>
                    </a:lnTo>
                    <a:lnTo>
                      <a:pt x="581" y="824"/>
                    </a:lnTo>
                    <a:lnTo>
                      <a:pt x="581" y="822"/>
                    </a:lnTo>
                    <a:lnTo>
                      <a:pt x="579" y="822"/>
                    </a:lnTo>
                    <a:lnTo>
                      <a:pt x="578" y="822"/>
                    </a:lnTo>
                    <a:lnTo>
                      <a:pt x="578" y="820"/>
                    </a:lnTo>
                    <a:lnTo>
                      <a:pt x="576" y="820"/>
                    </a:lnTo>
                    <a:lnTo>
                      <a:pt x="576" y="822"/>
                    </a:lnTo>
                    <a:lnTo>
                      <a:pt x="574" y="822"/>
                    </a:lnTo>
                    <a:lnTo>
                      <a:pt x="572" y="824"/>
                    </a:lnTo>
                    <a:lnTo>
                      <a:pt x="574" y="826"/>
                    </a:lnTo>
                    <a:lnTo>
                      <a:pt x="574" y="828"/>
                    </a:lnTo>
                    <a:lnTo>
                      <a:pt x="572" y="828"/>
                    </a:lnTo>
                    <a:lnTo>
                      <a:pt x="574" y="828"/>
                    </a:lnTo>
                    <a:lnTo>
                      <a:pt x="574" y="830"/>
                    </a:lnTo>
                    <a:lnTo>
                      <a:pt x="572" y="832"/>
                    </a:lnTo>
                    <a:lnTo>
                      <a:pt x="570" y="832"/>
                    </a:lnTo>
                    <a:lnTo>
                      <a:pt x="570" y="834"/>
                    </a:lnTo>
                    <a:lnTo>
                      <a:pt x="568" y="834"/>
                    </a:lnTo>
                    <a:lnTo>
                      <a:pt x="568" y="832"/>
                    </a:lnTo>
                    <a:lnTo>
                      <a:pt x="568" y="830"/>
                    </a:lnTo>
                    <a:lnTo>
                      <a:pt x="566" y="830"/>
                    </a:lnTo>
                    <a:lnTo>
                      <a:pt x="566" y="828"/>
                    </a:lnTo>
                    <a:lnTo>
                      <a:pt x="564" y="828"/>
                    </a:lnTo>
                    <a:lnTo>
                      <a:pt x="562" y="830"/>
                    </a:lnTo>
                    <a:lnTo>
                      <a:pt x="560" y="832"/>
                    </a:lnTo>
                    <a:lnTo>
                      <a:pt x="558" y="830"/>
                    </a:lnTo>
                    <a:lnTo>
                      <a:pt x="556" y="830"/>
                    </a:lnTo>
                    <a:lnTo>
                      <a:pt x="556" y="832"/>
                    </a:lnTo>
                    <a:lnTo>
                      <a:pt x="556" y="834"/>
                    </a:lnTo>
                    <a:lnTo>
                      <a:pt x="558" y="834"/>
                    </a:lnTo>
                    <a:lnTo>
                      <a:pt x="558" y="835"/>
                    </a:lnTo>
                    <a:lnTo>
                      <a:pt x="558" y="837"/>
                    </a:lnTo>
                    <a:lnTo>
                      <a:pt x="558" y="839"/>
                    </a:lnTo>
                    <a:lnTo>
                      <a:pt x="560" y="839"/>
                    </a:lnTo>
                    <a:lnTo>
                      <a:pt x="560" y="841"/>
                    </a:lnTo>
                    <a:lnTo>
                      <a:pt x="560" y="843"/>
                    </a:lnTo>
                    <a:lnTo>
                      <a:pt x="560" y="845"/>
                    </a:lnTo>
                    <a:lnTo>
                      <a:pt x="560" y="849"/>
                    </a:lnTo>
                    <a:lnTo>
                      <a:pt x="558" y="855"/>
                    </a:lnTo>
                    <a:lnTo>
                      <a:pt x="555" y="860"/>
                    </a:lnTo>
                    <a:lnTo>
                      <a:pt x="553" y="862"/>
                    </a:lnTo>
                    <a:lnTo>
                      <a:pt x="553" y="866"/>
                    </a:lnTo>
                    <a:lnTo>
                      <a:pt x="555" y="868"/>
                    </a:lnTo>
                    <a:lnTo>
                      <a:pt x="560" y="870"/>
                    </a:lnTo>
                    <a:lnTo>
                      <a:pt x="562" y="870"/>
                    </a:lnTo>
                    <a:lnTo>
                      <a:pt x="564" y="870"/>
                    </a:lnTo>
                    <a:lnTo>
                      <a:pt x="566" y="870"/>
                    </a:lnTo>
                    <a:lnTo>
                      <a:pt x="568" y="870"/>
                    </a:lnTo>
                    <a:lnTo>
                      <a:pt x="568" y="872"/>
                    </a:lnTo>
                    <a:lnTo>
                      <a:pt x="566" y="872"/>
                    </a:lnTo>
                    <a:lnTo>
                      <a:pt x="566" y="874"/>
                    </a:lnTo>
                    <a:lnTo>
                      <a:pt x="566" y="876"/>
                    </a:lnTo>
                    <a:lnTo>
                      <a:pt x="564" y="882"/>
                    </a:lnTo>
                    <a:lnTo>
                      <a:pt x="564" y="883"/>
                    </a:lnTo>
                    <a:lnTo>
                      <a:pt x="564" y="885"/>
                    </a:lnTo>
                    <a:lnTo>
                      <a:pt x="564" y="889"/>
                    </a:lnTo>
                    <a:lnTo>
                      <a:pt x="570" y="891"/>
                    </a:lnTo>
                    <a:lnTo>
                      <a:pt x="570" y="893"/>
                    </a:lnTo>
                    <a:lnTo>
                      <a:pt x="568" y="895"/>
                    </a:lnTo>
                    <a:lnTo>
                      <a:pt x="568" y="897"/>
                    </a:lnTo>
                    <a:lnTo>
                      <a:pt x="566" y="897"/>
                    </a:lnTo>
                    <a:lnTo>
                      <a:pt x="562" y="895"/>
                    </a:lnTo>
                    <a:lnTo>
                      <a:pt x="560" y="897"/>
                    </a:lnTo>
                    <a:lnTo>
                      <a:pt x="558" y="895"/>
                    </a:lnTo>
                    <a:lnTo>
                      <a:pt x="555" y="893"/>
                    </a:lnTo>
                    <a:lnTo>
                      <a:pt x="553" y="893"/>
                    </a:lnTo>
                    <a:lnTo>
                      <a:pt x="551" y="891"/>
                    </a:lnTo>
                    <a:lnTo>
                      <a:pt x="549" y="891"/>
                    </a:lnTo>
                    <a:lnTo>
                      <a:pt x="547" y="889"/>
                    </a:lnTo>
                    <a:lnTo>
                      <a:pt x="547" y="891"/>
                    </a:lnTo>
                    <a:lnTo>
                      <a:pt x="547" y="893"/>
                    </a:lnTo>
                    <a:lnTo>
                      <a:pt x="545" y="893"/>
                    </a:lnTo>
                    <a:lnTo>
                      <a:pt x="543" y="893"/>
                    </a:lnTo>
                    <a:lnTo>
                      <a:pt x="543" y="891"/>
                    </a:lnTo>
                    <a:lnTo>
                      <a:pt x="541" y="891"/>
                    </a:lnTo>
                    <a:lnTo>
                      <a:pt x="541" y="889"/>
                    </a:lnTo>
                    <a:lnTo>
                      <a:pt x="541" y="891"/>
                    </a:lnTo>
                    <a:lnTo>
                      <a:pt x="537" y="893"/>
                    </a:lnTo>
                    <a:lnTo>
                      <a:pt x="537" y="895"/>
                    </a:lnTo>
                    <a:lnTo>
                      <a:pt x="535" y="895"/>
                    </a:lnTo>
                    <a:lnTo>
                      <a:pt x="535" y="897"/>
                    </a:lnTo>
                    <a:lnTo>
                      <a:pt x="533" y="901"/>
                    </a:lnTo>
                    <a:lnTo>
                      <a:pt x="531" y="906"/>
                    </a:lnTo>
                    <a:lnTo>
                      <a:pt x="530" y="906"/>
                    </a:lnTo>
                    <a:lnTo>
                      <a:pt x="530" y="905"/>
                    </a:lnTo>
                    <a:lnTo>
                      <a:pt x="530" y="906"/>
                    </a:lnTo>
                    <a:lnTo>
                      <a:pt x="528" y="906"/>
                    </a:lnTo>
                    <a:lnTo>
                      <a:pt x="528" y="905"/>
                    </a:lnTo>
                    <a:lnTo>
                      <a:pt x="526" y="903"/>
                    </a:lnTo>
                    <a:lnTo>
                      <a:pt x="524" y="903"/>
                    </a:lnTo>
                    <a:lnTo>
                      <a:pt x="524" y="901"/>
                    </a:lnTo>
                    <a:lnTo>
                      <a:pt x="524" y="903"/>
                    </a:lnTo>
                    <a:lnTo>
                      <a:pt x="522" y="905"/>
                    </a:lnTo>
                    <a:lnTo>
                      <a:pt x="520" y="906"/>
                    </a:lnTo>
                    <a:lnTo>
                      <a:pt x="518" y="903"/>
                    </a:lnTo>
                    <a:lnTo>
                      <a:pt x="518" y="901"/>
                    </a:lnTo>
                    <a:lnTo>
                      <a:pt x="516" y="901"/>
                    </a:lnTo>
                    <a:lnTo>
                      <a:pt x="514" y="901"/>
                    </a:lnTo>
                    <a:lnTo>
                      <a:pt x="512" y="901"/>
                    </a:lnTo>
                    <a:lnTo>
                      <a:pt x="510" y="901"/>
                    </a:lnTo>
                    <a:lnTo>
                      <a:pt x="507" y="901"/>
                    </a:lnTo>
                    <a:lnTo>
                      <a:pt x="507" y="899"/>
                    </a:lnTo>
                    <a:lnTo>
                      <a:pt x="503" y="899"/>
                    </a:lnTo>
                    <a:lnTo>
                      <a:pt x="503" y="903"/>
                    </a:lnTo>
                    <a:lnTo>
                      <a:pt x="503" y="906"/>
                    </a:lnTo>
                    <a:lnTo>
                      <a:pt x="501" y="910"/>
                    </a:lnTo>
                    <a:lnTo>
                      <a:pt x="501" y="914"/>
                    </a:lnTo>
                    <a:lnTo>
                      <a:pt x="495" y="914"/>
                    </a:lnTo>
                    <a:lnTo>
                      <a:pt x="495" y="912"/>
                    </a:lnTo>
                    <a:lnTo>
                      <a:pt x="495" y="910"/>
                    </a:lnTo>
                    <a:lnTo>
                      <a:pt x="493" y="910"/>
                    </a:lnTo>
                    <a:lnTo>
                      <a:pt x="493" y="908"/>
                    </a:lnTo>
                    <a:lnTo>
                      <a:pt x="493" y="906"/>
                    </a:lnTo>
                    <a:lnTo>
                      <a:pt x="487" y="910"/>
                    </a:lnTo>
                    <a:lnTo>
                      <a:pt x="487" y="912"/>
                    </a:lnTo>
                    <a:lnTo>
                      <a:pt x="485" y="912"/>
                    </a:lnTo>
                    <a:lnTo>
                      <a:pt x="483" y="914"/>
                    </a:lnTo>
                    <a:lnTo>
                      <a:pt x="483" y="912"/>
                    </a:lnTo>
                    <a:lnTo>
                      <a:pt x="482" y="912"/>
                    </a:lnTo>
                    <a:lnTo>
                      <a:pt x="482" y="910"/>
                    </a:lnTo>
                    <a:lnTo>
                      <a:pt x="480" y="910"/>
                    </a:lnTo>
                    <a:lnTo>
                      <a:pt x="480" y="912"/>
                    </a:lnTo>
                    <a:lnTo>
                      <a:pt x="478" y="912"/>
                    </a:lnTo>
                    <a:lnTo>
                      <a:pt x="476" y="912"/>
                    </a:lnTo>
                    <a:lnTo>
                      <a:pt x="474" y="912"/>
                    </a:lnTo>
                    <a:lnTo>
                      <a:pt x="474" y="910"/>
                    </a:lnTo>
                    <a:lnTo>
                      <a:pt x="472" y="910"/>
                    </a:lnTo>
                    <a:lnTo>
                      <a:pt x="470" y="910"/>
                    </a:lnTo>
                    <a:lnTo>
                      <a:pt x="468" y="910"/>
                    </a:lnTo>
                    <a:lnTo>
                      <a:pt x="468" y="908"/>
                    </a:lnTo>
                    <a:lnTo>
                      <a:pt x="466" y="908"/>
                    </a:lnTo>
                    <a:lnTo>
                      <a:pt x="464" y="908"/>
                    </a:lnTo>
                    <a:lnTo>
                      <a:pt x="462" y="908"/>
                    </a:lnTo>
                    <a:lnTo>
                      <a:pt x="460" y="910"/>
                    </a:lnTo>
                    <a:lnTo>
                      <a:pt x="458" y="910"/>
                    </a:lnTo>
                    <a:lnTo>
                      <a:pt x="457" y="910"/>
                    </a:lnTo>
                    <a:lnTo>
                      <a:pt x="457" y="912"/>
                    </a:lnTo>
                    <a:lnTo>
                      <a:pt x="455" y="906"/>
                    </a:lnTo>
                    <a:lnTo>
                      <a:pt x="451" y="906"/>
                    </a:lnTo>
                    <a:lnTo>
                      <a:pt x="449" y="906"/>
                    </a:lnTo>
                    <a:lnTo>
                      <a:pt x="447" y="906"/>
                    </a:lnTo>
                    <a:lnTo>
                      <a:pt x="445" y="906"/>
                    </a:lnTo>
                    <a:lnTo>
                      <a:pt x="445" y="905"/>
                    </a:lnTo>
                    <a:lnTo>
                      <a:pt x="443" y="906"/>
                    </a:lnTo>
                    <a:lnTo>
                      <a:pt x="441" y="906"/>
                    </a:lnTo>
                    <a:lnTo>
                      <a:pt x="441" y="905"/>
                    </a:lnTo>
                    <a:lnTo>
                      <a:pt x="439" y="905"/>
                    </a:lnTo>
                    <a:lnTo>
                      <a:pt x="437" y="905"/>
                    </a:lnTo>
                    <a:lnTo>
                      <a:pt x="435" y="905"/>
                    </a:lnTo>
                    <a:lnTo>
                      <a:pt x="434" y="905"/>
                    </a:lnTo>
                    <a:lnTo>
                      <a:pt x="432" y="905"/>
                    </a:lnTo>
                    <a:lnTo>
                      <a:pt x="430" y="905"/>
                    </a:lnTo>
                    <a:lnTo>
                      <a:pt x="430" y="903"/>
                    </a:lnTo>
                    <a:lnTo>
                      <a:pt x="428" y="903"/>
                    </a:lnTo>
                    <a:lnTo>
                      <a:pt x="426" y="903"/>
                    </a:lnTo>
                    <a:lnTo>
                      <a:pt x="424" y="901"/>
                    </a:lnTo>
                    <a:lnTo>
                      <a:pt x="424" y="899"/>
                    </a:lnTo>
                    <a:lnTo>
                      <a:pt x="422" y="899"/>
                    </a:lnTo>
                    <a:lnTo>
                      <a:pt x="422" y="897"/>
                    </a:lnTo>
                    <a:lnTo>
                      <a:pt x="424" y="897"/>
                    </a:lnTo>
                    <a:lnTo>
                      <a:pt x="424" y="895"/>
                    </a:lnTo>
                    <a:lnTo>
                      <a:pt x="426" y="895"/>
                    </a:lnTo>
                    <a:lnTo>
                      <a:pt x="426" y="893"/>
                    </a:lnTo>
                    <a:lnTo>
                      <a:pt x="428" y="891"/>
                    </a:lnTo>
                    <a:lnTo>
                      <a:pt x="428" y="889"/>
                    </a:lnTo>
                    <a:lnTo>
                      <a:pt x="430" y="889"/>
                    </a:lnTo>
                    <a:lnTo>
                      <a:pt x="430" y="887"/>
                    </a:lnTo>
                    <a:lnTo>
                      <a:pt x="432" y="887"/>
                    </a:lnTo>
                    <a:lnTo>
                      <a:pt x="430" y="887"/>
                    </a:lnTo>
                    <a:lnTo>
                      <a:pt x="430" y="885"/>
                    </a:lnTo>
                    <a:lnTo>
                      <a:pt x="428" y="883"/>
                    </a:lnTo>
                    <a:lnTo>
                      <a:pt x="428" y="882"/>
                    </a:lnTo>
                    <a:lnTo>
                      <a:pt x="426" y="882"/>
                    </a:lnTo>
                    <a:lnTo>
                      <a:pt x="424" y="882"/>
                    </a:lnTo>
                    <a:lnTo>
                      <a:pt x="424" y="880"/>
                    </a:lnTo>
                    <a:lnTo>
                      <a:pt x="426" y="880"/>
                    </a:lnTo>
                    <a:lnTo>
                      <a:pt x="426" y="878"/>
                    </a:lnTo>
                    <a:lnTo>
                      <a:pt x="424" y="878"/>
                    </a:lnTo>
                    <a:lnTo>
                      <a:pt x="424" y="876"/>
                    </a:lnTo>
                    <a:lnTo>
                      <a:pt x="424" y="874"/>
                    </a:lnTo>
                    <a:lnTo>
                      <a:pt x="422" y="874"/>
                    </a:lnTo>
                    <a:lnTo>
                      <a:pt x="422" y="872"/>
                    </a:lnTo>
                    <a:lnTo>
                      <a:pt x="420" y="870"/>
                    </a:lnTo>
                    <a:lnTo>
                      <a:pt x="420" y="868"/>
                    </a:lnTo>
                    <a:lnTo>
                      <a:pt x="418" y="868"/>
                    </a:lnTo>
                    <a:lnTo>
                      <a:pt x="416" y="868"/>
                    </a:lnTo>
                    <a:lnTo>
                      <a:pt x="416" y="866"/>
                    </a:lnTo>
                    <a:lnTo>
                      <a:pt x="416" y="864"/>
                    </a:lnTo>
                    <a:lnTo>
                      <a:pt x="418" y="864"/>
                    </a:lnTo>
                    <a:lnTo>
                      <a:pt x="420" y="864"/>
                    </a:lnTo>
                    <a:lnTo>
                      <a:pt x="420" y="862"/>
                    </a:lnTo>
                    <a:lnTo>
                      <a:pt x="420" y="860"/>
                    </a:lnTo>
                    <a:lnTo>
                      <a:pt x="422" y="860"/>
                    </a:lnTo>
                    <a:lnTo>
                      <a:pt x="422" y="858"/>
                    </a:lnTo>
                    <a:lnTo>
                      <a:pt x="422" y="857"/>
                    </a:lnTo>
                    <a:lnTo>
                      <a:pt x="424" y="857"/>
                    </a:lnTo>
                    <a:lnTo>
                      <a:pt x="424" y="858"/>
                    </a:lnTo>
                    <a:lnTo>
                      <a:pt x="426" y="858"/>
                    </a:lnTo>
                    <a:lnTo>
                      <a:pt x="428" y="857"/>
                    </a:lnTo>
                    <a:lnTo>
                      <a:pt x="428" y="855"/>
                    </a:lnTo>
                    <a:lnTo>
                      <a:pt x="430" y="853"/>
                    </a:lnTo>
                    <a:lnTo>
                      <a:pt x="432" y="851"/>
                    </a:lnTo>
                    <a:lnTo>
                      <a:pt x="430" y="851"/>
                    </a:lnTo>
                    <a:lnTo>
                      <a:pt x="432" y="849"/>
                    </a:lnTo>
                    <a:lnTo>
                      <a:pt x="432" y="847"/>
                    </a:lnTo>
                    <a:lnTo>
                      <a:pt x="434" y="847"/>
                    </a:lnTo>
                    <a:lnTo>
                      <a:pt x="435" y="847"/>
                    </a:lnTo>
                    <a:lnTo>
                      <a:pt x="435" y="845"/>
                    </a:lnTo>
                    <a:lnTo>
                      <a:pt x="435" y="843"/>
                    </a:lnTo>
                    <a:lnTo>
                      <a:pt x="435" y="841"/>
                    </a:lnTo>
                    <a:lnTo>
                      <a:pt x="434" y="841"/>
                    </a:lnTo>
                    <a:lnTo>
                      <a:pt x="432" y="839"/>
                    </a:lnTo>
                    <a:lnTo>
                      <a:pt x="426" y="835"/>
                    </a:lnTo>
                    <a:lnTo>
                      <a:pt x="426" y="834"/>
                    </a:lnTo>
                    <a:lnTo>
                      <a:pt x="426" y="832"/>
                    </a:lnTo>
                    <a:lnTo>
                      <a:pt x="426" y="828"/>
                    </a:lnTo>
                    <a:lnTo>
                      <a:pt x="428" y="826"/>
                    </a:lnTo>
                    <a:lnTo>
                      <a:pt x="426" y="824"/>
                    </a:lnTo>
                    <a:lnTo>
                      <a:pt x="424" y="824"/>
                    </a:lnTo>
                    <a:lnTo>
                      <a:pt x="422" y="822"/>
                    </a:lnTo>
                    <a:lnTo>
                      <a:pt x="420" y="822"/>
                    </a:lnTo>
                    <a:lnTo>
                      <a:pt x="424" y="820"/>
                    </a:lnTo>
                    <a:lnTo>
                      <a:pt x="426" y="818"/>
                    </a:lnTo>
                    <a:lnTo>
                      <a:pt x="428" y="816"/>
                    </a:lnTo>
                    <a:lnTo>
                      <a:pt x="430" y="814"/>
                    </a:lnTo>
                    <a:lnTo>
                      <a:pt x="430" y="812"/>
                    </a:lnTo>
                    <a:lnTo>
                      <a:pt x="428" y="812"/>
                    </a:lnTo>
                    <a:lnTo>
                      <a:pt x="428" y="810"/>
                    </a:lnTo>
                    <a:lnTo>
                      <a:pt x="428" y="809"/>
                    </a:lnTo>
                    <a:lnTo>
                      <a:pt x="428" y="807"/>
                    </a:lnTo>
                    <a:lnTo>
                      <a:pt x="426" y="807"/>
                    </a:lnTo>
                    <a:lnTo>
                      <a:pt x="424" y="807"/>
                    </a:lnTo>
                    <a:lnTo>
                      <a:pt x="424" y="805"/>
                    </a:lnTo>
                    <a:lnTo>
                      <a:pt x="424" y="803"/>
                    </a:lnTo>
                    <a:lnTo>
                      <a:pt x="426" y="803"/>
                    </a:lnTo>
                    <a:lnTo>
                      <a:pt x="426" y="801"/>
                    </a:lnTo>
                    <a:lnTo>
                      <a:pt x="426" y="799"/>
                    </a:lnTo>
                    <a:lnTo>
                      <a:pt x="428" y="797"/>
                    </a:lnTo>
                    <a:lnTo>
                      <a:pt x="426" y="797"/>
                    </a:lnTo>
                    <a:lnTo>
                      <a:pt x="426" y="795"/>
                    </a:lnTo>
                    <a:lnTo>
                      <a:pt x="424" y="795"/>
                    </a:lnTo>
                    <a:lnTo>
                      <a:pt x="424" y="793"/>
                    </a:lnTo>
                    <a:lnTo>
                      <a:pt x="424" y="791"/>
                    </a:lnTo>
                    <a:lnTo>
                      <a:pt x="420" y="789"/>
                    </a:lnTo>
                    <a:lnTo>
                      <a:pt x="418" y="789"/>
                    </a:lnTo>
                    <a:lnTo>
                      <a:pt x="416" y="787"/>
                    </a:lnTo>
                    <a:lnTo>
                      <a:pt x="414" y="787"/>
                    </a:lnTo>
                    <a:lnTo>
                      <a:pt x="414" y="786"/>
                    </a:lnTo>
                    <a:lnTo>
                      <a:pt x="416" y="786"/>
                    </a:lnTo>
                    <a:lnTo>
                      <a:pt x="416" y="784"/>
                    </a:lnTo>
                    <a:lnTo>
                      <a:pt x="414" y="784"/>
                    </a:lnTo>
                    <a:lnTo>
                      <a:pt x="414" y="782"/>
                    </a:lnTo>
                    <a:lnTo>
                      <a:pt x="412" y="782"/>
                    </a:lnTo>
                    <a:lnTo>
                      <a:pt x="414" y="782"/>
                    </a:lnTo>
                    <a:lnTo>
                      <a:pt x="414" y="780"/>
                    </a:lnTo>
                    <a:lnTo>
                      <a:pt x="414" y="778"/>
                    </a:lnTo>
                    <a:lnTo>
                      <a:pt x="412" y="778"/>
                    </a:lnTo>
                    <a:lnTo>
                      <a:pt x="412" y="776"/>
                    </a:lnTo>
                    <a:lnTo>
                      <a:pt x="410" y="776"/>
                    </a:lnTo>
                    <a:lnTo>
                      <a:pt x="410" y="774"/>
                    </a:lnTo>
                    <a:lnTo>
                      <a:pt x="409" y="774"/>
                    </a:lnTo>
                    <a:lnTo>
                      <a:pt x="407" y="774"/>
                    </a:lnTo>
                    <a:lnTo>
                      <a:pt x="405" y="774"/>
                    </a:lnTo>
                    <a:lnTo>
                      <a:pt x="403" y="774"/>
                    </a:lnTo>
                    <a:lnTo>
                      <a:pt x="401" y="778"/>
                    </a:lnTo>
                    <a:lnTo>
                      <a:pt x="401" y="780"/>
                    </a:lnTo>
                    <a:lnTo>
                      <a:pt x="401" y="782"/>
                    </a:lnTo>
                    <a:lnTo>
                      <a:pt x="399" y="784"/>
                    </a:lnTo>
                    <a:lnTo>
                      <a:pt x="399" y="786"/>
                    </a:lnTo>
                    <a:lnTo>
                      <a:pt x="397" y="786"/>
                    </a:lnTo>
                    <a:lnTo>
                      <a:pt x="393" y="786"/>
                    </a:lnTo>
                    <a:lnTo>
                      <a:pt x="391" y="786"/>
                    </a:lnTo>
                    <a:lnTo>
                      <a:pt x="389" y="786"/>
                    </a:lnTo>
                    <a:lnTo>
                      <a:pt x="389" y="787"/>
                    </a:lnTo>
                    <a:lnTo>
                      <a:pt x="387" y="787"/>
                    </a:lnTo>
                    <a:lnTo>
                      <a:pt x="384" y="787"/>
                    </a:lnTo>
                    <a:lnTo>
                      <a:pt x="382" y="787"/>
                    </a:lnTo>
                    <a:lnTo>
                      <a:pt x="382" y="791"/>
                    </a:lnTo>
                    <a:lnTo>
                      <a:pt x="380" y="791"/>
                    </a:lnTo>
                    <a:lnTo>
                      <a:pt x="380" y="789"/>
                    </a:lnTo>
                    <a:lnTo>
                      <a:pt x="378" y="789"/>
                    </a:lnTo>
                    <a:lnTo>
                      <a:pt x="376" y="789"/>
                    </a:lnTo>
                    <a:lnTo>
                      <a:pt x="372" y="789"/>
                    </a:lnTo>
                    <a:lnTo>
                      <a:pt x="372" y="791"/>
                    </a:lnTo>
                    <a:lnTo>
                      <a:pt x="372" y="793"/>
                    </a:lnTo>
                    <a:lnTo>
                      <a:pt x="372" y="795"/>
                    </a:lnTo>
                    <a:lnTo>
                      <a:pt x="372" y="797"/>
                    </a:lnTo>
                    <a:lnTo>
                      <a:pt x="374" y="797"/>
                    </a:lnTo>
                    <a:lnTo>
                      <a:pt x="374" y="799"/>
                    </a:lnTo>
                    <a:lnTo>
                      <a:pt x="372" y="799"/>
                    </a:lnTo>
                    <a:lnTo>
                      <a:pt x="370" y="799"/>
                    </a:lnTo>
                    <a:lnTo>
                      <a:pt x="370" y="801"/>
                    </a:lnTo>
                    <a:lnTo>
                      <a:pt x="368" y="801"/>
                    </a:lnTo>
                    <a:lnTo>
                      <a:pt x="368" y="803"/>
                    </a:lnTo>
                    <a:lnTo>
                      <a:pt x="366" y="805"/>
                    </a:lnTo>
                    <a:lnTo>
                      <a:pt x="366" y="807"/>
                    </a:lnTo>
                    <a:lnTo>
                      <a:pt x="364" y="807"/>
                    </a:lnTo>
                    <a:lnTo>
                      <a:pt x="362" y="809"/>
                    </a:lnTo>
                    <a:lnTo>
                      <a:pt x="362" y="807"/>
                    </a:lnTo>
                    <a:lnTo>
                      <a:pt x="362" y="805"/>
                    </a:lnTo>
                    <a:lnTo>
                      <a:pt x="362" y="803"/>
                    </a:lnTo>
                    <a:lnTo>
                      <a:pt x="361" y="803"/>
                    </a:lnTo>
                    <a:lnTo>
                      <a:pt x="359" y="803"/>
                    </a:lnTo>
                    <a:lnTo>
                      <a:pt x="359" y="801"/>
                    </a:lnTo>
                    <a:lnTo>
                      <a:pt x="357" y="803"/>
                    </a:lnTo>
                    <a:lnTo>
                      <a:pt x="355" y="803"/>
                    </a:lnTo>
                    <a:lnTo>
                      <a:pt x="353" y="803"/>
                    </a:lnTo>
                    <a:lnTo>
                      <a:pt x="353" y="805"/>
                    </a:lnTo>
                    <a:lnTo>
                      <a:pt x="351" y="805"/>
                    </a:lnTo>
                    <a:lnTo>
                      <a:pt x="351" y="803"/>
                    </a:lnTo>
                    <a:lnTo>
                      <a:pt x="349" y="801"/>
                    </a:lnTo>
                    <a:lnTo>
                      <a:pt x="347" y="801"/>
                    </a:lnTo>
                    <a:lnTo>
                      <a:pt x="345" y="799"/>
                    </a:lnTo>
                    <a:lnTo>
                      <a:pt x="343" y="797"/>
                    </a:lnTo>
                    <a:lnTo>
                      <a:pt x="339" y="797"/>
                    </a:lnTo>
                    <a:lnTo>
                      <a:pt x="339" y="795"/>
                    </a:lnTo>
                    <a:lnTo>
                      <a:pt x="339" y="797"/>
                    </a:lnTo>
                    <a:lnTo>
                      <a:pt x="339" y="799"/>
                    </a:lnTo>
                    <a:lnTo>
                      <a:pt x="339" y="797"/>
                    </a:lnTo>
                    <a:lnTo>
                      <a:pt x="338" y="797"/>
                    </a:lnTo>
                    <a:lnTo>
                      <a:pt x="336" y="797"/>
                    </a:lnTo>
                    <a:lnTo>
                      <a:pt x="334" y="797"/>
                    </a:lnTo>
                    <a:lnTo>
                      <a:pt x="332" y="797"/>
                    </a:lnTo>
                    <a:lnTo>
                      <a:pt x="330" y="797"/>
                    </a:lnTo>
                    <a:lnTo>
                      <a:pt x="330" y="799"/>
                    </a:lnTo>
                    <a:lnTo>
                      <a:pt x="330" y="803"/>
                    </a:lnTo>
                    <a:lnTo>
                      <a:pt x="330" y="805"/>
                    </a:lnTo>
                    <a:lnTo>
                      <a:pt x="328" y="807"/>
                    </a:lnTo>
                    <a:lnTo>
                      <a:pt x="328" y="809"/>
                    </a:lnTo>
                    <a:lnTo>
                      <a:pt x="326" y="810"/>
                    </a:lnTo>
                    <a:lnTo>
                      <a:pt x="324" y="810"/>
                    </a:lnTo>
                    <a:lnTo>
                      <a:pt x="322" y="810"/>
                    </a:lnTo>
                    <a:lnTo>
                      <a:pt x="320" y="810"/>
                    </a:lnTo>
                    <a:lnTo>
                      <a:pt x="318" y="810"/>
                    </a:lnTo>
                    <a:lnTo>
                      <a:pt x="318" y="807"/>
                    </a:lnTo>
                    <a:lnTo>
                      <a:pt x="318" y="805"/>
                    </a:lnTo>
                    <a:lnTo>
                      <a:pt x="316" y="807"/>
                    </a:lnTo>
                    <a:lnTo>
                      <a:pt x="314" y="801"/>
                    </a:lnTo>
                    <a:lnTo>
                      <a:pt x="314" y="799"/>
                    </a:lnTo>
                    <a:lnTo>
                      <a:pt x="314" y="797"/>
                    </a:lnTo>
                    <a:lnTo>
                      <a:pt x="313" y="797"/>
                    </a:lnTo>
                    <a:lnTo>
                      <a:pt x="313" y="795"/>
                    </a:lnTo>
                    <a:lnTo>
                      <a:pt x="311" y="793"/>
                    </a:lnTo>
                    <a:lnTo>
                      <a:pt x="311" y="791"/>
                    </a:lnTo>
                    <a:lnTo>
                      <a:pt x="311" y="789"/>
                    </a:lnTo>
                    <a:lnTo>
                      <a:pt x="309" y="791"/>
                    </a:lnTo>
                    <a:lnTo>
                      <a:pt x="307" y="791"/>
                    </a:lnTo>
                    <a:lnTo>
                      <a:pt x="305" y="791"/>
                    </a:lnTo>
                    <a:lnTo>
                      <a:pt x="303" y="791"/>
                    </a:lnTo>
                    <a:lnTo>
                      <a:pt x="303" y="793"/>
                    </a:lnTo>
                    <a:lnTo>
                      <a:pt x="301" y="793"/>
                    </a:lnTo>
                    <a:lnTo>
                      <a:pt x="299" y="793"/>
                    </a:lnTo>
                    <a:lnTo>
                      <a:pt x="297" y="793"/>
                    </a:lnTo>
                    <a:lnTo>
                      <a:pt x="295" y="791"/>
                    </a:lnTo>
                    <a:lnTo>
                      <a:pt x="295" y="789"/>
                    </a:lnTo>
                    <a:lnTo>
                      <a:pt x="295" y="787"/>
                    </a:lnTo>
                    <a:lnTo>
                      <a:pt x="293" y="787"/>
                    </a:lnTo>
                    <a:lnTo>
                      <a:pt x="291" y="787"/>
                    </a:lnTo>
                    <a:lnTo>
                      <a:pt x="290" y="787"/>
                    </a:lnTo>
                    <a:lnTo>
                      <a:pt x="288" y="787"/>
                    </a:lnTo>
                    <a:lnTo>
                      <a:pt x="288" y="786"/>
                    </a:lnTo>
                    <a:lnTo>
                      <a:pt x="286" y="786"/>
                    </a:lnTo>
                    <a:lnTo>
                      <a:pt x="284" y="786"/>
                    </a:lnTo>
                    <a:lnTo>
                      <a:pt x="282" y="786"/>
                    </a:lnTo>
                    <a:lnTo>
                      <a:pt x="282" y="784"/>
                    </a:lnTo>
                    <a:lnTo>
                      <a:pt x="282" y="786"/>
                    </a:lnTo>
                    <a:lnTo>
                      <a:pt x="280" y="787"/>
                    </a:lnTo>
                    <a:lnTo>
                      <a:pt x="280" y="789"/>
                    </a:lnTo>
                    <a:lnTo>
                      <a:pt x="278" y="789"/>
                    </a:lnTo>
                    <a:lnTo>
                      <a:pt x="278" y="791"/>
                    </a:lnTo>
                    <a:lnTo>
                      <a:pt x="278" y="793"/>
                    </a:lnTo>
                    <a:lnTo>
                      <a:pt x="278" y="795"/>
                    </a:lnTo>
                    <a:lnTo>
                      <a:pt x="276" y="797"/>
                    </a:lnTo>
                    <a:lnTo>
                      <a:pt x="274" y="799"/>
                    </a:lnTo>
                    <a:lnTo>
                      <a:pt x="272" y="799"/>
                    </a:lnTo>
                    <a:lnTo>
                      <a:pt x="270" y="801"/>
                    </a:lnTo>
                    <a:lnTo>
                      <a:pt x="268" y="801"/>
                    </a:lnTo>
                    <a:lnTo>
                      <a:pt x="266" y="801"/>
                    </a:lnTo>
                    <a:lnTo>
                      <a:pt x="265" y="799"/>
                    </a:lnTo>
                    <a:lnTo>
                      <a:pt x="265" y="797"/>
                    </a:lnTo>
                    <a:lnTo>
                      <a:pt x="263" y="797"/>
                    </a:lnTo>
                    <a:lnTo>
                      <a:pt x="261" y="795"/>
                    </a:lnTo>
                    <a:lnTo>
                      <a:pt x="259" y="795"/>
                    </a:lnTo>
                    <a:lnTo>
                      <a:pt x="259" y="793"/>
                    </a:lnTo>
                    <a:lnTo>
                      <a:pt x="257" y="793"/>
                    </a:lnTo>
                    <a:lnTo>
                      <a:pt x="255" y="793"/>
                    </a:lnTo>
                    <a:lnTo>
                      <a:pt x="247" y="789"/>
                    </a:lnTo>
                    <a:lnTo>
                      <a:pt x="245" y="789"/>
                    </a:lnTo>
                    <a:lnTo>
                      <a:pt x="245" y="791"/>
                    </a:lnTo>
                    <a:lnTo>
                      <a:pt x="243" y="791"/>
                    </a:lnTo>
                    <a:lnTo>
                      <a:pt x="243" y="789"/>
                    </a:lnTo>
                    <a:lnTo>
                      <a:pt x="242" y="789"/>
                    </a:lnTo>
                    <a:lnTo>
                      <a:pt x="240" y="789"/>
                    </a:lnTo>
                    <a:lnTo>
                      <a:pt x="238" y="789"/>
                    </a:lnTo>
                    <a:lnTo>
                      <a:pt x="238" y="787"/>
                    </a:lnTo>
                    <a:lnTo>
                      <a:pt x="238" y="786"/>
                    </a:lnTo>
                    <a:lnTo>
                      <a:pt x="238" y="784"/>
                    </a:lnTo>
                    <a:lnTo>
                      <a:pt x="236" y="782"/>
                    </a:lnTo>
                    <a:lnTo>
                      <a:pt x="234" y="782"/>
                    </a:lnTo>
                    <a:lnTo>
                      <a:pt x="232" y="784"/>
                    </a:lnTo>
                    <a:lnTo>
                      <a:pt x="232" y="787"/>
                    </a:lnTo>
                    <a:lnTo>
                      <a:pt x="232" y="789"/>
                    </a:lnTo>
                    <a:lnTo>
                      <a:pt x="228" y="789"/>
                    </a:lnTo>
                    <a:lnTo>
                      <a:pt x="228" y="791"/>
                    </a:lnTo>
                    <a:lnTo>
                      <a:pt x="226" y="791"/>
                    </a:lnTo>
                    <a:lnTo>
                      <a:pt x="226" y="793"/>
                    </a:lnTo>
                    <a:lnTo>
                      <a:pt x="224" y="793"/>
                    </a:lnTo>
                    <a:lnTo>
                      <a:pt x="226" y="791"/>
                    </a:lnTo>
                    <a:lnTo>
                      <a:pt x="224" y="789"/>
                    </a:lnTo>
                    <a:lnTo>
                      <a:pt x="222" y="789"/>
                    </a:lnTo>
                    <a:lnTo>
                      <a:pt x="220" y="791"/>
                    </a:lnTo>
                    <a:lnTo>
                      <a:pt x="218" y="789"/>
                    </a:lnTo>
                    <a:lnTo>
                      <a:pt x="217" y="789"/>
                    </a:lnTo>
                    <a:lnTo>
                      <a:pt x="215" y="789"/>
                    </a:lnTo>
                    <a:lnTo>
                      <a:pt x="213" y="789"/>
                    </a:lnTo>
                    <a:lnTo>
                      <a:pt x="211" y="789"/>
                    </a:lnTo>
                    <a:lnTo>
                      <a:pt x="209" y="789"/>
                    </a:lnTo>
                    <a:lnTo>
                      <a:pt x="207" y="789"/>
                    </a:lnTo>
                    <a:lnTo>
                      <a:pt x="205" y="789"/>
                    </a:lnTo>
                    <a:lnTo>
                      <a:pt x="203" y="791"/>
                    </a:lnTo>
                    <a:lnTo>
                      <a:pt x="201" y="791"/>
                    </a:lnTo>
                    <a:lnTo>
                      <a:pt x="199" y="791"/>
                    </a:lnTo>
                    <a:lnTo>
                      <a:pt x="197" y="791"/>
                    </a:lnTo>
                    <a:lnTo>
                      <a:pt x="197" y="793"/>
                    </a:lnTo>
                    <a:lnTo>
                      <a:pt x="195" y="793"/>
                    </a:lnTo>
                    <a:lnTo>
                      <a:pt x="193" y="793"/>
                    </a:lnTo>
                    <a:lnTo>
                      <a:pt x="192" y="793"/>
                    </a:lnTo>
                    <a:lnTo>
                      <a:pt x="190" y="793"/>
                    </a:lnTo>
                    <a:lnTo>
                      <a:pt x="188" y="793"/>
                    </a:lnTo>
                    <a:lnTo>
                      <a:pt x="186" y="793"/>
                    </a:lnTo>
                    <a:lnTo>
                      <a:pt x="184" y="793"/>
                    </a:lnTo>
                    <a:lnTo>
                      <a:pt x="182" y="793"/>
                    </a:lnTo>
                    <a:lnTo>
                      <a:pt x="180" y="791"/>
                    </a:lnTo>
                    <a:lnTo>
                      <a:pt x="178" y="791"/>
                    </a:lnTo>
                    <a:lnTo>
                      <a:pt x="176" y="791"/>
                    </a:lnTo>
                    <a:lnTo>
                      <a:pt x="174" y="791"/>
                    </a:lnTo>
                    <a:lnTo>
                      <a:pt x="172" y="791"/>
                    </a:lnTo>
                    <a:lnTo>
                      <a:pt x="170" y="791"/>
                    </a:lnTo>
                    <a:lnTo>
                      <a:pt x="169" y="791"/>
                    </a:lnTo>
                    <a:lnTo>
                      <a:pt x="169" y="789"/>
                    </a:lnTo>
                    <a:lnTo>
                      <a:pt x="167" y="789"/>
                    </a:lnTo>
                    <a:lnTo>
                      <a:pt x="167" y="787"/>
                    </a:lnTo>
                    <a:lnTo>
                      <a:pt x="165" y="787"/>
                    </a:lnTo>
                    <a:lnTo>
                      <a:pt x="163" y="787"/>
                    </a:lnTo>
                    <a:lnTo>
                      <a:pt x="163" y="786"/>
                    </a:lnTo>
                    <a:lnTo>
                      <a:pt x="161" y="786"/>
                    </a:lnTo>
                    <a:lnTo>
                      <a:pt x="159" y="786"/>
                    </a:lnTo>
                    <a:lnTo>
                      <a:pt x="157" y="786"/>
                    </a:lnTo>
                    <a:lnTo>
                      <a:pt x="155" y="786"/>
                    </a:lnTo>
                    <a:lnTo>
                      <a:pt x="153" y="786"/>
                    </a:lnTo>
                    <a:lnTo>
                      <a:pt x="151" y="786"/>
                    </a:lnTo>
                    <a:lnTo>
                      <a:pt x="151" y="787"/>
                    </a:lnTo>
                    <a:lnTo>
                      <a:pt x="149" y="787"/>
                    </a:lnTo>
                    <a:lnTo>
                      <a:pt x="147" y="787"/>
                    </a:lnTo>
                    <a:lnTo>
                      <a:pt x="145" y="787"/>
                    </a:lnTo>
                    <a:lnTo>
                      <a:pt x="145" y="789"/>
                    </a:lnTo>
                    <a:lnTo>
                      <a:pt x="144" y="789"/>
                    </a:lnTo>
                    <a:lnTo>
                      <a:pt x="142" y="789"/>
                    </a:lnTo>
                    <a:lnTo>
                      <a:pt x="140" y="787"/>
                    </a:lnTo>
                    <a:lnTo>
                      <a:pt x="138" y="787"/>
                    </a:lnTo>
                    <a:lnTo>
                      <a:pt x="136" y="787"/>
                    </a:lnTo>
                    <a:lnTo>
                      <a:pt x="136" y="789"/>
                    </a:lnTo>
                    <a:lnTo>
                      <a:pt x="134" y="789"/>
                    </a:lnTo>
                    <a:lnTo>
                      <a:pt x="134" y="791"/>
                    </a:lnTo>
                    <a:lnTo>
                      <a:pt x="132" y="791"/>
                    </a:lnTo>
                    <a:lnTo>
                      <a:pt x="130" y="791"/>
                    </a:lnTo>
                    <a:lnTo>
                      <a:pt x="128" y="791"/>
                    </a:lnTo>
                    <a:lnTo>
                      <a:pt x="126" y="791"/>
                    </a:lnTo>
                    <a:lnTo>
                      <a:pt x="124" y="791"/>
                    </a:lnTo>
                    <a:lnTo>
                      <a:pt x="122" y="791"/>
                    </a:lnTo>
                    <a:lnTo>
                      <a:pt x="121" y="791"/>
                    </a:lnTo>
                    <a:lnTo>
                      <a:pt x="119" y="789"/>
                    </a:lnTo>
                    <a:lnTo>
                      <a:pt x="119" y="791"/>
                    </a:lnTo>
                    <a:lnTo>
                      <a:pt x="119" y="793"/>
                    </a:lnTo>
                    <a:lnTo>
                      <a:pt x="119" y="795"/>
                    </a:lnTo>
                    <a:lnTo>
                      <a:pt x="117" y="795"/>
                    </a:lnTo>
                    <a:lnTo>
                      <a:pt x="115" y="795"/>
                    </a:lnTo>
                    <a:lnTo>
                      <a:pt x="113" y="795"/>
                    </a:lnTo>
                    <a:lnTo>
                      <a:pt x="113" y="797"/>
                    </a:lnTo>
                    <a:lnTo>
                      <a:pt x="113" y="799"/>
                    </a:lnTo>
                    <a:lnTo>
                      <a:pt x="111" y="799"/>
                    </a:lnTo>
                    <a:lnTo>
                      <a:pt x="109" y="801"/>
                    </a:lnTo>
                    <a:lnTo>
                      <a:pt x="107" y="801"/>
                    </a:lnTo>
                    <a:lnTo>
                      <a:pt x="107" y="799"/>
                    </a:lnTo>
                    <a:lnTo>
                      <a:pt x="105" y="799"/>
                    </a:lnTo>
                    <a:lnTo>
                      <a:pt x="105" y="801"/>
                    </a:lnTo>
                    <a:lnTo>
                      <a:pt x="103" y="799"/>
                    </a:lnTo>
                    <a:lnTo>
                      <a:pt x="101" y="799"/>
                    </a:lnTo>
                    <a:lnTo>
                      <a:pt x="101" y="797"/>
                    </a:lnTo>
                    <a:lnTo>
                      <a:pt x="99" y="795"/>
                    </a:lnTo>
                    <a:lnTo>
                      <a:pt x="99" y="793"/>
                    </a:lnTo>
                    <a:lnTo>
                      <a:pt x="97" y="793"/>
                    </a:lnTo>
                    <a:lnTo>
                      <a:pt x="97" y="791"/>
                    </a:lnTo>
                    <a:lnTo>
                      <a:pt x="97" y="789"/>
                    </a:lnTo>
                    <a:lnTo>
                      <a:pt x="97" y="787"/>
                    </a:lnTo>
                    <a:lnTo>
                      <a:pt x="96" y="787"/>
                    </a:lnTo>
                    <a:lnTo>
                      <a:pt x="96" y="786"/>
                    </a:lnTo>
                    <a:lnTo>
                      <a:pt x="94" y="786"/>
                    </a:lnTo>
                    <a:lnTo>
                      <a:pt x="94" y="784"/>
                    </a:lnTo>
                    <a:lnTo>
                      <a:pt x="92" y="784"/>
                    </a:lnTo>
                    <a:lnTo>
                      <a:pt x="92" y="782"/>
                    </a:lnTo>
                    <a:lnTo>
                      <a:pt x="90" y="782"/>
                    </a:lnTo>
                    <a:lnTo>
                      <a:pt x="88" y="782"/>
                    </a:lnTo>
                    <a:lnTo>
                      <a:pt x="88" y="780"/>
                    </a:lnTo>
                    <a:lnTo>
                      <a:pt x="86" y="780"/>
                    </a:lnTo>
                    <a:lnTo>
                      <a:pt x="84" y="780"/>
                    </a:lnTo>
                    <a:lnTo>
                      <a:pt x="84" y="778"/>
                    </a:lnTo>
                    <a:lnTo>
                      <a:pt x="84" y="776"/>
                    </a:lnTo>
                    <a:lnTo>
                      <a:pt x="86" y="776"/>
                    </a:lnTo>
                    <a:lnTo>
                      <a:pt x="86" y="774"/>
                    </a:lnTo>
                    <a:lnTo>
                      <a:pt x="88" y="774"/>
                    </a:lnTo>
                    <a:lnTo>
                      <a:pt x="88" y="772"/>
                    </a:lnTo>
                    <a:lnTo>
                      <a:pt x="90" y="772"/>
                    </a:lnTo>
                    <a:lnTo>
                      <a:pt x="90" y="770"/>
                    </a:lnTo>
                    <a:lnTo>
                      <a:pt x="92" y="770"/>
                    </a:lnTo>
                    <a:lnTo>
                      <a:pt x="92" y="768"/>
                    </a:lnTo>
                    <a:lnTo>
                      <a:pt x="92" y="766"/>
                    </a:lnTo>
                    <a:lnTo>
                      <a:pt x="90" y="764"/>
                    </a:lnTo>
                    <a:lnTo>
                      <a:pt x="88" y="763"/>
                    </a:lnTo>
                    <a:lnTo>
                      <a:pt x="86" y="763"/>
                    </a:lnTo>
                    <a:lnTo>
                      <a:pt x="84" y="763"/>
                    </a:lnTo>
                    <a:lnTo>
                      <a:pt x="84" y="764"/>
                    </a:lnTo>
                    <a:lnTo>
                      <a:pt x="82" y="764"/>
                    </a:lnTo>
                    <a:lnTo>
                      <a:pt x="80" y="763"/>
                    </a:lnTo>
                    <a:lnTo>
                      <a:pt x="78" y="763"/>
                    </a:lnTo>
                    <a:lnTo>
                      <a:pt x="76" y="761"/>
                    </a:lnTo>
                    <a:lnTo>
                      <a:pt x="76" y="763"/>
                    </a:lnTo>
                    <a:lnTo>
                      <a:pt x="74" y="764"/>
                    </a:lnTo>
                    <a:lnTo>
                      <a:pt x="74" y="766"/>
                    </a:lnTo>
                    <a:lnTo>
                      <a:pt x="73" y="766"/>
                    </a:lnTo>
                    <a:lnTo>
                      <a:pt x="73" y="764"/>
                    </a:lnTo>
                    <a:lnTo>
                      <a:pt x="74" y="764"/>
                    </a:lnTo>
                    <a:lnTo>
                      <a:pt x="73" y="764"/>
                    </a:lnTo>
                    <a:lnTo>
                      <a:pt x="73" y="763"/>
                    </a:lnTo>
                    <a:lnTo>
                      <a:pt x="73" y="764"/>
                    </a:lnTo>
                    <a:lnTo>
                      <a:pt x="73" y="763"/>
                    </a:lnTo>
                    <a:lnTo>
                      <a:pt x="73" y="761"/>
                    </a:lnTo>
                    <a:lnTo>
                      <a:pt x="71" y="761"/>
                    </a:lnTo>
                    <a:lnTo>
                      <a:pt x="71" y="759"/>
                    </a:lnTo>
                    <a:lnTo>
                      <a:pt x="69" y="759"/>
                    </a:lnTo>
                    <a:lnTo>
                      <a:pt x="69" y="757"/>
                    </a:lnTo>
                    <a:lnTo>
                      <a:pt x="71" y="757"/>
                    </a:lnTo>
                    <a:lnTo>
                      <a:pt x="71" y="755"/>
                    </a:lnTo>
                    <a:lnTo>
                      <a:pt x="69" y="755"/>
                    </a:lnTo>
                    <a:lnTo>
                      <a:pt x="71" y="755"/>
                    </a:lnTo>
                    <a:lnTo>
                      <a:pt x="71" y="753"/>
                    </a:lnTo>
                    <a:lnTo>
                      <a:pt x="69" y="753"/>
                    </a:lnTo>
                    <a:lnTo>
                      <a:pt x="69" y="751"/>
                    </a:lnTo>
                    <a:lnTo>
                      <a:pt x="69" y="749"/>
                    </a:lnTo>
                    <a:lnTo>
                      <a:pt x="67" y="749"/>
                    </a:lnTo>
                    <a:lnTo>
                      <a:pt x="69" y="749"/>
                    </a:lnTo>
                    <a:lnTo>
                      <a:pt x="69" y="747"/>
                    </a:lnTo>
                    <a:lnTo>
                      <a:pt x="67" y="747"/>
                    </a:lnTo>
                    <a:lnTo>
                      <a:pt x="67" y="745"/>
                    </a:lnTo>
                    <a:lnTo>
                      <a:pt x="67" y="743"/>
                    </a:lnTo>
                    <a:lnTo>
                      <a:pt x="69" y="743"/>
                    </a:lnTo>
                    <a:lnTo>
                      <a:pt x="69" y="741"/>
                    </a:lnTo>
                    <a:lnTo>
                      <a:pt x="67" y="741"/>
                    </a:lnTo>
                    <a:lnTo>
                      <a:pt x="67" y="739"/>
                    </a:lnTo>
                    <a:lnTo>
                      <a:pt x="67" y="738"/>
                    </a:lnTo>
                    <a:lnTo>
                      <a:pt x="67" y="736"/>
                    </a:lnTo>
                    <a:lnTo>
                      <a:pt x="67" y="734"/>
                    </a:lnTo>
                    <a:lnTo>
                      <a:pt x="67" y="732"/>
                    </a:lnTo>
                    <a:lnTo>
                      <a:pt x="67" y="730"/>
                    </a:lnTo>
                    <a:lnTo>
                      <a:pt x="65" y="730"/>
                    </a:lnTo>
                    <a:lnTo>
                      <a:pt x="67" y="730"/>
                    </a:lnTo>
                    <a:lnTo>
                      <a:pt x="67" y="728"/>
                    </a:lnTo>
                    <a:lnTo>
                      <a:pt x="69" y="728"/>
                    </a:lnTo>
                    <a:lnTo>
                      <a:pt x="69" y="726"/>
                    </a:lnTo>
                    <a:lnTo>
                      <a:pt x="71" y="724"/>
                    </a:lnTo>
                    <a:lnTo>
                      <a:pt x="69" y="724"/>
                    </a:lnTo>
                    <a:lnTo>
                      <a:pt x="67" y="724"/>
                    </a:lnTo>
                    <a:lnTo>
                      <a:pt x="65" y="724"/>
                    </a:lnTo>
                    <a:lnTo>
                      <a:pt x="63" y="724"/>
                    </a:lnTo>
                    <a:lnTo>
                      <a:pt x="63" y="722"/>
                    </a:lnTo>
                    <a:lnTo>
                      <a:pt x="63" y="720"/>
                    </a:lnTo>
                    <a:lnTo>
                      <a:pt x="61" y="720"/>
                    </a:lnTo>
                    <a:lnTo>
                      <a:pt x="61" y="718"/>
                    </a:lnTo>
                    <a:lnTo>
                      <a:pt x="59" y="718"/>
                    </a:lnTo>
                    <a:lnTo>
                      <a:pt x="59" y="716"/>
                    </a:lnTo>
                    <a:lnTo>
                      <a:pt x="57" y="716"/>
                    </a:lnTo>
                    <a:lnTo>
                      <a:pt x="57" y="715"/>
                    </a:lnTo>
                    <a:lnTo>
                      <a:pt x="55" y="715"/>
                    </a:lnTo>
                    <a:lnTo>
                      <a:pt x="53" y="715"/>
                    </a:lnTo>
                    <a:lnTo>
                      <a:pt x="53" y="716"/>
                    </a:lnTo>
                    <a:lnTo>
                      <a:pt x="55" y="716"/>
                    </a:lnTo>
                    <a:lnTo>
                      <a:pt x="55" y="718"/>
                    </a:lnTo>
                    <a:lnTo>
                      <a:pt x="53" y="718"/>
                    </a:lnTo>
                    <a:lnTo>
                      <a:pt x="51" y="718"/>
                    </a:lnTo>
                    <a:lnTo>
                      <a:pt x="49" y="716"/>
                    </a:lnTo>
                    <a:lnTo>
                      <a:pt x="49" y="715"/>
                    </a:lnTo>
                    <a:lnTo>
                      <a:pt x="51" y="715"/>
                    </a:lnTo>
                    <a:lnTo>
                      <a:pt x="51" y="713"/>
                    </a:lnTo>
                    <a:lnTo>
                      <a:pt x="51" y="711"/>
                    </a:lnTo>
                    <a:lnTo>
                      <a:pt x="51" y="709"/>
                    </a:lnTo>
                    <a:lnTo>
                      <a:pt x="51" y="707"/>
                    </a:lnTo>
                    <a:lnTo>
                      <a:pt x="51" y="705"/>
                    </a:lnTo>
                    <a:lnTo>
                      <a:pt x="51" y="703"/>
                    </a:lnTo>
                    <a:lnTo>
                      <a:pt x="53" y="703"/>
                    </a:lnTo>
                    <a:lnTo>
                      <a:pt x="55" y="703"/>
                    </a:lnTo>
                    <a:lnTo>
                      <a:pt x="55" y="701"/>
                    </a:lnTo>
                    <a:lnTo>
                      <a:pt x="55" y="699"/>
                    </a:lnTo>
                    <a:lnTo>
                      <a:pt x="57" y="699"/>
                    </a:lnTo>
                    <a:lnTo>
                      <a:pt x="59" y="699"/>
                    </a:lnTo>
                    <a:lnTo>
                      <a:pt x="61" y="699"/>
                    </a:lnTo>
                    <a:lnTo>
                      <a:pt x="61" y="697"/>
                    </a:lnTo>
                    <a:lnTo>
                      <a:pt x="61" y="695"/>
                    </a:lnTo>
                    <a:lnTo>
                      <a:pt x="59" y="695"/>
                    </a:lnTo>
                    <a:lnTo>
                      <a:pt x="59" y="693"/>
                    </a:lnTo>
                    <a:lnTo>
                      <a:pt x="59" y="691"/>
                    </a:lnTo>
                    <a:lnTo>
                      <a:pt x="59" y="690"/>
                    </a:lnTo>
                    <a:lnTo>
                      <a:pt x="59" y="688"/>
                    </a:lnTo>
                    <a:lnTo>
                      <a:pt x="59" y="686"/>
                    </a:lnTo>
                    <a:lnTo>
                      <a:pt x="59" y="684"/>
                    </a:lnTo>
                    <a:lnTo>
                      <a:pt x="59" y="682"/>
                    </a:lnTo>
                    <a:lnTo>
                      <a:pt x="57" y="682"/>
                    </a:lnTo>
                    <a:lnTo>
                      <a:pt x="57" y="680"/>
                    </a:lnTo>
                    <a:lnTo>
                      <a:pt x="57" y="678"/>
                    </a:lnTo>
                    <a:lnTo>
                      <a:pt x="57" y="676"/>
                    </a:lnTo>
                    <a:lnTo>
                      <a:pt x="57" y="674"/>
                    </a:lnTo>
                    <a:lnTo>
                      <a:pt x="57" y="672"/>
                    </a:lnTo>
                    <a:lnTo>
                      <a:pt x="57" y="670"/>
                    </a:lnTo>
                    <a:lnTo>
                      <a:pt x="59" y="670"/>
                    </a:lnTo>
                    <a:lnTo>
                      <a:pt x="61" y="670"/>
                    </a:lnTo>
                    <a:lnTo>
                      <a:pt x="61" y="668"/>
                    </a:lnTo>
                    <a:lnTo>
                      <a:pt x="63" y="668"/>
                    </a:lnTo>
                    <a:lnTo>
                      <a:pt x="65" y="668"/>
                    </a:lnTo>
                    <a:lnTo>
                      <a:pt x="67" y="670"/>
                    </a:lnTo>
                    <a:lnTo>
                      <a:pt x="69" y="670"/>
                    </a:lnTo>
                    <a:lnTo>
                      <a:pt x="69" y="672"/>
                    </a:lnTo>
                    <a:lnTo>
                      <a:pt x="71" y="672"/>
                    </a:lnTo>
                    <a:lnTo>
                      <a:pt x="71" y="674"/>
                    </a:lnTo>
                    <a:lnTo>
                      <a:pt x="73" y="674"/>
                    </a:lnTo>
                    <a:lnTo>
                      <a:pt x="73" y="676"/>
                    </a:lnTo>
                    <a:lnTo>
                      <a:pt x="74" y="676"/>
                    </a:lnTo>
                    <a:lnTo>
                      <a:pt x="74" y="674"/>
                    </a:lnTo>
                    <a:lnTo>
                      <a:pt x="76" y="674"/>
                    </a:lnTo>
                    <a:lnTo>
                      <a:pt x="76" y="672"/>
                    </a:lnTo>
                    <a:lnTo>
                      <a:pt x="78" y="672"/>
                    </a:lnTo>
                    <a:lnTo>
                      <a:pt x="78" y="670"/>
                    </a:lnTo>
                    <a:lnTo>
                      <a:pt x="80" y="668"/>
                    </a:lnTo>
                    <a:lnTo>
                      <a:pt x="82" y="667"/>
                    </a:lnTo>
                    <a:lnTo>
                      <a:pt x="84" y="665"/>
                    </a:lnTo>
                    <a:lnTo>
                      <a:pt x="86" y="665"/>
                    </a:lnTo>
                    <a:lnTo>
                      <a:pt x="86" y="667"/>
                    </a:lnTo>
                    <a:lnTo>
                      <a:pt x="88" y="667"/>
                    </a:lnTo>
                    <a:lnTo>
                      <a:pt x="88" y="668"/>
                    </a:lnTo>
                    <a:lnTo>
                      <a:pt x="88" y="670"/>
                    </a:lnTo>
                    <a:lnTo>
                      <a:pt x="90" y="670"/>
                    </a:lnTo>
                    <a:lnTo>
                      <a:pt x="92" y="670"/>
                    </a:lnTo>
                    <a:lnTo>
                      <a:pt x="92" y="668"/>
                    </a:lnTo>
                    <a:lnTo>
                      <a:pt x="94" y="668"/>
                    </a:lnTo>
                    <a:lnTo>
                      <a:pt x="94" y="667"/>
                    </a:lnTo>
                    <a:lnTo>
                      <a:pt x="96" y="667"/>
                    </a:lnTo>
                    <a:lnTo>
                      <a:pt x="94" y="667"/>
                    </a:lnTo>
                    <a:lnTo>
                      <a:pt x="94" y="665"/>
                    </a:lnTo>
                    <a:lnTo>
                      <a:pt x="96" y="665"/>
                    </a:lnTo>
                    <a:lnTo>
                      <a:pt x="94" y="665"/>
                    </a:lnTo>
                    <a:lnTo>
                      <a:pt x="94" y="663"/>
                    </a:lnTo>
                    <a:lnTo>
                      <a:pt x="96" y="663"/>
                    </a:lnTo>
                    <a:lnTo>
                      <a:pt x="96" y="661"/>
                    </a:lnTo>
                    <a:lnTo>
                      <a:pt x="96" y="659"/>
                    </a:lnTo>
                    <a:lnTo>
                      <a:pt x="96" y="657"/>
                    </a:lnTo>
                    <a:lnTo>
                      <a:pt x="94" y="657"/>
                    </a:lnTo>
                    <a:lnTo>
                      <a:pt x="96" y="657"/>
                    </a:lnTo>
                    <a:lnTo>
                      <a:pt x="96" y="655"/>
                    </a:lnTo>
                    <a:lnTo>
                      <a:pt x="96" y="653"/>
                    </a:lnTo>
                    <a:lnTo>
                      <a:pt x="96" y="651"/>
                    </a:lnTo>
                    <a:lnTo>
                      <a:pt x="94" y="651"/>
                    </a:lnTo>
                    <a:lnTo>
                      <a:pt x="96" y="651"/>
                    </a:lnTo>
                    <a:lnTo>
                      <a:pt x="96" y="649"/>
                    </a:lnTo>
                    <a:lnTo>
                      <a:pt x="94" y="649"/>
                    </a:lnTo>
                    <a:lnTo>
                      <a:pt x="94" y="647"/>
                    </a:lnTo>
                    <a:lnTo>
                      <a:pt x="92" y="647"/>
                    </a:lnTo>
                    <a:lnTo>
                      <a:pt x="90" y="647"/>
                    </a:lnTo>
                    <a:lnTo>
                      <a:pt x="90" y="645"/>
                    </a:lnTo>
                    <a:lnTo>
                      <a:pt x="88" y="645"/>
                    </a:lnTo>
                    <a:lnTo>
                      <a:pt x="86" y="645"/>
                    </a:lnTo>
                    <a:lnTo>
                      <a:pt x="84" y="643"/>
                    </a:lnTo>
                    <a:lnTo>
                      <a:pt x="82" y="643"/>
                    </a:lnTo>
                    <a:lnTo>
                      <a:pt x="80" y="643"/>
                    </a:lnTo>
                    <a:lnTo>
                      <a:pt x="80" y="642"/>
                    </a:lnTo>
                    <a:lnTo>
                      <a:pt x="82" y="640"/>
                    </a:lnTo>
                    <a:lnTo>
                      <a:pt x="84" y="638"/>
                    </a:lnTo>
                    <a:lnTo>
                      <a:pt x="84" y="636"/>
                    </a:lnTo>
                    <a:lnTo>
                      <a:pt x="86" y="636"/>
                    </a:lnTo>
                    <a:lnTo>
                      <a:pt x="84" y="636"/>
                    </a:lnTo>
                    <a:lnTo>
                      <a:pt x="84" y="634"/>
                    </a:lnTo>
                    <a:lnTo>
                      <a:pt x="84" y="632"/>
                    </a:lnTo>
                    <a:lnTo>
                      <a:pt x="86" y="632"/>
                    </a:lnTo>
                    <a:lnTo>
                      <a:pt x="86" y="630"/>
                    </a:lnTo>
                    <a:lnTo>
                      <a:pt x="88" y="630"/>
                    </a:lnTo>
                    <a:lnTo>
                      <a:pt x="88" y="632"/>
                    </a:lnTo>
                    <a:lnTo>
                      <a:pt x="88" y="630"/>
                    </a:lnTo>
                    <a:lnTo>
                      <a:pt x="86" y="628"/>
                    </a:lnTo>
                    <a:lnTo>
                      <a:pt x="86" y="626"/>
                    </a:lnTo>
                    <a:lnTo>
                      <a:pt x="86" y="622"/>
                    </a:lnTo>
                    <a:lnTo>
                      <a:pt x="88" y="622"/>
                    </a:lnTo>
                    <a:lnTo>
                      <a:pt x="88" y="620"/>
                    </a:lnTo>
                    <a:lnTo>
                      <a:pt x="88" y="619"/>
                    </a:lnTo>
                    <a:lnTo>
                      <a:pt x="90" y="619"/>
                    </a:lnTo>
                    <a:lnTo>
                      <a:pt x="90" y="620"/>
                    </a:lnTo>
                    <a:lnTo>
                      <a:pt x="92" y="620"/>
                    </a:lnTo>
                    <a:lnTo>
                      <a:pt x="92" y="619"/>
                    </a:lnTo>
                    <a:lnTo>
                      <a:pt x="94" y="620"/>
                    </a:lnTo>
                    <a:lnTo>
                      <a:pt x="94" y="619"/>
                    </a:lnTo>
                    <a:lnTo>
                      <a:pt x="94" y="617"/>
                    </a:lnTo>
                    <a:lnTo>
                      <a:pt x="97" y="617"/>
                    </a:lnTo>
                    <a:lnTo>
                      <a:pt x="99" y="617"/>
                    </a:lnTo>
                    <a:lnTo>
                      <a:pt x="101" y="615"/>
                    </a:lnTo>
                    <a:lnTo>
                      <a:pt x="101" y="613"/>
                    </a:lnTo>
                    <a:lnTo>
                      <a:pt x="101" y="611"/>
                    </a:lnTo>
                    <a:lnTo>
                      <a:pt x="99" y="611"/>
                    </a:lnTo>
                    <a:lnTo>
                      <a:pt x="99" y="609"/>
                    </a:lnTo>
                    <a:lnTo>
                      <a:pt x="97" y="609"/>
                    </a:lnTo>
                    <a:lnTo>
                      <a:pt x="99" y="609"/>
                    </a:lnTo>
                    <a:lnTo>
                      <a:pt x="99" y="607"/>
                    </a:lnTo>
                    <a:lnTo>
                      <a:pt x="99" y="605"/>
                    </a:lnTo>
                    <a:lnTo>
                      <a:pt x="99" y="603"/>
                    </a:lnTo>
                    <a:lnTo>
                      <a:pt x="99" y="601"/>
                    </a:lnTo>
                    <a:lnTo>
                      <a:pt x="99" y="599"/>
                    </a:lnTo>
                    <a:lnTo>
                      <a:pt x="101" y="599"/>
                    </a:lnTo>
                    <a:lnTo>
                      <a:pt x="99" y="599"/>
                    </a:lnTo>
                    <a:lnTo>
                      <a:pt x="97" y="599"/>
                    </a:lnTo>
                    <a:lnTo>
                      <a:pt x="94" y="599"/>
                    </a:lnTo>
                    <a:lnTo>
                      <a:pt x="94" y="601"/>
                    </a:lnTo>
                    <a:lnTo>
                      <a:pt x="92" y="601"/>
                    </a:lnTo>
                    <a:lnTo>
                      <a:pt x="94" y="603"/>
                    </a:lnTo>
                    <a:lnTo>
                      <a:pt x="94" y="605"/>
                    </a:lnTo>
                    <a:lnTo>
                      <a:pt x="94" y="607"/>
                    </a:lnTo>
                    <a:lnTo>
                      <a:pt x="90" y="607"/>
                    </a:lnTo>
                    <a:lnTo>
                      <a:pt x="88" y="607"/>
                    </a:lnTo>
                    <a:lnTo>
                      <a:pt x="88" y="605"/>
                    </a:lnTo>
                    <a:lnTo>
                      <a:pt x="88" y="601"/>
                    </a:lnTo>
                    <a:lnTo>
                      <a:pt x="88" y="599"/>
                    </a:lnTo>
                    <a:lnTo>
                      <a:pt x="90" y="599"/>
                    </a:lnTo>
                    <a:lnTo>
                      <a:pt x="90" y="597"/>
                    </a:lnTo>
                    <a:lnTo>
                      <a:pt x="90" y="595"/>
                    </a:lnTo>
                    <a:lnTo>
                      <a:pt x="88" y="595"/>
                    </a:lnTo>
                    <a:lnTo>
                      <a:pt x="88" y="597"/>
                    </a:lnTo>
                    <a:lnTo>
                      <a:pt x="86" y="597"/>
                    </a:lnTo>
                    <a:lnTo>
                      <a:pt x="86" y="595"/>
                    </a:lnTo>
                    <a:lnTo>
                      <a:pt x="86" y="594"/>
                    </a:lnTo>
                    <a:lnTo>
                      <a:pt x="86" y="592"/>
                    </a:lnTo>
                    <a:lnTo>
                      <a:pt x="86" y="590"/>
                    </a:lnTo>
                    <a:lnTo>
                      <a:pt x="86" y="588"/>
                    </a:lnTo>
                    <a:lnTo>
                      <a:pt x="84" y="588"/>
                    </a:lnTo>
                    <a:lnTo>
                      <a:pt x="82" y="588"/>
                    </a:lnTo>
                    <a:lnTo>
                      <a:pt x="82" y="586"/>
                    </a:lnTo>
                    <a:lnTo>
                      <a:pt x="84" y="586"/>
                    </a:lnTo>
                    <a:lnTo>
                      <a:pt x="84" y="584"/>
                    </a:lnTo>
                    <a:lnTo>
                      <a:pt x="84" y="582"/>
                    </a:lnTo>
                    <a:lnTo>
                      <a:pt x="84" y="580"/>
                    </a:lnTo>
                    <a:lnTo>
                      <a:pt x="84" y="582"/>
                    </a:lnTo>
                    <a:lnTo>
                      <a:pt x="86" y="582"/>
                    </a:lnTo>
                    <a:lnTo>
                      <a:pt x="86" y="580"/>
                    </a:lnTo>
                    <a:lnTo>
                      <a:pt x="86" y="578"/>
                    </a:lnTo>
                    <a:lnTo>
                      <a:pt x="86" y="576"/>
                    </a:lnTo>
                    <a:lnTo>
                      <a:pt x="86" y="574"/>
                    </a:lnTo>
                    <a:lnTo>
                      <a:pt x="86" y="572"/>
                    </a:lnTo>
                    <a:lnTo>
                      <a:pt x="86" y="571"/>
                    </a:lnTo>
                    <a:lnTo>
                      <a:pt x="86" y="569"/>
                    </a:lnTo>
                    <a:lnTo>
                      <a:pt x="84" y="569"/>
                    </a:lnTo>
                    <a:lnTo>
                      <a:pt x="82" y="569"/>
                    </a:lnTo>
                    <a:lnTo>
                      <a:pt x="80" y="569"/>
                    </a:lnTo>
                    <a:lnTo>
                      <a:pt x="80" y="571"/>
                    </a:lnTo>
                    <a:lnTo>
                      <a:pt x="78" y="571"/>
                    </a:lnTo>
                    <a:lnTo>
                      <a:pt x="78" y="572"/>
                    </a:lnTo>
                    <a:lnTo>
                      <a:pt x="76" y="572"/>
                    </a:lnTo>
                    <a:lnTo>
                      <a:pt x="74" y="572"/>
                    </a:lnTo>
                    <a:lnTo>
                      <a:pt x="73" y="572"/>
                    </a:lnTo>
                    <a:lnTo>
                      <a:pt x="71" y="572"/>
                    </a:lnTo>
                    <a:lnTo>
                      <a:pt x="71" y="574"/>
                    </a:lnTo>
                    <a:lnTo>
                      <a:pt x="69" y="574"/>
                    </a:lnTo>
                    <a:lnTo>
                      <a:pt x="69" y="576"/>
                    </a:lnTo>
                    <a:lnTo>
                      <a:pt x="69" y="578"/>
                    </a:lnTo>
                    <a:lnTo>
                      <a:pt x="67" y="578"/>
                    </a:lnTo>
                    <a:lnTo>
                      <a:pt x="67" y="580"/>
                    </a:lnTo>
                    <a:lnTo>
                      <a:pt x="65" y="580"/>
                    </a:lnTo>
                    <a:lnTo>
                      <a:pt x="63" y="580"/>
                    </a:lnTo>
                    <a:lnTo>
                      <a:pt x="63" y="578"/>
                    </a:lnTo>
                    <a:lnTo>
                      <a:pt x="61" y="578"/>
                    </a:lnTo>
                    <a:lnTo>
                      <a:pt x="61" y="576"/>
                    </a:lnTo>
                    <a:lnTo>
                      <a:pt x="59" y="576"/>
                    </a:lnTo>
                    <a:lnTo>
                      <a:pt x="59" y="574"/>
                    </a:lnTo>
                    <a:lnTo>
                      <a:pt x="57" y="574"/>
                    </a:lnTo>
                    <a:lnTo>
                      <a:pt x="57" y="572"/>
                    </a:lnTo>
                    <a:lnTo>
                      <a:pt x="55" y="572"/>
                    </a:lnTo>
                    <a:lnTo>
                      <a:pt x="55" y="571"/>
                    </a:lnTo>
                    <a:lnTo>
                      <a:pt x="55" y="569"/>
                    </a:lnTo>
                    <a:lnTo>
                      <a:pt x="55" y="567"/>
                    </a:lnTo>
                    <a:lnTo>
                      <a:pt x="55" y="565"/>
                    </a:lnTo>
                    <a:lnTo>
                      <a:pt x="49" y="565"/>
                    </a:lnTo>
                    <a:lnTo>
                      <a:pt x="49" y="563"/>
                    </a:lnTo>
                    <a:lnTo>
                      <a:pt x="46" y="563"/>
                    </a:lnTo>
                    <a:lnTo>
                      <a:pt x="46" y="559"/>
                    </a:lnTo>
                    <a:lnTo>
                      <a:pt x="46" y="557"/>
                    </a:lnTo>
                    <a:lnTo>
                      <a:pt x="48" y="555"/>
                    </a:lnTo>
                    <a:lnTo>
                      <a:pt x="46" y="555"/>
                    </a:lnTo>
                    <a:lnTo>
                      <a:pt x="44" y="555"/>
                    </a:lnTo>
                    <a:lnTo>
                      <a:pt x="42" y="555"/>
                    </a:lnTo>
                    <a:lnTo>
                      <a:pt x="42" y="557"/>
                    </a:lnTo>
                    <a:lnTo>
                      <a:pt x="40" y="557"/>
                    </a:lnTo>
                    <a:lnTo>
                      <a:pt x="40" y="555"/>
                    </a:lnTo>
                    <a:lnTo>
                      <a:pt x="38" y="555"/>
                    </a:lnTo>
                    <a:lnTo>
                      <a:pt x="38" y="553"/>
                    </a:lnTo>
                    <a:lnTo>
                      <a:pt x="38" y="551"/>
                    </a:lnTo>
                    <a:lnTo>
                      <a:pt x="36" y="551"/>
                    </a:lnTo>
                    <a:lnTo>
                      <a:pt x="36" y="549"/>
                    </a:lnTo>
                    <a:lnTo>
                      <a:pt x="34" y="549"/>
                    </a:lnTo>
                    <a:lnTo>
                      <a:pt x="36" y="549"/>
                    </a:lnTo>
                    <a:lnTo>
                      <a:pt x="34" y="549"/>
                    </a:lnTo>
                    <a:lnTo>
                      <a:pt x="34" y="547"/>
                    </a:lnTo>
                    <a:lnTo>
                      <a:pt x="36" y="547"/>
                    </a:lnTo>
                    <a:lnTo>
                      <a:pt x="36" y="549"/>
                    </a:lnTo>
                    <a:lnTo>
                      <a:pt x="36" y="547"/>
                    </a:lnTo>
                    <a:lnTo>
                      <a:pt x="38" y="547"/>
                    </a:lnTo>
                    <a:lnTo>
                      <a:pt x="36" y="547"/>
                    </a:lnTo>
                    <a:lnTo>
                      <a:pt x="36" y="546"/>
                    </a:lnTo>
                    <a:lnTo>
                      <a:pt x="38" y="546"/>
                    </a:lnTo>
                    <a:lnTo>
                      <a:pt x="38" y="547"/>
                    </a:lnTo>
                    <a:lnTo>
                      <a:pt x="40" y="547"/>
                    </a:lnTo>
                    <a:lnTo>
                      <a:pt x="40" y="546"/>
                    </a:lnTo>
                    <a:lnTo>
                      <a:pt x="40" y="547"/>
                    </a:lnTo>
                    <a:lnTo>
                      <a:pt x="42" y="546"/>
                    </a:lnTo>
                    <a:lnTo>
                      <a:pt x="42" y="544"/>
                    </a:lnTo>
                    <a:lnTo>
                      <a:pt x="40" y="544"/>
                    </a:lnTo>
                    <a:lnTo>
                      <a:pt x="42" y="544"/>
                    </a:lnTo>
                    <a:lnTo>
                      <a:pt x="42" y="542"/>
                    </a:lnTo>
                    <a:lnTo>
                      <a:pt x="40" y="542"/>
                    </a:lnTo>
                    <a:lnTo>
                      <a:pt x="40" y="540"/>
                    </a:lnTo>
                    <a:lnTo>
                      <a:pt x="38" y="538"/>
                    </a:lnTo>
                    <a:lnTo>
                      <a:pt x="36" y="536"/>
                    </a:lnTo>
                    <a:lnTo>
                      <a:pt x="34" y="536"/>
                    </a:lnTo>
                    <a:lnTo>
                      <a:pt x="34" y="534"/>
                    </a:lnTo>
                    <a:lnTo>
                      <a:pt x="30" y="530"/>
                    </a:lnTo>
                    <a:lnTo>
                      <a:pt x="28" y="530"/>
                    </a:lnTo>
                    <a:lnTo>
                      <a:pt x="28" y="528"/>
                    </a:lnTo>
                    <a:lnTo>
                      <a:pt x="26" y="528"/>
                    </a:lnTo>
                    <a:lnTo>
                      <a:pt x="25" y="528"/>
                    </a:lnTo>
                    <a:lnTo>
                      <a:pt x="23" y="528"/>
                    </a:lnTo>
                    <a:lnTo>
                      <a:pt x="21" y="528"/>
                    </a:lnTo>
                    <a:lnTo>
                      <a:pt x="21" y="526"/>
                    </a:lnTo>
                    <a:lnTo>
                      <a:pt x="19" y="526"/>
                    </a:lnTo>
                    <a:lnTo>
                      <a:pt x="17" y="526"/>
                    </a:lnTo>
                    <a:lnTo>
                      <a:pt x="15" y="526"/>
                    </a:lnTo>
                    <a:lnTo>
                      <a:pt x="15" y="524"/>
                    </a:lnTo>
                    <a:lnTo>
                      <a:pt x="15" y="523"/>
                    </a:lnTo>
                    <a:lnTo>
                      <a:pt x="17" y="523"/>
                    </a:lnTo>
                    <a:lnTo>
                      <a:pt x="17" y="521"/>
                    </a:lnTo>
                    <a:lnTo>
                      <a:pt x="19" y="521"/>
                    </a:lnTo>
                    <a:lnTo>
                      <a:pt x="19" y="519"/>
                    </a:lnTo>
                    <a:lnTo>
                      <a:pt x="19" y="517"/>
                    </a:lnTo>
                    <a:lnTo>
                      <a:pt x="21" y="515"/>
                    </a:lnTo>
                    <a:lnTo>
                      <a:pt x="19" y="515"/>
                    </a:lnTo>
                    <a:lnTo>
                      <a:pt x="19" y="513"/>
                    </a:lnTo>
                    <a:lnTo>
                      <a:pt x="21" y="513"/>
                    </a:lnTo>
                    <a:lnTo>
                      <a:pt x="21" y="511"/>
                    </a:lnTo>
                    <a:lnTo>
                      <a:pt x="17" y="509"/>
                    </a:lnTo>
                    <a:lnTo>
                      <a:pt x="15" y="509"/>
                    </a:lnTo>
                    <a:lnTo>
                      <a:pt x="15" y="507"/>
                    </a:lnTo>
                    <a:lnTo>
                      <a:pt x="11" y="505"/>
                    </a:lnTo>
                    <a:lnTo>
                      <a:pt x="9" y="503"/>
                    </a:lnTo>
                    <a:lnTo>
                      <a:pt x="7" y="503"/>
                    </a:lnTo>
                    <a:lnTo>
                      <a:pt x="7" y="501"/>
                    </a:lnTo>
                    <a:lnTo>
                      <a:pt x="5" y="501"/>
                    </a:lnTo>
                    <a:lnTo>
                      <a:pt x="3" y="499"/>
                    </a:lnTo>
                    <a:lnTo>
                      <a:pt x="1" y="499"/>
                    </a:lnTo>
                    <a:lnTo>
                      <a:pt x="3" y="494"/>
                    </a:lnTo>
                    <a:lnTo>
                      <a:pt x="5" y="490"/>
                    </a:lnTo>
                    <a:lnTo>
                      <a:pt x="5" y="488"/>
                    </a:lnTo>
                    <a:lnTo>
                      <a:pt x="7" y="486"/>
                    </a:lnTo>
                    <a:lnTo>
                      <a:pt x="7" y="484"/>
                    </a:lnTo>
                    <a:lnTo>
                      <a:pt x="9" y="484"/>
                    </a:lnTo>
                    <a:lnTo>
                      <a:pt x="9" y="482"/>
                    </a:lnTo>
                    <a:lnTo>
                      <a:pt x="11" y="482"/>
                    </a:lnTo>
                    <a:lnTo>
                      <a:pt x="11" y="480"/>
                    </a:lnTo>
                    <a:lnTo>
                      <a:pt x="13" y="480"/>
                    </a:lnTo>
                    <a:lnTo>
                      <a:pt x="13" y="478"/>
                    </a:lnTo>
                    <a:lnTo>
                      <a:pt x="15" y="478"/>
                    </a:lnTo>
                    <a:lnTo>
                      <a:pt x="15" y="476"/>
                    </a:lnTo>
                    <a:lnTo>
                      <a:pt x="17" y="475"/>
                    </a:lnTo>
                    <a:lnTo>
                      <a:pt x="17" y="473"/>
                    </a:lnTo>
                    <a:lnTo>
                      <a:pt x="19" y="473"/>
                    </a:lnTo>
                    <a:lnTo>
                      <a:pt x="19" y="471"/>
                    </a:lnTo>
                    <a:lnTo>
                      <a:pt x="19" y="469"/>
                    </a:lnTo>
                    <a:lnTo>
                      <a:pt x="19" y="467"/>
                    </a:lnTo>
                    <a:lnTo>
                      <a:pt x="19" y="465"/>
                    </a:lnTo>
                    <a:lnTo>
                      <a:pt x="21" y="465"/>
                    </a:lnTo>
                    <a:lnTo>
                      <a:pt x="21" y="463"/>
                    </a:lnTo>
                    <a:lnTo>
                      <a:pt x="21" y="461"/>
                    </a:lnTo>
                    <a:lnTo>
                      <a:pt x="23" y="461"/>
                    </a:lnTo>
                    <a:lnTo>
                      <a:pt x="23" y="459"/>
                    </a:lnTo>
                    <a:lnTo>
                      <a:pt x="23" y="457"/>
                    </a:lnTo>
                    <a:lnTo>
                      <a:pt x="21" y="457"/>
                    </a:lnTo>
                    <a:lnTo>
                      <a:pt x="21" y="459"/>
                    </a:lnTo>
                    <a:lnTo>
                      <a:pt x="21" y="457"/>
                    </a:lnTo>
                    <a:lnTo>
                      <a:pt x="19" y="457"/>
                    </a:lnTo>
                    <a:lnTo>
                      <a:pt x="17" y="459"/>
                    </a:lnTo>
                    <a:lnTo>
                      <a:pt x="15" y="459"/>
                    </a:lnTo>
                    <a:lnTo>
                      <a:pt x="15" y="457"/>
                    </a:lnTo>
                    <a:lnTo>
                      <a:pt x="13" y="457"/>
                    </a:lnTo>
                    <a:lnTo>
                      <a:pt x="13" y="455"/>
                    </a:lnTo>
                    <a:lnTo>
                      <a:pt x="13" y="451"/>
                    </a:lnTo>
                    <a:lnTo>
                      <a:pt x="13" y="450"/>
                    </a:lnTo>
                    <a:lnTo>
                      <a:pt x="11" y="448"/>
                    </a:lnTo>
                    <a:lnTo>
                      <a:pt x="9" y="446"/>
                    </a:lnTo>
                    <a:lnTo>
                      <a:pt x="7" y="444"/>
                    </a:lnTo>
                    <a:lnTo>
                      <a:pt x="5" y="444"/>
                    </a:lnTo>
                    <a:lnTo>
                      <a:pt x="5" y="442"/>
                    </a:lnTo>
                    <a:lnTo>
                      <a:pt x="3" y="442"/>
                    </a:lnTo>
                    <a:lnTo>
                      <a:pt x="3" y="440"/>
                    </a:lnTo>
                    <a:lnTo>
                      <a:pt x="1" y="440"/>
                    </a:lnTo>
                    <a:lnTo>
                      <a:pt x="1" y="438"/>
                    </a:lnTo>
                    <a:lnTo>
                      <a:pt x="0" y="438"/>
                    </a:lnTo>
                    <a:lnTo>
                      <a:pt x="0" y="436"/>
                    </a:lnTo>
                    <a:lnTo>
                      <a:pt x="0" y="434"/>
                    </a:lnTo>
                    <a:lnTo>
                      <a:pt x="0" y="432"/>
                    </a:lnTo>
                    <a:lnTo>
                      <a:pt x="0" y="430"/>
                    </a:lnTo>
                    <a:lnTo>
                      <a:pt x="0" y="428"/>
                    </a:lnTo>
                    <a:lnTo>
                      <a:pt x="0" y="427"/>
                    </a:lnTo>
                    <a:lnTo>
                      <a:pt x="0" y="425"/>
                    </a:lnTo>
                    <a:lnTo>
                      <a:pt x="1" y="425"/>
                    </a:lnTo>
                    <a:lnTo>
                      <a:pt x="3" y="425"/>
                    </a:lnTo>
                    <a:lnTo>
                      <a:pt x="5" y="425"/>
                    </a:lnTo>
                    <a:lnTo>
                      <a:pt x="7" y="425"/>
                    </a:lnTo>
                    <a:lnTo>
                      <a:pt x="9" y="425"/>
                    </a:lnTo>
                    <a:lnTo>
                      <a:pt x="9" y="423"/>
                    </a:lnTo>
                    <a:lnTo>
                      <a:pt x="7" y="421"/>
                    </a:lnTo>
                    <a:lnTo>
                      <a:pt x="7" y="419"/>
                    </a:lnTo>
                    <a:lnTo>
                      <a:pt x="7" y="417"/>
                    </a:lnTo>
                    <a:lnTo>
                      <a:pt x="7" y="415"/>
                    </a:lnTo>
                    <a:lnTo>
                      <a:pt x="5" y="415"/>
                    </a:lnTo>
                    <a:lnTo>
                      <a:pt x="7" y="415"/>
                    </a:lnTo>
                    <a:lnTo>
                      <a:pt x="7" y="413"/>
                    </a:lnTo>
                    <a:lnTo>
                      <a:pt x="9" y="411"/>
                    </a:lnTo>
                    <a:lnTo>
                      <a:pt x="9" y="409"/>
                    </a:lnTo>
                    <a:lnTo>
                      <a:pt x="9" y="407"/>
                    </a:lnTo>
                    <a:lnTo>
                      <a:pt x="7" y="407"/>
                    </a:lnTo>
                    <a:lnTo>
                      <a:pt x="7" y="405"/>
                    </a:lnTo>
                    <a:lnTo>
                      <a:pt x="5" y="405"/>
                    </a:lnTo>
                    <a:lnTo>
                      <a:pt x="3" y="403"/>
                    </a:lnTo>
                    <a:lnTo>
                      <a:pt x="3" y="402"/>
                    </a:lnTo>
                    <a:lnTo>
                      <a:pt x="1" y="402"/>
                    </a:lnTo>
                    <a:lnTo>
                      <a:pt x="1" y="400"/>
                    </a:lnTo>
                    <a:lnTo>
                      <a:pt x="1" y="398"/>
                    </a:lnTo>
                    <a:lnTo>
                      <a:pt x="3" y="398"/>
                    </a:lnTo>
                    <a:lnTo>
                      <a:pt x="5" y="398"/>
                    </a:lnTo>
                    <a:lnTo>
                      <a:pt x="7" y="398"/>
                    </a:lnTo>
                    <a:lnTo>
                      <a:pt x="5" y="398"/>
                    </a:lnTo>
                    <a:lnTo>
                      <a:pt x="5" y="396"/>
                    </a:lnTo>
                    <a:lnTo>
                      <a:pt x="7" y="396"/>
                    </a:lnTo>
                    <a:lnTo>
                      <a:pt x="7" y="394"/>
                    </a:lnTo>
                    <a:lnTo>
                      <a:pt x="9" y="394"/>
                    </a:lnTo>
                    <a:lnTo>
                      <a:pt x="9" y="392"/>
                    </a:lnTo>
                    <a:lnTo>
                      <a:pt x="9" y="394"/>
                    </a:lnTo>
                    <a:lnTo>
                      <a:pt x="9" y="392"/>
                    </a:lnTo>
                    <a:lnTo>
                      <a:pt x="7" y="392"/>
                    </a:lnTo>
                    <a:lnTo>
                      <a:pt x="9" y="392"/>
                    </a:lnTo>
                    <a:lnTo>
                      <a:pt x="9" y="390"/>
                    </a:lnTo>
                    <a:lnTo>
                      <a:pt x="9" y="388"/>
                    </a:lnTo>
                    <a:lnTo>
                      <a:pt x="9" y="386"/>
                    </a:lnTo>
                    <a:lnTo>
                      <a:pt x="11" y="386"/>
                    </a:lnTo>
                    <a:lnTo>
                      <a:pt x="9" y="386"/>
                    </a:lnTo>
                    <a:lnTo>
                      <a:pt x="9" y="384"/>
                    </a:lnTo>
                    <a:lnTo>
                      <a:pt x="7" y="384"/>
                    </a:lnTo>
                    <a:lnTo>
                      <a:pt x="7" y="382"/>
                    </a:lnTo>
                    <a:lnTo>
                      <a:pt x="7" y="384"/>
                    </a:lnTo>
                    <a:lnTo>
                      <a:pt x="7" y="382"/>
                    </a:lnTo>
                    <a:lnTo>
                      <a:pt x="9" y="382"/>
                    </a:lnTo>
                    <a:lnTo>
                      <a:pt x="11" y="382"/>
                    </a:lnTo>
                    <a:lnTo>
                      <a:pt x="11" y="380"/>
                    </a:lnTo>
                    <a:lnTo>
                      <a:pt x="13" y="380"/>
                    </a:lnTo>
                    <a:lnTo>
                      <a:pt x="13" y="382"/>
                    </a:lnTo>
                    <a:lnTo>
                      <a:pt x="13" y="380"/>
                    </a:lnTo>
                    <a:lnTo>
                      <a:pt x="15" y="380"/>
                    </a:lnTo>
                    <a:lnTo>
                      <a:pt x="17" y="380"/>
                    </a:lnTo>
                    <a:lnTo>
                      <a:pt x="19" y="380"/>
                    </a:lnTo>
                    <a:lnTo>
                      <a:pt x="21" y="380"/>
                    </a:lnTo>
                    <a:lnTo>
                      <a:pt x="21" y="379"/>
                    </a:lnTo>
                    <a:lnTo>
                      <a:pt x="21" y="377"/>
                    </a:lnTo>
                    <a:lnTo>
                      <a:pt x="23" y="377"/>
                    </a:lnTo>
                    <a:lnTo>
                      <a:pt x="23" y="375"/>
                    </a:lnTo>
                    <a:lnTo>
                      <a:pt x="23" y="373"/>
                    </a:lnTo>
                    <a:lnTo>
                      <a:pt x="23" y="375"/>
                    </a:lnTo>
                    <a:lnTo>
                      <a:pt x="23" y="373"/>
                    </a:lnTo>
                    <a:lnTo>
                      <a:pt x="25" y="373"/>
                    </a:lnTo>
                    <a:lnTo>
                      <a:pt x="25" y="371"/>
                    </a:lnTo>
                    <a:lnTo>
                      <a:pt x="25" y="373"/>
                    </a:lnTo>
                    <a:lnTo>
                      <a:pt x="25" y="371"/>
                    </a:lnTo>
                    <a:lnTo>
                      <a:pt x="26" y="371"/>
                    </a:lnTo>
                    <a:lnTo>
                      <a:pt x="25" y="369"/>
                    </a:lnTo>
                    <a:lnTo>
                      <a:pt x="26" y="369"/>
                    </a:lnTo>
                    <a:lnTo>
                      <a:pt x="26" y="367"/>
                    </a:lnTo>
                    <a:lnTo>
                      <a:pt x="26" y="369"/>
                    </a:lnTo>
                    <a:lnTo>
                      <a:pt x="26" y="367"/>
                    </a:lnTo>
                    <a:lnTo>
                      <a:pt x="28" y="367"/>
                    </a:lnTo>
                    <a:lnTo>
                      <a:pt x="28" y="365"/>
                    </a:lnTo>
                    <a:lnTo>
                      <a:pt x="28" y="367"/>
                    </a:lnTo>
                    <a:lnTo>
                      <a:pt x="30" y="367"/>
                    </a:lnTo>
                    <a:lnTo>
                      <a:pt x="30" y="365"/>
                    </a:lnTo>
                    <a:lnTo>
                      <a:pt x="30" y="363"/>
                    </a:lnTo>
                    <a:lnTo>
                      <a:pt x="30" y="361"/>
                    </a:lnTo>
                    <a:lnTo>
                      <a:pt x="32" y="361"/>
                    </a:lnTo>
                    <a:lnTo>
                      <a:pt x="30" y="361"/>
                    </a:lnTo>
                    <a:lnTo>
                      <a:pt x="30" y="359"/>
                    </a:lnTo>
                    <a:lnTo>
                      <a:pt x="30" y="357"/>
                    </a:lnTo>
                    <a:lnTo>
                      <a:pt x="30" y="355"/>
                    </a:lnTo>
                    <a:lnTo>
                      <a:pt x="30" y="354"/>
                    </a:lnTo>
                    <a:lnTo>
                      <a:pt x="30" y="352"/>
                    </a:lnTo>
                    <a:lnTo>
                      <a:pt x="30" y="350"/>
                    </a:lnTo>
                    <a:lnTo>
                      <a:pt x="32" y="350"/>
                    </a:lnTo>
                    <a:lnTo>
                      <a:pt x="32" y="348"/>
                    </a:lnTo>
                    <a:lnTo>
                      <a:pt x="32" y="346"/>
                    </a:lnTo>
                    <a:lnTo>
                      <a:pt x="32" y="348"/>
                    </a:lnTo>
                    <a:lnTo>
                      <a:pt x="32" y="346"/>
                    </a:lnTo>
                    <a:lnTo>
                      <a:pt x="32" y="344"/>
                    </a:lnTo>
                    <a:lnTo>
                      <a:pt x="32" y="346"/>
                    </a:lnTo>
                    <a:lnTo>
                      <a:pt x="32" y="344"/>
                    </a:lnTo>
                    <a:lnTo>
                      <a:pt x="30" y="344"/>
                    </a:lnTo>
                    <a:lnTo>
                      <a:pt x="30" y="342"/>
                    </a:lnTo>
                    <a:lnTo>
                      <a:pt x="28" y="342"/>
                    </a:lnTo>
                    <a:lnTo>
                      <a:pt x="26" y="342"/>
                    </a:lnTo>
                    <a:lnTo>
                      <a:pt x="26" y="340"/>
                    </a:lnTo>
                    <a:lnTo>
                      <a:pt x="26" y="338"/>
                    </a:lnTo>
                    <a:lnTo>
                      <a:pt x="26" y="336"/>
                    </a:lnTo>
                    <a:lnTo>
                      <a:pt x="26" y="334"/>
                    </a:lnTo>
                    <a:lnTo>
                      <a:pt x="28" y="331"/>
                    </a:lnTo>
                    <a:lnTo>
                      <a:pt x="26" y="331"/>
                    </a:lnTo>
                    <a:lnTo>
                      <a:pt x="25" y="329"/>
                    </a:lnTo>
                    <a:lnTo>
                      <a:pt x="26" y="327"/>
                    </a:lnTo>
                    <a:lnTo>
                      <a:pt x="26" y="325"/>
                    </a:lnTo>
                    <a:lnTo>
                      <a:pt x="26" y="323"/>
                    </a:lnTo>
                    <a:lnTo>
                      <a:pt x="28" y="323"/>
                    </a:lnTo>
                    <a:lnTo>
                      <a:pt x="28" y="321"/>
                    </a:lnTo>
                    <a:lnTo>
                      <a:pt x="28" y="319"/>
                    </a:lnTo>
                    <a:lnTo>
                      <a:pt x="28" y="317"/>
                    </a:lnTo>
                    <a:lnTo>
                      <a:pt x="30" y="317"/>
                    </a:lnTo>
                    <a:lnTo>
                      <a:pt x="30" y="315"/>
                    </a:lnTo>
                    <a:lnTo>
                      <a:pt x="28" y="315"/>
                    </a:lnTo>
                    <a:lnTo>
                      <a:pt x="28" y="313"/>
                    </a:lnTo>
                    <a:lnTo>
                      <a:pt x="28" y="311"/>
                    </a:lnTo>
                    <a:lnTo>
                      <a:pt x="28" y="309"/>
                    </a:lnTo>
                    <a:lnTo>
                      <a:pt x="28" y="307"/>
                    </a:lnTo>
                    <a:lnTo>
                      <a:pt x="30" y="307"/>
                    </a:lnTo>
                    <a:lnTo>
                      <a:pt x="30" y="306"/>
                    </a:lnTo>
                    <a:lnTo>
                      <a:pt x="32" y="306"/>
                    </a:lnTo>
                    <a:lnTo>
                      <a:pt x="32" y="304"/>
                    </a:lnTo>
                    <a:lnTo>
                      <a:pt x="34" y="304"/>
                    </a:lnTo>
                    <a:lnTo>
                      <a:pt x="34" y="302"/>
                    </a:lnTo>
                    <a:lnTo>
                      <a:pt x="32" y="300"/>
                    </a:lnTo>
                    <a:lnTo>
                      <a:pt x="34" y="296"/>
                    </a:lnTo>
                    <a:lnTo>
                      <a:pt x="36" y="294"/>
                    </a:lnTo>
                    <a:lnTo>
                      <a:pt x="34" y="294"/>
                    </a:lnTo>
                    <a:lnTo>
                      <a:pt x="36" y="292"/>
                    </a:lnTo>
                    <a:lnTo>
                      <a:pt x="36" y="290"/>
                    </a:lnTo>
                    <a:lnTo>
                      <a:pt x="38" y="288"/>
                    </a:lnTo>
                    <a:lnTo>
                      <a:pt x="36" y="286"/>
                    </a:lnTo>
                    <a:lnTo>
                      <a:pt x="34" y="284"/>
                    </a:lnTo>
                    <a:lnTo>
                      <a:pt x="32" y="283"/>
                    </a:lnTo>
                    <a:lnTo>
                      <a:pt x="34" y="283"/>
                    </a:lnTo>
                    <a:lnTo>
                      <a:pt x="34" y="281"/>
                    </a:lnTo>
                    <a:lnTo>
                      <a:pt x="32" y="281"/>
                    </a:lnTo>
                    <a:lnTo>
                      <a:pt x="30" y="281"/>
                    </a:lnTo>
                    <a:lnTo>
                      <a:pt x="30" y="279"/>
                    </a:lnTo>
                    <a:lnTo>
                      <a:pt x="30" y="277"/>
                    </a:lnTo>
                    <a:lnTo>
                      <a:pt x="28" y="277"/>
                    </a:lnTo>
                    <a:lnTo>
                      <a:pt x="28" y="275"/>
                    </a:lnTo>
                    <a:lnTo>
                      <a:pt x="30" y="275"/>
                    </a:lnTo>
                    <a:lnTo>
                      <a:pt x="30" y="273"/>
                    </a:lnTo>
                    <a:lnTo>
                      <a:pt x="32" y="273"/>
                    </a:lnTo>
                    <a:lnTo>
                      <a:pt x="32" y="271"/>
                    </a:lnTo>
                    <a:lnTo>
                      <a:pt x="34" y="271"/>
                    </a:lnTo>
                    <a:lnTo>
                      <a:pt x="36" y="271"/>
                    </a:lnTo>
                    <a:lnTo>
                      <a:pt x="36" y="269"/>
                    </a:lnTo>
                    <a:lnTo>
                      <a:pt x="34" y="269"/>
                    </a:lnTo>
                    <a:lnTo>
                      <a:pt x="36" y="269"/>
                    </a:lnTo>
                    <a:lnTo>
                      <a:pt x="36" y="267"/>
                    </a:lnTo>
                    <a:lnTo>
                      <a:pt x="34" y="265"/>
                    </a:lnTo>
                    <a:lnTo>
                      <a:pt x="36" y="265"/>
                    </a:lnTo>
                    <a:lnTo>
                      <a:pt x="34" y="265"/>
                    </a:lnTo>
                    <a:lnTo>
                      <a:pt x="32" y="263"/>
                    </a:lnTo>
                    <a:lnTo>
                      <a:pt x="34" y="261"/>
                    </a:lnTo>
                    <a:lnTo>
                      <a:pt x="34" y="259"/>
                    </a:lnTo>
                    <a:lnTo>
                      <a:pt x="34" y="258"/>
                    </a:lnTo>
                    <a:lnTo>
                      <a:pt x="34" y="256"/>
                    </a:lnTo>
                    <a:lnTo>
                      <a:pt x="34" y="254"/>
                    </a:lnTo>
                    <a:lnTo>
                      <a:pt x="32" y="254"/>
                    </a:lnTo>
                    <a:lnTo>
                      <a:pt x="32" y="252"/>
                    </a:lnTo>
                    <a:lnTo>
                      <a:pt x="32" y="250"/>
                    </a:lnTo>
                    <a:lnTo>
                      <a:pt x="30" y="248"/>
                    </a:lnTo>
                    <a:lnTo>
                      <a:pt x="30" y="246"/>
                    </a:lnTo>
                    <a:lnTo>
                      <a:pt x="30" y="244"/>
                    </a:lnTo>
                    <a:lnTo>
                      <a:pt x="30" y="242"/>
                    </a:lnTo>
                    <a:lnTo>
                      <a:pt x="32" y="242"/>
                    </a:lnTo>
                    <a:lnTo>
                      <a:pt x="34" y="240"/>
                    </a:lnTo>
                    <a:lnTo>
                      <a:pt x="38" y="240"/>
                    </a:lnTo>
                    <a:lnTo>
                      <a:pt x="38" y="236"/>
                    </a:lnTo>
                    <a:lnTo>
                      <a:pt x="40" y="235"/>
                    </a:lnTo>
                    <a:lnTo>
                      <a:pt x="38" y="233"/>
                    </a:lnTo>
                    <a:lnTo>
                      <a:pt x="38" y="231"/>
                    </a:lnTo>
                    <a:lnTo>
                      <a:pt x="40" y="231"/>
                    </a:lnTo>
                    <a:lnTo>
                      <a:pt x="44" y="231"/>
                    </a:lnTo>
                    <a:lnTo>
                      <a:pt x="46" y="231"/>
                    </a:lnTo>
                    <a:lnTo>
                      <a:pt x="48" y="231"/>
                    </a:lnTo>
                    <a:lnTo>
                      <a:pt x="49" y="233"/>
                    </a:lnTo>
                    <a:lnTo>
                      <a:pt x="53" y="233"/>
                    </a:lnTo>
                    <a:lnTo>
                      <a:pt x="53" y="229"/>
                    </a:lnTo>
                    <a:lnTo>
                      <a:pt x="55" y="229"/>
                    </a:lnTo>
                    <a:lnTo>
                      <a:pt x="61" y="229"/>
                    </a:lnTo>
                    <a:lnTo>
                      <a:pt x="67" y="231"/>
                    </a:lnTo>
                    <a:lnTo>
                      <a:pt x="65" y="229"/>
                    </a:lnTo>
                    <a:lnTo>
                      <a:pt x="65" y="227"/>
                    </a:lnTo>
                    <a:lnTo>
                      <a:pt x="65" y="225"/>
                    </a:lnTo>
                    <a:lnTo>
                      <a:pt x="65" y="223"/>
                    </a:lnTo>
                    <a:lnTo>
                      <a:pt x="67" y="221"/>
                    </a:lnTo>
                    <a:lnTo>
                      <a:pt x="67" y="219"/>
                    </a:lnTo>
                    <a:lnTo>
                      <a:pt x="67" y="217"/>
                    </a:lnTo>
                    <a:lnTo>
                      <a:pt x="67" y="215"/>
                    </a:lnTo>
                    <a:lnTo>
                      <a:pt x="69" y="213"/>
                    </a:lnTo>
                    <a:lnTo>
                      <a:pt x="71" y="213"/>
                    </a:lnTo>
                    <a:lnTo>
                      <a:pt x="73" y="212"/>
                    </a:lnTo>
                    <a:lnTo>
                      <a:pt x="74" y="212"/>
                    </a:lnTo>
                    <a:lnTo>
                      <a:pt x="76" y="212"/>
                    </a:lnTo>
                    <a:lnTo>
                      <a:pt x="76" y="213"/>
                    </a:lnTo>
                    <a:lnTo>
                      <a:pt x="76" y="212"/>
                    </a:lnTo>
                    <a:lnTo>
                      <a:pt x="76" y="210"/>
                    </a:lnTo>
                    <a:lnTo>
                      <a:pt x="78" y="210"/>
                    </a:lnTo>
                    <a:lnTo>
                      <a:pt x="80" y="208"/>
                    </a:lnTo>
                    <a:lnTo>
                      <a:pt x="80" y="206"/>
                    </a:lnTo>
                    <a:lnTo>
                      <a:pt x="80" y="204"/>
                    </a:lnTo>
                    <a:lnTo>
                      <a:pt x="82" y="202"/>
                    </a:lnTo>
                    <a:lnTo>
                      <a:pt x="82" y="200"/>
                    </a:lnTo>
                    <a:lnTo>
                      <a:pt x="82" y="196"/>
                    </a:lnTo>
                    <a:lnTo>
                      <a:pt x="82" y="192"/>
                    </a:lnTo>
                    <a:lnTo>
                      <a:pt x="82" y="190"/>
                    </a:lnTo>
                    <a:lnTo>
                      <a:pt x="84" y="190"/>
                    </a:lnTo>
                    <a:lnTo>
                      <a:pt x="86" y="190"/>
                    </a:lnTo>
                    <a:lnTo>
                      <a:pt x="86" y="188"/>
                    </a:lnTo>
                    <a:lnTo>
                      <a:pt x="88" y="188"/>
                    </a:lnTo>
                    <a:lnTo>
                      <a:pt x="86" y="185"/>
                    </a:lnTo>
                    <a:lnTo>
                      <a:pt x="88" y="183"/>
                    </a:lnTo>
                    <a:lnTo>
                      <a:pt x="90" y="183"/>
                    </a:lnTo>
                    <a:lnTo>
                      <a:pt x="94" y="179"/>
                    </a:lnTo>
                    <a:lnTo>
                      <a:pt x="96" y="175"/>
                    </a:lnTo>
                    <a:lnTo>
                      <a:pt x="97" y="173"/>
                    </a:lnTo>
                    <a:lnTo>
                      <a:pt x="96" y="171"/>
                    </a:lnTo>
                    <a:lnTo>
                      <a:pt x="96" y="167"/>
                    </a:lnTo>
                    <a:lnTo>
                      <a:pt x="101" y="167"/>
                    </a:lnTo>
                    <a:lnTo>
                      <a:pt x="107" y="162"/>
                    </a:lnTo>
                    <a:lnTo>
                      <a:pt x="109" y="160"/>
                    </a:lnTo>
                    <a:lnTo>
                      <a:pt x="113" y="160"/>
                    </a:lnTo>
                    <a:lnTo>
                      <a:pt x="113" y="158"/>
                    </a:lnTo>
                    <a:lnTo>
                      <a:pt x="115" y="158"/>
                    </a:lnTo>
                    <a:lnTo>
                      <a:pt x="115" y="156"/>
                    </a:lnTo>
                    <a:lnTo>
                      <a:pt x="115" y="154"/>
                    </a:lnTo>
                    <a:lnTo>
                      <a:pt x="119" y="154"/>
                    </a:lnTo>
                    <a:lnTo>
                      <a:pt x="117" y="152"/>
                    </a:lnTo>
                    <a:lnTo>
                      <a:pt x="117" y="150"/>
                    </a:lnTo>
                    <a:lnTo>
                      <a:pt x="115" y="150"/>
                    </a:lnTo>
                    <a:lnTo>
                      <a:pt x="115" y="148"/>
                    </a:lnTo>
                    <a:lnTo>
                      <a:pt x="115" y="146"/>
                    </a:lnTo>
                    <a:lnTo>
                      <a:pt x="113" y="146"/>
                    </a:lnTo>
                    <a:lnTo>
                      <a:pt x="113" y="144"/>
                    </a:lnTo>
                    <a:lnTo>
                      <a:pt x="115" y="144"/>
                    </a:lnTo>
                    <a:lnTo>
                      <a:pt x="115" y="142"/>
                    </a:lnTo>
                    <a:lnTo>
                      <a:pt x="117" y="142"/>
                    </a:lnTo>
                    <a:lnTo>
                      <a:pt x="117" y="140"/>
                    </a:lnTo>
                    <a:lnTo>
                      <a:pt x="115" y="139"/>
                    </a:lnTo>
                    <a:lnTo>
                      <a:pt x="115" y="135"/>
                    </a:lnTo>
                    <a:lnTo>
                      <a:pt x="115" y="129"/>
                    </a:lnTo>
                    <a:lnTo>
                      <a:pt x="115" y="127"/>
                    </a:lnTo>
                    <a:lnTo>
                      <a:pt x="115" y="123"/>
                    </a:lnTo>
                    <a:lnTo>
                      <a:pt x="117" y="123"/>
                    </a:lnTo>
                    <a:lnTo>
                      <a:pt x="121" y="123"/>
                    </a:lnTo>
                    <a:lnTo>
                      <a:pt x="122" y="123"/>
                    </a:lnTo>
                    <a:lnTo>
                      <a:pt x="124" y="123"/>
                    </a:lnTo>
                    <a:lnTo>
                      <a:pt x="126" y="123"/>
                    </a:lnTo>
                    <a:lnTo>
                      <a:pt x="128" y="123"/>
                    </a:lnTo>
                    <a:lnTo>
                      <a:pt x="128" y="121"/>
                    </a:lnTo>
                    <a:lnTo>
                      <a:pt x="130" y="121"/>
                    </a:lnTo>
                    <a:lnTo>
                      <a:pt x="130" y="119"/>
                    </a:lnTo>
                    <a:lnTo>
                      <a:pt x="132" y="117"/>
                    </a:lnTo>
                    <a:lnTo>
                      <a:pt x="134" y="117"/>
                    </a:lnTo>
                    <a:lnTo>
                      <a:pt x="134" y="116"/>
                    </a:lnTo>
                    <a:lnTo>
                      <a:pt x="136" y="116"/>
                    </a:lnTo>
                    <a:lnTo>
                      <a:pt x="138" y="114"/>
                    </a:lnTo>
                    <a:lnTo>
                      <a:pt x="138" y="112"/>
                    </a:lnTo>
                    <a:lnTo>
                      <a:pt x="138" y="110"/>
                    </a:lnTo>
                    <a:lnTo>
                      <a:pt x="140" y="108"/>
                    </a:lnTo>
                    <a:lnTo>
                      <a:pt x="140" y="106"/>
                    </a:lnTo>
                    <a:lnTo>
                      <a:pt x="140" y="102"/>
                    </a:lnTo>
                    <a:lnTo>
                      <a:pt x="136" y="100"/>
                    </a:lnTo>
                    <a:lnTo>
                      <a:pt x="134" y="100"/>
                    </a:lnTo>
                    <a:lnTo>
                      <a:pt x="134" y="98"/>
                    </a:lnTo>
                    <a:lnTo>
                      <a:pt x="132" y="98"/>
                    </a:lnTo>
                    <a:lnTo>
                      <a:pt x="132" y="96"/>
                    </a:lnTo>
                    <a:lnTo>
                      <a:pt x="134" y="94"/>
                    </a:lnTo>
                    <a:lnTo>
                      <a:pt x="134" y="83"/>
                    </a:lnTo>
                    <a:lnTo>
                      <a:pt x="136" y="81"/>
                    </a:lnTo>
                    <a:lnTo>
                      <a:pt x="138" y="81"/>
                    </a:lnTo>
                    <a:lnTo>
                      <a:pt x="138" y="77"/>
                    </a:lnTo>
                    <a:lnTo>
                      <a:pt x="140" y="73"/>
                    </a:lnTo>
                    <a:lnTo>
                      <a:pt x="140" y="69"/>
                    </a:lnTo>
                    <a:lnTo>
                      <a:pt x="140" y="66"/>
                    </a:lnTo>
                    <a:lnTo>
                      <a:pt x="142" y="66"/>
                    </a:lnTo>
                    <a:lnTo>
                      <a:pt x="144" y="66"/>
                    </a:lnTo>
                    <a:lnTo>
                      <a:pt x="145" y="66"/>
                    </a:lnTo>
                    <a:lnTo>
                      <a:pt x="147" y="68"/>
                    </a:lnTo>
                    <a:lnTo>
                      <a:pt x="149" y="68"/>
                    </a:lnTo>
                    <a:lnTo>
                      <a:pt x="147" y="68"/>
                    </a:lnTo>
                    <a:lnTo>
                      <a:pt x="147" y="69"/>
                    </a:lnTo>
                    <a:lnTo>
                      <a:pt x="145" y="71"/>
                    </a:lnTo>
                    <a:lnTo>
                      <a:pt x="145" y="73"/>
                    </a:lnTo>
                    <a:lnTo>
                      <a:pt x="147" y="73"/>
                    </a:lnTo>
                    <a:lnTo>
                      <a:pt x="147" y="75"/>
                    </a:lnTo>
                    <a:lnTo>
                      <a:pt x="145" y="75"/>
                    </a:lnTo>
                    <a:lnTo>
                      <a:pt x="145" y="77"/>
                    </a:lnTo>
                    <a:lnTo>
                      <a:pt x="147" y="79"/>
                    </a:lnTo>
                    <a:lnTo>
                      <a:pt x="151" y="81"/>
                    </a:lnTo>
                    <a:lnTo>
                      <a:pt x="153" y="83"/>
                    </a:lnTo>
                    <a:lnTo>
                      <a:pt x="155" y="83"/>
                    </a:lnTo>
                    <a:lnTo>
                      <a:pt x="155" y="85"/>
                    </a:lnTo>
                    <a:lnTo>
                      <a:pt x="157" y="87"/>
                    </a:lnTo>
                    <a:lnTo>
                      <a:pt x="159" y="89"/>
                    </a:lnTo>
                    <a:lnTo>
                      <a:pt x="159" y="91"/>
                    </a:lnTo>
                    <a:lnTo>
                      <a:pt x="163" y="91"/>
                    </a:lnTo>
                    <a:lnTo>
                      <a:pt x="167" y="91"/>
                    </a:lnTo>
                    <a:lnTo>
                      <a:pt x="167" y="89"/>
                    </a:lnTo>
                    <a:lnTo>
                      <a:pt x="165" y="87"/>
                    </a:lnTo>
                    <a:lnTo>
                      <a:pt x="165" y="83"/>
                    </a:lnTo>
                    <a:lnTo>
                      <a:pt x="163" y="83"/>
                    </a:lnTo>
                    <a:lnTo>
                      <a:pt x="165" y="79"/>
                    </a:lnTo>
                    <a:lnTo>
                      <a:pt x="159" y="79"/>
                    </a:lnTo>
                    <a:lnTo>
                      <a:pt x="159" y="77"/>
                    </a:lnTo>
                    <a:lnTo>
                      <a:pt x="159" y="75"/>
                    </a:lnTo>
                    <a:lnTo>
                      <a:pt x="161" y="73"/>
                    </a:lnTo>
                    <a:lnTo>
                      <a:pt x="161" y="68"/>
                    </a:lnTo>
                    <a:lnTo>
                      <a:pt x="161" y="66"/>
                    </a:lnTo>
                    <a:lnTo>
                      <a:pt x="161" y="64"/>
                    </a:lnTo>
                    <a:lnTo>
                      <a:pt x="161" y="62"/>
                    </a:lnTo>
                    <a:lnTo>
                      <a:pt x="161" y="58"/>
                    </a:lnTo>
                    <a:lnTo>
                      <a:pt x="165" y="58"/>
                    </a:lnTo>
                    <a:lnTo>
                      <a:pt x="174" y="58"/>
                    </a:lnTo>
                    <a:lnTo>
                      <a:pt x="180" y="52"/>
                    </a:lnTo>
                    <a:lnTo>
                      <a:pt x="182" y="50"/>
                    </a:lnTo>
                    <a:lnTo>
                      <a:pt x="184" y="52"/>
                    </a:lnTo>
                    <a:lnTo>
                      <a:pt x="186" y="54"/>
                    </a:lnTo>
                    <a:lnTo>
                      <a:pt x="186" y="50"/>
                    </a:lnTo>
                    <a:lnTo>
                      <a:pt x="186" y="48"/>
                    </a:lnTo>
                    <a:lnTo>
                      <a:pt x="186" y="44"/>
                    </a:lnTo>
                    <a:lnTo>
                      <a:pt x="186" y="46"/>
                    </a:lnTo>
                    <a:lnTo>
                      <a:pt x="188" y="46"/>
                    </a:lnTo>
                    <a:lnTo>
                      <a:pt x="188" y="48"/>
                    </a:lnTo>
                    <a:lnTo>
                      <a:pt x="190" y="50"/>
                    </a:lnTo>
                    <a:lnTo>
                      <a:pt x="190" y="52"/>
                    </a:lnTo>
                    <a:lnTo>
                      <a:pt x="192" y="52"/>
                    </a:lnTo>
                    <a:lnTo>
                      <a:pt x="192" y="54"/>
                    </a:lnTo>
                    <a:lnTo>
                      <a:pt x="193" y="54"/>
                    </a:lnTo>
                    <a:lnTo>
                      <a:pt x="195" y="54"/>
                    </a:lnTo>
                    <a:lnTo>
                      <a:pt x="197" y="58"/>
                    </a:lnTo>
                    <a:lnTo>
                      <a:pt x="199" y="58"/>
                    </a:lnTo>
                    <a:lnTo>
                      <a:pt x="199" y="60"/>
                    </a:lnTo>
                    <a:lnTo>
                      <a:pt x="201" y="60"/>
                    </a:lnTo>
                    <a:lnTo>
                      <a:pt x="201" y="62"/>
                    </a:lnTo>
                    <a:lnTo>
                      <a:pt x="201" y="64"/>
                    </a:lnTo>
                    <a:lnTo>
                      <a:pt x="203" y="66"/>
                    </a:lnTo>
                    <a:lnTo>
                      <a:pt x="205" y="66"/>
                    </a:lnTo>
                    <a:lnTo>
                      <a:pt x="205" y="68"/>
                    </a:lnTo>
                    <a:lnTo>
                      <a:pt x="207" y="68"/>
                    </a:lnTo>
                    <a:lnTo>
                      <a:pt x="209" y="68"/>
                    </a:lnTo>
                    <a:lnTo>
                      <a:pt x="211" y="66"/>
                    </a:lnTo>
                    <a:lnTo>
                      <a:pt x="211" y="64"/>
                    </a:lnTo>
                    <a:lnTo>
                      <a:pt x="211" y="62"/>
                    </a:lnTo>
                    <a:lnTo>
                      <a:pt x="211" y="60"/>
                    </a:lnTo>
                    <a:lnTo>
                      <a:pt x="213" y="60"/>
                    </a:lnTo>
                    <a:lnTo>
                      <a:pt x="213" y="58"/>
                    </a:lnTo>
                    <a:lnTo>
                      <a:pt x="215" y="58"/>
                    </a:lnTo>
                    <a:lnTo>
                      <a:pt x="215" y="56"/>
                    </a:lnTo>
                    <a:lnTo>
                      <a:pt x="217" y="54"/>
                    </a:lnTo>
                    <a:lnTo>
                      <a:pt x="218" y="54"/>
                    </a:lnTo>
                    <a:lnTo>
                      <a:pt x="218" y="52"/>
                    </a:lnTo>
                    <a:lnTo>
                      <a:pt x="218" y="50"/>
                    </a:lnTo>
                    <a:lnTo>
                      <a:pt x="220" y="50"/>
                    </a:lnTo>
                    <a:lnTo>
                      <a:pt x="220" y="48"/>
                    </a:lnTo>
                    <a:lnTo>
                      <a:pt x="222" y="48"/>
                    </a:lnTo>
                    <a:lnTo>
                      <a:pt x="222" y="46"/>
                    </a:lnTo>
                    <a:lnTo>
                      <a:pt x="222" y="44"/>
                    </a:lnTo>
                    <a:lnTo>
                      <a:pt x="224" y="44"/>
                    </a:lnTo>
                    <a:lnTo>
                      <a:pt x="226" y="44"/>
                    </a:lnTo>
                    <a:lnTo>
                      <a:pt x="228" y="44"/>
                    </a:lnTo>
                    <a:lnTo>
                      <a:pt x="230" y="44"/>
                    </a:lnTo>
                    <a:lnTo>
                      <a:pt x="232" y="44"/>
                    </a:lnTo>
                    <a:lnTo>
                      <a:pt x="234" y="44"/>
                    </a:lnTo>
                    <a:lnTo>
                      <a:pt x="236" y="43"/>
                    </a:lnTo>
                    <a:lnTo>
                      <a:pt x="236" y="41"/>
                    </a:lnTo>
                    <a:lnTo>
                      <a:pt x="238" y="41"/>
                    </a:lnTo>
                    <a:lnTo>
                      <a:pt x="236" y="41"/>
                    </a:lnTo>
                    <a:lnTo>
                      <a:pt x="236" y="39"/>
                    </a:lnTo>
                    <a:lnTo>
                      <a:pt x="234" y="39"/>
                    </a:lnTo>
                    <a:lnTo>
                      <a:pt x="236" y="39"/>
                    </a:lnTo>
                    <a:lnTo>
                      <a:pt x="236" y="37"/>
                    </a:lnTo>
                    <a:lnTo>
                      <a:pt x="234" y="37"/>
                    </a:lnTo>
                    <a:lnTo>
                      <a:pt x="234" y="35"/>
                    </a:lnTo>
                    <a:lnTo>
                      <a:pt x="236" y="35"/>
                    </a:lnTo>
                    <a:lnTo>
                      <a:pt x="234" y="35"/>
                    </a:lnTo>
                    <a:lnTo>
                      <a:pt x="234" y="33"/>
                    </a:lnTo>
                    <a:lnTo>
                      <a:pt x="234" y="31"/>
                    </a:lnTo>
                    <a:lnTo>
                      <a:pt x="234" y="29"/>
                    </a:lnTo>
                    <a:lnTo>
                      <a:pt x="232" y="29"/>
                    </a:lnTo>
                    <a:lnTo>
                      <a:pt x="234" y="29"/>
                    </a:lnTo>
                    <a:lnTo>
                      <a:pt x="234" y="27"/>
                    </a:lnTo>
                    <a:lnTo>
                      <a:pt x="232" y="27"/>
                    </a:lnTo>
                    <a:lnTo>
                      <a:pt x="232" y="25"/>
                    </a:lnTo>
                    <a:lnTo>
                      <a:pt x="234" y="25"/>
                    </a:lnTo>
                    <a:lnTo>
                      <a:pt x="234" y="23"/>
                    </a:lnTo>
                    <a:lnTo>
                      <a:pt x="234" y="21"/>
                    </a:lnTo>
                    <a:lnTo>
                      <a:pt x="234" y="20"/>
                    </a:lnTo>
                    <a:lnTo>
                      <a:pt x="236" y="20"/>
                    </a:lnTo>
                    <a:lnTo>
                      <a:pt x="236" y="18"/>
                    </a:lnTo>
                    <a:lnTo>
                      <a:pt x="238" y="18"/>
                    </a:lnTo>
                    <a:lnTo>
                      <a:pt x="238" y="16"/>
                    </a:lnTo>
                    <a:lnTo>
                      <a:pt x="238" y="14"/>
                    </a:lnTo>
                    <a:lnTo>
                      <a:pt x="236" y="14"/>
                    </a:lnTo>
                    <a:lnTo>
                      <a:pt x="236" y="12"/>
                    </a:lnTo>
                    <a:lnTo>
                      <a:pt x="234" y="10"/>
                    </a:lnTo>
                    <a:lnTo>
                      <a:pt x="236" y="8"/>
                    </a:lnTo>
                    <a:lnTo>
                      <a:pt x="238" y="8"/>
                    </a:lnTo>
                    <a:lnTo>
                      <a:pt x="240" y="6"/>
                    </a:lnTo>
                    <a:lnTo>
                      <a:pt x="242" y="6"/>
                    </a:lnTo>
                    <a:lnTo>
                      <a:pt x="243" y="6"/>
                    </a:lnTo>
                    <a:lnTo>
                      <a:pt x="245" y="6"/>
                    </a:lnTo>
                    <a:lnTo>
                      <a:pt x="247" y="8"/>
                    </a:lnTo>
                    <a:lnTo>
                      <a:pt x="249" y="8"/>
                    </a:lnTo>
                    <a:lnTo>
                      <a:pt x="249" y="10"/>
                    </a:lnTo>
                    <a:lnTo>
                      <a:pt x="251" y="10"/>
                    </a:lnTo>
                    <a:lnTo>
                      <a:pt x="251" y="12"/>
                    </a:lnTo>
                    <a:lnTo>
                      <a:pt x="253" y="12"/>
                    </a:lnTo>
                    <a:lnTo>
                      <a:pt x="253" y="14"/>
                    </a:lnTo>
                    <a:lnTo>
                      <a:pt x="255" y="14"/>
                    </a:lnTo>
                    <a:lnTo>
                      <a:pt x="257" y="14"/>
                    </a:lnTo>
                    <a:lnTo>
                      <a:pt x="259" y="14"/>
                    </a:lnTo>
                    <a:lnTo>
                      <a:pt x="259" y="16"/>
                    </a:lnTo>
                    <a:lnTo>
                      <a:pt x="259" y="18"/>
                    </a:lnTo>
                    <a:lnTo>
                      <a:pt x="259" y="20"/>
                    </a:lnTo>
                    <a:lnTo>
                      <a:pt x="259" y="21"/>
                    </a:lnTo>
                    <a:lnTo>
                      <a:pt x="259" y="23"/>
                    </a:lnTo>
                    <a:lnTo>
                      <a:pt x="259" y="25"/>
                    </a:lnTo>
                    <a:lnTo>
                      <a:pt x="259" y="27"/>
                    </a:lnTo>
                    <a:lnTo>
                      <a:pt x="257" y="29"/>
                    </a:lnTo>
                    <a:lnTo>
                      <a:pt x="257" y="31"/>
                    </a:lnTo>
                    <a:lnTo>
                      <a:pt x="259" y="31"/>
                    </a:lnTo>
                    <a:lnTo>
                      <a:pt x="261" y="31"/>
                    </a:lnTo>
                    <a:lnTo>
                      <a:pt x="263" y="31"/>
                    </a:lnTo>
                    <a:lnTo>
                      <a:pt x="265" y="31"/>
                    </a:lnTo>
                    <a:lnTo>
                      <a:pt x="265" y="29"/>
                    </a:lnTo>
                    <a:lnTo>
                      <a:pt x="266" y="29"/>
                    </a:lnTo>
                    <a:lnTo>
                      <a:pt x="266" y="27"/>
                    </a:lnTo>
                    <a:lnTo>
                      <a:pt x="268" y="25"/>
                    </a:lnTo>
                    <a:lnTo>
                      <a:pt x="270" y="25"/>
                    </a:lnTo>
                    <a:lnTo>
                      <a:pt x="272" y="25"/>
                    </a:lnTo>
                    <a:lnTo>
                      <a:pt x="272" y="27"/>
                    </a:lnTo>
                    <a:lnTo>
                      <a:pt x="270" y="29"/>
                    </a:lnTo>
                    <a:lnTo>
                      <a:pt x="270" y="31"/>
                    </a:lnTo>
                    <a:lnTo>
                      <a:pt x="268" y="31"/>
                    </a:lnTo>
                    <a:lnTo>
                      <a:pt x="266" y="33"/>
                    </a:lnTo>
                    <a:lnTo>
                      <a:pt x="266" y="35"/>
                    </a:lnTo>
                    <a:lnTo>
                      <a:pt x="265" y="35"/>
                    </a:lnTo>
                    <a:lnTo>
                      <a:pt x="265" y="37"/>
                    </a:lnTo>
                    <a:lnTo>
                      <a:pt x="263" y="37"/>
                    </a:lnTo>
                    <a:lnTo>
                      <a:pt x="261" y="39"/>
                    </a:lnTo>
                    <a:lnTo>
                      <a:pt x="261" y="41"/>
                    </a:lnTo>
                    <a:lnTo>
                      <a:pt x="263" y="41"/>
                    </a:lnTo>
                    <a:lnTo>
                      <a:pt x="265" y="41"/>
                    </a:lnTo>
                    <a:lnTo>
                      <a:pt x="266" y="41"/>
                    </a:lnTo>
                    <a:lnTo>
                      <a:pt x="268" y="41"/>
                    </a:lnTo>
                    <a:lnTo>
                      <a:pt x="270" y="41"/>
                    </a:lnTo>
                    <a:lnTo>
                      <a:pt x="272" y="41"/>
                    </a:lnTo>
                    <a:lnTo>
                      <a:pt x="274" y="41"/>
                    </a:lnTo>
                    <a:lnTo>
                      <a:pt x="276" y="41"/>
                    </a:lnTo>
                    <a:lnTo>
                      <a:pt x="278" y="41"/>
                    </a:lnTo>
                    <a:lnTo>
                      <a:pt x="280" y="41"/>
                    </a:lnTo>
                    <a:lnTo>
                      <a:pt x="282" y="41"/>
                    </a:lnTo>
                    <a:lnTo>
                      <a:pt x="284" y="41"/>
                    </a:lnTo>
                    <a:lnTo>
                      <a:pt x="286" y="41"/>
                    </a:lnTo>
                    <a:lnTo>
                      <a:pt x="288" y="41"/>
                    </a:lnTo>
                    <a:lnTo>
                      <a:pt x="290" y="41"/>
                    </a:lnTo>
                    <a:lnTo>
                      <a:pt x="291" y="41"/>
                    </a:lnTo>
                    <a:lnTo>
                      <a:pt x="291" y="39"/>
                    </a:lnTo>
                    <a:lnTo>
                      <a:pt x="293" y="39"/>
                    </a:lnTo>
                    <a:lnTo>
                      <a:pt x="295" y="39"/>
                    </a:lnTo>
                    <a:lnTo>
                      <a:pt x="295" y="37"/>
                    </a:lnTo>
                    <a:lnTo>
                      <a:pt x="297" y="37"/>
                    </a:lnTo>
                    <a:lnTo>
                      <a:pt x="297" y="35"/>
                    </a:lnTo>
                    <a:lnTo>
                      <a:pt x="297" y="37"/>
                    </a:lnTo>
                    <a:lnTo>
                      <a:pt x="299" y="37"/>
                    </a:lnTo>
                    <a:lnTo>
                      <a:pt x="299" y="39"/>
                    </a:lnTo>
                    <a:lnTo>
                      <a:pt x="301" y="39"/>
                    </a:lnTo>
                    <a:lnTo>
                      <a:pt x="303" y="37"/>
                    </a:lnTo>
                    <a:lnTo>
                      <a:pt x="305" y="37"/>
                    </a:lnTo>
                    <a:lnTo>
                      <a:pt x="307" y="37"/>
                    </a:lnTo>
                    <a:lnTo>
                      <a:pt x="307" y="35"/>
                    </a:lnTo>
                    <a:lnTo>
                      <a:pt x="309" y="35"/>
                    </a:lnTo>
                    <a:lnTo>
                      <a:pt x="309" y="33"/>
                    </a:lnTo>
                    <a:lnTo>
                      <a:pt x="311" y="33"/>
                    </a:lnTo>
                    <a:lnTo>
                      <a:pt x="311" y="31"/>
                    </a:lnTo>
                    <a:lnTo>
                      <a:pt x="311" y="29"/>
                    </a:lnTo>
                    <a:lnTo>
                      <a:pt x="313" y="29"/>
                    </a:lnTo>
                    <a:lnTo>
                      <a:pt x="313" y="27"/>
                    </a:lnTo>
                    <a:lnTo>
                      <a:pt x="314" y="27"/>
                    </a:lnTo>
                    <a:lnTo>
                      <a:pt x="314" y="25"/>
                    </a:lnTo>
                    <a:lnTo>
                      <a:pt x="314" y="27"/>
                    </a:lnTo>
                    <a:lnTo>
                      <a:pt x="316" y="27"/>
                    </a:lnTo>
                    <a:lnTo>
                      <a:pt x="318" y="27"/>
                    </a:lnTo>
                    <a:lnTo>
                      <a:pt x="320" y="27"/>
                    </a:lnTo>
                    <a:lnTo>
                      <a:pt x="320" y="25"/>
                    </a:lnTo>
                    <a:lnTo>
                      <a:pt x="322" y="25"/>
                    </a:lnTo>
                    <a:lnTo>
                      <a:pt x="322" y="23"/>
                    </a:lnTo>
                    <a:lnTo>
                      <a:pt x="324" y="23"/>
                    </a:lnTo>
                    <a:lnTo>
                      <a:pt x="324" y="21"/>
                    </a:lnTo>
                    <a:lnTo>
                      <a:pt x="326" y="20"/>
                    </a:lnTo>
                    <a:lnTo>
                      <a:pt x="326" y="18"/>
                    </a:lnTo>
                    <a:lnTo>
                      <a:pt x="326" y="16"/>
                    </a:lnTo>
                    <a:lnTo>
                      <a:pt x="326" y="14"/>
                    </a:lnTo>
                    <a:lnTo>
                      <a:pt x="326" y="12"/>
                    </a:lnTo>
                    <a:lnTo>
                      <a:pt x="328" y="12"/>
                    </a:lnTo>
                    <a:lnTo>
                      <a:pt x="330" y="12"/>
                    </a:lnTo>
                    <a:lnTo>
                      <a:pt x="330" y="10"/>
                    </a:lnTo>
                    <a:lnTo>
                      <a:pt x="332" y="10"/>
                    </a:lnTo>
                    <a:lnTo>
                      <a:pt x="334" y="10"/>
                    </a:lnTo>
                    <a:lnTo>
                      <a:pt x="336" y="8"/>
                    </a:lnTo>
                    <a:lnTo>
                      <a:pt x="338" y="8"/>
                    </a:lnTo>
                    <a:lnTo>
                      <a:pt x="339" y="6"/>
                    </a:lnTo>
                    <a:lnTo>
                      <a:pt x="341" y="6"/>
                    </a:lnTo>
                    <a:lnTo>
                      <a:pt x="343" y="6"/>
                    </a:lnTo>
                    <a:lnTo>
                      <a:pt x="343" y="4"/>
                    </a:lnTo>
                    <a:lnTo>
                      <a:pt x="345" y="4"/>
                    </a:lnTo>
                    <a:lnTo>
                      <a:pt x="345" y="2"/>
                    </a:lnTo>
                    <a:lnTo>
                      <a:pt x="347" y="2"/>
                    </a:lnTo>
                    <a:lnTo>
                      <a:pt x="349" y="2"/>
                    </a:lnTo>
                    <a:lnTo>
                      <a:pt x="351" y="2"/>
                    </a:lnTo>
                    <a:lnTo>
                      <a:pt x="351" y="0"/>
                    </a:lnTo>
                    <a:lnTo>
                      <a:pt x="353" y="0"/>
                    </a:lnTo>
                    <a:lnTo>
                      <a:pt x="355"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65" name="Freeform 141">
                <a:extLst>
                  <a:ext uri="{FF2B5EF4-FFF2-40B4-BE49-F238E27FC236}">
                    <a16:creationId xmlns:a16="http://schemas.microsoft.com/office/drawing/2014/main" id="{A43AD6E9-60B0-4477-8DB2-CD3077357E93}"/>
                  </a:ext>
                </a:extLst>
              </p:cNvPr>
              <p:cNvSpPr>
                <a:spLocks/>
              </p:cNvSpPr>
              <p:nvPr/>
            </p:nvSpPr>
            <p:spPr bwMode="auto">
              <a:xfrm>
                <a:off x="3124070" y="2769121"/>
                <a:ext cx="862213" cy="1173858"/>
              </a:xfrm>
              <a:custGeom>
                <a:avLst/>
                <a:gdLst>
                  <a:gd name="T0" fmla="*/ 355 w 581"/>
                  <a:gd name="T1" fmla="*/ 25 h 791"/>
                  <a:gd name="T2" fmla="*/ 389 w 581"/>
                  <a:gd name="T3" fmla="*/ 53 h 791"/>
                  <a:gd name="T4" fmla="*/ 403 w 581"/>
                  <a:gd name="T5" fmla="*/ 90 h 791"/>
                  <a:gd name="T6" fmla="*/ 399 w 581"/>
                  <a:gd name="T7" fmla="*/ 128 h 791"/>
                  <a:gd name="T8" fmla="*/ 422 w 581"/>
                  <a:gd name="T9" fmla="*/ 163 h 791"/>
                  <a:gd name="T10" fmla="*/ 405 w 581"/>
                  <a:gd name="T11" fmla="*/ 201 h 791"/>
                  <a:gd name="T12" fmla="*/ 424 w 581"/>
                  <a:gd name="T13" fmla="*/ 232 h 791"/>
                  <a:gd name="T14" fmla="*/ 412 w 581"/>
                  <a:gd name="T15" fmla="*/ 249 h 791"/>
                  <a:gd name="T16" fmla="*/ 443 w 581"/>
                  <a:gd name="T17" fmla="*/ 270 h 791"/>
                  <a:gd name="T18" fmla="*/ 457 w 581"/>
                  <a:gd name="T19" fmla="*/ 297 h 791"/>
                  <a:gd name="T20" fmla="*/ 462 w 581"/>
                  <a:gd name="T21" fmla="*/ 314 h 791"/>
                  <a:gd name="T22" fmla="*/ 474 w 581"/>
                  <a:gd name="T23" fmla="*/ 328 h 791"/>
                  <a:gd name="T24" fmla="*/ 499 w 581"/>
                  <a:gd name="T25" fmla="*/ 341 h 791"/>
                  <a:gd name="T26" fmla="*/ 531 w 581"/>
                  <a:gd name="T27" fmla="*/ 337 h 791"/>
                  <a:gd name="T28" fmla="*/ 553 w 581"/>
                  <a:gd name="T29" fmla="*/ 372 h 791"/>
                  <a:gd name="T30" fmla="*/ 570 w 581"/>
                  <a:gd name="T31" fmla="*/ 407 h 791"/>
                  <a:gd name="T32" fmla="*/ 556 w 581"/>
                  <a:gd name="T33" fmla="*/ 445 h 791"/>
                  <a:gd name="T34" fmla="*/ 553 w 581"/>
                  <a:gd name="T35" fmla="*/ 499 h 791"/>
                  <a:gd name="T36" fmla="*/ 549 w 581"/>
                  <a:gd name="T37" fmla="*/ 545 h 791"/>
                  <a:gd name="T38" fmla="*/ 512 w 581"/>
                  <a:gd name="T39" fmla="*/ 537 h 791"/>
                  <a:gd name="T40" fmla="*/ 462 w 581"/>
                  <a:gd name="T41" fmla="*/ 543 h 791"/>
                  <a:gd name="T42" fmla="*/ 432 w 581"/>
                  <a:gd name="T43" fmla="*/ 570 h 791"/>
                  <a:gd name="T44" fmla="*/ 393 w 581"/>
                  <a:gd name="T45" fmla="*/ 591 h 791"/>
                  <a:gd name="T46" fmla="*/ 382 w 581"/>
                  <a:gd name="T47" fmla="*/ 616 h 791"/>
                  <a:gd name="T48" fmla="*/ 353 w 581"/>
                  <a:gd name="T49" fmla="*/ 629 h 791"/>
                  <a:gd name="T50" fmla="*/ 332 w 581"/>
                  <a:gd name="T51" fmla="*/ 660 h 791"/>
                  <a:gd name="T52" fmla="*/ 318 w 581"/>
                  <a:gd name="T53" fmla="*/ 693 h 791"/>
                  <a:gd name="T54" fmla="*/ 322 w 581"/>
                  <a:gd name="T55" fmla="*/ 725 h 791"/>
                  <a:gd name="T56" fmla="*/ 320 w 581"/>
                  <a:gd name="T57" fmla="*/ 758 h 791"/>
                  <a:gd name="T58" fmla="*/ 301 w 581"/>
                  <a:gd name="T59" fmla="*/ 791 h 791"/>
                  <a:gd name="T60" fmla="*/ 280 w 581"/>
                  <a:gd name="T61" fmla="*/ 750 h 791"/>
                  <a:gd name="T62" fmla="*/ 249 w 581"/>
                  <a:gd name="T63" fmla="*/ 729 h 791"/>
                  <a:gd name="T64" fmla="*/ 236 w 581"/>
                  <a:gd name="T65" fmla="*/ 687 h 791"/>
                  <a:gd name="T66" fmla="*/ 224 w 581"/>
                  <a:gd name="T67" fmla="*/ 654 h 791"/>
                  <a:gd name="T68" fmla="*/ 234 w 581"/>
                  <a:gd name="T69" fmla="*/ 618 h 791"/>
                  <a:gd name="T70" fmla="*/ 220 w 581"/>
                  <a:gd name="T71" fmla="*/ 583 h 791"/>
                  <a:gd name="T72" fmla="*/ 220 w 581"/>
                  <a:gd name="T73" fmla="*/ 549 h 791"/>
                  <a:gd name="T74" fmla="*/ 211 w 581"/>
                  <a:gd name="T75" fmla="*/ 518 h 791"/>
                  <a:gd name="T76" fmla="*/ 192 w 581"/>
                  <a:gd name="T77" fmla="*/ 483 h 791"/>
                  <a:gd name="T78" fmla="*/ 157 w 581"/>
                  <a:gd name="T79" fmla="*/ 491 h 791"/>
                  <a:gd name="T80" fmla="*/ 140 w 581"/>
                  <a:gd name="T81" fmla="*/ 455 h 791"/>
                  <a:gd name="T82" fmla="*/ 144 w 581"/>
                  <a:gd name="T83" fmla="*/ 414 h 791"/>
                  <a:gd name="T84" fmla="*/ 107 w 581"/>
                  <a:gd name="T85" fmla="*/ 416 h 791"/>
                  <a:gd name="T86" fmla="*/ 78 w 581"/>
                  <a:gd name="T87" fmla="*/ 422 h 791"/>
                  <a:gd name="T88" fmla="*/ 84 w 581"/>
                  <a:gd name="T89" fmla="*/ 387 h 791"/>
                  <a:gd name="T90" fmla="*/ 55 w 581"/>
                  <a:gd name="T91" fmla="*/ 362 h 791"/>
                  <a:gd name="T92" fmla="*/ 34 w 581"/>
                  <a:gd name="T93" fmla="*/ 339 h 791"/>
                  <a:gd name="T94" fmla="*/ 11 w 581"/>
                  <a:gd name="T95" fmla="*/ 307 h 791"/>
                  <a:gd name="T96" fmla="*/ 13 w 581"/>
                  <a:gd name="T97" fmla="*/ 276 h 791"/>
                  <a:gd name="T98" fmla="*/ 28 w 581"/>
                  <a:gd name="T99" fmla="*/ 240 h 791"/>
                  <a:gd name="T100" fmla="*/ 30 w 581"/>
                  <a:gd name="T101" fmla="*/ 192 h 791"/>
                  <a:gd name="T102" fmla="*/ 63 w 581"/>
                  <a:gd name="T103" fmla="*/ 170 h 791"/>
                  <a:gd name="T104" fmla="*/ 94 w 581"/>
                  <a:gd name="T105" fmla="*/ 145 h 791"/>
                  <a:gd name="T106" fmla="*/ 140 w 581"/>
                  <a:gd name="T107" fmla="*/ 155 h 791"/>
                  <a:gd name="T108" fmla="*/ 176 w 581"/>
                  <a:gd name="T109" fmla="*/ 149 h 791"/>
                  <a:gd name="T110" fmla="*/ 217 w 581"/>
                  <a:gd name="T111" fmla="*/ 157 h 791"/>
                  <a:gd name="T112" fmla="*/ 266 w 581"/>
                  <a:gd name="T113" fmla="*/ 149 h 791"/>
                  <a:gd name="T114" fmla="*/ 286 w 581"/>
                  <a:gd name="T115" fmla="*/ 134 h 791"/>
                  <a:gd name="T116" fmla="*/ 266 w 581"/>
                  <a:gd name="T117" fmla="*/ 107 h 791"/>
                  <a:gd name="T118" fmla="*/ 282 w 581"/>
                  <a:gd name="T119" fmla="*/ 94 h 791"/>
                  <a:gd name="T120" fmla="*/ 288 w 581"/>
                  <a:gd name="T121" fmla="*/ 59 h 791"/>
                  <a:gd name="T122" fmla="*/ 311 w 581"/>
                  <a:gd name="T123" fmla="*/ 2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1" h="791">
                    <a:moveTo>
                      <a:pt x="326" y="2"/>
                    </a:moveTo>
                    <a:lnTo>
                      <a:pt x="330" y="3"/>
                    </a:lnTo>
                    <a:lnTo>
                      <a:pt x="332" y="3"/>
                    </a:lnTo>
                    <a:lnTo>
                      <a:pt x="332" y="5"/>
                    </a:lnTo>
                    <a:lnTo>
                      <a:pt x="332" y="7"/>
                    </a:lnTo>
                    <a:lnTo>
                      <a:pt x="334" y="9"/>
                    </a:lnTo>
                    <a:lnTo>
                      <a:pt x="336" y="9"/>
                    </a:lnTo>
                    <a:lnTo>
                      <a:pt x="336" y="11"/>
                    </a:lnTo>
                    <a:lnTo>
                      <a:pt x="334" y="11"/>
                    </a:lnTo>
                    <a:lnTo>
                      <a:pt x="332" y="11"/>
                    </a:lnTo>
                    <a:lnTo>
                      <a:pt x="332" y="13"/>
                    </a:lnTo>
                    <a:lnTo>
                      <a:pt x="332" y="15"/>
                    </a:lnTo>
                    <a:lnTo>
                      <a:pt x="332" y="17"/>
                    </a:lnTo>
                    <a:lnTo>
                      <a:pt x="334" y="17"/>
                    </a:lnTo>
                    <a:lnTo>
                      <a:pt x="334" y="19"/>
                    </a:lnTo>
                    <a:lnTo>
                      <a:pt x="336" y="19"/>
                    </a:lnTo>
                    <a:lnTo>
                      <a:pt x="336" y="17"/>
                    </a:lnTo>
                    <a:lnTo>
                      <a:pt x="338" y="19"/>
                    </a:lnTo>
                    <a:lnTo>
                      <a:pt x="339" y="19"/>
                    </a:lnTo>
                    <a:lnTo>
                      <a:pt x="341" y="19"/>
                    </a:lnTo>
                    <a:lnTo>
                      <a:pt x="341" y="17"/>
                    </a:lnTo>
                    <a:lnTo>
                      <a:pt x="343" y="17"/>
                    </a:lnTo>
                    <a:lnTo>
                      <a:pt x="345" y="17"/>
                    </a:lnTo>
                    <a:lnTo>
                      <a:pt x="347" y="17"/>
                    </a:lnTo>
                    <a:lnTo>
                      <a:pt x="349" y="17"/>
                    </a:lnTo>
                    <a:lnTo>
                      <a:pt x="349" y="19"/>
                    </a:lnTo>
                    <a:lnTo>
                      <a:pt x="349" y="21"/>
                    </a:lnTo>
                    <a:lnTo>
                      <a:pt x="351" y="21"/>
                    </a:lnTo>
                    <a:lnTo>
                      <a:pt x="351" y="23"/>
                    </a:lnTo>
                    <a:lnTo>
                      <a:pt x="353" y="23"/>
                    </a:lnTo>
                    <a:lnTo>
                      <a:pt x="353" y="25"/>
                    </a:lnTo>
                    <a:lnTo>
                      <a:pt x="355" y="25"/>
                    </a:lnTo>
                    <a:lnTo>
                      <a:pt x="355" y="26"/>
                    </a:lnTo>
                    <a:lnTo>
                      <a:pt x="357" y="26"/>
                    </a:lnTo>
                    <a:lnTo>
                      <a:pt x="359" y="28"/>
                    </a:lnTo>
                    <a:lnTo>
                      <a:pt x="361" y="28"/>
                    </a:lnTo>
                    <a:lnTo>
                      <a:pt x="361" y="30"/>
                    </a:lnTo>
                    <a:lnTo>
                      <a:pt x="361" y="32"/>
                    </a:lnTo>
                    <a:lnTo>
                      <a:pt x="362" y="32"/>
                    </a:lnTo>
                    <a:lnTo>
                      <a:pt x="362" y="34"/>
                    </a:lnTo>
                    <a:lnTo>
                      <a:pt x="364" y="34"/>
                    </a:lnTo>
                    <a:lnTo>
                      <a:pt x="366" y="34"/>
                    </a:lnTo>
                    <a:lnTo>
                      <a:pt x="368" y="34"/>
                    </a:lnTo>
                    <a:lnTo>
                      <a:pt x="368" y="32"/>
                    </a:lnTo>
                    <a:lnTo>
                      <a:pt x="370" y="32"/>
                    </a:lnTo>
                    <a:lnTo>
                      <a:pt x="370" y="34"/>
                    </a:lnTo>
                    <a:lnTo>
                      <a:pt x="372" y="34"/>
                    </a:lnTo>
                    <a:lnTo>
                      <a:pt x="372" y="36"/>
                    </a:lnTo>
                    <a:lnTo>
                      <a:pt x="374" y="36"/>
                    </a:lnTo>
                    <a:lnTo>
                      <a:pt x="374" y="38"/>
                    </a:lnTo>
                    <a:lnTo>
                      <a:pt x="376" y="38"/>
                    </a:lnTo>
                    <a:lnTo>
                      <a:pt x="378" y="38"/>
                    </a:lnTo>
                    <a:lnTo>
                      <a:pt x="380" y="40"/>
                    </a:lnTo>
                    <a:lnTo>
                      <a:pt x="382" y="40"/>
                    </a:lnTo>
                    <a:lnTo>
                      <a:pt x="384" y="40"/>
                    </a:lnTo>
                    <a:lnTo>
                      <a:pt x="386" y="40"/>
                    </a:lnTo>
                    <a:lnTo>
                      <a:pt x="387" y="42"/>
                    </a:lnTo>
                    <a:lnTo>
                      <a:pt x="387" y="44"/>
                    </a:lnTo>
                    <a:lnTo>
                      <a:pt x="387" y="46"/>
                    </a:lnTo>
                    <a:lnTo>
                      <a:pt x="386" y="46"/>
                    </a:lnTo>
                    <a:lnTo>
                      <a:pt x="387" y="48"/>
                    </a:lnTo>
                    <a:lnTo>
                      <a:pt x="387" y="50"/>
                    </a:lnTo>
                    <a:lnTo>
                      <a:pt x="389" y="51"/>
                    </a:lnTo>
                    <a:lnTo>
                      <a:pt x="389" y="53"/>
                    </a:lnTo>
                    <a:lnTo>
                      <a:pt x="389" y="55"/>
                    </a:lnTo>
                    <a:lnTo>
                      <a:pt x="389" y="57"/>
                    </a:lnTo>
                    <a:lnTo>
                      <a:pt x="389" y="59"/>
                    </a:lnTo>
                    <a:lnTo>
                      <a:pt x="391" y="59"/>
                    </a:lnTo>
                    <a:lnTo>
                      <a:pt x="391" y="61"/>
                    </a:lnTo>
                    <a:lnTo>
                      <a:pt x="389" y="61"/>
                    </a:lnTo>
                    <a:lnTo>
                      <a:pt x="391" y="61"/>
                    </a:lnTo>
                    <a:lnTo>
                      <a:pt x="391" y="63"/>
                    </a:lnTo>
                    <a:lnTo>
                      <a:pt x="393" y="65"/>
                    </a:lnTo>
                    <a:lnTo>
                      <a:pt x="393" y="67"/>
                    </a:lnTo>
                    <a:lnTo>
                      <a:pt x="393" y="69"/>
                    </a:lnTo>
                    <a:lnTo>
                      <a:pt x="395" y="69"/>
                    </a:lnTo>
                    <a:lnTo>
                      <a:pt x="395" y="71"/>
                    </a:lnTo>
                    <a:lnTo>
                      <a:pt x="393" y="71"/>
                    </a:lnTo>
                    <a:lnTo>
                      <a:pt x="393" y="73"/>
                    </a:lnTo>
                    <a:lnTo>
                      <a:pt x="393" y="74"/>
                    </a:lnTo>
                    <a:lnTo>
                      <a:pt x="393" y="76"/>
                    </a:lnTo>
                    <a:lnTo>
                      <a:pt x="393" y="78"/>
                    </a:lnTo>
                    <a:lnTo>
                      <a:pt x="393" y="80"/>
                    </a:lnTo>
                    <a:lnTo>
                      <a:pt x="393" y="82"/>
                    </a:lnTo>
                    <a:lnTo>
                      <a:pt x="393" y="84"/>
                    </a:lnTo>
                    <a:lnTo>
                      <a:pt x="391" y="84"/>
                    </a:lnTo>
                    <a:lnTo>
                      <a:pt x="391" y="86"/>
                    </a:lnTo>
                    <a:lnTo>
                      <a:pt x="391" y="88"/>
                    </a:lnTo>
                    <a:lnTo>
                      <a:pt x="391" y="90"/>
                    </a:lnTo>
                    <a:lnTo>
                      <a:pt x="393" y="88"/>
                    </a:lnTo>
                    <a:lnTo>
                      <a:pt x="393" y="90"/>
                    </a:lnTo>
                    <a:lnTo>
                      <a:pt x="393" y="92"/>
                    </a:lnTo>
                    <a:lnTo>
                      <a:pt x="395" y="92"/>
                    </a:lnTo>
                    <a:lnTo>
                      <a:pt x="397" y="92"/>
                    </a:lnTo>
                    <a:lnTo>
                      <a:pt x="403" y="88"/>
                    </a:lnTo>
                    <a:lnTo>
                      <a:pt x="403" y="90"/>
                    </a:lnTo>
                    <a:lnTo>
                      <a:pt x="405" y="92"/>
                    </a:lnTo>
                    <a:lnTo>
                      <a:pt x="407" y="92"/>
                    </a:lnTo>
                    <a:lnTo>
                      <a:pt x="407" y="94"/>
                    </a:lnTo>
                    <a:lnTo>
                      <a:pt x="407" y="96"/>
                    </a:lnTo>
                    <a:lnTo>
                      <a:pt x="407" y="97"/>
                    </a:lnTo>
                    <a:lnTo>
                      <a:pt x="407" y="99"/>
                    </a:lnTo>
                    <a:lnTo>
                      <a:pt x="407" y="101"/>
                    </a:lnTo>
                    <a:lnTo>
                      <a:pt x="407" y="103"/>
                    </a:lnTo>
                    <a:lnTo>
                      <a:pt x="407" y="105"/>
                    </a:lnTo>
                    <a:lnTo>
                      <a:pt x="409" y="105"/>
                    </a:lnTo>
                    <a:lnTo>
                      <a:pt x="409" y="107"/>
                    </a:lnTo>
                    <a:lnTo>
                      <a:pt x="411" y="107"/>
                    </a:lnTo>
                    <a:lnTo>
                      <a:pt x="411" y="109"/>
                    </a:lnTo>
                    <a:lnTo>
                      <a:pt x="412" y="109"/>
                    </a:lnTo>
                    <a:lnTo>
                      <a:pt x="411" y="111"/>
                    </a:lnTo>
                    <a:lnTo>
                      <a:pt x="411" y="109"/>
                    </a:lnTo>
                    <a:lnTo>
                      <a:pt x="409" y="111"/>
                    </a:lnTo>
                    <a:lnTo>
                      <a:pt x="409" y="113"/>
                    </a:lnTo>
                    <a:lnTo>
                      <a:pt x="407" y="113"/>
                    </a:lnTo>
                    <a:lnTo>
                      <a:pt x="407" y="115"/>
                    </a:lnTo>
                    <a:lnTo>
                      <a:pt x="407" y="117"/>
                    </a:lnTo>
                    <a:lnTo>
                      <a:pt x="405" y="117"/>
                    </a:lnTo>
                    <a:lnTo>
                      <a:pt x="405" y="119"/>
                    </a:lnTo>
                    <a:lnTo>
                      <a:pt x="405" y="117"/>
                    </a:lnTo>
                    <a:lnTo>
                      <a:pt x="403" y="119"/>
                    </a:lnTo>
                    <a:lnTo>
                      <a:pt x="403" y="121"/>
                    </a:lnTo>
                    <a:lnTo>
                      <a:pt x="401" y="119"/>
                    </a:lnTo>
                    <a:lnTo>
                      <a:pt x="401" y="121"/>
                    </a:lnTo>
                    <a:lnTo>
                      <a:pt x="401" y="122"/>
                    </a:lnTo>
                    <a:lnTo>
                      <a:pt x="401" y="124"/>
                    </a:lnTo>
                    <a:lnTo>
                      <a:pt x="401" y="126"/>
                    </a:lnTo>
                    <a:lnTo>
                      <a:pt x="399" y="128"/>
                    </a:lnTo>
                    <a:lnTo>
                      <a:pt x="399" y="130"/>
                    </a:lnTo>
                    <a:lnTo>
                      <a:pt x="399" y="132"/>
                    </a:lnTo>
                    <a:lnTo>
                      <a:pt x="399" y="134"/>
                    </a:lnTo>
                    <a:lnTo>
                      <a:pt x="401" y="134"/>
                    </a:lnTo>
                    <a:lnTo>
                      <a:pt x="401" y="136"/>
                    </a:lnTo>
                    <a:lnTo>
                      <a:pt x="401" y="138"/>
                    </a:lnTo>
                    <a:lnTo>
                      <a:pt x="401" y="140"/>
                    </a:lnTo>
                    <a:lnTo>
                      <a:pt x="401" y="142"/>
                    </a:lnTo>
                    <a:lnTo>
                      <a:pt x="401" y="144"/>
                    </a:lnTo>
                    <a:lnTo>
                      <a:pt x="401" y="145"/>
                    </a:lnTo>
                    <a:lnTo>
                      <a:pt x="403" y="145"/>
                    </a:lnTo>
                    <a:lnTo>
                      <a:pt x="405" y="145"/>
                    </a:lnTo>
                    <a:lnTo>
                      <a:pt x="405" y="147"/>
                    </a:lnTo>
                    <a:lnTo>
                      <a:pt x="407" y="147"/>
                    </a:lnTo>
                    <a:lnTo>
                      <a:pt x="409" y="147"/>
                    </a:lnTo>
                    <a:lnTo>
                      <a:pt x="409" y="149"/>
                    </a:lnTo>
                    <a:lnTo>
                      <a:pt x="411" y="149"/>
                    </a:lnTo>
                    <a:lnTo>
                      <a:pt x="411" y="151"/>
                    </a:lnTo>
                    <a:lnTo>
                      <a:pt x="412" y="151"/>
                    </a:lnTo>
                    <a:lnTo>
                      <a:pt x="412" y="153"/>
                    </a:lnTo>
                    <a:lnTo>
                      <a:pt x="414" y="153"/>
                    </a:lnTo>
                    <a:lnTo>
                      <a:pt x="414" y="155"/>
                    </a:lnTo>
                    <a:lnTo>
                      <a:pt x="416" y="155"/>
                    </a:lnTo>
                    <a:lnTo>
                      <a:pt x="416" y="157"/>
                    </a:lnTo>
                    <a:lnTo>
                      <a:pt x="418" y="157"/>
                    </a:lnTo>
                    <a:lnTo>
                      <a:pt x="420" y="157"/>
                    </a:lnTo>
                    <a:lnTo>
                      <a:pt x="420" y="159"/>
                    </a:lnTo>
                    <a:lnTo>
                      <a:pt x="422" y="159"/>
                    </a:lnTo>
                    <a:lnTo>
                      <a:pt x="424" y="159"/>
                    </a:lnTo>
                    <a:lnTo>
                      <a:pt x="424" y="161"/>
                    </a:lnTo>
                    <a:lnTo>
                      <a:pt x="422" y="161"/>
                    </a:lnTo>
                    <a:lnTo>
                      <a:pt x="422" y="163"/>
                    </a:lnTo>
                    <a:lnTo>
                      <a:pt x="420" y="163"/>
                    </a:lnTo>
                    <a:lnTo>
                      <a:pt x="418" y="163"/>
                    </a:lnTo>
                    <a:lnTo>
                      <a:pt x="418" y="165"/>
                    </a:lnTo>
                    <a:lnTo>
                      <a:pt x="416" y="165"/>
                    </a:lnTo>
                    <a:lnTo>
                      <a:pt x="414" y="167"/>
                    </a:lnTo>
                    <a:lnTo>
                      <a:pt x="412" y="167"/>
                    </a:lnTo>
                    <a:lnTo>
                      <a:pt x="411" y="169"/>
                    </a:lnTo>
                    <a:lnTo>
                      <a:pt x="409" y="170"/>
                    </a:lnTo>
                    <a:lnTo>
                      <a:pt x="409" y="172"/>
                    </a:lnTo>
                    <a:lnTo>
                      <a:pt x="407" y="172"/>
                    </a:lnTo>
                    <a:lnTo>
                      <a:pt x="407" y="174"/>
                    </a:lnTo>
                    <a:lnTo>
                      <a:pt x="405" y="176"/>
                    </a:lnTo>
                    <a:lnTo>
                      <a:pt x="403" y="176"/>
                    </a:lnTo>
                    <a:lnTo>
                      <a:pt x="401" y="178"/>
                    </a:lnTo>
                    <a:lnTo>
                      <a:pt x="399" y="178"/>
                    </a:lnTo>
                    <a:lnTo>
                      <a:pt x="399" y="180"/>
                    </a:lnTo>
                    <a:lnTo>
                      <a:pt x="397" y="180"/>
                    </a:lnTo>
                    <a:lnTo>
                      <a:pt x="397" y="182"/>
                    </a:lnTo>
                    <a:lnTo>
                      <a:pt x="397" y="184"/>
                    </a:lnTo>
                    <a:lnTo>
                      <a:pt x="397" y="186"/>
                    </a:lnTo>
                    <a:lnTo>
                      <a:pt x="397" y="188"/>
                    </a:lnTo>
                    <a:lnTo>
                      <a:pt x="399" y="188"/>
                    </a:lnTo>
                    <a:lnTo>
                      <a:pt x="399" y="190"/>
                    </a:lnTo>
                    <a:lnTo>
                      <a:pt x="401" y="190"/>
                    </a:lnTo>
                    <a:lnTo>
                      <a:pt x="401" y="192"/>
                    </a:lnTo>
                    <a:lnTo>
                      <a:pt x="401" y="193"/>
                    </a:lnTo>
                    <a:lnTo>
                      <a:pt x="401" y="195"/>
                    </a:lnTo>
                    <a:lnTo>
                      <a:pt x="403" y="195"/>
                    </a:lnTo>
                    <a:lnTo>
                      <a:pt x="403" y="197"/>
                    </a:lnTo>
                    <a:lnTo>
                      <a:pt x="405" y="197"/>
                    </a:lnTo>
                    <a:lnTo>
                      <a:pt x="405" y="199"/>
                    </a:lnTo>
                    <a:lnTo>
                      <a:pt x="405" y="201"/>
                    </a:lnTo>
                    <a:lnTo>
                      <a:pt x="405" y="203"/>
                    </a:lnTo>
                    <a:lnTo>
                      <a:pt x="407" y="203"/>
                    </a:lnTo>
                    <a:lnTo>
                      <a:pt x="409" y="203"/>
                    </a:lnTo>
                    <a:lnTo>
                      <a:pt x="411" y="205"/>
                    </a:lnTo>
                    <a:lnTo>
                      <a:pt x="412" y="205"/>
                    </a:lnTo>
                    <a:lnTo>
                      <a:pt x="414" y="205"/>
                    </a:lnTo>
                    <a:lnTo>
                      <a:pt x="416" y="205"/>
                    </a:lnTo>
                    <a:lnTo>
                      <a:pt x="416" y="207"/>
                    </a:lnTo>
                    <a:lnTo>
                      <a:pt x="418" y="207"/>
                    </a:lnTo>
                    <a:lnTo>
                      <a:pt x="420" y="207"/>
                    </a:lnTo>
                    <a:lnTo>
                      <a:pt x="422" y="207"/>
                    </a:lnTo>
                    <a:lnTo>
                      <a:pt x="424" y="209"/>
                    </a:lnTo>
                    <a:lnTo>
                      <a:pt x="424" y="211"/>
                    </a:lnTo>
                    <a:lnTo>
                      <a:pt x="426" y="211"/>
                    </a:lnTo>
                    <a:lnTo>
                      <a:pt x="428" y="213"/>
                    </a:lnTo>
                    <a:lnTo>
                      <a:pt x="428" y="215"/>
                    </a:lnTo>
                    <a:lnTo>
                      <a:pt x="426" y="215"/>
                    </a:lnTo>
                    <a:lnTo>
                      <a:pt x="426" y="217"/>
                    </a:lnTo>
                    <a:lnTo>
                      <a:pt x="424" y="217"/>
                    </a:lnTo>
                    <a:lnTo>
                      <a:pt x="424" y="218"/>
                    </a:lnTo>
                    <a:lnTo>
                      <a:pt x="424" y="220"/>
                    </a:lnTo>
                    <a:lnTo>
                      <a:pt x="424" y="222"/>
                    </a:lnTo>
                    <a:lnTo>
                      <a:pt x="424" y="224"/>
                    </a:lnTo>
                    <a:lnTo>
                      <a:pt x="422" y="224"/>
                    </a:lnTo>
                    <a:lnTo>
                      <a:pt x="422" y="226"/>
                    </a:lnTo>
                    <a:lnTo>
                      <a:pt x="424" y="228"/>
                    </a:lnTo>
                    <a:lnTo>
                      <a:pt x="426" y="228"/>
                    </a:lnTo>
                    <a:lnTo>
                      <a:pt x="426" y="226"/>
                    </a:lnTo>
                    <a:lnTo>
                      <a:pt x="426" y="228"/>
                    </a:lnTo>
                    <a:lnTo>
                      <a:pt x="426" y="230"/>
                    </a:lnTo>
                    <a:lnTo>
                      <a:pt x="426" y="232"/>
                    </a:lnTo>
                    <a:lnTo>
                      <a:pt x="424" y="232"/>
                    </a:lnTo>
                    <a:lnTo>
                      <a:pt x="420" y="230"/>
                    </a:lnTo>
                    <a:lnTo>
                      <a:pt x="418" y="230"/>
                    </a:lnTo>
                    <a:lnTo>
                      <a:pt x="418" y="228"/>
                    </a:lnTo>
                    <a:lnTo>
                      <a:pt x="416" y="226"/>
                    </a:lnTo>
                    <a:lnTo>
                      <a:pt x="414" y="226"/>
                    </a:lnTo>
                    <a:lnTo>
                      <a:pt x="412" y="226"/>
                    </a:lnTo>
                    <a:lnTo>
                      <a:pt x="411" y="224"/>
                    </a:lnTo>
                    <a:lnTo>
                      <a:pt x="409" y="224"/>
                    </a:lnTo>
                    <a:lnTo>
                      <a:pt x="407" y="224"/>
                    </a:lnTo>
                    <a:lnTo>
                      <a:pt x="407" y="222"/>
                    </a:lnTo>
                    <a:lnTo>
                      <a:pt x="407" y="224"/>
                    </a:lnTo>
                    <a:lnTo>
                      <a:pt x="405" y="224"/>
                    </a:lnTo>
                    <a:lnTo>
                      <a:pt x="405" y="226"/>
                    </a:lnTo>
                    <a:lnTo>
                      <a:pt x="405" y="228"/>
                    </a:lnTo>
                    <a:lnTo>
                      <a:pt x="405" y="230"/>
                    </a:lnTo>
                    <a:lnTo>
                      <a:pt x="403" y="230"/>
                    </a:lnTo>
                    <a:lnTo>
                      <a:pt x="401" y="230"/>
                    </a:lnTo>
                    <a:lnTo>
                      <a:pt x="401" y="232"/>
                    </a:lnTo>
                    <a:lnTo>
                      <a:pt x="401" y="234"/>
                    </a:lnTo>
                    <a:lnTo>
                      <a:pt x="401" y="236"/>
                    </a:lnTo>
                    <a:lnTo>
                      <a:pt x="403" y="236"/>
                    </a:lnTo>
                    <a:lnTo>
                      <a:pt x="403" y="238"/>
                    </a:lnTo>
                    <a:lnTo>
                      <a:pt x="403" y="240"/>
                    </a:lnTo>
                    <a:lnTo>
                      <a:pt x="405" y="240"/>
                    </a:lnTo>
                    <a:lnTo>
                      <a:pt x="405" y="241"/>
                    </a:lnTo>
                    <a:lnTo>
                      <a:pt x="407" y="243"/>
                    </a:lnTo>
                    <a:lnTo>
                      <a:pt x="407" y="245"/>
                    </a:lnTo>
                    <a:lnTo>
                      <a:pt x="409" y="245"/>
                    </a:lnTo>
                    <a:lnTo>
                      <a:pt x="409" y="247"/>
                    </a:lnTo>
                    <a:lnTo>
                      <a:pt x="411" y="247"/>
                    </a:lnTo>
                    <a:lnTo>
                      <a:pt x="411" y="249"/>
                    </a:lnTo>
                    <a:lnTo>
                      <a:pt x="412" y="249"/>
                    </a:lnTo>
                    <a:lnTo>
                      <a:pt x="412" y="251"/>
                    </a:lnTo>
                    <a:lnTo>
                      <a:pt x="414" y="251"/>
                    </a:lnTo>
                    <a:lnTo>
                      <a:pt x="414" y="253"/>
                    </a:lnTo>
                    <a:lnTo>
                      <a:pt x="414" y="255"/>
                    </a:lnTo>
                    <a:lnTo>
                      <a:pt x="416" y="257"/>
                    </a:lnTo>
                    <a:lnTo>
                      <a:pt x="416" y="259"/>
                    </a:lnTo>
                    <a:lnTo>
                      <a:pt x="414" y="259"/>
                    </a:lnTo>
                    <a:lnTo>
                      <a:pt x="414" y="261"/>
                    </a:lnTo>
                    <a:lnTo>
                      <a:pt x="412" y="261"/>
                    </a:lnTo>
                    <a:lnTo>
                      <a:pt x="412" y="263"/>
                    </a:lnTo>
                    <a:lnTo>
                      <a:pt x="414" y="263"/>
                    </a:lnTo>
                    <a:lnTo>
                      <a:pt x="416" y="263"/>
                    </a:lnTo>
                    <a:lnTo>
                      <a:pt x="418" y="263"/>
                    </a:lnTo>
                    <a:lnTo>
                      <a:pt x="420" y="263"/>
                    </a:lnTo>
                    <a:lnTo>
                      <a:pt x="420" y="261"/>
                    </a:lnTo>
                    <a:lnTo>
                      <a:pt x="422" y="261"/>
                    </a:lnTo>
                    <a:lnTo>
                      <a:pt x="424" y="261"/>
                    </a:lnTo>
                    <a:lnTo>
                      <a:pt x="426" y="261"/>
                    </a:lnTo>
                    <a:lnTo>
                      <a:pt x="426" y="259"/>
                    </a:lnTo>
                    <a:lnTo>
                      <a:pt x="428" y="259"/>
                    </a:lnTo>
                    <a:lnTo>
                      <a:pt x="430" y="259"/>
                    </a:lnTo>
                    <a:lnTo>
                      <a:pt x="430" y="261"/>
                    </a:lnTo>
                    <a:lnTo>
                      <a:pt x="432" y="261"/>
                    </a:lnTo>
                    <a:lnTo>
                      <a:pt x="432" y="263"/>
                    </a:lnTo>
                    <a:lnTo>
                      <a:pt x="434" y="265"/>
                    </a:lnTo>
                    <a:lnTo>
                      <a:pt x="435" y="265"/>
                    </a:lnTo>
                    <a:lnTo>
                      <a:pt x="435" y="266"/>
                    </a:lnTo>
                    <a:lnTo>
                      <a:pt x="437" y="268"/>
                    </a:lnTo>
                    <a:lnTo>
                      <a:pt x="439" y="268"/>
                    </a:lnTo>
                    <a:lnTo>
                      <a:pt x="439" y="270"/>
                    </a:lnTo>
                    <a:lnTo>
                      <a:pt x="441" y="270"/>
                    </a:lnTo>
                    <a:lnTo>
                      <a:pt x="443" y="270"/>
                    </a:lnTo>
                    <a:lnTo>
                      <a:pt x="443" y="272"/>
                    </a:lnTo>
                    <a:lnTo>
                      <a:pt x="445" y="274"/>
                    </a:lnTo>
                    <a:lnTo>
                      <a:pt x="445" y="276"/>
                    </a:lnTo>
                    <a:lnTo>
                      <a:pt x="447" y="276"/>
                    </a:lnTo>
                    <a:lnTo>
                      <a:pt x="447" y="274"/>
                    </a:lnTo>
                    <a:lnTo>
                      <a:pt x="449" y="274"/>
                    </a:lnTo>
                    <a:lnTo>
                      <a:pt x="449" y="272"/>
                    </a:lnTo>
                    <a:lnTo>
                      <a:pt x="451" y="272"/>
                    </a:lnTo>
                    <a:lnTo>
                      <a:pt x="451" y="270"/>
                    </a:lnTo>
                    <a:lnTo>
                      <a:pt x="453" y="270"/>
                    </a:lnTo>
                    <a:lnTo>
                      <a:pt x="453" y="268"/>
                    </a:lnTo>
                    <a:lnTo>
                      <a:pt x="455" y="268"/>
                    </a:lnTo>
                    <a:lnTo>
                      <a:pt x="455" y="270"/>
                    </a:lnTo>
                    <a:lnTo>
                      <a:pt x="455" y="272"/>
                    </a:lnTo>
                    <a:lnTo>
                      <a:pt x="453" y="272"/>
                    </a:lnTo>
                    <a:lnTo>
                      <a:pt x="453" y="274"/>
                    </a:lnTo>
                    <a:lnTo>
                      <a:pt x="451" y="274"/>
                    </a:lnTo>
                    <a:lnTo>
                      <a:pt x="451" y="276"/>
                    </a:lnTo>
                    <a:lnTo>
                      <a:pt x="451" y="278"/>
                    </a:lnTo>
                    <a:lnTo>
                      <a:pt x="451" y="280"/>
                    </a:lnTo>
                    <a:lnTo>
                      <a:pt x="451" y="282"/>
                    </a:lnTo>
                    <a:lnTo>
                      <a:pt x="451" y="284"/>
                    </a:lnTo>
                    <a:lnTo>
                      <a:pt x="453" y="286"/>
                    </a:lnTo>
                    <a:lnTo>
                      <a:pt x="455" y="286"/>
                    </a:lnTo>
                    <a:lnTo>
                      <a:pt x="455" y="288"/>
                    </a:lnTo>
                    <a:lnTo>
                      <a:pt x="457" y="289"/>
                    </a:lnTo>
                    <a:lnTo>
                      <a:pt x="457" y="291"/>
                    </a:lnTo>
                    <a:lnTo>
                      <a:pt x="459" y="291"/>
                    </a:lnTo>
                    <a:lnTo>
                      <a:pt x="459" y="293"/>
                    </a:lnTo>
                    <a:lnTo>
                      <a:pt x="459" y="295"/>
                    </a:lnTo>
                    <a:lnTo>
                      <a:pt x="457" y="295"/>
                    </a:lnTo>
                    <a:lnTo>
                      <a:pt x="457" y="297"/>
                    </a:lnTo>
                    <a:lnTo>
                      <a:pt x="455" y="297"/>
                    </a:lnTo>
                    <a:lnTo>
                      <a:pt x="453" y="297"/>
                    </a:lnTo>
                    <a:lnTo>
                      <a:pt x="451" y="299"/>
                    </a:lnTo>
                    <a:lnTo>
                      <a:pt x="449" y="299"/>
                    </a:lnTo>
                    <a:lnTo>
                      <a:pt x="449" y="301"/>
                    </a:lnTo>
                    <a:lnTo>
                      <a:pt x="449" y="303"/>
                    </a:lnTo>
                    <a:lnTo>
                      <a:pt x="451" y="305"/>
                    </a:lnTo>
                    <a:lnTo>
                      <a:pt x="451" y="307"/>
                    </a:lnTo>
                    <a:lnTo>
                      <a:pt x="451" y="309"/>
                    </a:lnTo>
                    <a:lnTo>
                      <a:pt x="451" y="311"/>
                    </a:lnTo>
                    <a:lnTo>
                      <a:pt x="451" y="313"/>
                    </a:lnTo>
                    <a:lnTo>
                      <a:pt x="451" y="314"/>
                    </a:lnTo>
                    <a:lnTo>
                      <a:pt x="451" y="316"/>
                    </a:lnTo>
                    <a:lnTo>
                      <a:pt x="451" y="318"/>
                    </a:lnTo>
                    <a:lnTo>
                      <a:pt x="451" y="320"/>
                    </a:lnTo>
                    <a:lnTo>
                      <a:pt x="451" y="322"/>
                    </a:lnTo>
                    <a:lnTo>
                      <a:pt x="453" y="322"/>
                    </a:lnTo>
                    <a:lnTo>
                      <a:pt x="453" y="324"/>
                    </a:lnTo>
                    <a:lnTo>
                      <a:pt x="455" y="324"/>
                    </a:lnTo>
                    <a:lnTo>
                      <a:pt x="455" y="326"/>
                    </a:lnTo>
                    <a:lnTo>
                      <a:pt x="457" y="326"/>
                    </a:lnTo>
                    <a:lnTo>
                      <a:pt x="459" y="326"/>
                    </a:lnTo>
                    <a:lnTo>
                      <a:pt x="460" y="326"/>
                    </a:lnTo>
                    <a:lnTo>
                      <a:pt x="460" y="324"/>
                    </a:lnTo>
                    <a:lnTo>
                      <a:pt x="460" y="322"/>
                    </a:lnTo>
                    <a:lnTo>
                      <a:pt x="460" y="320"/>
                    </a:lnTo>
                    <a:lnTo>
                      <a:pt x="462" y="320"/>
                    </a:lnTo>
                    <a:lnTo>
                      <a:pt x="462" y="318"/>
                    </a:lnTo>
                    <a:lnTo>
                      <a:pt x="460" y="318"/>
                    </a:lnTo>
                    <a:lnTo>
                      <a:pt x="460" y="316"/>
                    </a:lnTo>
                    <a:lnTo>
                      <a:pt x="460" y="314"/>
                    </a:lnTo>
                    <a:lnTo>
                      <a:pt x="462" y="314"/>
                    </a:lnTo>
                    <a:lnTo>
                      <a:pt x="462" y="313"/>
                    </a:lnTo>
                    <a:lnTo>
                      <a:pt x="464" y="313"/>
                    </a:lnTo>
                    <a:lnTo>
                      <a:pt x="466" y="313"/>
                    </a:lnTo>
                    <a:lnTo>
                      <a:pt x="468" y="311"/>
                    </a:lnTo>
                    <a:lnTo>
                      <a:pt x="470" y="309"/>
                    </a:lnTo>
                    <a:lnTo>
                      <a:pt x="470" y="307"/>
                    </a:lnTo>
                    <a:lnTo>
                      <a:pt x="470" y="305"/>
                    </a:lnTo>
                    <a:lnTo>
                      <a:pt x="470" y="303"/>
                    </a:lnTo>
                    <a:lnTo>
                      <a:pt x="472" y="303"/>
                    </a:lnTo>
                    <a:lnTo>
                      <a:pt x="472" y="305"/>
                    </a:lnTo>
                    <a:lnTo>
                      <a:pt x="474" y="305"/>
                    </a:lnTo>
                    <a:lnTo>
                      <a:pt x="476" y="305"/>
                    </a:lnTo>
                    <a:lnTo>
                      <a:pt x="478" y="305"/>
                    </a:lnTo>
                    <a:lnTo>
                      <a:pt x="478" y="303"/>
                    </a:lnTo>
                    <a:lnTo>
                      <a:pt x="480" y="303"/>
                    </a:lnTo>
                    <a:lnTo>
                      <a:pt x="482" y="303"/>
                    </a:lnTo>
                    <a:lnTo>
                      <a:pt x="483" y="305"/>
                    </a:lnTo>
                    <a:lnTo>
                      <a:pt x="482" y="307"/>
                    </a:lnTo>
                    <a:lnTo>
                      <a:pt x="482" y="309"/>
                    </a:lnTo>
                    <a:lnTo>
                      <a:pt x="480" y="311"/>
                    </a:lnTo>
                    <a:lnTo>
                      <a:pt x="480" y="313"/>
                    </a:lnTo>
                    <a:lnTo>
                      <a:pt x="480" y="314"/>
                    </a:lnTo>
                    <a:lnTo>
                      <a:pt x="478" y="314"/>
                    </a:lnTo>
                    <a:lnTo>
                      <a:pt x="478" y="316"/>
                    </a:lnTo>
                    <a:lnTo>
                      <a:pt x="478" y="318"/>
                    </a:lnTo>
                    <a:lnTo>
                      <a:pt x="478" y="320"/>
                    </a:lnTo>
                    <a:lnTo>
                      <a:pt x="478" y="322"/>
                    </a:lnTo>
                    <a:lnTo>
                      <a:pt x="476" y="322"/>
                    </a:lnTo>
                    <a:lnTo>
                      <a:pt x="476" y="324"/>
                    </a:lnTo>
                    <a:lnTo>
                      <a:pt x="476" y="326"/>
                    </a:lnTo>
                    <a:lnTo>
                      <a:pt x="474" y="326"/>
                    </a:lnTo>
                    <a:lnTo>
                      <a:pt x="474" y="328"/>
                    </a:lnTo>
                    <a:lnTo>
                      <a:pt x="474" y="330"/>
                    </a:lnTo>
                    <a:lnTo>
                      <a:pt x="472" y="330"/>
                    </a:lnTo>
                    <a:lnTo>
                      <a:pt x="472" y="332"/>
                    </a:lnTo>
                    <a:lnTo>
                      <a:pt x="470" y="332"/>
                    </a:lnTo>
                    <a:lnTo>
                      <a:pt x="470" y="334"/>
                    </a:lnTo>
                    <a:lnTo>
                      <a:pt x="468" y="336"/>
                    </a:lnTo>
                    <a:lnTo>
                      <a:pt x="468" y="337"/>
                    </a:lnTo>
                    <a:lnTo>
                      <a:pt x="470" y="337"/>
                    </a:lnTo>
                    <a:lnTo>
                      <a:pt x="472" y="337"/>
                    </a:lnTo>
                    <a:lnTo>
                      <a:pt x="474" y="337"/>
                    </a:lnTo>
                    <a:lnTo>
                      <a:pt x="476" y="336"/>
                    </a:lnTo>
                    <a:lnTo>
                      <a:pt x="476" y="334"/>
                    </a:lnTo>
                    <a:lnTo>
                      <a:pt x="476" y="332"/>
                    </a:lnTo>
                    <a:lnTo>
                      <a:pt x="478" y="332"/>
                    </a:lnTo>
                    <a:lnTo>
                      <a:pt x="478" y="330"/>
                    </a:lnTo>
                    <a:lnTo>
                      <a:pt x="480" y="330"/>
                    </a:lnTo>
                    <a:lnTo>
                      <a:pt x="482" y="330"/>
                    </a:lnTo>
                    <a:lnTo>
                      <a:pt x="482" y="332"/>
                    </a:lnTo>
                    <a:lnTo>
                      <a:pt x="483" y="332"/>
                    </a:lnTo>
                    <a:lnTo>
                      <a:pt x="485" y="332"/>
                    </a:lnTo>
                    <a:lnTo>
                      <a:pt x="487" y="332"/>
                    </a:lnTo>
                    <a:lnTo>
                      <a:pt x="489" y="334"/>
                    </a:lnTo>
                    <a:lnTo>
                      <a:pt x="491" y="334"/>
                    </a:lnTo>
                    <a:lnTo>
                      <a:pt x="491" y="336"/>
                    </a:lnTo>
                    <a:lnTo>
                      <a:pt x="491" y="337"/>
                    </a:lnTo>
                    <a:lnTo>
                      <a:pt x="491" y="339"/>
                    </a:lnTo>
                    <a:lnTo>
                      <a:pt x="491" y="341"/>
                    </a:lnTo>
                    <a:lnTo>
                      <a:pt x="493" y="343"/>
                    </a:lnTo>
                    <a:lnTo>
                      <a:pt x="495" y="343"/>
                    </a:lnTo>
                    <a:lnTo>
                      <a:pt x="497" y="343"/>
                    </a:lnTo>
                    <a:lnTo>
                      <a:pt x="497" y="341"/>
                    </a:lnTo>
                    <a:lnTo>
                      <a:pt x="499" y="341"/>
                    </a:lnTo>
                    <a:lnTo>
                      <a:pt x="499" y="343"/>
                    </a:lnTo>
                    <a:lnTo>
                      <a:pt x="501" y="343"/>
                    </a:lnTo>
                    <a:lnTo>
                      <a:pt x="501" y="345"/>
                    </a:lnTo>
                    <a:lnTo>
                      <a:pt x="501" y="347"/>
                    </a:lnTo>
                    <a:lnTo>
                      <a:pt x="503" y="347"/>
                    </a:lnTo>
                    <a:lnTo>
                      <a:pt x="505" y="347"/>
                    </a:lnTo>
                    <a:lnTo>
                      <a:pt x="505" y="345"/>
                    </a:lnTo>
                    <a:lnTo>
                      <a:pt x="505" y="343"/>
                    </a:lnTo>
                    <a:lnTo>
                      <a:pt x="505" y="341"/>
                    </a:lnTo>
                    <a:lnTo>
                      <a:pt x="507" y="339"/>
                    </a:lnTo>
                    <a:lnTo>
                      <a:pt x="508" y="339"/>
                    </a:lnTo>
                    <a:lnTo>
                      <a:pt x="510" y="339"/>
                    </a:lnTo>
                    <a:lnTo>
                      <a:pt x="512" y="339"/>
                    </a:lnTo>
                    <a:lnTo>
                      <a:pt x="514" y="339"/>
                    </a:lnTo>
                    <a:lnTo>
                      <a:pt x="514" y="341"/>
                    </a:lnTo>
                    <a:lnTo>
                      <a:pt x="516" y="341"/>
                    </a:lnTo>
                    <a:lnTo>
                      <a:pt x="516" y="343"/>
                    </a:lnTo>
                    <a:lnTo>
                      <a:pt x="518" y="343"/>
                    </a:lnTo>
                    <a:lnTo>
                      <a:pt x="520" y="345"/>
                    </a:lnTo>
                    <a:lnTo>
                      <a:pt x="522" y="345"/>
                    </a:lnTo>
                    <a:lnTo>
                      <a:pt x="522" y="347"/>
                    </a:lnTo>
                    <a:lnTo>
                      <a:pt x="524" y="347"/>
                    </a:lnTo>
                    <a:lnTo>
                      <a:pt x="526" y="349"/>
                    </a:lnTo>
                    <a:lnTo>
                      <a:pt x="528" y="349"/>
                    </a:lnTo>
                    <a:lnTo>
                      <a:pt x="530" y="349"/>
                    </a:lnTo>
                    <a:lnTo>
                      <a:pt x="531" y="349"/>
                    </a:lnTo>
                    <a:lnTo>
                      <a:pt x="531" y="347"/>
                    </a:lnTo>
                    <a:lnTo>
                      <a:pt x="531" y="345"/>
                    </a:lnTo>
                    <a:lnTo>
                      <a:pt x="531" y="343"/>
                    </a:lnTo>
                    <a:lnTo>
                      <a:pt x="530" y="341"/>
                    </a:lnTo>
                    <a:lnTo>
                      <a:pt x="530" y="339"/>
                    </a:lnTo>
                    <a:lnTo>
                      <a:pt x="531" y="337"/>
                    </a:lnTo>
                    <a:lnTo>
                      <a:pt x="533" y="337"/>
                    </a:lnTo>
                    <a:lnTo>
                      <a:pt x="535" y="339"/>
                    </a:lnTo>
                    <a:lnTo>
                      <a:pt x="537" y="339"/>
                    </a:lnTo>
                    <a:lnTo>
                      <a:pt x="537" y="341"/>
                    </a:lnTo>
                    <a:lnTo>
                      <a:pt x="539" y="341"/>
                    </a:lnTo>
                    <a:lnTo>
                      <a:pt x="539" y="343"/>
                    </a:lnTo>
                    <a:lnTo>
                      <a:pt x="541" y="343"/>
                    </a:lnTo>
                    <a:lnTo>
                      <a:pt x="541" y="345"/>
                    </a:lnTo>
                    <a:lnTo>
                      <a:pt x="541" y="347"/>
                    </a:lnTo>
                    <a:lnTo>
                      <a:pt x="539" y="347"/>
                    </a:lnTo>
                    <a:lnTo>
                      <a:pt x="539" y="349"/>
                    </a:lnTo>
                    <a:lnTo>
                      <a:pt x="537" y="349"/>
                    </a:lnTo>
                    <a:lnTo>
                      <a:pt x="537" y="351"/>
                    </a:lnTo>
                    <a:lnTo>
                      <a:pt x="535" y="351"/>
                    </a:lnTo>
                    <a:lnTo>
                      <a:pt x="535" y="353"/>
                    </a:lnTo>
                    <a:lnTo>
                      <a:pt x="533" y="353"/>
                    </a:lnTo>
                    <a:lnTo>
                      <a:pt x="535" y="355"/>
                    </a:lnTo>
                    <a:lnTo>
                      <a:pt x="535" y="357"/>
                    </a:lnTo>
                    <a:lnTo>
                      <a:pt x="537" y="357"/>
                    </a:lnTo>
                    <a:lnTo>
                      <a:pt x="537" y="359"/>
                    </a:lnTo>
                    <a:lnTo>
                      <a:pt x="539" y="359"/>
                    </a:lnTo>
                    <a:lnTo>
                      <a:pt x="541" y="361"/>
                    </a:lnTo>
                    <a:lnTo>
                      <a:pt x="543" y="361"/>
                    </a:lnTo>
                    <a:lnTo>
                      <a:pt x="543" y="362"/>
                    </a:lnTo>
                    <a:lnTo>
                      <a:pt x="545" y="364"/>
                    </a:lnTo>
                    <a:lnTo>
                      <a:pt x="545" y="366"/>
                    </a:lnTo>
                    <a:lnTo>
                      <a:pt x="545" y="368"/>
                    </a:lnTo>
                    <a:lnTo>
                      <a:pt x="547" y="368"/>
                    </a:lnTo>
                    <a:lnTo>
                      <a:pt x="549" y="370"/>
                    </a:lnTo>
                    <a:lnTo>
                      <a:pt x="551" y="370"/>
                    </a:lnTo>
                    <a:lnTo>
                      <a:pt x="553" y="370"/>
                    </a:lnTo>
                    <a:lnTo>
                      <a:pt x="553" y="372"/>
                    </a:lnTo>
                    <a:lnTo>
                      <a:pt x="555" y="372"/>
                    </a:lnTo>
                    <a:lnTo>
                      <a:pt x="556" y="372"/>
                    </a:lnTo>
                    <a:lnTo>
                      <a:pt x="558" y="372"/>
                    </a:lnTo>
                    <a:lnTo>
                      <a:pt x="558" y="374"/>
                    </a:lnTo>
                    <a:lnTo>
                      <a:pt x="560" y="374"/>
                    </a:lnTo>
                    <a:lnTo>
                      <a:pt x="560" y="376"/>
                    </a:lnTo>
                    <a:lnTo>
                      <a:pt x="562" y="376"/>
                    </a:lnTo>
                    <a:lnTo>
                      <a:pt x="562" y="378"/>
                    </a:lnTo>
                    <a:lnTo>
                      <a:pt x="564" y="378"/>
                    </a:lnTo>
                    <a:lnTo>
                      <a:pt x="564" y="380"/>
                    </a:lnTo>
                    <a:lnTo>
                      <a:pt x="564" y="382"/>
                    </a:lnTo>
                    <a:lnTo>
                      <a:pt x="566" y="382"/>
                    </a:lnTo>
                    <a:lnTo>
                      <a:pt x="566" y="384"/>
                    </a:lnTo>
                    <a:lnTo>
                      <a:pt x="566" y="385"/>
                    </a:lnTo>
                    <a:lnTo>
                      <a:pt x="568" y="385"/>
                    </a:lnTo>
                    <a:lnTo>
                      <a:pt x="568" y="387"/>
                    </a:lnTo>
                    <a:lnTo>
                      <a:pt x="570" y="389"/>
                    </a:lnTo>
                    <a:lnTo>
                      <a:pt x="570" y="391"/>
                    </a:lnTo>
                    <a:lnTo>
                      <a:pt x="572" y="391"/>
                    </a:lnTo>
                    <a:lnTo>
                      <a:pt x="574" y="393"/>
                    </a:lnTo>
                    <a:lnTo>
                      <a:pt x="576" y="395"/>
                    </a:lnTo>
                    <a:lnTo>
                      <a:pt x="578" y="397"/>
                    </a:lnTo>
                    <a:lnTo>
                      <a:pt x="579" y="397"/>
                    </a:lnTo>
                    <a:lnTo>
                      <a:pt x="579" y="399"/>
                    </a:lnTo>
                    <a:lnTo>
                      <a:pt x="579" y="401"/>
                    </a:lnTo>
                    <a:lnTo>
                      <a:pt x="579" y="403"/>
                    </a:lnTo>
                    <a:lnTo>
                      <a:pt x="578" y="403"/>
                    </a:lnTo>
                    <a:lnTo>
                      <a:pt x="578" y="405"/>
                    </a:lnTo>
                    <a:lnTo>
                      <a:pt x="576" y="405"/>
                    </a:lnTo>
                    <a:lnTo>
                      <a:pt x="574" y="405"/>
                    </a:lnTo>
                    <a:lnTo>
                      <a:pt x="572" y="407"/>
                    </a:lnTo>
                    <a:lnTo>
                      <a:pt x="570" y="407"/>
                    </a:lnTo>
                    <a:lnTo>
                      <a:pt x="570" y="409"/>
                    </a:lnTo>
                    <a:lnTo>
                      <a:pt x="570" y="410"/>
                    </a:lnTo>
                    <a:lnTo>
                      <a:pt x="570" y="412"/>
                    </a:lnTo>
                    <a:lnTo>
                      <a:pt x="572" y="412"/>
                    </a:lnTo>
                    <a:lnTo>
                      <a:pt x="574" y="412"/>
                    </a:lnTo>
                    <a:lnTo>
                      <a:pt x="576" y="414"/>
                    </a:lnTo>
                    <a:lnTo>
                      <a:pt x="578" y="414"/>
                    </a:lnTo>
                    <a:lnTo>
                      <a:pt x="579" y="416"/>
                    </a:lnTo>
                    <a:lnTo>
                      <a:pt x="579" y="418"/>
                    </a:lnTo>
                    <a:lnTo>
                      <a:pt x="581" y="418"/>
                    </a:lnTo>
                    <a:lnTo>
                      <a:pt x="579" y="420"/>
                    </a:lnTo>
                    <a:lnTo>
                      <a:pt x="579" y="422"/>
                    </a:lnTo>
                    <a:lnTo>
                      <a:pt x="578" y="422"/>
                    </a:lnTo>
                    <a:lnTo>
                      <a:pt x="578" y="424"/>
                    </a:lnTo>
                    <a:lnTo>
                      <a:pt x="576" y="424"/>
                    </a:lnTo>
                    <a:lnTo>
                      <a:pt x="574" y="424"/>
                    </a:lnTo>
                    <a:lnTo>
                      <a:pt x="572" y="426"/>
                    </a:lnTo>
                    <a:lnTo>
                      <a:pt x="570" y="426"/>
                    </a:lnTo>
                    <a:lnTo>
                      <a:pt x="570" y="428"/>
                    </a:lnTo>
                    <a:lnTo>
                      <a:pt x="570" y="430"/>
                    </a:lnTo>
                    <a:lnTo>
                      <a:pt x="572" y="430"/>
                    </a:lnTo>
                    <a:lnTo>
                      <a:pt x="572" y="432"/>
                    </a:lnTo>
                    <a:lnTo>
                      <a:pt x="570" y="432"/>
                    </a:lnTo>
                    <a:lnTo>
                      <a:pt x="570" y="433"/>
                    </a:lnTo>
                    <a:lnTo>
                      <a:pt x="568" y="435"/>
                    </a:lnTo>
                    <a:lnTo>
                      <a:pt x="566" y="437"/>
                    </a:lnTo>
                    <a:lnTo>
                      <a:pt x="564" y="437"/>
                    </a:lnTo>
                    <a:lnTo>
                      <a:pt x="564" y="439"/>
                    </a:lnTo>
                    <a:lnTo>
                      <a:pt x="562" y="439"/>
                    </a:lnTo>
                    <a:lnTo>
                      <a:pt x="560" y="441"/>
                    </a:lnTo>
                    <a:lnTo>
                      <a:pt x="558" y="443"/>
                    </a:lnTo>
                    <a:lnTo>
                      <a:pt x="556" y="445"/>
                    </a:lnTo>
                    <a:lnTo>
                      <a:pt x="556" y="447"/>
                    </a:lnTo>
                    <a:lnTo>
                      <a:pt x="556" y="449"/>
                    </a:lnTo>
                    <a:lnTo>
                      <a:pt x="556" y="451"/>
                    </a:lnTo>
                    <a:lnTo>
                      <a:pt x="556" y="455"/>
                    </a:lnTo>
                    <a:lnTo>
                      <a:pt x="556" y="457"/>
                    </a:lnTo>
                    <a:lnTo>
                      <a:pt x="555" y="458"/>
                    </a:lnTo>
                    <a:lnTo>
                      <a:pt x="555" y="460"/>
                    </a:lnTo>
                    <a:lnTo>
                      <a:pt x="555" y="462"/>
                    </a:lnTo>
                    <a:lnTo>
                      <a:pt x="555" y="464"/>
                    </a:lnTo>
                    <a:lnTo>
                      <a:pt x="555" y="466"/>
                    </a:lnTo>
                    <a:lnTo>
                      <a:pt x="555" y="468"/>
                    </a:lnTo>
                    <a:lnTo>
                      <a:pt x="555" y="470"/>
                    </a:lnTo>
                    <a:lnTo>
                      <a:pt x="556" y="470"/>
                    </a:lnTo>
                    <a:lnTo>
                      <a:pt x="555" y="470"/>
                    </a:lnTo>
                    <a:lnTo>
                      <a:pt x="556" y="470"/>
                    </a:lnTo>
                    <a:lnTo>
                      <a:pt x="556" y="472"/>
                    </a:lnTo>
                    <a:lnTo>
                      <a:pt x="556" y="474"/>
                    </a:lnTo>
                    <a:lnTo>
                      <a:pt x="555" y="474"/>
                    </a:lnTo>
                    <a:lnTo>
                      <a:pt x="555" y="476"/>
                    </a:lnTo>
                    <a:lnTo>
                      <a:pt x="555" y="478"/>
                    </a:lnTo>
                    <a:lnTo>
                      <a:pt x="555" y="480"/>
                    </a:lnTo>
                    <a:lnTo>
                      <a:pt x="555" y="481"/>
                    </a:lnTo>
                    <a:lnTo>
                      <a:pt x="555" y="483"/>
                    </a:lnTo>
                    <a:lnTo>
                      <a:pt x="555" y="485"/>
                    </a:lnTo>
                    <a:lnTo>
                      <a:pt x="555" y="487"/>
                    </a:lnTo>
                    <a:lnTo>
                      <a:pt x="555" y="489"/>
                    </a:lnTo>
                    <a:lnTo>
                      <a:pt x="555" y="491"/>
                    </a:lnTo>
                    <a:lnTo>
                      <a:pt x="555" y="493"/>
                    </a:lnTo>
                    <a:lnTo>
                      <a:pt x="555" y="495"/>
                    </a:lnTo>
                    <a:lnTo>
                      <a:pt x="553" y="495"/>
                    </a:lnTo>
                    <a:lnTo>
                      <a:pt x="553" y="497"/>
                    </a:lnTo>
                    <a:lnTo>
                      <a:pt x="553" y="499"/>
                    </a:lnTo>
                    <a:lnTo>
                      <a:pt x="551" y="499"/>
                    </a:lnTo>
                    <a:lnTo>
                      <a:pt x="551" y="501"/>
                    </a:lnTo>
                    <a:lnTo>
                      <a:pt x="551" y="503"/>
                    </a:lnTo>
                    <a:lnTo>
                      <a:pt x="551" y="505"/>
                    </a:lnTo>
                    <a:lnTo>
                      <a:pt x="551" y="506"/>
                    </a:lnTo>
                    <a:lnTo>
                      <a:pt x="551" y="508"/>
                    </a:lnTo>
                    <a:lnTo>
                      <a:pt x="549" y="508"/>
                    </a:lnTo>
                    <a:lnTo>
                      <a:pt x="549" y="510"/>
                    </a:lnTo>
                    <a:lnTo>
                      <a:pt x="549" y="512"/>
                    </a:lnTo>
                    <a:lnTo>
                      <a:pt x="549" y="514"/>
                    </a:lnTo>
                    <a:lnTo>
                      <a:pt x="549" y="516"/>
                    </a:lnTo>
                    <a:lnTo>
                      <a:pt x="549" y="518"/>
                    </a:lnTo>
                    <a:lnTo>
                      <a:pt x="549" y="520"/>
                    </a:lnTo>
                    <a:lnTo>
                      <a:pt x="549" y="522"/>
                    </a:lnTo>
                    <a:lnTo>
                      <a:pt x="549" y="524"/>
                    </a:lnTo>
                    <a:lnTo>
                      <a:pt x="547" y="524"/>
                    </a:lnTo>
                    <a:lnTo>
                      <a:pt x="547" y="526"/>
                    </a:lnTo>
                    <a:lnTo>
                      <a:pt x="547" y="528"/>
                    </a:lnTo>
                    <a:lnTo>
                      <a:pt x="547" y="529"/>
                    </a:lnTo>
                    <a:lnTo>
                      <a:pt x="549" y="529"/>
                    </a:lnTo>
                    <a:lnTo>
                      <a:pt x="549" y="531"/>
                    </a:lnTo>
                    <a:lnTo>
                      <a:pt x="549" y="533"/>
                    </a:lnTo>
                    <a:lnTo>
                      <a:pt x="547" y="533"/>
                    </a:lnTo>
                    <a:lnTo>
                      <a:pt x="547" y="535"/>
                    </a:lnTo>
                    <a:lnTo>
                      <a:pt x="545" y="535"/>
                    </a:lnTo>
                    <a:lnTo>
                      <a:pt x="545" y="537"/>
                    </a:lnTo>
                    <a:lnTo>
                      <a:pt x="545" y="539"/>
                    </a:lnTo>
                    <a:lnTo>
                      <a:pt x="547" y="539"/>
                    </a:lnTo>
                    <a:lnTo>
                      <a:pt x="549" y="539"/>
                    </a:lnTo>
                    <a:lnTo>
                      <a:pt x="549" y="541"/>
                    </a:lnTo>
                    <a:lnTo>
                      <a:pt x="549" y="543"/>
                    </a:lnTo>
                    <a:lnTo>
                      <a:pt x="549" y="545"/>
                    </a:lnTo>
                    <a:lnTo>
                      <a:pt x="549" y="547"/>
                    </a:lnTo>
                    <a:lnTo>
                      <a:pt x="547" y="547"/>
                    </a:lnTo>
                    <a:lnTo>
                      <a:pt x="547" y="549"/>
                    </a:lnTo>
                    <a:lnTo>
                      <a:pt x="549" y="549"/>
                    </a:lnTo>
                    <a:lnTo>
                      <a:pt x="549" y="551"/>
                    </a:lnTo>
                    <a:lnTo>
                      <a:pt x="547" y="551"/>
                    </a:lnTo>
                    <a:lnTo>
                      <a:pt x="547" y="553"/>
                    </a:lnTo>
                    <a:lnTo>
                      <a:pt x="545" y="553"/>
                    </a:lnTo>
                    <a:lnTo>
                      <a:pt x="543" y="553"/>
                    </a:lnTo>
                    <a:lnTo>
                      <a:pt x="541" y="553"/>
                    </a:lnTo>
                    <a:lnTo>
                      <a:pt x="539" y="553"/>
                    </a:lnTo>
                    <a:lnTo>
                      <a:pt x="537" y="553"/>
                    </a:lnTo>
                    <a:lnTo>
                      <a:pt x="537" y="551"/>
                    </a:lnTo>
                    <a:lnTo>
                      <a:pt x="535" y="551"/>
                    </a:lnTo>
                    <a:lnTo>
                      <a:pt x="533" y="551"/>
                    </a:lnTo>
                    <a:lnTo>
                      <a:pt x="531" y="551"/>
                    </a:lnTo>
                    <a:lnTo>
                      <a:pt x="531" y="549"/>
                    </a:lnTo>
                    <a:lnTo>
                      <a:pt x="530" y="549"/>
                    </a:lnTo>
                    <a:lnTo>
                      <a:pt x="528" y="549"/>
                    </a:lnTo>
                    <a:lnTo>
                      <a:pt x="528" y="547"/>
                    </a:lnTo>
                    <a:lnTo>
                      <a:pt x="526" y="547"/>
                    </a:lnTo>
                    <a:lnTo>
                      <a:pt x="524" y="547"/>
                    </a:lnTo>
                    <a:lnTo>
                      <a:pt x="524" y="545"/>
                    </a:lnTo>
                    <a:lnTo>
                      <a:pt x="524" y="543"/>
                    </a:lnTo>
                    <a:lnTo>
                      <a:pt x="522" y="543"/>
                    </a:lnTo>
                    <a:lnTo>
                      <a:pt x="522" y="541"/>
                    </a:lnTo>
                    <a:lnTo>
                      <a:pt x="520" y="539"/>
                    </a:lnTo>
                    <a:lnTo>
                      <a:pt x="518" y="539"/>
                    </a:lnTo>
                    <a:lnTo>
                      <a:pt x="516" y="539"/>
                    </a:lnTo>
                    <a:lnTo>
                      <a:pt x="514" y="539"/>
                    </a:lnTo>
                    <a:lnTo>
                      <a:pt x="512" y="539"/>
                    </a:lnTo>
                    <a:lnTo>
                      <a:pt x="512" y="537"/>
                    </a:lnTo>
                    <a:lnTo>
                      <a:pt x="510" y="537"/>
                    </a:lnTo>
                    <a:lnTo>
                      <a:pt x="508" y="537"/>
                    </a:lnTo>
                    <a:lnTo>
                      <a:pt x="507" y="537"/>
                    </a:lnTo>
                    <a:lnTo>
                      <a:pt x="505" y="537"/>
                    </a:lnTo>
                    <a:lnTo>
                      <a:pt x="503" y="537"/>
                    </a:lnTo>
                    <a:lnTo>
                      <a:pt x="503" y="535"/>
                    </a:lnTo>
                    <a:lnTo>
                      <a:pt x="501" y="535"/>
                    </a:lnTo>
                    <a:lnTo>
                      <a:pt x="499" y="535"/>
                    </a:lnTo>
                    <a:lnTo>
                      <a:pt x="499" y="537"/>
                    </a:lnTo>
                    <a:lnTo>
                      <a:pt x="497" y="537"/>
                    </a:lnTo>
                    <a:lnTo>
                      <a:pt x="495" y="537"/>
                    </a:lnTo>
                    <a:lnTo>
                      <a:pt x="493" y="537"/>
                    </a:lnTo>
                    <a:lnTo>
                      <a:pt x="491" y="537"/>
                    </a:lnTo>
                    <a:lnTo>
                      <a:pt x="489" y="537"/>
                    </a:lnTo>
                    <a:lnTo>
                      <a:pt x="489" y="535"/>
                    </a:lnTo>
                    <a:lnTo>
                      <a:pt x="489" y="537"/>
                    </a:lnTo>
                    <a:lnTo>
                      <a:pt x="487" y="537"/>
                    </a:lnTo>
                    <a:lnTo>
                      <a:pt x="485" y="537"/>
                    </a:lnTo>
                    <a:lnTo>
                      <a:pt x="483" y="537"/>
                    </a:lnTo>
                    <a:lnTo>
                      <a:pt x="482" y="537"/>
                    </a:lnTo>
                    <a:lnTo>
                      <a:pt x="480" y="537"/>
                    </a:lnTo>
                    <a:lnTo>
                      <a:pt x="480" y="539"/>
                    </a:lnTo>
                    <a:lnTo>
                      <a:pt x="478" y="539"/>
                    </a:lnTo>
                    <a:lnTo>
                      <a:pt x="476" y="539"/>
                    </a:lnTo>
                    <a:lnTo>
                      <a:pt x="474" y="539"/>
                    </a:lnTo>
                    <a:lnTo>
                      <a:pt x="472" y="539"/>
                    </a:lnTo>
                    <a:lnTo>
                      <a:pt x="472" y="541"/>
                    </a:lnTo>
                    <a:lnTo>
                      <a:pt x="470" y="541"/>
                    </a:lnTo>
                    <a:lnTo>
                      <a:pt x="468" y="541"/>
                    </a:lnTo>
                    <a:lnTo>
                      <a:pt x="466" y="543"/>
                    </a:lnTo>
                    <a:lnTo>
                      <a:pt x="464" y="543"/>
                    </a:lnTo>
                    <a:lnTo>
                      <a:pt x="462" y="543"/>
                    </a:lnTo>
                    <a:lnTo>
                      <a:pt x="460" y="543"/>
                    </a:lnTo>
                    <a:lnTo>
                      <a:pt x="460" y="545"/>
                    </a:lnTo>
                    <a:lnTo>
                      <a:pt x="459" y="545"/>
                    </a:lnTo>
                    <a:lnTo>
                      <a:pt x="459" y="547"/>
                    </a:lnTo>
                    <a:lnTo>
                      <a:pt x="457" y="547"/>
                    </a:lnTo>
                    <a:lnTo>
                      <a:pt x="457" y="549"/>
                    </a:lnTo>
                    <a:lnTo>
                      <a:pt x="455" y="549"/>
                    </a:lnTo>
                    <a:lnTo>
                      <a:pt x="455" y="551"/>
                    </a:lnTo>
                    <a:lnTo>
                      <a:pt x="453" y="551"/>
                    </a:lnTo>
                    <a:lnTo>
                      <a:pt x="451" y="551"/>
                    </a:lnTo>
                    <a:lnTo>
                      <a:pt x="449" y="553"/>
                    </a:lnTo>
                    <a:lnTo>
                      <a:pt x="449" y="554"/>
                    </a:lnTo>
                    <a:lnTo>
                      <a:pt x="447" y="554"/>
                    </a:lnTo>
                    <a:lnTo>
                      <a:pt x="447" y="556"/>
                    </a:lnTo>
                    <a:lnTo>
                      <a:pt x="447" y="558"/>
                    </a:lnTo>
                    <a:lnTo>
                      <a:pt x="445" y="558"/>
                    </a:lnTo>
                    <a:lnTo>
                      <a:pt x="445" y="556"/>
                    </a:lnTo>
                    <a:lnTo>
                      <a:pt x="443" y="556"/>
                    </a:lnTo>
                    <a:lnTo>
                      <a:pt x="443" y="558"/>
                    </a:lnTo>
                    <a:lnTo>
                      <a:pt x="441" y="558"/>
                    </a:lnTo>
                    <a:lnTo>
                      <a:pt x="441" y="560"/>
                    </a:lnTo>
                    <a:lnTo>
                      <a:pt x="441" y="562"/>
                    </a:lnTo>
                    <a:lnTo>
                      <a:pt x="439" y="562"/>
                    </a:lnTo>
                    <a:lnTo>
                      <a:pt x="439" y="560"/>
                    </a:lnTo>
                    <a:lnTo>
                      <a:pt x="437" y="562"/>
                    </a:lnTo>
                    <a:lnTo>
                      <a:pt x="437" y="564"/>
                    </a:lnTo>
                    <a:lnTo>
                      <a:pt x="435" y="564"/>
                    </a:lnTo>
                    <a:lnTo>
                      <a:pt x="435" y="566"/>
                    </a:lnTo>
                    <a:lnTo>
                      <a:pt x="434" y="566"/>
                    </a:lnTo>
                    <a:lnTo>
                      <a:pt x="434" y="568"/>
                    </a:lnTo>
                    <a:lnTo>
                      <a:pt x="434" y="570"/>
                    </a:lnTo>
                    <a:lnTo>
                      <a:pt x="432" y="570"/>
                    </a:lnTo>
                    <a:lnTo>
                      <a:pt x="430" y="570"/>
                    </a:lnTo>
                    <a:lnTo>
                      <a:pt x="430" y="572"/>
                    </a:lnTo>
                    <a:lnTo>
                      <a:pt x="428" y="572"/>
                    </a:lnTo>
                    <a:lnTo>
                      <a:pt x="428" y="574"/>
                    </a:lnTo>
                    <a:lnTo>
                      <a:pt x="428" y="576"/>
                    </a:lnTo>
                    <a:lnTo>
                      <a:pt x="426" y="576"/>
                    </a:lnTo>
                    <a:lnTo>
                      <a:pt x="424" y="576"/>
                    </a:lnTo>
                    <a:lnTo>
                      <a:pt x="424" y="577"/>
                    </a:lnTo>
                    <a:lnTo>
                      <a:pt x="422" y="579"/>
                    </a:lnTo>
                    <a:lnTo>
                      <a:pt x="422" y="581"/>
                    </a:lnTo>
                    <a:lnTo>
                      <a:pt x="420" y="581"/>
                    </a:lnTo>
                    <a:lnTo>
                      <a:pt x="420" y="583"/>
                    </a:lnTo>
                    <a:lnTo>
                      <a:pt x="418" y="583"/>
                    </a:lnTo>
                    <a:lnTo>
                      <a:pt x="418" y="585"/>
                    </a:lnTo>
                    <a:lnTo>
                      <a:pt x="416" y="585"/>
                    </a:lnTo>
                    <a:lnTo>
                      <a:pt x="414" y="585"/>
                    </a:lnTo>
                    <a:lnTo>
                      <a:pt x="414" y="587"/>
                    </a:lnTo>
                    <a:lnTo>
                      <a:pt x="412" y="587"/>
                    </a:lnTo>
                    <a:lnTo>
                      <a:pt x="411" y="587"/>
                    </a:lnTo>
                    <a:lnTo>
                      <a:pt x="411" y="585"/>
                    </a:lnTo>
                    <a:lnTo>
                      <a:pt x="409" y="585"/>
                    </a:lnTo>
                    <a:lnTo>
                      <a:pt x="407" y="585"/>
                    </a:lnTo>
                    <a:lnTo>
                      <a:pt x="405" y="585"/>
                    </a:lnTo>
                    <a:lnTo>
                      <a:pt x="403" y="585"/>
                    </a:lnTo>
                    <a:lnTo>
                      <a:pt x="403" y="587"/>
                    </a:lnTo>
                    <a:lnTo>
                      <a:pt x="401" y="587"/>
                    </a:lnTo>
                    <a:lnTo>
                      <a:pt x="399" y="587"/>
                    </a:lnTo>
                    <a:lnTo>
                      <a:pt x="399" y="589"/>
                    </a:lnTo>
                    <a:lnTo>
                      <a:pt x="397" y="589"/>
                    </a:lnTo>
                    <a:lnTo>
                      <a:pt x="397" y="591"/>
                    </a:lnTo>
                    <a:lnTo>
                      <a:pt x="395" y="591"/>
                    </a:lnTo>
                    <a:lnTo>
                      <a:pt x="393" y="591"/>
                    </a:lnTo>
                    <a:lnTo>
                      <a:pt x="391" y="591"/>
                    </a:lnTo>
                    <a:lnTo>
                      <a:pt x="391" y="593"/>
                    </a:lnTo>
                    <a:lnTo>
                      <a:pt x="393" y="593"/>
                    </a:lnTo>
                    <a:lnTo>
                      <a:pt x="393" y="595"/>
                    </a:lnTo>
                    <a:lnTo>
                      <a:pt x="395" y="595"/>
                    </a:lnTo>
                    <a:lnTo>
                      <a:pt x="395" y="597"/>
                    </a:lnTo>
                    <a:lnTo>
                      <a:pt x="393" y="597"/>
                    </a:lnTo>
                    <a:lnTo>
                      <a:pt x="393" y="599"/>
                    </a:lnTo>
                    <a:lnTo>
                      <a:pt x="393" y="601"/>
                    </a:lnTo>
                    <a:lnTo>
                      <a:pt x="395" y="601"/>
                    </a:lnTo>
                    <a:lnTo>
                      <a:pt x="395" y="602"/>
                    </a:lnTo>
                    <a:lnTo>
                      <a:pt x="397" y="602"/>
                    </a:lnTo>
                    <a:lnTo>
                      <a:pt x="397" y="604"/>
                    </a:lnTo>
                    <a:lnTo>
                      <a:pt x="399" y="604"/>
                    </a:lnTo>
                    <a:lnTo>
                      <a:pt x="399" y="606"/>
                    </a:lnTo>
                    <a:lnTo>
                      <a:pt x="399" y="608"/>
                    </a:lnTo>
                    <a:lnTo>
                      <a:pt x="399" y="610"/>
                    </a:lnTo>
                    <a:lnTo>
                      <a:pt x="397" y="610"/>
                    </a:lnTo>
                    <a:lnTo>
                      <a:pt x="397" y="612"/>
                    </a:lnTo>
                    <a:lnTo>
                      <a:pt x="395" y="612"/>
                    </a:lnTo>
                    <a:lnTo>
                      <a:pt x="393" y="612"/>
                    </a:lnTo>
                    <a:lnTo>
                      <a:pt x="391" y="610"/>
                    </a:lnTo>
                    <a:lnTo>
                      <a:pt x="391" y="608"/>
                    </a:lnTo>
                    <a:lnTo>
                      <a:pt x="389" y="608"/>
                    </a:lnTo>
                    <a:lnTo>
                      <a:pt x="387" y="608"/>
                    </a:lnTo>
                    <a:lnTo>
                      <a:pt x="386" y="608"/>
                    </a:lnTo>
                    <a:lnTo>
                      <a:pt x="384" y="608"/>
                    </a:lnTo>
                    <a:lnTo>
                      <a:pt x="384" y="610"/>
                    </a:lnTo>
                    <a:lnTo>
                      <a:pt x="382" y="610"/>
                    </a:lnTo>
                    <a:lnTo>
                      <a:pt x="382" y="612"/>
                    </a:lnTo>
                    <a:lnTo>
                      <a:pt x="382" y="614"/>
                    </a:lnTo>
                    <a:lnTo>
                      <a:pt x="382" y="616"/>
                    </a:lnTo>
                    <a:lnTo>
                      <a:pt x="384" y="616"/>
                    </a:lnTo>
                    <a:lnTo>
                      <a:pt x="384" y="618"/>
                    </a:lnTo>
                    <a:lnTo>
                      <a:pt x="382" y="618"/>
                    </a:lnTo>
                    <a:lnTo>
                      <a:pt x="380" y="618"/>
                    </a:lnTo>
                    <a:lnTo>
                      <a:pt x="378" y="618"/>
                    </a:lnTo>
                    <a:lnTo>
                      <a:pt x="376" y="618"/>
                    </a:lnTo>
                    <a:lnTo>
                      <a:pt x="374" y="620"/>
                    </a:lnTo>
                    <a:lnTo>
                      <a:pt x="374" y="622"/>
                    </a:lnTo>
                    <a:lnTo>
                      <a:pt x="376" y="622"/>
                    </a:lnTo>
                    <a:lnTo>
                      <a:pt x="376" y="624"/>
                    </a:lnTo>
                    <a:lnTo>
                      <a:pt x="376" y="625"/>
                    </a:lnTo>
                    <a:lnTo>
                      <a:pt x="374" y="625"/>
                    </a:lnTo>
                    <a:lnTo>
                      <a:pt x="374" y="627"/>
                    </a:lnTo>
                    <a:lnTo>
                      <a:pt x="374" y="629"/>
                    </a:lnTo>
                    <a:lnTo>
                      <a:pt x="372" y="629"/>
                    </a:lnTo>
                    <a:lnTo>
                      <a:pt x="370" y="629"/>
                    </a:lnTo>
                    <a:lnTo>
                      <a:pt x="368" y="629"/>
                    </a:lnTo>
                    <a:lnTo>
                      <a:pt x="366" y="629"/>
                    </a:lnTo>
                    <a:lnTo>
                      <a:pt x="364" y="629"/>
                    </a:lnTo>
                    <a:lnTo>
                      <a:pt x="364" y="631"/>
                    </a:lnTo>
                    <a:lnTo>
                      <a:pt x="364" y="633"/>
                    </a:lnTo>
                    <a:lnTo>
                      <a:pt x="364" y="635"/>
                    </a:lnTo>
                    <a:lnTo>
                      <a:pt x="362" y="635"/>
                    </a:lnTo>
                    <a:lnTo>
                      <a:pt x="362" y="637"/>
                    </a:lnTo>
                    <a:lnTo>
                      <a:pt x="361" y="637"/>
                    </a:lnTo>
                    <a:lnTo>
                      <a:pt x="361" y="635"/>
                    </a:lnTo>
                    <a:lnTo>
                      <a:pt x="359" y="635"/>
                    </a:lnTo>
                    <a:lnTo>
                      <a:pt x="357" y="633"/>
                    </a:lnTo>
                    <a:lnTo>
                      <a:pt x="357" y="631"/>
                    </a:lnTo>
                    <a:lnTo>
                      <a:pt x="355" y="631"/>
                    </a:lnTo>
                    <a:lnTo>
                      <a:pt x="353" y="631"/>
                    </a:lnTo>
                    <a:lnTo>
                      <a:pt x="353" y="629"/>
                    </a:lnTo>
                    <a:lnTo>
                      <a:pt x="351" y="629"/>
                    </a:lnTo>
                    <a:lnTo>
                      <a:pt x="351" y="631"/>
                    </a:lnTo>
                    <a:lnTo>
                      <a:pt x="349" y="631"/>
                    </a:lnTo>
                    <a:lnTo>
                      <a:pt x="349" y="633"/>
                    </a:lnTo>
                    <a:lnTo>
                      <a:pt x="347" y="633"/>
                    </a:lnTo>
                    <a:lnTo>
                      <a:pt x="347" y="635"/>
                    </a:lnTo>
                    <a:lnTo>
                      <a:pt x="349" y="637"/>
                    </a:lnTo>
                    <a:lnTo>
                      <a:pt x="349" y="639"/>
                    </a:lnTo>
                    <a:lnTo>
                      <a:pt x="349" y="641"/>
                    </a:lnTo>
                    <a:lnTo>
                      <a:pt x="351" y="641"/>
                    </a:lnTo>
                    <a:lnTo>
                      <a:pt x="351" y="643"/>
                    </a:lnTo>
                    <a:lnTo>
                      <a:pt x="349" y="643"/>
                    </a:lnTo>
                    <a:lnTo>
                      <a:pt x="349" y="645"/>
                    </a:lnTo>
                    <a:lnTo>
                      <a:pt x="347" y="645"/>
                    </a:lnTo>
                    <a:lnTo>
                      <a:pt x="347" y="647"/>
                    </a:lnTo>
                    <a:lnTo>
                      <a:pt x="345" y="647"/>
                    </a:lnTo>
                    <a:lnTo>
                      <a:pt x="345" y="648"/>
                    </a:lnTo>
                    <a:lnTo>
                      <a:pt x="343" y="648"/>
                    </a:lnTo>
                    <a:lnTo>
                      <a:pt x="343" y="650"/>
                    </a:lnTo>
                    <a:lnTo>
                      <a:pt x="343" y="648"/>
                    </a:lnTo>
                    <a:lnTo>
                      <a:pt x="341" y="648"/>
                    </a:lnTo>
                    <a:lnTo>
                      <a:pt x="341" y="650"/>
                    </a:lnTo>
                    <a:lnTo>
                      <a:pt x="339" y="650"/>
                    </a:lnTo>
                    <a:lnTo>
                      <a:pt x="339" y="652"/>
                    </a:lnTo>
                    <a:lnTo>
                      <a:pt x="338" y="652"/>
                    </a:lnTo>
                    <a:lnTo>
                      <a:pt x="338" y="654"/>
                    </a:lnTo>
                    <a:lnTo>
                      <a:pt x="336" y="654"/>
                    </a:lnTo>
                    <a:lnTo>
                      <a:pt x="336" y="656"/>
                    </a:lnTo>
                    <a:lnTo>
                      <a:pt x="334" y="656"/>
                    </a:lnTo>
                    <a:lnTo>
                      <a:pt x="332" y="656"/>
                    </a:lnTo>
                    <a:lnTo>
                      <a:pt x="332" y="658"/>
                    </a:lnTo>
                    <a:lnTo>
                      <a:pt x="332" y="660"/>
                    </a:lnTo>
                    <a:lnTo>
                      <a:pt x="330" y="660"/>
                    </a:lnTo>
                    <a:lnTo>
                      <a:pt x="328" y="660"/>
                    </a:lnTo>
                    <a:lnTo>
                      <a:pt x="328" y="662"/>
                    </a:lnTo>
                    <a:lnTo>
                      <a:pt x="326" y="662"/>
                    </a:lnTo>
                    <a:lnTo>
                      <a:pt x="324" y="662"/>
                    </a:lnTo>
                    <a:lnTo>
                      <a:pt x="324" y="664"/>
                    </a:lnTo>
                    <a:lnTo>
                      <a:pt x="326" y="664"/>
                    </a:lnTo>
                    <a:lnTo>
                      <a:pt x="324" y="664"/>
                    </a:lnTo>
                    <a:lnTo>
                      <a:pt x="322" y="664"/>
                    </a:lnTo>
                    <a:lnTo>
                      <a:pt x="322" y="666"/>
                    </a:lnTo>
                    <a:lnTo>
                      <a:pt x="322" y="668"/>
                    </a:lnTo>
                    <a:lnTo>
                      <a:pt x="320" y="668"/>
                    </a:lnTo>
                    <a:lnTo>
                      <a:pt x="320" y="670"/>
                    </a:lnTo>
                    <a:lnTo>
                      <a:pt x="322" y="670"/>
                    </a:lnTo>
                    <a:lnTo>
                      <a:pt x="320" y="670"/>
                    </a:lnTo>
                    <a:lnTo>
                      <a:pt x="320" y="672"/>
                    </a:lnTo>
                    <a:lnTo>
                      <a:pt x="322" y="672"/>
                    </a:lnTo>
                    <a:lnTo>
                      <a:pt x="322" y="673"/>
                    </a:lnTo>
                    <a:lnTo>
                      <a:pt x="320" y="673"/>
                    </a:lnTo>
                    <a:lnTo>
                      <a:pt x="320" y="675"/>
                    </a:lnTo>
                    <a:lnTo>
                      <a:pt x="320" y="677"/>
                    </a:lnTo>
                    <a:lnTo>
                      <a:pt x="318" y="677"/>
                    </a:lnTo>
                    <a:lnTo>
                      <a:pt x="318" y="679"/>
                    </a:lnTo>
                    <a:lnTo>
                      <a:pt x="318" y="681"/>
                    </a:lnTo>
                    <a:lnTo>
                      <a:pt x="318" y="683"/>
                    </a:lnTo>
                    <a:lnTo>
                      <a:pt x="318" y="685"/>
                    </a:lnTo>
                    <a:lnTo>
                      <a:pt x="318" y="687"/>
                    </a:lnTo>
                    <a:lnTo>
                      <a:pt x="318" y="689"/>
                    </a:lnTo>
                    <a:lnTo>
                      <a:pt x="318" y="691"/>
                    </a:lnTo>
                    <a:lnTo>
                      <a:pt x="320" y="691"/>
                    </a:lnTo>
                    <a:lnTo>
                      <a:pt x="320" y="693"/>
                    </a:lnTo>
                    <a:lnTo>
                      <a:pt x="318" y="693"/>
                    </a:lnTo>
                    <a:lnTo>
                      <a:pt x="318" y="691"/>
                    </a:lnTo>
                    <a:lnTo>
                      <a:pt x="318" y="693"/>
                    </a:lnTo>
                    <a:lnTo>
                      <a:pt x="318" y="695"/>
                    </a:lnTo>
                    <a:lnTo>
                      <a:pt x="320" y="695"/>
                    </a:lnTo>
                    <a:lnTo>
                      <a:pt x="320" y="696"/>
                    </a:lnTo>
                    <a:lnTo>
                      <a:pt x="318" y="696"/>
                    </a:lnTo>
                    <a:lnTo>
                      <a:pt x="318" y="698"/>
                    </a:lnTo>
                    <a:lnTo>
                      <a:pt x="318" y="700"/>
                    </a:lnTo>
                    <a:lnTo>
                      <a:pt x="318" y="702"/>
                    </a:lnTo>
                    <a:lnTo>
                      <a:pt x="320" y="704"/>
                    </a:lnTo>
                    <a:lnTo>
                      <a:pt x="322" y="704"/>
                    </a:lnTo>
                    <a:lnTo>
                      <a:pt x="322" y="706"/>
                    </a:lnTo>
                    <a:lnTo>
                      <a:pt x="324" y="706"/>
                    </a:lnTo>
                    <a:lnTo>
                      <a:pt x="324" y="708"/>
                    </a:lnTo>
                    <a:lnTo>
                      <a:pt x="324" y="710"/>
                    </a:lnTo>
                    <a:lnTo>
                      <a:pt x="324" y="712"/>
                    </a:lnTo>
                    <a:lnTo>
                      <a:pt x="324" y="710"/>
                    </a:lnTo>
                    <a:lnTo>
                      <a:pt x="326" y="710"/>
                    </a:lnTo>
                    <a:lnTo>
                      <a:pt x="326" y="712"/>
                    </a:lnTo>
                    <a:lnTo>
                      <a:pt x="326" y="714"/>
                    </a:lnTo>
                    <a:lnTo>
                      <a:pt x="326" y="716"/>
                    </a:lnTo>
                    <a:lnTo>
                      <a:pt x="326" y="718"/>
                    </a:lnTo>
                    <a:lnTo>
                      <a:pt x="326" y="720"/>
                    </a:lnTo>
                    <a:lnTo>
                      <a:pt x="324" y="720"/>
                    </a:lnTo>
                    <a:lnTo>
                      <a:pt x="324" y="718"/>
                    </a:lnTo>
                    <a:lnTo>
                      <a:pt x="322" y="718"/>
                    </a:lnTo>
                    <a:lnTo>
                      <a:pt x="322" y="720"/>
                    </a:lnTo>
                    <a:lnTo>
                      <a:pt x="320" y="720"/>
                    </a:lnTo>
                    <a:lnTo>
                      <a:pt x="320" y="721"/>
                    </a:lnTo>
                    <a:lnTo>
                      <a:pt x="322" y="721"/>
                    </a:lnTo>
                    <a:lnTo>
                      <a:pt x="322" y="723"/>
                    </a:lnTo>
                    <a:lnTo>
                      <a:pt x="322" y="725"/>
                    </a:lnTo>
                    <a:lnTo>
                      <a:pt x="324" y="725"/>
                    </a:lnTo>
                    <a:lnTo>
                      <a:pt x="324" y="727"/>
                    </a:lnTo>
                    <a:lnTo>
                      <a:pt x="322" y="727"/>
                    </a:lnTo>
                    <a:lnTo>
                      <a:pt x="322" y="729"/>
                    </a:lnTo>
                    <a:lnTo>
                      <a:pt x="324" y="729"/>
                    </a:lnTo>
                    <a:lnTo>
                      <a:pt x="324" y="731"/>
                    </a:lnTo>
                    <a:lnTo>
                      <a:pt x="326" y="731"/>
                    </a:lnTo>
                    <a:lnTo>
                      <a:pt x="328" y="731"/>
                    </a:lnTo>
                    <a:lnTo>
                      <a:pt x="326" y="731"/>
                    </a:lnTo>
                    <a:lnTo>
                      <a:pt x="328" y="733"/>
                    </a:lnTo>
                    <a:lnTo>
                      <a:pt x="328" y="735"/>
                    </a:lnTo>
                    <a:lnTo>
                      <a:pt x="330" y="735"/>
                    </a:lnTo>
                    <a:lnTo>
                      <a:pt x="330" y="737"/>
                    </a:lnTo>
                    <a:lnTo>
                      <a:pt x="328" y="739"/>
                    </a:lnTo>
                    <a:lnTo>
                      <a:pt x="330" y="739"/>
                    </a:lnTo>
                    <a:lnTo>
                      <a:pt x="330" y="741"/>
                    </a:lnTo>
                    <a:lnTo>
                      <a:pt x="332" y="741"/>
                    </a:lnTo>
                    <a:lnTo>
                      <a:pt x="332" y="743"/>
                    </a:lnTo>
                    <a:lnTo>
                      <a:pt x="332" y="744"/>
                    </a:lnTo>
                    <a:lnTo>
                      <a:pt x="330" y="744"/>
                    </a:lnTo>
                    <a:lnTo>
                      <a:pt x="330" y="746"/>
                    </a:lnTo>
                    <a:lnTo>
                      <a:pt x="328" y="746"/>
                    </a:lnTo>
                    <a:lnTo>
                      <a:pt x="328" y="748"/>
                    </a:lnTo>
                    <a:lnTo>
                      <a:pt x="328" y="750"/>
                    </a:lnTo>
                    <a:lnTo>
                      <a:pt x="326" y="750"/>
                    </a:lnTo>
                    <a:lnTo>
                      <a:pt x="328" y="750"/>
                    </a:lnTo>
                    <a:lnTo>
                      <a:pt x="326" y="752"/>
                    </a:lnTo>
                    <a:lnTo>
                      <a:pt x="324" y="752"/>
                    </a:lnTo>
                    <a:lnTo>
                      <a:pt x="324" y="754"/>
                    </a:lnTo>
                    <a:lnTo>
                      <a:pt x="322" y="756"/>
                    </a:lnTo>
                    <a:lnTo>
                      <a:pt x="320" y="756"/>
                    </a:lnTo>
                    <a:lnTo>
                      <a:pt x="320" y="758"/>
                    </a:lnTo>
                    <a:lnTo>
                      <a:pt x="318" y="758"/>
                    </a:lnTo>
                    <a:lnTo>
                      <a:pt x="318" y="760"/>
                    </a:lnTo>
                    <a:lnTo>
                      <a:pt x="316" y="760"/>
                    </a:lnTo>
                    <a:lnTo>
                      <a:pt x="316" y="762"/>
                    </a:lnTo>
                    <a:lnTo>
                      <a:pt x="314" y="762"/>
                    </a:lnTo>
                    <a:lnTo>
                      <a:pt x="314" y="764"/>
                    </a:lnTo>
                    <a:lnTo>
                      <a:pt x="313" y="764"/>
                    </a:lnTo>
                    <a:lnTo>
                      <a:pt x="314" y="764"/>
                    </a:lnTo>
                    <a:lnTo>
                      <a:pt x="314" y="766"/>
                    </a:lnTo>
                    <a:lnTo>
                      <a:pt x="313" y="766"/>
                    </a:lnTo>
                    <a:lnTo>
                      <a:pt x="313" y="768"/>
                    </a:lnTo>
                    <a:lnTo>
                      <a:pt x="311" y="768"/>
                    </a:lnTo>
                    <a:lnTo>
                      <a:pt x="311" y="769"/>
                    </a:lnTo>
                    <a:lnTo>
                      <a:pt x="311" y="771"/>
                    </a:lnTo>
                    <a:lnTo>
                      <a:pt x="309" y="773"/>
                    </a:lnTo>
                    <a:lnTo>
                      <a:pt x="311" y="773"/>
                    </a:lnTo>
                    <a:lnTo>
                      <a:pt x="309" y="773"/>
                    </a:lnTo>
                    <a:lnTo>
                      <a:pt x="311" y="773"/>
                    </a:lnTo>
                    <a:lnTo>
                      <a:pt x="309" y="773"/>
                    </a:lnTo>
                    <a:lnTo>
                      <a:pt x="309" y="775"/>
                    </a:lnTo>
                    <a:lnTo>
                      <a:pt x="309" y="777"/>
                    </a:lnTo>
                    <a:lnTo>
                      <a:pt x="309" y="779"/>
                    </a:lnTo>
                    <a:lnTo>
                      <a:pt x="307" y="779"/>
                    </a:lnTo>
                    <a:lnTo>
                      <a:pt x="307" y="781"/>
                    </a:lnTo>
                    <a:lnTo>
                      <a:pt x="305" y="781"/>
                    </a:lnTo>
                    <a:lnTo>
                      <a:pt x="305" y="783"/>
                    </a:lnTo>
                    <a:lnTo>
                      <a:pt x="305" y="785"/>
                    </a:lnTo>
                    <a:lnTo>
                      <a:pt x="303" y="785"/>
                    </a:lnTo>
                    <a:lnTo>
                      <a:pt x="303" y="787"/>
                    </a:lnTo>
                    <a:lnTo>
                      <a:pt x="303" y="789"/>
                    </a:lnTo>
                    <a:lnTo>
                      <a:pt x="301" y="789"/>
                    </a:lnTo>
                    <a:lnTo>
                      <a:pt x="301" y="791"/>
                    </a:lnTo>
                    <a:lnTo>
                      <a:pt x="299" y="791"/>
                    </a:lnTo>
                    <a:lnTo>
                      <a:pt x="297" y="791"/>
                    </a:lnTo>
                    <a:lnTo>
                      <a:pt x="295" y="791"/>
                    </a:lnTo>
                    <a:lnTo>
                      <a:pt x="293" y="791"/>
                    </a:lnTo>
                    <a:lnTo>
                      <a:pt x="291" y="791"/>
                    </a:lnTo>
                    <a:lnTo>
                      <a:pt x="290" y="791"/>
                    </a:lnTo>
                    <a:lnTo>
                      <a:pt x="290" y="789"/>
                    </a:lnTo>
                    <a:lnTo>
                      <a:pt x="291" y="789"/>
                    </a:lnTo>
                    <a:lnTo>
                      <a:pt x="291" y="787"/>
                    </a:lnTo>
                    <a:lnTo>
                      <a:pt x="291" y="785"/>
                    </a:lnTo>
                    <a:lnTo>
                      <a:pt x="291" y="783"/>
                    </a:lnTo>
                    <a:lnTo>
                      <a:pt x="291" y="781"/>
                    </a:lnTo>
                    <a:lnTo>
                      <a:pt x="291" y="779"/>
                    </a:lnTo>
                    <a:lnTo>
                      <a:pt x="291" y="777"/>
                    </a:lnTo>
                    <a:lnTo>
                      <a:pt x="290" y="777"/>
                    </a:lnTo>
                    <a:lnTo>
                      <a:pt x="290" y="775"/>
                    </a:lnTo>
                    <a:lnTo>
                      <a:pt x="288" y="775"/>
                    </a:lnTo>
                    <a:lnTo>
                      <a:pt x="288" y="773"/>
                    </a:lnTo>
                    <a:lnTo>
                      <a:pt x="286" y="771"/>
                    </a:lnTo>
                    <a:lnTo>
                      <a:pt x="286" y="769"/>
                    </a:lnTo>
                    <a:lnTo>
                      <a:pt x="286" y="768"/>
                    </a:lnTo>
                    <a:lnTo>
                      <a:pt x="284" y="766"/>
                    </a:lnTo>
                    <a:lnTo>
                      <a:pt x="282" y="766"/>
                    </a:lnTo>
                    <a:lnTo>
                      <a:pt x="282" y="764"/>
                    </a:lnTo>
                    <a:lnTo>
                      <a:pt x="282" y="762"/>
                    </a:lnTo>
                    <a:lnTo>
                      <a:pt x="282" y="760"/>
                    </a:lnTo>
                    <a:lnTo>
                      <a:pt x="282" y="758"/>
                    </a:lnTo>
                    <a:lnTo>
                      <a:pt x="282" y="756"/>
                    </a:lnTo>
                    <a:lnTo>
                      <a:pt x="280" y="756"/>
                    </a:lnTo>
                    <a:lnTo>
                      <a:pt x="280" y="754"/>
                    </a:lnTo>
                    <a:lnTo>
                      <a:pt x="280" y="752"/>
                    </a:lnTo>
                    <a:lnTo>
                      <a:pt x="280" y="750"/>
                    </a:lnTo>
                    <a:lnTo>
                      <a:pt x="280" y="748"/>
                    </a:lnTo>
                    <a:lnTo>
                      <a:pt x="282" y="748"/>
                    </a:lnTo>
                    <a:lnTo>
                      <a:pt x="282" y="746"/>
                    </a:lnTo>
                    <a:lnTo>
                      <a:pt x="280" y="746"/>
                    </a:lnTo>
                    <a:lnTo>
                      <a:pt x="278" y="744"/>
                    </a:lnTo>
                    <a:lnTo>
                      <a:pt x="276" y="744"/>
                    </a:lnTo>
                    <a:lnTo>
                      <a:pt x="274" y="744"/>
                    </a:lnTo>
                    <a:lnTo>
                      <a:pt x="274" y="743"/>
                    </a:lnTo>
                    <a:lnTo>
                      <a:pt x="272" y="743"/>
                    </a:lnTo>
                    <a:lnTo>
                      <a:pt x="270" y="743"/>
                    </a:lnTo>
                    <a:lnTo>
                      <a:pt x="270" y="741"/>
                    </a:lnTo>
                    <a:lnTo>
                      <a:pt x="268" y="741"/>
                    </a:lnTo>
                    <a:lnTo>
                      <a:pt x="268" y="739"/>
                    </a:lnTo>
                    <a:lnTo>
                      <a:pt x="268" y="737"/>
                    </a:lnTo>
                    <a:lnTo>
                      <a:pt x="270" y="737"/>
                    </a:lnTo>
                    <a:lnTo>
                      <a:pt x="268" y="737"/>
                    </a:lnTo>
                    <a:lnTo>
                      <a:pt x="266" y="737"/>
                    </a:lnTo>
                    <a:lnTo>
                      <a:pt x="266" y="735"/>
                    </a:lnTo>
                    <a:lnTo>
                      <a:pt x="265" y="735"/>
                    </a:lnTo>
                    <a:lnTo>
                      <a:pt x="265" y="737"/>
                    </a:lnTo>
                    <a:lnTo>
                      <a:pt x="263" y="737"/>
                    </a:lnTo>
                    <a:lnTo>
                      <a:pt x="263" y="739"/>
                    </a:lnTo>
                    <a:lnTo>
                      <a:pt x="261" y="737"/>
                    </a:lnTo>
                    <a:lnTo>
                      <a:pt x="259" y="735"/>
                    </a:lnTo>
                    <a:lnTo>
                      <a:pt x="259" y="733"/>
                    </a:lnTo>
                    <a:lnTo>
                      <a:pt x="257" y="733"/>
                    </a:lnTo>
                    <a:lnTo>
                      <a:pt x="255" y="733"/>
                    </a:lnTo>
                    <a:lnTo>
                      <a:pt x="253" y="733"/>
                    </a:lnTo>
                    <a:lnTo>
                      <a:pt x="251" y="733"/>
                    </a:lnTo>
                    <a:lnTo>
                      <a:pt x="249" y="733"/>
                    </a:lnTo>
                    <a:lnTo>
                      <a:pt x="249" y="731"/>
                    </a:lnTo>
                    <a:lnTo>
                      <a:pt x="249" y="729"/>
                    </a:lnTo>
                    <a:lnTo>
                      <a:pt x="249" y="727"/>
                    </a:lnTo>
                    <a:lnTo>
                      <a:pt x="249" y="725"/>
                    </a:lnTo>
                    <a:lnTo>
                      <a:pt x="247" y="725"/>
                    </a:lnTo>
                    <a:lnTo>
                      <a:pt x="245" y="725"/>
                    </a:lnTo>
                    <a:lnTo>
                      <a:pt x="245" y="723"/>
                    </a:lnTo>
                    <a:lnTo>
                      <a:pt x="243" y="723"/>
                    </a:lnTo>
                    <a:lnTo>
                      <a:pt x="243" y="721"/>
                    </a:lnTo>
                    <a:lnTo>
                      <a:pt x="242" y="721"/>
                    </a:lnTo>
                    <a:lnTo>
                      <a:pt x="242" y="720"/>
                    </a:lnTo>
                    <a:lnTo>
                      <a:pt x="242" y="718"/>
                    </a:lnTo>
                    <a:lnTo>
                      <a:pt x="242" y="716"/>
                    </a:lnTo>
                    <a:lnTo>
                      <a:pt x="242" y="714"/>
                    </a:lnTo>
                    <a:lnTo>
                      <a:pt x="242" y="712"/>
                    </a:lnTo>
                    <a:lnTo>
                      <a:pt x="242" y="710"/>
                    </a:lnTo>
                    <a:lnTo>
                      <a:pt x="243" y="710"/>
                    </a:lnTo>
                    <a:lnTo>
                      <a:pt x="243" y="708"/>
                    </a:lnTo>
                    <a:lnTo>
                      <a:pt x="245" y="708"/>
                    </a:lnTo>
                    <a:lnTo>
                      <a:pt x="245" y="706"/>
                    </a:lnTo>
                    <a:lnTo>
                      <a:pt x="243" y="706"/>
                    </a:lnTo>
                    <a:lnTo>
                      <a:pt x="243" y="704"/>
                    </a:lnTo>
                    <a:lnTo>
                      <a:pt x="243" y="702"/>
                    </a:lnTo>
                    <a:lnTo>
                      <a:pt x="242" y="702"/>
                    </a:lnTo>
                    <a:lnTo>
                      <a:pt x="242" y="700"/>
                    </a:lnTo>
                    <a:lnTo>
                      <a:pt x="240" y="700"/>
                    </a:lnTo>
                    <a:lnTo>
                      <a:pt x="240" y="698"/>
                    </a:lnTo>
                    <a:lnTo>
                      <a:pt x="240" y="696"/>
                    </a:lnTo>
                    <a:lnTo>
                      <a:pt x="240" y="695"/>
                    </a:lnTo>
                    <a:lnTo>
                      <a:pt x="238" y="695"/>
                    </a:lnTo>
                    <a:lnTo>
                      <a:pt x="236" y="693"/>
                    </a:lnTo>
                    <a:lnTo>
                      <a:pt x="238" y="691"/>
                    </a:lnTo>
                    <a:lnTo>
                      <a:pt x="236" y="689"/>
                    </a:lnTo>
                    <a:lnTo>
                      <a:pt x="236" y="687"/>
                    </a:lnTo>
                    <a:lnTo>
                      <a:pt x="236" y="685"/>
                    </a:lnTo>
                    <a:lnTo>
                      <a:pt x="236" y="683"/>
                    </a:lnTo>
                    <a:lnTo>
                      <a:pt x="236" y="681"/>
                    </a:lnTo>
                    <a:lnTo>
                      <a:pt x="234" y="681"/>
                    </a:lnTo>
                    <a:lnTo>
                      <a:pt x="232" y="681"/>
                    </a:lnTo>
                    <a:lnTo>
                      <a:pt x="230" y="681"/>
                    </a:lnTo>
                    <a:lnTo>
                      <a:pt x="228" y="681"/>
                    </a:lnTo>
                    <a:lnTo>
                      <a:pt x="228" y="683"/>
                    </a:lnTo>
                    <a:lnTo>
                      <a:pt x="226" y="681"/>
                    </a:lnTo>
                    <a:lnTo>
                      <a:pt x="228" y="681"/>
                    </a:lnTo>
                    <a:lnTo>
                      <a:pt x="228" y="679"/>
                    </a:lnTo>
                    <a:lnTo>
                      <a:pt x="226" y="677"/>
                    </a:lnTo>
                    <a:lnTo>
                      <a:pt x="226" y="675"/>
                    </a:lnTo>
                    <a:lnTo>
                      <a:pt x="224" y="675"/>
                    </a:lnTo>
                    <a:lnTo>
                      <a:pt x="224" y="673"/>
                    </a:lnTo>
                    <a:lnTo>
                      <a:pt x="224" y="672"/>
                    </a:lnTo>
                    <a:lnTo>
                      <a:pt x="222" y="672"/>
                    </a:lnTo>
                    <a:lnTo>
                      <a:pt x="220" y="672"/>
                    </a:lnTo>
                    <a:lnTo>
                      <a:pt x="218" y="672"/>
                    </a:lnTo>
                    <a:lnTo>
                      <a:pt x="218" y="670"/>
                    </a:lnTo>
                    <a:lnTo>
                      <a:pt x="220" y="670"/>
                    </a:lnTo>
                    <a:lnTo>
                      <a:pt x="220" y="668"/>
                    </a:lnTo>
                    <a:lnTo>
                      <a:pt x="220" y="666"/>
                    </a:lnTo>
                    <a:lnTo>
                      <a:pt x="222" y="664"/>
                    </a:lnTo>
                    <a:lnTo>
                      <a:pt x="220" y="664"/>
                    </a:lnTo>
                    <a:lnTo>
                      <a:pt x="222" y="664"/>
                    </a:lnTo>
                    <a:lnTo>
                      <a:pt x="222" y="662"/>
                    </a:lnTo>
                    <a:lnTo>
                      <a:pt x="222" y="660"/>
                    </a:lnTo>
                    <a:lnTo>
                      <a:pt x="222" y="658"/>
                    </a:lnTo>
                    <a:lnTo>
                      <a:pt x="224" y="658"/>
                    </a:lnTo>
                    <a:lnTo>
                      <a:pt x="224" y="656"/>
                    </a:lnTo>
                    <a:lnTo>
                      <a:pt x="224" y="654"/>
                    </a:lnTo>
                    <a:lnTo>
                      <a:pt x="226" y="654"/>
                    </a:lnTo>
                    <a:lnTo>
                      <a:pt x="226" y="652"/>
                    </a:lnTo>
                    <a:lnTo>
                      <a:pt x="226" y="650"/>
                    </a:lnTo>
                    <a:lnTo>
                      <a:pt x="228" y="650"/>
                    </a:lnTo>
                    <a:lnTo>
                      <a:pt x="228" y="648"/>
                    </a:lnTo>
                    <a:lnTo>
                      <a:pt x="230" y="648"/>
                    </a:lnTo>
                    <a:lnTo>
                      <a:pt x="232" y="648"/>
                    </a:lnTo>
                    <a:lnTo>
                      <a:pt x="232" y="647"/>
                    </a:lnTo>
                    <a:lnTo>
                      <a:pt x="234" y="645"/>
                    </a:lnTo>
                    <a:lnTo>
                      <a:pt x="236" y="645"/>
                    </a:lnTo>
                    <a:lnTo>
                      <a:pt x="238" y="645"/>
                    </a:lnTo>
                    <a:lnTo>
                      <a:pt x="240" y="645"/>
                    </a:lnTo>
                    <a:lnTo>
                      <a:pt x="240" y="643"/>
                    </a:lnTo>
                    <a:lnTo>
                      <a:pt x="242" y="643"/>
                    </a:lnTo>
                    <a:lnTo>
                      <a:pt x="242" y="641"/>
                    </a:lnTo>
                    <a:lnTo>
                      <a:pt x="243" y="641"/>
                    </a:lnTo>
                    <a:lnTo>
                      <a:pt x="243" y="639"/>
                    </a:lnTo>
                    <a:lnTo>
                      <a:pt x="243" y="637"/>
                    </a:lnTo>
                    <a:lnTo>
                      <a:pt x="243" y="635"/>
                    </a:lnTo>
                    <a:lnTo>
                      <a:pt x="243" y="633"/>
                    </a:lnTo>
                    <a:lnTo>
                      <a:pt x="242" y="633"/>
                    </a:lnTo>
                    <a:lnTo>
                      <a:pt x="242" y="631"/>
                    </a:lnTo>
                    <a:lnTo>
                      <a:pt x="242" y="629"/>
                    </a:lnTo>
                    <a:lnTo>
                      <a:pt x="240" y="629"/>
                    </a:lnTo>
                    <a:lnTo>
                      <a:pt x="240" y="627"/>
                    </a:lnTo>
                    <a:lnTo>
                      <a:pt x="240" y="625"/>
                    </a:lnTo>
                    <a:lnTo>
                      <a:pt x="240" y="624"/>
                    </a:lnTo>
                    <a:lnTo>
                      <a:pt x="238" y="624"/>
                    </a:lnTo>
                    <a:lnTo>
                      <a:pt x="238" y="622"/>
                    </a:lnTo>
                    <a:lnTo>
                      <a:pt x="236" y="620"/>
                    </a:lnTo>
                    <a:lnTo>
                      <a:pt x="236" y="618"/>
                    </a:lnTo>
                    <a:lnTo>
                      <a:pt x="234" y="618"/>
                    </a:lnTo>
                    <a:lnTo>
                      <a:pt x="234" y="616"/>
                    </a:lnTo>
                    <a:lnTo>
                      <a:pt x="232" y="616"/>
                    </a:lnTo>
                    <a:lnTo>
                      <a:pt x="232" y="614"/>
                    </a:lnTo>
                    <a:lnTo>
                      <a:pt x="230" y="614"/>
                    </a:lnTo>
                    <a:lnTo>
                      <a:pt x="228" y="614"/>
                    </a:lnTo>
                    <a:lnTo>
                      <a:pt x="228" y="612"/>
                    </a:lnTo>
                    <a:lnTo>
                      <a:pt x="230" y="612"/>
                    </a:lnTo>
                    <a:lnTo>
                      <a:pt x="230" y="610"/>
                    </a:lnTo>
                    <a:lnTo>
                      <a:pt x="228" y="608"/>
                    </a:lnTo>
                    <a:lnTo>
                      <a:pt x="228" y="606"/>
                    </a:lnTo>
                    <a:lnTo>
                      <a:pt x="226" y="606"/>
                    </a:lnTo>
                    <a:lnTo>
                      <a:pt x="224" y="606"/>
                    </a:lnTo>
                    <a:lnTo>
                      <a:pt x="224" y="604"/>
                    </a:lnTo>
                    <a:lnTo>
                      <a:pt x="222" y="604"/>
                    </a:lnTo>
                    <a:lnTo>
                      <a:pt x="222" y="602"/>
                    </a:lnTo>
                    <a:lnTo>
                      <a:pt x="224" y="602"/>
                    </a:lnTo>
                    <a:lnTo>
                      <a:pt x="224" y="601"/>
                    </a:lnTo>
                    <a:lnTo>
                      <a:pt x="224" y="599"/>
                    </a:lnTo>
                    <a:lnTo>
                      <a:pt x="222" y="599"/>
                    </a:lnTo>
                    <a:lnTo>
                      <a:pt x="222" y="597"/>
                    </a:lnTo>
                    <a:lnTo>
                      <a:pt x="222" y="595"/>
                    </a:lnTo>
                    <a:lnTo>
                      <a:pt x="220" y="595"/>
                    </a:lnTo>
                    <a:lnTo>
                      <a:pt x="220" y="593"/>
                    </a:lnTo>
                    <a:lnTo>
                      <a:pt x="220" y="591"/>
                    </a:lnTo>
                    <a:lnTo>
                      <a:pt x="218" y="591"/>
                    </a:lnTo>
                    <a:lnTo>
                      <a:pt x="217" y="591"/>
                    </a:lnTo>
                    <a:lnTo>
                      <a:pt x="217" y="589"/>
                    </a:lnTo>
                    <a:lnTo>
                      <a:pt x="217" y="587"/>
                    </a:lnTo>
                    <a:lnTo>
                      <a:pt x="218" y="587"/>
                    </a:lnTo>
                    <a:lnTo>
                      <a:pt x="218" y="585"/>
                    </a:lnTo>
                    <a:lnTo>
                      <a:pt x="218" y="583"/>
                    </a:lnTo>
                    <a:lnTo>
                      <a:pt x="220" y="583"/>
                    </a:lnTo>
                    <a:lnTo>
                      <a:pt x="222" y="583"/>
                    </a:lnTo>
                    <a:lnTo>
                      <a:pt x="224" y="581"/>
                    </a:lnTo>
                    <a:lnTo>
                      <a:pt x="224" y="579"/>
                    </a:lnTo>
                    <a:lnTo>
                      <a:pt x="222" y="579"/>
                    </a:lnTo>
                    <a:lnTo>
                      <a:pt x="222" y="577"/>
                    </a:lnTo>
                    <a:lnTo>
                      <a:pt x="224" y="576"/>
                    </a:lnTo>
                    <a:lnTo>
                      <a:pt x="226" y="576"/>
                    </a:lnTo>
                    <a:lnTo>
                      <a:pt x="226" y="574"/>
                    </a:lnTo>
                    <a:lnTo>
                      <a:pt x="226" y="572"/>
                    </a:lnTo>
                    <a:lnTo>
                      <a:pt x="228" y="572"/>
                    </a:lnTo>
                    <a:lnTo>
                      <a:pt x="228" y="570"/>
                    </a:lnTo>
                    <a:lnTo>
                      <a:pt x="228" y="568"/>
                    </a:lnTo>
                    <a:lnTo>
                      <a:pt x="230" y="568"/>
                    </a:lnTo>
                    <a:lnTo>
                      <a:pt x="230" y="566"/>
                    </a:lnTo>
                    <a:lnTo>
                      <a:pt x="232" y="566"/>
                    </a:lnTo>
                    <a:lnTo>
                      <a:pt x="234" y="566"/>
                    </a:lnTo>
                    <a:lnTo>
                      <a:pt x="234" y="564"/>
                    </a:lnTo>
                    <a:lnTo>
                      <a:pt x="234" y="562"/>
                    </a:lnTo>
                    <a:lnTo>
                      <a:pt x="232" y="562"/>
                    </a:lnTo>
                    <a:lnTo>
                      <a:pt x="232" y="560"/>
                    </a:lnTo>
                    <a:lnTo>
                      <a:pt x="230" y="558"/>
                    </a:lnTo>
                    <a:lnTo>
                      <a:pt x="230" y="556"/>
                    </a:lnTo>
                    <a:lnTo>
                      <a:pt x="228" y="556"/>
                    </a:lnTo>
                    <a:lnTo>
                      <a:pt x="226" y="554"/>
                    </a:lnTo>
                    <a:lnTo>
                      <a:pt x="224" y="554"/>
                    </a:lnTo>
                    <a:lnTo>
                      <a:pt x="224" y="553"/>
                    </a:lnTo>
                    <a:lnTo>
                      <a:pt x="222" y="553"/>
                    </a:lnTo>
                    <a:lnTo>
                      <a:pt x="220" y="553"/>
                    </a:lnTo>
                    <a:lnTo>
                      <a:pt x="220" y="551"/>
                    </a:lnTo>
                    <a:lnTo>
                      <a:pt x="218" y="551"/>
                    </a:lnTo>
                    <a:lnTo>
                      <a:pt x="218" y="549"/>
                    </a:lnTo>
                    <a:lnTo>
                      <a:pt x="220" y="549"/>
                    </a:lnTo>
                    <a:lnTo>
                      <a:pt x="220" y="547"/>
                    </a:lnTo>
                    <a:lnTo>
                      <a:pt x="220" y="545"/>
                    </a:lnTo>
                    <a:lnTo>
                      <a:pt x="222" y="545"/>
                    </a:lnTo>
                    <a:lnTo>
                      <a:pt x="222" y="543"/>
                    </a:lnTo>
                    <a:lnTo>
                      <a:pt x="222" y="541"/>
                    </a:lnTo>
                    <a:lnTo>
                      <a:pt x="222" y="539"/>
                    </a:lnTo>
                    <a:lnTo>
                      <a:pt x="224" y="539"/>
                    </a:lnTo>
                    <a:lnTo>
                      <a:pt x="222" y="539"/>
                    </a:lnTo>
                    <a:lnTo>
                      <a:pt x="224" y="539"/>
                    </a:lnTo>
                    <a:lnTo>
                      <a:pt x="224" y="537"/>
                    </a:lnTo>
                    <a:lnTo>
                      <a:pt x="222" y="537"/>
                    </a:lnTo>
                    <a:lnTo>
                      <a:pt x="224" y="537"/>
                    </a:lnTo>
                    <a:lnTo>
                      <a:pt x="222" y="537"/>
                    </a:lnTo>
                    <a:lnTo>
                      <a:pt x="224" y="537"/>
                    </a:lnTo>
                    <a:lnTo>
                      <a:pt x="222" y="537"/>
                    </a:lnTo>
                    <a:lnTo>
                      <a:pt x="222" y="535"/>
                    </a:lnTo>
                    <a:lnTo>
                      <a:pt x="220" y="535"/>
                    </a:lnTo>
                    <a:lnTo>
                      <a:pt x="220" y="533"/>
                    </a:lnTo>
                    <a:lnTo>
                      <a:pt x="218" y="533"/>
                    </a:lnTo>
                    <a:lnTo>
                      <a:pt x="218" y="531"/>
                    </a:lnTo>
                    <a:lnTo>
                      <a:pt x="218" y="529"/>
                    </a:lnTo>
                    <a:lnTo>
                      <a:pt x="217" y="529"/>
                    </a:lnTo>
                    <a:lnTo>
                      <a:pt x="218" y="529"/>
                    </a:lnTo>
                    <a:lnTo>
                      <a:pt x="217" y="529"/>
                    </a:lnTo>
                    <a:lnTo>
                      <a:pt x="217" y="528"/>
                    </a:lnTo>
                    <a:lnTo>
                      <a:pt x="215" y="526"/>
                    </a:lnTo>
                    <a:lnTo>
                      <a:pt x="213" y="526"/>
                    </a:lnTo>
                    <a:lnTo>
                      <a:pt x="213" y="524"/>
                    </a:lnTo>
                    <a:lnTo>
                      <a:pt x="213" y="522"/>
                    </a:lnTo>
                    <a:lnTo>
                      <a:pt x="213" y="520"/>
                    </a:lnTo>
                    <a:lnTo>
                      <a:pt x="211" y="520"/>
                    </a:lnTo>
                    <a:lnTo>
                      <a:pt x="211" y="518"/>
                    </a:lnTo>
                    <a:lnTo>
                      <a:pt x="209" y="518"/>
                    </a:lnTo>
                    <a:lnTo>
                      <a:pt x="209" y="516"/>
                    </a:lnTo>
                    <a:lnTo>
                      <a:pt x="209" y="514"/>
                    </a:lnTo>
                    <a:lnTo>
                      <a:pt x="207" y="514"/>
                    </a:lnTo>
                    <a:lnTo>
                      <a:pt x="207" y="512"/>
                    </a:lnTo>
                    <a:lnTo>
                      <a:pt x="207" y="510"/>
                    </a:lnTo>
                    <a:lnTo>
                      <a:pt x="205" y="510"/>
                    </a:lnTo>
                    <a:lnTo>
                      <a:pt x="205" y="508"/>
                    </a:lnTo>
                    <a:lnTo>
                      <a:pt x="203" y="508"/>
                    </a:lnTo>
                    <a:lnTo>
                      <a:pt x="201" y="508"/>
                    </a:lnTo>
                    <a:lnTo>
                      <a:pt x="201" y="506"/>
                    </a:lnTo>
                    <a:lnTo>
                      <a:pt x="201" y="505"/>
                    </a:lnTo>
                    <a:lnTo>
                      <a:pt x="199" y="505"/>
                    </a:lnTo>
                    <a:lnTo>
                      <a:pt x="199" y="503"/>
                    </a:lnTo>
                    <a:lnTo>
                      <a:pt x="197" y="503"/>
                    </a:lnTo>
                    <a:lnTo>
                      <a:pt x="197" y="501"/>
                    </a:lnTo>
                    <a:lnTo>
                      <a:pt x="195" y="501"/>
                    </a:lnTo>
                    <a:lnTo>
                      <a:pt x="194" y="501"/>
                    </a:lnTo>
                    <a:lnTo>
                      <a:pt x="194" y="499"/>
                    </a:lnTo>
                    <a:lnTo>
                      <a:pt x="192" y="499"/>
                    </a:lnTo>
                    <a:lnTo>
                      <a:pt x="192" y="497"/>
                    </a:lnTo>
                    <a:lnTo>
                      <a:pt x="192" y="495"/>
                    </a:lnTo>
                    <a:lnTo>
                      <a:pt x="192" y="493"/>
                    </a:lnTo>
                    <a:lnTo>
                      <a:pt x="194" y="493"/>
                    </a:lnTo>
                    <a:lnTo>
                      <a:pt x="194" y="491"/>
                    </a:lnTo>
                    <a:lnTo>
                      <a:pt x="195" y="491"/>
                    </a:lnTo>
                    <a:lnTo>
                      <a:pt x="195" y="489"/>
                    </a:lnTo>
                    <a:lnTo>
                      <a:pt x="194" y="489"/>
                    </a:lnTo>
                    <a:lnTo>
                      <a:pt x="194" y="487"/>
                    </a:lnTo>
                    <a:lnTo>
                      <a:pt x="194" y="485"/>
                    </a:lnTo>
                    <a:lnTo>
                      <a:pt x="192" y="485"/>
                    </a:lnTo>
                    <a:lnTo>
                      <a:pt x="192" y="483"/>
                    </a:lnTo>
                    <a:lnTo>
                      <a:pt x="190" y="483"/>
                    </a:lnTo>
                    <a:lnTo>
                      <a:pt x="188" y="481"/>
                    </a:lnTo>
                    <a:lnTo>
                      <a:pt x="186" y="481"/>
                    </a:lnTo>
                    <a:lnTo>
                      <a:pt x="184" y="481"/>
                    </a:lnTo>
                    <a:lnTo>
                      <a:pt x="184" y="480"/>
                    </a:lnTo>
                    <a:lnTo>
                      <a:pt x="182" y="478"/>
                    </a:lnTo>
                    <a:lnTo>
                      <a:pt x="180" y="478"/>
                    </a:lnTo>
                    <a:lnTo>
                      <a:pt x="180" y="476"/>
                    </a:lnTo>
                    <a:lnTo>
                      <a:pt x="178" y="476"/>
                    </a:lnTo>
                    <a:lnTo>
                      <a:pt x="176" y="474"/>
                    </a:lnTo>
                    <a:lnTo>
                      <a:pt x="176" y="476"/>
                    </a:lnTo>
                    <a:lnTo>
                      <a:pt x="176" y="478"/>
                    </a:lnTo>
                    <a:lnTo>
                      <a:pt x="174" y="478"/>
                    </a:lnTo>
                    <a:lnTo>
                      <a:pt x="174" y="480"/>
                    </a:lnTo>
                    <a:lnTo>
                      <a:pt x="176" y="481"/>
                    </a:lnTo>
                    <a:lnTo>
                      <a:pt x="176" y="483"/>
                    </a:lnTo>
                    <a:lnTo>
                      <a:pt x="174" y="483"/>
                    </a:lnTo>
                    <a:lnTo>
                      <a:pt x="174" y="485"/>
                    </a:lnTo>
                    <a:lnTo>
                      <a:pt x="172" y="485"/>
                    </a:lnTo>
                    <a:lnTo>
                      <a:pt x="170" y="487"/>
                    </a:lnTo>
                    <a:lnTo>
                      <a:pt x="170" y="489"/>
                    </a:lnTo>
                    <a:lnTo>
                      <a:pt x="169" y="489"/>
                    </a:lnTo>
                    <a:lnTo>
                      <a:pt x="169" y="491"/>
                    </a:lnTo>
                    <a:lnTo>
                      <a:pt x="169" y="493"/>
                    </a:lnTo>
                    <a:lnTo>
                      <a:pt x="167" y="493"/>
                    </a:lnTo>
                    <a:lnTo>
                      <a:pt x="165" y="495"/>
                    </a:lnTo>
                    <a:lnTo>
                      <a:pt x="163" y="493"/>
                    </a:lnTo>
                    <a:lnTo>
                      <a:pt x="163" y="491"/>
                    </a:lnTo>
                    <a:lnTo>
                      <a:pt x="161" y="489"/>
                    </a:lnTo>
                    <a:lnTo>
                      <a:pt x="159" y="489"/>
                    </a:lnTo>
                    <a:lnTo>
                      <a:pt x="157" y="489"/>
                    </a:lnTo>
                    <a:lnTo>
                      <a:pt x="157" y="491"/>
                    </a:lnTo>
                    <a:lnTo>
                      <a:pt x="155" y="489"/>
                    </a:lnTo>
                    <a:lnTo>
                      <a:pt x="153" y="487"/>
                    </a:lnTo>
                    <a:lnTo>
                      <a:pt x="153" y="485"/>
                    </a:lnTo>
                    <a:lnTo>
                      <a:pt x="151" y="485"/>
                    </a:lnTo>
                    <a:lnTo>
                      <a:pt x="149" y="485"/>
                    </a:lnTo>
                    <a:lnTo>
                      <a:pt x="147" y="485"/>
                    </a:lnTo>
                    <a:lnTo>
                      <a:pt x="147" y="483"/>
                    </a:lnTo>
                    <a:lnTo>
                      <a:pt x="146" y="483"/>
                    </a:lnTo>
                    <a:lnTo>
                      <a:pt x="146" y="485"/>
                    </a:lnTo>
                    <a:lnTo>
                      <a:pt x="144" y="483"/>
                    </a:lnTo>
                    <a:lnTo>
                      <a:pt x="144" y="481"/>
                    </a:lnTo>
                    <a:lnTo>
                      <a:pt x="146" y="481"/>
                    </a:lnTo>
                    <a:lnTo>
                      <a:pt x="146" y="480"/>
                    </a:lnTo>
                    <a:lnTo>
                      <a:pt x="144" y="480"/>
                    </a:lnTo>
                    <a:lnTo>
                      <a:pt x="142" y="480"/>
                    </a:lnTo>
                    <a:lnTo>
                      <a:pt x="142" y="478"/>
                    </a:lnTo>
                    <a:lnTo>
                      <a:pt x="142" y="476"/>
                    </a:lnTo>
                    <a:lnTo>
                      <a:pt x="140" y="474"/>
                    </a:lnTo>
                    <a:lnTo>
                      <a:pt x="138" y="474"/>
                    </a:lnTo>
                    <a:lnTo>
                      <a:pt x="138" y="472"/>
                    </a:lnTo>
                    <a:lnTo>
                      <a:pt x="138" y="470"/>
                    </a:lnTo>
                    <a:lnTo>
                      <a:pt x="138" y="468"/>
                    </a:lnTo>
                    <a:lnTo>
                      <a:pt x="140" y="468"/>
                    </a:lnTo>
                    <a:lnTo>
                      <a:pt x="140" y="466"/>
                    </a:lnTo>
                    <a:lnTo>
                      <a:pt x="138" y="466"/>
                    </a:lnTo>
                    <a:lnTo>
                      <a:pt x="138" y="464"/>
                    </a:lnTo>
                    <a:lnTo>
                      <a:pt x="138" y="462"/>
                    </a:lnTo>
                    <a:lnTo>
                      <a:pt x="138" y="460"/>
                    </a:lnTo>
                    <a:lnTo>
                      <a:pt x="140" y="460"/>
                    </a:lnTo>
                    <a:lnTo>
                      <a:pt x="140" y="458"/>
                    </a:lnTo>
                    <a:lnTo>
                      <a:pt x="140" y="457"/>
                    </a:lnTo>
                    <a:lnTo>
                      <a:pt x="140" y="455"/>
                    </a:lnTo>
                    <a:lnTo>
                      <a:pt x="140" y="453"/>
                    </a:lnTo>
                    <a:lnTo>
                      <a:pt x="140" y="451"/>
                    </a:lnTo>
                    <a:lnTo>
                      <a:pt x="138" y="451"/>
                    </a:lnTo>
                    <a:lnTo>
                      <a:pt x="138" y="449"/>
                    </a:lnTo>
                    <a:lnTo>
                      <a:pt x="136" y="449"/>
                    </a:lnTo>
                    <a:lnTo>
                      <a:pt x="136" y="447"/>
                    </a:lnTo>
                    <a:lnTo>
                      <a:pt x="138" y="445"/>
                    </a:lnTo>
                    <a:lnTo>
                      <a:pt x="136" y="445"/>
                    </a:lnTo>
                    <a:lnTo>
                      <a:pt x="136" y="443"/>
                    </a:lnTo>
                    <a:lnTo>
                      <a:pt x="138" y="443"/>
                    </a:lnTo>
                    <a:lnTo>
                      <a:pt x="138" y="441"/>
                    </a:lnTo>
                    <a:lnTo>
                      <a:pt x="138" y="439"/>
                    </a:lnTo>
                    <a:lnTo>
                      <a:pt x="138" y="437"/>
                    </a:lnTo>
                    <a:lnTo>
                      <a:pt x="140" y="437"/>
                    </a:lnTo>
                    <a:lnTo>
                      <a:pt x="140" y="435"/>
                    </a:lnTo>
                    <a:lnTo>
                      <a:pt x="142" y="433"/>
                    </a:lnTo>
                    <a:lnTo>
                      <a:pt x="144" y="433"/>
                    </a:lnTo>
                    <a:lnTo>
                      <a:pt x="142" y="433"/>
                    </a:lnTo>
                    <a:lnTo>
                      <a:pt x="142" y="432"/>
                    </a:lnTo>
                    <a:lnTo>
                      <a:pt x="142" y="430"/>
                    </a:lnTo>
                    <a:lnTo>
                      <a:pt x="140" y="430"/>
                    </a:lnTo>
                    <a:lnTo>
                      <a:pt x="140" y="428"/>
                    </a:lnTo>
                    <a:lnTo>
                      <a:pt x="138" y="426"/>
                    </a:lnTo>
                    <a:lnTo>
                      <a:pt x="138" y="424"/>
                    </a:lnTo>
                    <a:lnTo>
                      <a:pt x="138" y="422"/>
                    </a:lnTo>
                    <a:lnTo>
                      <a:pt x="140" y="422"/>
                    </a:lnTo>
                    <a:lnTo>
                      <a:pt x="140" y="420"/>
                    </a:lnTo>
                    <a:lnTo>
                      <a:pt x="140" y="418"/>
                    </a:lnTo>
                    <a:lnTo>
                      <a:pt x="142" y="418"/>
                    </a:lnTo>
                    <a:lnTo>
                      <a:pt x="144" y="418"/>
                    </a:lnTo>
                    <a:lnTo>
                      <a:pt x="144" y="416"/>
                    </a:lnTo>
                    <a:lnTo>
                      <a:pt x="144" y="414"/>
                    </a:lnTo>
                    <a:lnTo>
                      <a:pt x="146" y="414"/>
                    </a:lnTo>
                    <a:lnTo>
                      <a:pt x="144" y="412"/>
                    </a:lnTo>
                    <a:lnTo>
                      <a:pt x="144" y="410"/>
                    </a:lnTo>
                    <a:lnTo>
                      <a:pt x="142" y="410"/>
                    </a:lnTo>
                    <a:lnTo>
                      <a:pt x="140" y="410"/>
                    </a:lnTo>
                    <a:lnTo>
                      <a:pt x="140" y="409"/>
                    </a:lnTo>
                    <a:lnTo>
                      <a:pt x="140" y="410"/>
                    </a:lnTo>
                    <a:lnTo>
                      <a:pt x="138" y="410"/>
                    </a:lnTo>
                    <a:lnTo>
                      <a:pt x="136" y="412"/>
                    </a:lnTo>
                    <a:lnTo>
                      <a:pt x="134" y="412"/>
                    </a:lnTo>
                    <a:lnTo>
                      <a:pt x="134" y="410"/>
                    </a:lnTo>
                    <a:lnTo>
                      <a:pt x="132" y="410"/>
                    </a:lnTo>
                    <a:lnTo>
                      <a:pt x="132" y="412"/>
                    </a:lnTo>
                    <a:lnTo>
                      <a:pt x="132" y="414"/>
                    </a:lnTo>
                    <a:lnTo>
                      <a:pt x="130" y="414"/>
                    </a:lnTo>
                    <a:lnTo>
                      <a:pt x="128" y="414"/>
                    </a:lnTo>
                    <a:lnTo>
                      <a:pt x="128" y="416"/>
                    </a:lnTo>
                    <a:lnTo>
                      <a:pt x="126" y="416"/>
                    </a:lnTo>
                    <a:lnTo>
                      <a:pt x="126" y="414"/>
                    </a:lnTo>
                    <a:lnTo>
                      <a:pt x="124" y="414"/>
                    </a:lnTo>
                    <a:lnTo>
                      <a:pt x="122" y="414"/>
                    </a:lnTo>
                    <a:lnTo>
                      <a:pt x="121" y="414"/>
                    </a:lnTo>
                    <a:lnTo>
                      <a:pt x="119" y="414"/>
                    </a:lnTo>
                    <a:lnTo>
                      <a:pt x="119" y="416"/>
                    </a:lnTo>
                    <a:lnTo>
                      <a:pt x="117" y="416"/>
                    </a:lnTo>
                    <a:lnTo>
                      <a:pt x="117" y="418"/>
                    </a:lnTo>
                    <a:lnTo>
                      <a:pt x="115" y="418"/>
                    </a:lnTo>
                    <a:lnTo>
                      <a:pt x="113" y="418"/>
                    </a:lnTo>
                    <a:lnTo>
                      <a:pt x="113" y="416"/>
                    </a:lnTo>
                    <a:lnTo>
                      <a:pt x="111" y="416"/>
                    </a:lnTo>
                    <a:lnTo>
                      <a:pt x="109" y="416"/>
                    </a:lnTo>
                    <a:lnTo>
                      <a:pt x="107" y="416"/>
                    </a:lnTo>
                    <a:lnTo>
                      <a:pt x="107" y="414"/>
                    </a:lnTo>
                    <a:lnTo>
                      <a:pt x="105" y="414"/>
                    </a:lnTo>
                    <a:lnTo>
                      <a:pt x="105" y="416"/>
                    </a:lnTo>
                    <a:lnTo>
                      <a:pt x="103" y="416"/>
                    </a:lnTo>
                    <a:lnTo>
                      <a:pt x="103" y="418"/>
                    </a:lnTo>
                    <a:lnTo>
                      <a:pt x="101" y="418"/>
                    </a:lnTo>
                    <a:lnTo>
                      <a:pt x="101" y="420"/>
                    </a:lnTo>
                    <a:lnTo>
                      <a:pt x="101" y="422"/>
                    </a:lnTo>
                    <a:lnTo>
                      <a:pt x="99" y="422"/>
                    </a:lnTo>
                    <a:lnTo>
                      <a:pt x="99" y="424"/>
                    </a:lnTo>
                    <a:lnTo>
                      <a:pt x="97" y="424"/>
                    </a:lnTo>
                    <a:lnTo>
                      <a:pt x="97" y="426"/>
                    </a:lnTo>
                    <a:lnTo>
                      <a:pt x="96" y="426"/>
                    </a:lnTo>
                    <a:lnTo>
                      <a:pt x="96" y="428"/>
                    </a:lnTo>
                    <a:lnTo>
                      <a:pt x="97" y="428"/>
                    </a:lnTo>
                    <a:lnTo>
                      <a:pt x="97" y="430"/>
                    </a:lnTo>
                    <a:lnTo>
                      <a:pt x="97" y="432"/>
                    </a:lnTo>
                    <a:lnTo>
                      <a:pt x="96" y="432"/>
                    </a:lnTo>
                    <a:lnTo>
                      <a:pt x="94" y="432"/>
                    </a:lnTo>
                    <a:lnTo>
                      <a:pt x="94" y="433"/>
                    </a:lnTo>
                    <a:lnTo>
                      <a:pt x="92" y="433"/>
                    </a:lnTo>
                    <a:lnTo>
                      <a:pt x="90" y="432"/>
                    </a:lnTo>
                    <a:lnTo>
                      <a:pt x="88" y="432"/>
                    </a:lnTo>
                    <a:lnTo>
                      <a:pt x="88" y="430"/>
                    </a:lnTo>
                    <a:lnTo>
                      <a:pt x="86" y="430"/>
                    </a:lnTo>
                    <a:lnTo>
                      <a:pt x="84" y="430"/>
                    </a:lnTo>
                    <a:lnTo>
                      <a:pt x="84" y="428"/>
                    </a:lnTo>
                    <a:lnTo>
                      <a:pt x="82" y="428"/>
                    </a:lnTo>
                    <a:lnTo>
                      <a:pt x="80" y="428"/>
                    </a:lnTo>
                    <a:lnTo>
                      <a:pt x="80" y="426"/>
                    </a:lnTo>
                    <a:lnTo>
                      <a:pt x="78" y="424"/>
                    </a:lnTo>
                    <a:lnTo>
                      <a:pt x="78" y="422"/>
                    </a:lnTo>
                    <a:lnTo>
                      <a:pt x="78" y="420"/>
                    </a:lnTo>
                    <a:lnTo>
                      <a:pt x="78" y="418"/>
                    </a:lnTo>
                    <a:lnTo>
                      <a:pt x="80" y="418"/>
                    </a:lnTo>
                    <a:lnTo>
                      <a:pt x="80" y="416"/>
                    </a:lnTo>
                    <a:lnTo>
                      <a:pt x="82" y="416"/>
                    </a:lnTo>
                    <a:lnTo>
                      <a:pt x="82" y="414"/>
                    </a:lnTo>
                    <a:lnTo>
                      <a:pt x="82" y="412"/>
                    </a:lnTo>
                    <a:lnTo>
                      <a:pt x="82" y="410"/>
                    </a:lnTo>
                    <a:lnTo>
                      <a:pt x="82" y="409"/>
                    </a:lnTo>
                    <a:lnTo>
                      <a:pt x="84" y="409"/>
                    </a:lnTo>
                    <a:lnTo>
                      <a:pt x="86" y="409"/>
                    </a:lnTo>
                    <a:lnTo>
                      <a:pt x="86" y="407"/>
                    </a:lnTo>
                    <a:lnTo>
                      <a:pt x="86" y="405"/>
                    </a:lnTo>
                    <a:lnTo>
                      <a:pt x="84" y="405"/>
                    </a:lnTo>
                    <a:lnTo>
                      <a:pt x="86" y="405"/>
                    </a:lnTo>
                    <a:lnTo>
                      <a:pt x="86" y="403"/>
                    </a:lnTo>
                    <a:lnTo>
                      <a:pt x="84" y="403"/>
                    </a:lnTo>
                    <a:lnTo>
                      <a:pt x="84" y="401"/>
                    </a:lnTo>
                    <a:lnTo>
                      <a:pt x="86" y="401"/>
                    </a:lnTo>
                    <a:lnTo>
                      <a:pt x="84" y="399"/>
                    </a:lnTo>
                    <a:lnTo>
                      <a:pt x="84" y="397"/>
                    </a:lnTo>
                    <a:lnTo>
                      <a:pt x="86" y="397"/>
                    </a:lnTo>
                    <a:lnTo>
                      <a:pt x="86" y="395"/>
                    </a:lnTo>
                    <a:lnTo>
                      <a:pt x="88" y="395"/>
                    </a:lnTo>
                    <a:lnTo>
                      <a:pt x="88" y="393"/>
                    </a:lnTo>
                    <a:lnTo>
                      <a:pt x="90" y="393"/>
                    </a:lnTo>
                    <a:lnTo>
                      <a:pt x="90" y="391"/>
                    </a:lnTo>
                    <a:lnTo>
                      <a:pt x="88" y="391"/>
                    </a:lnTo>
                    <a:lnTo>
                      <a:pt x="88" y="389"/>
                    </a:lnTo>
                    <a:lnTo>
                      <a:pt x="86" y="389"/>
                    </a:lnTo>
                    <a:lnTo>
                      <a:pt x="86" y="387"/>
                    </a:lnTo>
                    <a:lnTo>
                      <a:pt x="84" y="387"/>
                    </a:lnTo>
                    <a:lnTo>
                      <a:pt x="84" y="385"/>
                    </a:lnTo>
                    <a:lnTo>
                      <a:pt x="84" y="387"/>
                    </a:lnTo>
                    <a:lnTo>
                      <a:pt x="82" y="387"/>
                    </a:lnTo>
                    <a:lnTo>
                      <a:pt x="80" y="387"/>
                    </a:lnTo>
                    <a:lnTo>
                      <a:pt x="80" y="389"/>
                    </a:lnTo>
                    <a:lnTo>
                      <a:pt x="78" y="387"/>
                    </a:lnTo>
                    <a:lnTo>
                      <a:pt x="76" y="387"/>
                    </a:lnTo>
                    <a:lnTo>
                      <a:pt x="76" y="389"/>
                    </a:lnTo>
                    <a:lnTo>
                      <a:pt x="76" y="387"/>
                    </a:lnTo>
                    <a:lnTo>
                      <a:pt x="74" y="387"/>
                    </a:lnTo>
                    <a:lnTo>
                      <a:pt x="73" y="387"/>
                    </a:lnTo>
                    <a:lnTo>
                      <a:pt x="71" y="387"/>
                    </a:lnTo>
                    <a:lnTo>
                      <a:pt x="69" y="387"/>
                    </a:lnTo>
                    <a:lnTo>
                      <a:pt x="69" y="385"/>
                    </a:lnTo>
                    <a:lnTo>
                      <a:pt x="67" y="382"/>
                    </a:lnTo>
                    <a:lnTo>
                      <a:pt x="65" y="382"/>
                    </a:lnTo>
                    <a:lnTo>
                      <a:pt x="65" y="380"/>
                    </a:lnTo>
                    <a:lnTo>
                      <a:pt x="65" y="378"/>
                    </a:lnTo>
                    <a:lnTo>
                      <a:pt x="65" y="376"/>
                    </a:lnTo>
                    <a:lnTo>
                      <a:pt x="67" y="376"/>
                    </a:lnTo>
                    <a:lnTo>
                      <a:pt x="65" y="374"/>
                    </a:lnTo>
                    <a:lnTo>
                      <a:pt x="63" y="374"/>
                    </a:lnTo>
                    <a:lnTo>
                      <a:pt x="61" y="374"/>
                    </a:lnTo>
                    <a:lnTo>
                      <a:pt x="59" y="374"/>
                    </a:lnTo>
                    <a:lnTo>
                      <a:pt x="59" y="372"/>
                    </a:lnTo>
                    <a:lnTo>
                      <a:pt x="57" y="372"/>
                    </a:lnTo>
                    <a:lnTo>
                      <a:pt x="57" y="370"/>
                    </a:lnTo>
                    <a:lnTo>
                      <a:pt x="55" y="368"/>
                    </a:lnTo>
                    <a:lnTo>
                      <a:pt x="55" y="366"/>
                    </a:lnTo>
                    <a:lnTo>
                      <a:pt x="57" y="364"/>
                    </a:lnTo>
                    <a:lnTo>
                      <a:pt x="57" y="362"/>
                    </a:lnTo>
                    <a:lnTo>
                      <a:pt x="55" y="362"/>
                    </a:lnTo>
                    <a:lnTo>
                      <a:pt x="55" y="361"/>
                    </a:lnTo>
                    <a:lnTo>
                      <a:pt x="55" y="359"/>
                    </a:lnTo>
                    <a:lnTo>
                      <a:pt x="57" y="359"/>
                    </a:lnTo>
                    <a:lnTo>
                      <a:pt x="57" y="357"/>
                    </a:lnTo>
                    <a:lnTo>
                      <a:pt x="59" y="357"/>
                    </a:lnTo>
                    <a:lnTo>
                      <a:pt x="59" y="355"/>
                    </a:lnTo>
                    <a:lnTo>
                      <a:pt x="59" y="353"/>
                    </a:lnTo>
                    <a:lnTo>
                      <a:pt x="59" y="351"/>
                    </a:lnTo>
                    <a:lnTo>
                      <a:pt x="61" y="351"/>
                    </a:lnTo>
                    <a:lnTo>
                      <a:pt x="59" y="351"/>
                    </a:lnTo>
                    <a:lnTo>
                      <a:pt x="59" y="349"/>
                    </a:lnTo>
                    <a:lnTo>
                      <a:pt x="59" y="347"/>
                    </a:lnTo>
                    <a:lnTo>
                      <a:pt x="57" y="347"/>
                    </a:lnTo>
                    <a:lnTo>
                      <a:pt x="57" y="345"/>
                    </a:lnTo>
                    <a:lnTo>
                      <a:pt x="55" y="345"/>
                    </a:lnTo>
                    <a:lnTo>
                      <a:pt x="53" y="345"/>
                    </a:lnTo>
                    <a:lnTo>
                      <a:pt x="53" y="343"/>
                    </a:lnTo>
                    <a:lnTo>
                      <a:pt x="51" y="343"/>
                    </a:lnTo>
                    <a:lnTo>
                      <a:pt x="49" y="343"/>
                    </a:lnTo>
                    <a:lnTo>
                      <a:pt x="48" y="343"/>
                    </a:lnTo>
                    <a:lnTo>
                      <a:pt x="48" y="341"/>
                    </a:lnTo>
                    <a:lnTo>
                      <a:pt x="46" y="341"/>
                    </a:lnTo>
                    <a:lnTo>
                      <a:pt x="46" y="343"/>
                    </a:lnTo>
                    <a:lnTo>
                      <a:pt x="44" y="343"/>
                    </a:lnTo>
                    <a:lnTo>
                      <a:pt x="44" y="345"/>
                    </a:lnTo>
                    <a:lnTo>
                      <a:pt x="42" y="345"/>
                    </a:lnTo>
                    <a:lnTo>
                      <a:pt x="40" y="345"/>
                    </a:lnTo>
                    <a:lnTo>
                      <a:pt x="40" y="343"/>
                    </a:lnTo>
                    <a:lnTo>
                      <a:pt x="38" y="343"/>
                    </a:lnTo>
                    <a:lnTo>
                      <a:pt x="36" y="343"/>
                    </a:lnTo>
                    <a:lnTo>
                      <a:pt x="34" y="341"/>
                    </a:lnTo>
                    <a:lnTo>
                      <a:pt x="34" y="339"/>
                    </a:lnTo>
                    <a:lnTo>
                      <a:pt x="32" y="339"/>
                    </a:lnTo>
                    <a:lnTo>
                      <a:pt x="30" y="337"/>
                    </a:lnTo>
                    <a:lnTo>
                      <a:pt x="30" y="336"/>
                    </a:lnTo>
                    <a:lnTo>
                      <a:pt x="30" y="334"/>
                    </a:lnTo>
                    <a:lnTo>
                      <a:pt x="30" y="332"/>
                    </a:lnTo>
                    <a:lnTo>
                      <a:pt x="28" y="332"/>
                    </a:lnTo>
                    <a:lnTo>
                      <a:pt x="28" y="330"/>
                    </a:lnTo>
                    <a:lnTo>
                      <a:pt x="26" y="330"/>
                    </a:lnTo>
                    <a:lnTo>
                      <a:pt x="26" y="328"/>
                    </a:lnTo>
                    <a:lnTo>
                      <a:pt x="26" y="326"/>
                    </a:lnTo>
                    <a:lnTo>
                      <a:pt x="25" y="326"/>
                    </a:lnTo>
                    <a:lnTo>
                      <a:pt x="25" y="324"/>
                    </a:lnTo>
                    <a:lnTo>
                      <a:pt x="25" y="322"/>
                    </a:lnTo>
                    <a:lnTo>
                      <a:pt x="23" y="322"/>
                    </a:lnTo>
                    <a:lnTo>
                      <a:pt x="23" y="320"/>
                    </a:lnTo>
                    <a:lnTo>
                      <a:pt x="21" y="320"/>
                    </a:lnTo>
                    <a:lnTo>
                      <a:pt x="21" y="318"/>
                    </a:lnTo>
                    <a:lnTo>
                      <a:pt x="21" y="316"/>
                    </a:lnTo>
                    <a:lnTo>
                      <a:pt x="21" y="314"/>
                    </a:lnTo>
                    <a:lnTo>
                      <a:pt x="23" y="314"/>
                    </a:lnTo>
                    <a:lnTo>
                      <a:pt x="21" y="314"/>
                    </a:lnTo>
                    <a:lnTo>
                      <a:pt x="21" y="313"/>
                    </a:lnTo>
                    <a:lnTo>
                      <a:pt x="21" y="311"/>
                    </a:lnTo>
                    <a:lnTo>
                      <a:pt x="19" y="311"/>
                    </a:lnTo>
                    <a:lnTo>
                      <a:pt x="17" y="311"/>
                    </a:lnTo>
                    <a:lnTo>
                      <a:pt x="17" y="309"/>
                    </a:lnTo>
                    <a:lnTo>
                      <a:pt x="17" y="311"/>
                    </a:lnTo>
                    <a:lnTo>
                      <a:pt x="15" y="311"/>
                    </a:lnTo>
                    <a:lnTo>
                      <a:pt x="15" y="309"/>
                    </a:lnTo>
                    <a:lnTo>
                      <a:pt x="13" y="309"/>
                    </a:lnTo>
                    <a:lnTo>
                      <a:pt x="11" y="309"/>
                    </a:lnTo>
                    <a:lnTo>
                      <a:pt x="11" y="307"/>
                    </a:lnTo>
                    <a:lnTo>
                      <a:pt x="11" y="305"/>
                    </a:lnTo>
                    <a:lnTo>
                      <a:pt x="11" y="303"/>
                    </a:lnTo>
                    <a:lnTo>
                      <a:pt x="9" y="303"/>
                    </a:lnTo>
                    <a:lnTo>
                      <a:pt x="9" y="301"/>
                    </a:lnTo>
                    <a:lnTo>
                      <a:pt x="7" y="301"/>
                    </a:lnTo>
                    <a:lnTo>
                      <a:pt x="7" y="299"/>
                    </a:lnTo>
                    <a:lnTo>
                      <a:pt x="5" y="299"/>
                    </a:lnTo>
                    <a:lnTo>
                      <a:pt x="3" y="299"/>
                    </a:lnTo>
                    <a:lnTo>
                      <a:pt x="1" y="299"/>
                    </a:lnTo>
                    <a:lnTo>
                      <a:pt x="0" y="299"/>
                    </a:lnTo>
                    <a:lnTo>
                      <a:pt x="0" y="297"/>
                    </a:lnTo>
                    <a:lnTo>
                      <a:pt x="0" y="295"/>
                    </a:lnTo>
                    <a:lnTo>
                      <a:pt x="1" y="293"/>
                    </a:lnTo>
                    <a:lnTo>
                      <a:pt x="1" y="291"/>
                    </a:lnTo>
                    <a:lnTo>
                      <a:pt x="0" y="291"/>
                    </a:lnTo>
                    <a:lnTo>
                      <a:pt x="1" y="291"/>
                    </a:lnTo>
                    <a:lnTo>
                      <a:pt x="1" y="289"/>
                    </a:lnTo>
                    <a:lnTo>
                      <a:pt x="3" y="289"/>
                    </a:lnTo>
                    <a:lnTo>
                      <a:pt x="3" y="288"/>
                    </a:lnTo>
                    <a:lnTo>
                      <a:pt x="3" y="286"/>
                    </a:lnTo>
                    <a:lnTo>
                      <a:pt x="5" y="286"/>
                    </a:lnTo>
                    <a:lnTo>
                      <a:pt x="5" y="284"/>
                    </a:lnTo>
                    <a:lnTo>
                      <a:pt x="5" y="282"/>
                    </a:lnTo>
                    <a:lnTo>
                      <a:pt x="7" y="282"/>
                    </a:lnTo>
                    <a:lnTo>
                      <a:pt x="7" y="280"/>
                    </a:lnTo>
                    <a:lnTo>
                      <a:pt x="9" y="280"/>
                    </a:lnTo>
                    <a:lnTo>
                      <a:pt x="9" y="278"/>
                    </a:lnTo>
                    <a:lnTo>
                      <a:pt x="11" y="278"/>
                    </a:lnTo>
                    <a:lnTo>
                      <a:pt x="13" y="278"/>
                    </a:lnTo>
                    <a:lnTo>
                      <a:pt x="13" y="276"/>
                    </a:lnTo>
                    <a:lnTo>
                      <a:pt x="11" y="276"/>
                    </a:lnTo>
                    <a:lnTo>
                      <a:pt x="13" y="276"/>
                    </a:lnTo>
                    <a:lnTo>
                      <a:pt x="13" y="274"/>
                    </a:lnTo>
                    <a:lnTo>
                      <a:pt x="13" y="272"/>
                    </a:lnTo>
                    <a:lnTo>
                      <a:pt x="11" y="272"/>
                    </a:lnTo>
                    <a:lnTo>
                      <a:pt x="13" y="272"/>
                    </a:lnTo>
                    <a:lnTo>
                      <a:pt x="11" y="272"/>
                    </a:lnTo>
                    <a:lnTo>
                      <a:pt x="11" y="270"/>
                    </a:lnTo>
                    <a:lnTo>
                      <a:pt x="11" y="268"/>
                    </a:lnTo>
                    <a:lnTo>
                      <a:pt x="11" y="266"/>
                    </a:lnTo>
                    <a:lnTo>
                      <a:pt x="13" y="266"/>
                    </a:lnTo>
                    <a:lnTo>
                      <a:pt x="11" y="265"/>
                    </a:lnTo>
                    <a:lnTo>
                      <a:pt x="11" y="263"/>
                    </a:lnTo>
                    <a:lnTo>
                      <a:pt x="9" y="261"/>
                    </a:lnTo>
                    <a:lnTo>
                      <a:pt x="9" y="259"/>
                    </a:lnTo>
                    <a:lnTo>
                      <a:pt x="9" y="257"/>
                    </a:lnTo>
                    <a:lnTo>
                      <a:pt x="11" y="257"/>
                    </a:lnTo>
                    <a:lnTo>
                      <a:pt x="13" y="255"/>
                    </a:lnTo>
                    <a:lnTo>
                      <a:pt x="13" y="253"/>
                    </a:lnTo>
                    <a:lnTo>
                      <a:pt x="15" y="251"/>
                    </a:lnTo>
                    <a:lnTo>
                      <a:pt x="15" y="249"/>
                    </a:lnTo>
                    <a:lnTo>
                      <a:pt x="17" y="249"/>
                    </a:lnTo>
                    <a:lnTo>
                      <a:pt x="17" y="247"/>
                    </a:lnTo>
                    <a:lnTo>
                      <a:pt x="17" y="245"/>
                    </a:lnTo>
                    <a:lnTo>
                      <a:pt x="17" y="243"/>
                    </a:lnTo>
                    <a:lnTo>
                      <a:pt x="19" y="241"/>
                    </a:lnTo>
                    <a:lnTo>
                      <a:pt x="19" y="240"/>
                    </a:lnTo>
                    <a:lnTo>
                      <a:pt x="21" y="240"/>
                    </a:lnTo>
                    <a:lnTo>
                      <a:pt x="21" y="238"/>
                    </a:lnTo>
                    <a:lnTo>
                      <a:pt x="23" y="238"/>
                    </a:lnTo>
                    <a:lnTo>
                      <a:pt x="23" y="240"/>
                    </a:lnTo>
                    <a:lnTo>
                      <a:pt x="25" y="240"/>
                    </a:lnTo>
                    <a:lnTo>
                      <a:pt x="26" y="240"/>
                    </a:lnTo>
                    <a:lnTo>
                      <a:pt x="28" y="240"/>
                    </a:lnTo>
                    <a:lnTo>
                      <a:pt x="28" y="238"/>
                    </a:lnTo>
                    <a:lnTo>
                      <a:pt x="28" y="236"/>
                    </a:lnTo>
                    <a:lnTo>
                      <a:pt x="28" y="234"/>
                    </a:lnTo>
                    <a:lnTo>
                      <a:pt x="26" y="234"/>
                    </a:lnTo>
                    <a:lnTo>
                      <a:pt x="25" y="234"/>
                    </a:lnTo>
                    <a:lnTo>
                      <a:pt x="23" y="232"/>
                    </a:lnTo>
                    <a:lnTo>
                      <a:pt x="21" y="232"/>
                    </a:lnTo>
                    <a:lnTo>
                      <a:pt x="21" y="230"/>
                    </a:lnTo>
                    <a:lnTo>
                      <a:pt x="21" y="228"/>
                    </a:lnTo>
                    <a:lnTo>
                      <a:pt x="21" y="226"/>
                    </a:lnTo>
                    <a:lnTo>
                      <a:pt x="21" y="224"/>
                    </a:lnTo>
                    <a:lnTo>
                      <a:pt x="21" y="222"/>
                    </a:lnTo>
                    <a:lnTo>
                      <a:pt x="19" y="222"/>
                    </a:lnTo>
                    <a:lnTo>
                      <a:pt x="19" y="220"/>
                    </a:lnTo>
                    <a:lnTo>
                      <a:pt x="21" y="220"/>
                    </a:lnTo>
                    <a:lnTo>
                      <a:pt x="21" y="218"/>
                    </a:lnTo>
                    <a:lnTo>
                      <a:pt x="23" y="215"/>
                    </a:lnTo>
                    <a:lnTo>
                      <a:pt x="25" y="213"/>
                    </a:lnTo>
                    <a:lnTo>
                      <a:pt x="26" y="211"/>
                    </a:lnTo>
                    <a:lnTo>
                      <a:pt x="26" y="209"/>
                    </a:lnTo>
                    <a:lnTo>
                      <a:pt x="28" y="207"/>
                    </a:lnTo>
                    <a:lnTo>
                      <a:pt x="28" y="205"/>
                    </a:lnTo>
                    <a:lnTo>
                      <a:pt x="30" y="205"/>
                    </a:lnTo>
                    <a:lnTo>
                      <a:pt x="30" y="203"/>
                    </a:lnTo>
                    <a:lnTo>
                      <a:pt x="28" y="203"/>
                    </a:lnTo>
                    <a:lnTo>
                      <a:pt x="28" y="201"/>
                    </a:lnTo>
                    <a:lnTo>
                      <a:pt x="28" y="199"/>
                    </a:lnTo>
                    <a:lnTo>
                      <a:pt x="26" y="197"/>
                    </a:lnTo>
                    <a:lnTo>
                      <a:pt x="26" y="195"/>
                    </a:lnTo>
                    <a:lnTo>
                      <a:pt x="26" y="193"/>
                    </a:lnTo>
                    <a:lnTo>
                      <a:pt x="28" y="193"/>
                    </a:lnTo>
                    <a:lnTo>
                      <a:pt x="30" y="192"/>
                    </a:lnTo>
                    <a:lnTo>
                      <a:pt x="32" y="192"/>
                    </a:lnTo>
                    <a:lnTo>
                      <a:pt x="32" y="190"/>
                    </a:lnTo>
                    <a:lnTo>
                      <a:pt x="34" y="190"/>
                    </a:lnTo>
                    <a:lnTo>
                      <a:pt x="34" y="188"/>
                    </a:lnTo>
                    <a:lnTo>
                      <a:pt x="36" y="188"/>
                    </a:lnTo>
                    <a:lnTo>
                      <a:pt x="36" y="186"/>
                    </a:lnTo>
                    <a:lnTo>
                      <a:pt x="38" y="186"/>
                    </a:lnTo>
                    <a:lnTo>
                      <a:pt x="40" y="186"/>
                    </a:lnTo>
                    <a:lnTo>
                      <a:pt x="40" y="184"/>
                    </a:lnTo>
                    <a:lnTo>
                      <a:pt x="42" y="184"/>
                    </a:lnTo>
                    <a:lnTo>
                      <a:pt x="44" y="184"/>
                    </a:lnTo>
                    <a:lnTo>
                      <a:pt x="44" y="182"/>
                    </a:lnTo>
                    <a:lnTo>
                      <a:pt x="46" y="182"/>
                    </a:lnTo>
                    <a:lnTo>
                      <a:pt x="46" y="180"/>
                    </a:lnTo>
                    <a:lnTo>
                      <a:pt x="46" y="178"/>
                    </a:lnTo>
                    <a:lnTo>
                      <a:pt x="46" y="176"/>
                    </a:lnTo>
                    <a:lnTo>
                      <a:pt x="48" y="176"/>
                    </a:lnTo>
                    <a:lnTo>
                      <a:pt x="49" y="176"/>
                    </a:lnTo>
                    <a:lnTo>
                      <a:pt x="49" y="174"/>
                    </a:lnTo>
                    <a:lnTo>
                      <a:pt x="51" y="176"/>
                    </a:lnTo>
                    <a:lnTo>
                      <a:pt x="51" y="178"/>
                    </a:lnTo>
                    <a:lnTo>
                      <a:pt x="53" y="178"/>
                    </a:lnTo>
                    <a:lnTo>
                      <a:pt x="53" y="180"/>
                    </a:lnTo>
                    <a:lnTo>
                      <a:pt x="53" y="178"/>
                    </a:lnTo>
                    <a:lnTo>
                      <a:pt x="55" y="178"/>
                    </a:lnTo>
                    <a:lnTo>
                      <a:pt x="57" y="178"/>
                    </a:lnTo>
                    <a:lnTo>
                      <a:pt x="57" y="176"/>
                    </a:lnTo>
                    <a:lnTo>
                      <a:pt x="59" y="176"/>
                    </a:lnTo>
                    <a:lnTo>
                      <a:pt x="61" y="174"/>
                    </a:lnTo>
                    <a:lnTo>
                      <a:pt x="61" y="172"/>
                    </a:lnTo>
                    <a:lnTo>
                      <a:pt x="63" y="172"/>
                    </a:lnTo>
                    <a:lnTo>
                      <a:pt x="63" y="170"/>
                    </a:lnTo>
                    <a:lnTo>
                      <a:pt x="63" y="169"/>
                    </a:lnTo>
                    <a:lnTo>
                      <a:pt x="63" y="167"/>
                    </a:lnTo>
                    <a:lnTo>
                      <a:pt x="65" y="167"/>
                    </a:lnTo>
                    <a:lnTo>
                      <a:pt x="65" y="165"/>
                    </a:lnTo>
                    <a:lnTo>
                      <a:pt x="67" y="163"/>
                    </a:lnTo>
                    <a:lnTo>
                      <a:pt x="67" y="161"/>
                    </a:lnTo>
                    <a:lnTo>
                      <a:pt x="65" y="161"/>
                    </a:lnTo>
                    <a:lnTo>
                      <a:pt x="65" y="159"/>
                    </a:lnTo>
                    <a:lnTo>
                      <a:pt x="67" y="159"/>
                    </a:lnTo>
                    <a:lnTo>
                      <a:pt x="67" y="157"/>
                    </a:lnTo>
                    <a:lnTo>
                      <a:pt x="69" y="155"/>
                    </a:lnTo>
                    <a:lnTo>
                      <a:pt x="69" y="153"/>
                    </a:lnTo>
                    <a:lnTo>
                      <a:pt x="71" y="151"/>
                    </a:lnTo>
                    <a:lnTo>
                      <a:pt x="73" y="151"/>
                    </a:lnTo>
                    <a:lnTo>
                      <a:pt x="73" y="149"/>
                    </a:lnTo>
                    <a:lnTo>
                      <a:pt x="74" y="149"/>
                    </a:lnTo>
                    <a:lnTo>
                      <a:pt x="74" y="151"/>
                    </a:lnTo>
                    <a:lnTo>
                      <a:pt x="76" y="151"/>
                    </a:lnTo>
                    <a:lnTo>
                      <a:pt x="76" y="149"/>
                    </a:lnTo>
                    <a:lnTo>
                      <a:pt x="78" y="153"/>
                    </a:lnTo>
                    <a:lnTo>
                      <a:pt x="80" y="153"/>
                    </a:lnTo>
                    <a:lnTo>
                      <a:pt x="82" y="151"/>
                    </a:lnTo>
                    <a:lnTo>
                      <a:pt x="84" y="149"/>
                    </a:lnTo>
                    <a:lnTo>
                      <a:pt x="84" y="147"/>
                    </a:lnTo>
                    <a:lnTo>
                      <a:pt x="86" y="147"/>
                    </a:lnTo>
                    <a:lnTo>
                      <a:pt x="88" y="147"/>
                    </a:lnTo>
                    <a:lnTo>
                      <a:pt x="88" y="145"/>
                    </a:lnTo>
                    <a:lnTo>
                      <a:pt x="90" y="145"/>
                    </a:lnTo>
                    <a:lnTo>
                      <a:pt x="90" y="144"/>
                    </a:lnTo>
                    <a:lnTo>
                      <a:pt x="90" y="142"/>
                    </a:lnTo>
                    <a:lnTo>
                      <a:pt x="92" y="144"/>
                    </a:lnTo>
                    <a:lnTo>
                      <a:pt x="94" y="145"/>
                    </a:lnTo>
                    <a:lnTo>
                      <a:pt x="96" y="145"/>
                    </a:lnTo>
                    <a:lnTo>
                      <a:pt x="96" y="147"/>
                    </a:lnTo>
                    <a:lnTo>
                      <a:pt x="97" y="147"/>
                    </a:lnTo>
                    <a:lnTo>
                      <a:pt x="97" y="145"/>
                    </a:lnTo>
                    <a:lnTo>
                      <a:pt x="99" y="147"/>
                    </a:lnTo>
                    <a:lnTo>
                      <a:pt x="99" y="149"/>
                    </a:lnTo>
                    <a:lnTo>
                      <a:pt x="101" y="149"/>
                    </a:lnTo>
                    <a:lnTo>
                      <a:pt x="101" y="151"/>
                    </a:lnTo>
                    <a:lnTo>
                      <a:pt x="101" y="153"/>
                    </a:lnTo>
                    <a:lnTo>
                      <a:pt x="103" y="153"/>
                    </a:lnTo>
                    <a:lnTo>
                      <a:pt x="103" y="151"/>
                    </a:lnTo>
                    <a:lnTo>
                      <a:pt x="105" y="151"/>
                    </a:lnTo>
                    <a:lnTo>
                      <a:pt x="107" y="153"/>
                    </a:lnTo>
                    <a:lnTo>
                      <a:pt x="109" y="153"/>
                    </a:lnTo>
                    <a:lnTo>
                      <a:pt x="109" y="151"/>
                    </a:lnTo>
                    <a:lnTo>
                      <a:pt x="111" y="151"/>
                    </a:lnTo>
                    <a:lnTo>
                      <a:pt x="113" y="151"/>
                    </a:lnTo>
                    <a:lnTo>
                      <a:pt x="113" y="153"/>
                    </a:lnTo>
                    <a:lnTo>
                      <a:pt x="115" y="153"/>
                    </a:lnTo>
                    <a:lnTo>
                      <a:pt x="117" y="153"/>
                    </a:lnTo>
                    <a:lnTo>
                      <a:pt x="121" y="155"/>
                    </a:lnTo>
                    <a:lnTo>
                      <a:pt x="122" y="157"/>
                    </a:lnTo>
                    <a:lnTo>
                      <a:pt x="124" y="157"/>
                    </a:lnTo>
                    <a:lnTo>
                      <a:pt x="126" y="157"/>
                    </a:lnTo>
                    <a:lnTo>
                      <a:pt x="128" y="161"/>
                    </a:lnTo>
                    <a:lnTo>
                      <a:pt x="130" y="161"/>
                    </a:lnTo>
                    <a:lnTo>
                      <a:pt x="132" y="161"/>
                    </a:lnTo>
                    <a:lnTo>
                      <a:pt x="132" y="159"/>
                    </a:lnTo>
                    <a:lnTo>
                      <a:pt x="134" y="157"/>
                    </a:lnTo>
                    <a:lnTo>
                      <a:pt x="136" y="157"/>
                    </a:lnTo>
                    <a:lnTo>
                      <a:pt x="138" y="155"/>
                    </a:lnTo>
                    <a:lnTo>
                      <a:pt x="140" y="155"/>
                    </a:lnTo>
                    <a:lnTo>
                      <a:pt x="140" y="153"/>
                    </a:lnTo>
                    <a:lnTo>
                      <a:pt x="142" y="153"/>
                    </a:lnTo>
                    <a:lnTo>
                      <a:pt x="144" y="153"/>
                    </a:lnTo>
                    <a:lnTo>
                      <a:pt x="144" y="151"/>
                    </a:lnTo>
                    <a:lnTo>
                      <a:pt x="146" y="151"/>
                    </a:lnTo>
                    <a:lnTo>
                      <a:pt x="147" y="151"/>
                    </a:lnTo>
                    <a:lnTo>
                      <a:pt x="149" y="149"/>
                    </a:lnTo>
                    <a:lnTo>
                      <a:pt x="151" y="149"/>
                    </a:lnTo>
                    <a:lnTo>
                      <a:pt x="151" y="147"/>
                    </a:lnTo>
                    <a:lnTo>
                      <a:pt x="151" y="149"/>
                    </a:lnTo>
                    <a:lnTo>
                      <a:pt x="153" y="149"/>
                    </a:lnTo>
                    <a:lnTo>
                      <a:pt x="155" y="151"/>
                    </a:lnTo>
                    <a:lnTo>
                      <a:pt x="157" y="153"/>
                    </a:lnTo>
                    <a:lnTo>
                      <a:pt x="159" y="153"/>
                    </a:lnTo>
                    <a:lnTo>
                      <a:pt x="159" y="155"/>
                    </a:lnTo>
                    <a:lnTo>
                      <a:pt x="161" y="155"/>
                    </a:lnTo>
                    <a:lnTo>
                      <a:pt x="161" y="157"/>
                    </a:lnTo>
                    <a:lnTo>
                      <a:pt x="161" y="159"/>
                    </a:lnTo>
                    <a:lnTo>
                      <a:pt x="161" y="161"/>
                    </a:lnTo>
                    <a:lnTo>
                      <a:pt x="163" y="161"/>
                    </a:lnTo>
                    <a:lnTo>
                      <a:pt x="165" y="161"/>
                    </a:lnTo>
                    <a:lnTo>
                      <a:pt x="165" y="159"/>
                    </a:lnTo>
                    <a:lnTo>
                      <a:pt x="167" y="159"/>
                    </a:lnTo>
                    <a:lnTo>
                      <a:pt x="167" y="157"/>
                    </a:lnTo>
                    <a:lnTo>
                      <a:pt x="169" y="157"/>
                    </a:lnTo>
                    <a:lnTo>
                      <a:pt x="170" y="157"/>
                    </a:lnTo>
                    <a:lnTo>
                      <a:pt x="170" y="155"/>
                    </a:lnTo>
                    <a:lnTo>
                      <a:pt x="172" y="155"/>
                    </a:lnTo>
                    <a:lnTo>
                      <a:pt x="172" y="153"/>
                    </a:lnTo>
                    <a:lnTo>
                      <a:pt x="174" y="153"/>
                    </a:lnTo>
                    <a:lnTo>
                      <a:pt x="174" y="151"/>
                    </a:lnTo>
                    <a:lnTo>
                      <a:pt x="176" y="149"/>
                    </a:lnTo>
                    <a:lnTo>
                      <a:pt x="176" y="151"/>
                    </a:lnTo>
                    <a:lnTo>
                      <a:pt x="178" y="151"/>
                    </a:lnTo>
                    <a:lnTo>
                      <a:pt x="180" y="151"/>
                    </a:lnTo>
                    <a:lnTo>
                      <a:pt x="182" y="151"/>
                    </a:lnTo>
                    <a:lnTo>
                      <a:pt x="184" y="151"/>
                    </a:lnTo>
                    <a:lnTo>
                      <a:pt x="186" y="153"/>
                    </a:lnTo>
                    <a:lnTo>
                      <a:pt x="188" y="153"/>
                    </a:lnTo>
                    <a:lnTo>
                      <a:pt x="188" y="155"/>
                    </a:lnTo>
                    <a:lnTo>
                      <a:pt x="190" y="155"/>
                    </a:lnTo>
                    <a:lnTo>
                      <a:pt x="192" y="157"/>
                    </a:lnTo>
                    <a:lnTo>
                      <a:pt x="194" y="157"/>
                    </a:lnTo>
                    <a:lnTo>
                      <a:pt x="195" y="157"/>
                    </a:lnTo>
                    <a:lnTo>
                      <a:pt x="197" y="157"/>
                    </a:lnTo>
                    <a:lnTo>
                      <a:pt x="197" y="159"/>
                    </a:lnTo>
                    <a:lnTo>
                      <a:pt x="199" y="159"/>
                    </a:lnTo>
                    <a:lnTo>
                      <a:pt x="199" y="161"/>
                    </a:lnTo>
                    <a:lnTo>
                      <a:pt x="199" y="163"/>
                    </a:lnTo>
                    <a:lnTo>
                      <a:pt x="201" y="163"/>
                    </a:lnTo>
                    <a:lnTo>
                      <a:pt x="201" y="165"/>
                    </a:lnTo>
                    <a:lnTo>
                      <a:pt x="203" y="165"/>
                    </a:lnTo>
                    <a:lnTo>
                      <a:pt x="203" y="163"/>
                    </a:lnTo>
                    <a:lnTo>
                      <a:pt x="205" y="161"/>
                    </a:lnTo>
                    <a:lnTo>
                      <a:pt x="205" y="159"/>
                    </a:lnTo>
                    <a:lnTo>
                      <a:pt x="207" y="157"/>
                    </a:lnTo>
                    <a:lnTo>
                      <a:pt x="207" y="159"/>
                    </a:lnTo>
                    <a:lnTo>
                      <a:pt x="209" y="159"/>
                    </a:lnTo>
                    <a:lnTo>
                      <a:pt x="211" y="159"/>
                    </a:lnTo>
                    <a:lnTo>
                      <a:pt x="211" y="161"/>
                    </a:lnTo>
                    <a:lnTo>
                      <a:pt x="213" y="161"/>
                    </a:lnTo>
                    <a:lnTo>
                      <a:pt x="215" y="161"/>
                    </a:lnTo>
                    <a:lnTo>
                      <a:pt x="217" y="159"/>
                    </a:lnTo>
                    <a:lnTo>
                      <a:pt x="217" y="157"/>
                    </a:lnTo>
                    <a:lnTo>
                      <a:pt x="218" y="157"/>
                    </a:lnTo>
                    <a:lnTo>
                      <a:pt x="218" y="159"/>
                    </a:lnTo>
                    <a:lnTo>
                      <a:pt x="220" y="159"/>
                    </a:lnTo>
                    <a:lnTo>
                      <a:pt x="220" y="161"/>
                    </a:lnTo>
                    <a:lnTo>
                      <a:pt x="222" y="161"/>
                    </a:lnTo>
                    <a:lnTo>
                      <a:pt x="224" y="161"/>
                    </a:lnTo>
                    <a:lnTo>
                      <a:pt x="226" y="159"/>
                    </a:lnTo>
                    <a:lnTo>
                      <a:pt x="228" y="159"/>
                    </a:lnTo>
                    <a:lnTo>
                      <a:pt x="230" y="159"/>
                    </a:lnTo>
                    <a:lnTo>
                      <a:pt x="230" y="157"/>
                    </a:lnTo>
                    <a:lnTo>
                      <a:pt x="232" y="157"/>
                    </a:lnTo>
                    <a:lnTo>
                      <a:pt x="234" y="157"/>
                    </a:lnTo>
                    <a:lnTo>
                      <a:pt x="234" y="155"/>
                    </a:lnTo>
                    <a:lnTo>
                      <a:pt x="238" y="155"/>
                    </a:lnTo>
                    <a:lnTo>
                      <a:pt x="238" y="153"/>
                    </a:lnTo>
                    <a:lnTo>
                      <a:pt x="240" y="153"/>
                    </a:lnTo>
                    <a:lnTo>
                      <a:pt x="242" y="155"/>
                    </a:lnTo>
                    <a:lnTo>
                      <a:pt x="243" y="155"/>
                    </a:lnTo>
                    <a:lnTo>
                      <a:pt x="243" y="153"/>
                    </a:lnTo>
                    <a:lnTo>
                      <a:pt x="245" y="153"/>
                    </a:lnTo>
                    <a:lnTo>
                      <a:pt x="247" y="153"/>
                    </a:lnTo>
                    <a:lnTo>
                      <a:pt x="249" y="153"/>
                    </a:lnTo>
                    <a:lnTo>
                      <a:pt x="251" y="153"/>
                    </a:lnTo>
                    <a:lnTo>
                      <a:pt x="253" y="151"/>
                    </a:lnTo>
                    <a:lnTo>
                      <a:pt x="255" y="151"/>
                    </a:lnTo>
                    <a:lnTo>
                      <a:pt x="257" y="151"/>
                    </a:lnTo>
                    <a:lnTo>
                      <a:pt x="259" y="151"/>
                    </a:lnTo>
                    <a:lnTo>
                      <a:pt x="261" y="151"/>
                    </a:lnTo>
                    <a:lnTo>
                      <a:pt x="261" y="149"/>
                    </a:lnTo>
                    <a:lnTo>
                      <a:pt x="263" y="149"/>
                    </a:lnTo>
                    <a:lnTo>
                      <a:pt x="265" y="149"/>
                    </a:lnTo>
                    <a:lnTo>
                      <a:pt x="266" y="149"/>
                    </a:lnTo>
                    <a:lnTo>
                      <a:pt x="268" y="149"/>
                    </a:lnTo>
                    <a:lnTo>
                      <a:pt x="268" y="151"/>
                    </a:lnTo>
                    <a:lnTo>
                      <a:pt x="270" y="153"/>
                    </a:lnTo>
                    <a:lnTo>
                      <a:pt x="270" y="155"/>
                    </a:lnTo>
                    <a:lnTo>
                      <a:pt x="272" y="155"/>
                    </a:lnTo>
                    <a:lnTo>
                      <a:pt x="272" y="157"/>
                    </a:lnTo>
                    <a:lnTo>
                      <a:pt x="274" y="157"/>
                    </a:lnTo>
                    <a:lnTo>
                      <a:pt x="274" y="159"/>
                    </a:lnTo>
                    <a:lnTo>
                      <a:pt x="276" y="159"/>
                    </a:lnTo>
                    <a:lnTo>
                      <a:pt x="276" y="161"/>
                    </a:lnTo>
                    <a:lnTo>
                      <a:pt x="278" y="161"/>
                    </a:lnTo>
                    <a:lnTo>
                      <a:pt x="280" y="161"/>
                    </a:lnTo>
                    <a:lnTo>
                      <a:pt x="280" y="159"/>
                    </a:lnTo>
                    <a:lnTo>
                      <a:pt x="282" y="159"/>
                    </a:lnTo>
                    <a:lnTo>
                      <a:pt x="282" y="157"/>
                    </a:lnTo>
                    <a:lnTo>
                      <a:pt x="282" y="155"/>
                    </a:lnTo>
                    <a:lnTo>
                      <a:pt x="282" y="153"/>
                    </a:lnTo>
                    <a:lnTo>
                      <a:pt x="282" y="151"/>
                    </a:lnTo>
                    <a:lnTo>
                      <a:pt x="284" y="151"/>
                    </a:lnTo>
                    <a:lnTo>
                      <a:pt x="284" y="149"/>
                    </a:lnTo>
                    <a:lnTo>
                      <a:pt x="284" y="147"/>
                    </a:lnTo>
                    <a:lnTo>
                      <a:pt x="284" y="145"/>
                    </a:lnTo>
                    <a:lnTo>
                      <a:pt x="286" y="145"/>
                    </a:lnTo>
                    <a:lnTo>
                      <a:pt x="288" y="144"/>
                    </a:lnTo>
                    <a:lnTo>
                      <a:pt x="286" y="144"/>
                    </a:lnTo>
                    <a:lnTo>
                      <a:pt x="286" y="142"/>
                    </a:lnTo>
                    <a:lnTo>
                      <a:pt x="288" y="142"/>
                    </a:lnTo>
                    <a:lnTo>
                      <a:pt x="288" y="140"/>
                    </a:lnTo>
                    <a:lnTo>
                      <a:pt x="290" y="138"/>
                    </a:lnTo>
                    <a:lnTo>
                      <a:pt x="290" y="136"/>
                    </a:lnTo>
                    <a:lnTo>
                      <a:pt x="288" y="136"/>
                    </a:lnTo>
                    <a:lnTo>
                      <a:pt x="286" y="134"/>
                    </a:lnTo>
                    <a:lnTo>
                      <a:pt x="284" y="134"/>
                    </a:lnTo>
                    <a:lnTo>
                      <a:pt x="282" y="134"/>
                    </a:lnTo>
                    <a:lnTo>
                      <a:pt x="280" y="134"/>
                    </a:lnTo>
                    <a:lnTo>
                      <a:pt x="280" y="136"/>
                    </a:lnTo>
                    <a:lnTo>
                      <a:pt x="278" y="136"/>
                    </a:lnTo>
                    <a:lnTo>
                      <a:pt x="276" y="134"/>
                    </a:lnTo>
                    <a:lnTo>
                      <a:pt x="274" y="134"/>
                    </a:lnTo>
                    <a:lnTo>
                      <a:pt x="272" y="134"/>
                    </a:lnTo>
                    <a:lnTo>
                      <a:pt x="272" y="132"/>
                    </a:lnTo>
                    <a:lnTo>
                      <a:pt x="270" y="132"/>
                    </a:lnTo>
                    <a:lnTo>
                      <a:pt x="268" y="132"/>
                    </a:lnTo>
                    <a:lnTo>
                      <a:pt x="266" y="132"/>
                    </a:lnTo>
                    <a:lnTo>
                      <a:pt x="266" y="130"/>
                    </a:lnTo>
                    <a:lnTo>
                      <a:pt x="265" y="130"/>
                    </a:lnTo>
                    <a:lnTo>
                      <a:pt x="263" y="130"/>
                    </a:lnTo>
                    <a:lnTo>
                      <a:pt x="263" y="128"/>
                    </a:lnTo>
                    <a:lnTo>
                      <a:pt x="261" y="126"/>
                    </a:lnTo>
                    <a:lnTo>
                      <a:pt x="263" y="126"/>
                    </a:lnTo>
                    <a:lnTo>
                      <a:pt x="263" y="124"/>
                    </a:lnTo>
                    <a:lnTo>
                      <a:pt x="263" y="122"/>
                    </a:lnTo>
                    <a:lnTo>
                      <a:pt x="265" y="121"/>
                    </a:lnTo>
                    <a:lnTo>
                      <a:pt x="265" y="122"/>
                    </a:lnTo>
                    <a:lnTo>
                      <a:pt x="266" y="121"/>
                    </a:lnTo>
                    <a:lnTo>
                      <a:pt x="266" y="119"/>
                    </a:lnTo>
                    <a:lnTo>
                      <a:pt x="266" y="117"/>
                    </a:lnTo>
                    <a:lnTo>
                      <a:pt x="266" y="115"/>
                    </a:lnTo>
                    <a:lnTo>
                      <a:pt x="266" y="113"/>
                    </a:lnTo>
                    <a:lnTo>
                      <a:pt x="268" y="115"/>
                    </a:lnTo>
                    <a:lnTo>
                      <a:pt x="270" y="113"/>
                    </a:lnTo>
                    <a:lnTo>
                      <a:pt x="270" y="111"/>
                    </a:lnTo>
                    <a:lnTo>
                      <a:pt x="270" y="109"/>
                    </a:lnTo>
                    <a:lnTo>
                      <a:pt x="266" y="107"/>
                    </a:lnTo>
                    <a:lnTo>
                      <a:pt x="266" y="105"/>
                    </a:lnTo>
                    <a:lnTo>
                      <a:pt x="265" y="105"/>
                    </a:lnTo>
                    <a:lnTo>
                      <a:pt x="263" y="105"/>
                    </a:lnTo>
                    <a:lnTo>
                      <a:pt x="263" y="107"/>
                    </a:lnTo>
                    <a:lnTo>
                      <a:pt x="261" y="107"/>
                    </a:lnTo>
                    <a:lnTo>
                      <a:pt x="259" y="107"/>
                    </a:lnTo>
                    <a:lnTo>
                      <a:pt x="257" y="109"/>
                    </a:lnTo>
                    <a:lnTo>
                      <a:pt x="255" y="109"/>
                    </a:lnTo>
                    <a:lnTo>
                      <a:pt x="255" y="107"/>
                    </a:lnTo>
                    <a:lnTo>
                      <a:pt x="253" y="105"/>
                    </a:lnTo>
                    <a:lnTo>
                      <a:pt x="253" y="103"/>
                    </a:lnTo>
                    <a:lnTo>
                      <a:pt x="255" y="101"/>
                    </a:lnTo>
                    <a:lnTo>
                      <a:pt x="255" y="99"/>
                    </a:lnTo>
                    <a:lnTo>
                      <a:pt x="255" y="97"/>
                    </a:lnTo>
                    <a:lnTo>
                      <a:pt x="257" y="96"/>
                    </a:lnTo>
                    <a:lnTo>
                      <a:pt x="257" y="94"/>
                    </a:lnTo>
                    <a:lnTo>
                      <a:pt x="263" y="96"/>
                    </a:lnTo>
                    <a:lnTo>
                      <a:pt x="265" y="96"/>
                    </a:lnTo>
                    <a:lnTo>
                      <a:pt x="266" y="97"/>
                    </a:lnTo>
                    <a:lnTo>
                      <a:pt x="268" y="97"/>
                    </a:lnTo>
                    <a:lnTo>
                      <a:pt x="268" y="96"/>
                    </a:lnTo>
                    <a:lnTo>
                      <a:pt x="272" y="94"/>
                    </a:lnTo>
                    <a:lnTo>
                      <a:pt x="274" y="94"/>
                    </a:lnTo>
                    <a:lnTo>
                      <a:pt x="274" y="97"/>
                    </a:lnTo>
                    <a:lnTo>
                      <a:pt x="276" y="99"/>
                    </a:lnTo>
                    <a:lnTo>
                      <a:pt x="278" y="99"/>
                    </a:lnTo>
                    <a:lnTo>
                      <a:pt x="278" y="101"/>
                    </a:lnTo>
                    <a:lnTo>
                      <a:pt x="278" y="99"/>
                    </a:lnTo>
                    <a:lnTo>
                      <a:pt x="278" y="97"/>
                    </a:lnTo>
                    <a:lnTo>
                      <a:pt x="280" y="96"/>
                    </a:lnTo>
                    <a:lnTo>
                      <a:pt x="282" y="96"/>
                    </a:lnTo>
                    <a:lnTo>
                      <a:pt x="282" y="94"/>
                    </a:lnTo>
                    <a:lnTo>
                      <a:pt x="284" y="92"/>
                    </a:lnTo>
                    <a:lnTo>
                      <a:pt x="284" y="90"/>
                    </a:lnTo>
                    <a:lnTo>
                      <a:pt x="286" y="90"/>
                    </a:lnTo>
                    <a:lnTo>
                      <a:pt x="286" y="88"/>
                    </a:lnTo>
                    <a:lnTo>
                      <a:pt x="284" y="88"/>
                    </a:lnTo>
                    <a:lnTo>
                      <a:pt x="284" y="86"/>
                    </a:lnTo>
                    <a:lnTo>
                      <a:pt x="286" y="84"/>
                    </a:lnTo>
                    <a:lnTo>
                      <a:pt x="286" y="82"/>
                    </a:lnTo>
                    <a:lnTo>
                      <a:pt x="284" y="82"/>
                    </a:lnTo>
                    <a:lnTo>
                      <a:pt x="286" y="80"/>
                    </a:lnTo>
                    <a:lnTo>
                      <a:pt x="288" y="80"/>
                    </a:lnTo>
                    <a:lnTo>
                      <a:pt x="288" y="82"/>
                    </a:lnTo>
                    <a:lnTo>
                      <a:pt x="288" y="80"/>
                    </a:lnTo>
                    <a:lnTo>
                      <a:pt x="290" y="80"/>
                    </a:lnTo>
                    <a:lnTo>
                      <a:pt x="290" y="78"/>
                    </a:lnTo>
                    <a:lnTo>
                      <a:pt x="290" y="76"/>
                    </a:lnTo>
                    <a:lnTo>
                      <a:pt x="291" y="76"/>
                    </a:lnTo>
                    <a:lnTo>
                      <a:pt x="293" y="76"/>
                    </a:lnTo>
                    <a:lnTo>
                      <a:pt x="295" y="76"/>
                    </a:lnTo>
                    <a:lnTo>
                      <a:pt x="297" y="76"/>
                    </a:lnTo>
                    <a:lnTo>
                      <a:pt x="297" y="74"/>
                    </a:lnTo>
                    <a:lnTo>
                      <a:pt x="299" y="73"/>
                    </a:lnTo>
                    <a:lnTo>
                      <a:pt x="297" y="73"/>
                    </a:lnTo>
                    <a:lnTo>
                      <a:pt x="295" y="71"/>
                    </a:lnTo>
                    <a:lnTo>
                      <a:pt x="295" y="69"/>
                    </a:lnTo>
                    <a:lnTo>
                      <a:pt x="291" y="67"/>
                    </a:lnTo>
                    <a:lnTo>
                      <a:pt x="290" y="67"/>
                    </a:lnTo>
                    <a:lnTo>
                      <a:pt x="290" y="65"/>
                    </a:lnTo>
                    <a:lnTo>
                      <a:pt x="288" y="65"/>
                    </a:lnTo>
                    <a:lnTo>
                      <a:pt x="288" y="63"/>
                    </a:lnTo>
                    <a:lnTo>
                      <a:pt x="288" y="61"/>
                    </a:lnTo>
                    <a:lnTo>
                      <a:pt x="288" y="59"/>
                    </a:lnTo>
                    <a:lnTo>
                      <a:pt x="286" y="57"/>
                    </a:lnTo>
                    <a:lnTo>
                      <a:pt x="286" y="55"/>
                    </a:lnTo>
                    <a:lnTo>
                      <a:pt x="286" y="53"/>
                    </a:lnTo>
                    <a:lnTo>
                      <a:pt x="286" y="51"/>
                    </a:lnTo>
                    <a:lnTo>
                      <a:pt x="286" y="50"/>
                    </a:lnTo>
                    <a:lnTo>
                      <a:pt x="286" y="46"/>
                    </a:lnTo>
                    <a:lnTo>
                      <a:pt x="288" y="46"/>
                    </a:lnTo>
                    <a:lnTo>
                      <a:pt x="290" y="44"/>
                    </a:lnTo>
                    <a:lnTo>
                      <a:pt x="291" y="44"/>
                    </a:lnTo>
                    <a:lnTo>
                      <a:pt x="295" y="44"/>
                    </a:lnTo>
                    <a:lnTo>
                      <a:pt x="297" y="46"/>
                    </a:lnTo>
                    <a:lnTo>
                      <a:pt x="297" y="44"/>
                    </a:lnTo>
                    <a:lnTo>
                      <a:pt x="299" y="42"/>
                    </a:lnTo>
                    <a:lnTo>
                      <a:pt x="299" y="40"/>
                    </a:lnTo>
                    <a:lnTo>
                      <a:pt x="299" y="38"/>
                    </a:lnTo>
                    <a:lnTo>
                      <a:pt x="301" y="36"/>
                    </a:lnTo>
                    <a:lnTo>
                      <a:pt x="301" y="32"/>
                    </a:lnTo>
                    <a:lnTo>
                      <a:pt x="301" y="34"/>
                    </a:lnTo>
                    <a:lnTo>
                      <a:pt x="301" y="32"/>
                    </a:lnTo>
                    <a:lnTo>
                      <a:pt x="299" y="30"/>
                    </a:lnTo>
                    <a:lnTo>
                      <a:pt x="299" y="28"/>
                    </a:lnTo>
                    <a:lnTo>
                      <a:pt x="299" y="26"/>
                    </a:lnTo>
                    <a:lnTo>
                      <a:pt x="299" y="25"/>
                    </a:lnTo>
                    <a:lnTo>
                      <a:pt x="299" y="23"/>
                    </a:lnTo>
                    <a:lnTo>
                      <a:pt x="301" y="23"/>
                    </a:lnTo>
                    <a:lnTo>
                      <a:pt x="301" y="21"/>
                    </a:lnTo>
                    <a:lnTo>
                      <a:pt x="303" y="21"/>
                    </a:lnTo>
                    <a:lnTo>
                      <a:pt x="305" y="21"/>
                    </a:lnTo>
                    <a:lnTo>
                      <a:pt x="307" y="21"/>
                    </a:lnTo>
                    <a:lnTo>
                      <a:pt x="309" y="21"/>
                    </a:lnTo>
                    <a:lnTo>
                      <a:pt x="311" y="23"/>
                    </a:lnTo>
                    <a:lnTo>
                      <a:pt x="311" y="21"/>
                    </a:lnTo>
                    <a:lnTo>
                      <a:pt x="313" y="21"/>
                    </a:lnTo>
                    <a:lnTo>
                      <a:pt x="313" y="19"/>
                    </a:lnTo>
                    <a:lnTo>
                      <a:pt x="313" y="17"/>
                    </a:lnTo>
                    <a:lnTo>
                      <a:pt x="313" y="15"/>
                    </a:lnTo>
                    <a:lnTo>
                      <a:pt x="313" y="13"/>
                    </a:lnTo>
                    <a:lnTo>
                      <a:pt x="311" y="13"/>
                    </a:lnTo>
                    <a:lnTo>
                      <a:pt x="311" y="11"/>
                    </a:lnTo>
                    <a:lnTo>
                      <a:pt x="311" y="9"/>
                    </a:lnTo>
                    <a:lnTo>
                      <a:pt x="311" y="7"/>
                    </a:lnTo>
                    <a:lnTo>
                      <a:pt x="313" y="7"/>
                    </a:lnTo>
                    <a:lnTo>
                      <a:pt x="314" y="5"/>
                    </a:lnTo>
                    <a:lnTo>
                      <a:pt x="316" y="5"/>
                    </a:lnTo>
                    <a:lnTo>
                      <a:pt x="316" y="3"/>
                    </a:lnTo>
                    <a:lnTo>
                      <a:pt x="318" y="3"/>
                    </a:lnTo>
                    <a:lnTo>
                      <a:pt x="320" y="3"/>
                    </a:lnTo>
                    <a:lnTo>
                      <a:pt x="322" y="5"/>
                    </a:lnTo>
                    <a:lnTo>
                      <a:pt x="322" y="3"/>
                    </a:lnTo>
                    <a:lnTo>
                      <a:pt x="322" y="2"/>
                    </a:lnTo>
                    <a:lnTo>
                      <a:pt x="324" y="2"/>
                    </a:lnTo>
                    <a:lnTo>
                      <a:pt x="324" y="3"/>
                    </a:lnTo>
                    <a:lnTo>
                      <a:pt x="326" y="3"/>
                    </a:lnTo>
                    <a:lnTo>
                      <a:pt x="324" y="3"/>
                    </a:lnTo>
                    <a:lnTo>
                      <a:pt x="324" y="2"/>
                    </a:lnTo>
                    <a:lnTo>
                      <a:pt x="324" y="0"/>
                    </a:lnTo>
                    <a:lnTo>
                      <a:pt x="326"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66" name="Freeform 160">
                <a:extLst>
                  <a:ext uri="{FF2B5EF4-FFF2-40B4-BE49-F238E27FC236}">
                    <a16:creationId xmlns:a16="http://schemas.microsoft.com/office/drawing/2014/main" id="{FEBE6CD5-D0EA-4186-A532-A2AD1DD9AE8E}"/>
                  </a:ext>
                </a:extLst>
              </p:cNvPr>
              <p:cNvSpPr>
                <a:spLocks/>
              </p:cNvSpPr>
              <p:nvPr/>
            </p:nvSpPr>
            <p:spPr bwMode="auto">
              <a:xfrm>
                <a:off x="2839139" y="2067183"/>
                <a:ext cx="1193149" cy="1142692"/>
              </a:xfrm>
              <a:custGeom>
                <a:avLst/>
                <a:gdLst>
                  <a:gd name="T0" fmla="*/ 526 w 804"/>
                  <a:gd name="T1" fmla="*/ 16 h 770"/>
                  <a:gd name="T2" fmla="*/ 541 w 804"/>
                  <a:gd name="T3" fmla="*/ 35 h 770"/>
                  <a:gd name="T4" fmla="*/ 579 w 804"/>
                  <a:gd name="T5" fmla="*/ 31 h 770"/>
                  <a:gd name="T6" fmla="*/ 599 w 804"/>
                  <a:gd name="T7" fmla="*/ 62 h 770"/>
                  <a:gd name="T8" fmla="*/ 624 w 804"/>
                  <a:gd name="T9" fmla="*/ 89 h 770"/>
                  <a:gd name="T10" fmla="*/ 635 w 804"/>
                  <a:gd name="T11" fmla="*/ 127 h 770"/>
                  <a:gd name="T12" fmla="*/ 662 w 804"/>
                  <a:gd name="T13" fmla="*/ 163 h 770"/>
                  <a:gd name="T14" fmla="*/ 706 w 804"/>
                  <a:gd name="T15" fmla="*/ 165 h 770"/>
                  <a:gd name="T16" fmla="*/ 731 w 804"/>
                  <a:gd name="T17" fmla="*/ 175 h 770"/>
                  <a:gd name="T18" fmla="*/ 748 w 804"/>
                  <a:gd name="T19" fmla="*/ 204 h 770"/>
                  <a:gd name="T20" fmla="*/ 760 w 804"/>
                  <a:gd name="T21" fmla="*/ 231 h 770"/>
                  <a:gd name="T22" fmla="*/ 758 w 804"/>
                  <a:gd name="T23" fmla="*/ 271 h 770"/>
                  <a:gd name="T24" fmla="*/ 783 w 804"/>
                  <a:gd name="T25" fmla="*/ 325 h 770"/>
                  <a:gd name="T26" fmla="*/ 796 w 804"/>
                  <a:gd name="T27" fmla="*/ 363 h 770"/>
                  <a:gd name="T28" fmla="*/ 771 w 804"/>
                  <a:gd name="T29" fmla="*/ 394 h 770"/>
                  <a:gd name="T30" fmla="*/ 739 w 804"/>
                  <a:gd name="T31" fmla="*/ 400 h 770"/>
                  <a:gd name="T32" fmla="*/ 700 w 804"/>
                  <a:gd name="T33" fmla="*/ 402 h 770"/>
                  <a:gd name="T34" fmla="*/ 689 w 804"/>
                  <a:gd name="T35" fmla="*/ 440 h 770"/>
                  <a:gd name="T36" fmla="*/ 660 w 804"/>
                  <a:gd name="T37" fmla="*/ 467 h 770"/>
                  <a:gd name="T38" fmla="*/ 635 w 804"/>
                  <a:gd name="T39" fmla="*/ 478 h 770"/>
                  <a:gd name="T40" fmla="*/ 608 w 804"/>
                  <a:gd name="T41" fmla="*/ 478 h 770"/>
                  <a:gd name="T42" fmla="*/ 581 w 804"/>
                  <a:gd name="T43" fmla="*/ 496 h 770"/>
                  <a:gd name="T44" fmla="*/ 551 w 804"/>
                  <a:gd name="T45" fmla="*/ 501 h 770"/>
                  <a:gd name="T46" fmla="*/ 524 w 804"/>
                  <a:gd name="T47" fmla="*/ 476 h 770"/>
                  <a:gd name="T48" fmla="*/ 495 w 804"/>
                  <a:gd name="T49" fmla="*/ 494 h 770"/>
                  <a:gd name="T50" fmla="*/ 482 w 804"/>
                  <a:gd name="T51" fmla="*/ 540 h 770"/>
                  <a:gd name="T52" fmla="*/ 470 w 804"/>
                  <a:gd name="T53" fmla="*/ 574 h 770"/>
                  <a:gd name="T54" fmla="*/ 458 w 804"/>
                  <a:gd name="T55" fmla="*/ 586 h 770"/>
                  <a:gd name="T56" fmla="*/ 480 w 804"/>
                  <a:gd name="T57" fmla="*/ 615 h 770"/>
                  <a:gd name="T58" fmla="*/ 451 w 804"/>
                  <a:gd name="T59" fmla="*/ 624 h 770"/>
                  <a:gd name="T60" fmla="*/ 403 w 804"/>
                  <a:gd name="T61" fmla="*/ 632 h 770"/>
                  <a:gd name="T62" fmla="*/ 362 w 804"/>
                  <a:gd name="T63" fmla="*/ 628 h 770"/>
                  <a:gd name="T64" fmla="*/ 324 w 804"/>
                  <a:gd name="T65" fmla="*/ 634 h 770"/>
                  <a:gd name="T66" fmla="*/ 280 w 804"/>
                  <a:gd name="T67" fmla="*/ 618 h 770"/>
                  <a:gd name="T68" fmla="*/ 249 w 804"/>
                  <a:gd name="T69" fmla="*/ 649 h 770"/>
                  <a:gd name="T70" fmla="*/ 220 w 804"/>
                  <a:gd name="T71" fmla="*/ 672 h 770"/>
                  <a:gd name="T72" fmla="*/ 213 w 804"/>
                  <a:gd name="T73" fmla="*/ 711 h 770"/>
                  <a:gd name="T74" fmla="*/ 201 w 804"/>
                  <a:gd name="T75" fmla="*/ 751 h 770"/>
                  <a:gd name="T76" fmla="*/ 169 w 804"/>
                  <a:gd name="T77" fmla="*/ 768 h 770"/>
                  <a:gd name="T78" fmla="*/ 140 w 804"/>
                  <a:gd name="T79" fmla="*/ 743 h 770"/>
                  <a:gd name="T80" fmla="*/ 101 w 804"/>
                  <a:gd name="T81" fmla="*/ 736 h 770"/>
                  <a:gd name="T82" fmla="*/ 86 w 804"/>
                  <a:gd name="T83" fmla="*/ 691 h 770"/>
                  <a:gd name="T84" fmla="*/ 48 w 804"/>
                  <a:gd name="T85" fmla="*/ 693 h 770"/>
                  <a:gd name="T86" fmla="*/ 26 w 804"/>
                  <a:gd name="T87" fmla="*/ 653 h 770"/>
                  <a:gd name="T88" fmla="*/ 36 w 804"/>
                  <a:gd name="T89" fmla="*/ 617 h 770"/>
                  <a:gd name="T90" fmla="*/ 34 w 804"/>
                  <a:gd name="T91" fmla="*/ 595 h 770"/>
                  <a:gd name="T92" fmla="*/ 36 w 804"/>
                  <a:gd name="T93" fmla="*/ 570 h 770"/>
                  <a:gd name="T94" fmla="*/ 17 w 804"/>
                  <a:gd name="T95" fmla="*/ 547 h 770"/>
                  <a:gd name="T96" fmla="*/ 0 w 804"/>
                  <a:gd name="T97" fmla="*/ 534 h 770"/>
                  <a:gd name="T98" fmla="*/ 15 w 804"/>
                  <a:gd name="T99" fmla="*/ 505 h 770"/>
                  <a:gd name="T100" fmla="*/ 28 w 804"/>
                  <a:gd name="T101" fmla="*/ 446 h 770"/>
                  <a:gd name="T102" fmla="*/ 15 w 804"/>
                  <a:gd name="T103" fmla="*/ 390 h 770"/>
                  <a:gd name="T104" fmla="*/ 57 w 804"/>
                  <a:gd name="T105" fmla="*/ 342 h 770"/>
                  <a:gd name="T106" fmla="*/ 105 w 804"/>
                  <a:gd name="T107" fmla="*/ 300 h 770"/>
                  <a:gd name="T108" fmla="*/ 147 w 804"/>
                  <a:gd name="T109" fmla="*/ 265 h 770"/>
                  <a:gd name="T110" fmla="*/ 192 w 804"/>
                  <a:gd name="T111" fmla="*/ 227 h 770"/>
                  <a:gd name="T112" fmla="*/ 240 w 804"/>
                  <a:gd name="T113" fmla="*/ 183 h 770"/>
                  <a:gd name="T114" fmla="*/ 289 w 804"/>
                  <a:gd name="T115" fmla="*/ 154 h 770"/>
                  <a:gd name="T116" fmla="*/ 345 w 804"/>
                  <a:gd name="T117" fmla="*/ 119 h 770"/>
                  <a:gd name="T118" fmla="*/ 384 w 804"/>
                  <a:gd name="T119" fmla="*/ 87 h 770"/>
                  <a:gd name="T120" fmla="*/ 441 w 804"/>
                  <a:gd name="T121" fmla="*/ 87 h 770"/>
                  <a:gd name="T122" fmla="*/ 482 w 804"/>
                  <a:gd name="T123" fmla="*/ 64 h 770"/>
                  <a:gd name="T124" fmla="*/ 505 w 804"/>
                  <a:gd name="T125" fmla="*/ 6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4" h="770">
                    <a:moveTo>
                      <a:pt x="514" y="0"/>
                    </a:moveTo>
                    <a:lnTo>
                      <a:pt x="516" y="0"/>
                    </a:lnTo>
                    <a:lnTo>
                      <a:pt x="514" y="0"/>
                    </a:lnTo>
                    <a:lnTo>
                      <a:pt x="516" y="2"/>
                    </a:lnTo>
                    <a:lnTo>
                      <a:pt x="518" y="0"/>
                    </a:lnTo>
                    <a:lnTo>
                      <a:pt x="518" y="2"/>
                    </a:lnTo>
                    <a:lnTo>
                      <a:pt x="520" y="2"/>
                    </a:lnTo>
                    <a:lnTo>
                      <a:pt x="522" y="2"/>
                    </a:lnTo>
                    <a:lnTo>
                      <a:pt x="520" y="2"/>
                    </a:lnTo>
                    <a:lnTo>
                      <a:pt x="520" y="4"/>
                    </a:lnTo>
                    <a:lnTo>
                      <a:pt x="522" y="4"/>
                    </a:lnTo>
                    <a:lnTo>
                      <a:pt x="522" y="6"/>
                    </a:lnTo>
                    <a:lnTo>
                      <a:pt x="524" y="6"/>
                    </a:lnTo>
                    <a:lnTo>
                      <a:pt x="524" y="8"/>
                    </a:lnTo>
                    <a:lnTo>
                      <a:pt x="526" y="8"/>
                    </a:lnTo>
                    <a:lnTo>
                      <a:pt x="526" y="10"/>
                    </a:lnTo>
                    <a:lnTo>
                      <a:pt x="524" y="10"/>
                    </a:lnTo>
                    <a:lnTo>
                      <a:pt x="524" y="8"/>
                    </a:lnTo>
                    <a:lnTo>
                      <a:pt x="522" y="8"/>
                    </a:lnTo>
                    <a:lnTo>
                      <a:pt x="522" y="10"/>
                    </a:lnTo>
                    <a:lnTo>
                      <a:pt x="524" y="10"/>
                    </a:lnTo>
                    <a:lnTo>
                      <a:pt x="524" y="12"/>
                    </a:lnTo>
                    <a:lnTo>
                      <a:pt x="526" y="12"/>
                    </a:lnTo>
                    <a:lnTo>
                      <a:pt x="524" y="12"/>
                    </a:lnTo>
                    <a:lnTo>
                      <a:pt x="526" y="12"/>
                    </a:lnTo>
                    <a:lnTo>
                      <a:pt x="526" y="14"/>
                    </a:lnTo>
                    <a:lnTo>
                      <a:pt x="524" y="14"/>
                    </a:lnTo>
                    <a:lnTo>
                      <a:pt x="526" y="14"/>
                    </a:lnTo>
                    <a:lnTo>
                      <a:pt x="524" y="16"/>
                    </a:lnTo>
                    <a:lnTo>
                      <a:pt x="524" y="14"/>
                    </a:lnTo>
                    <a:lnTo>
                      <a:pt x="524" y="16"/>
                    </a:lnTo>
                    <a:lnTo>
                      <a:pt x="526" y="16"/>
                    </a:lnTo>
                    <a:lnTo>
                      <a:pt x="528" y="16"/>
                    </a:lnTo>
                    <a:lnTo>
                      <a:pt x="528" y="18"/>
                    </a:lnTo>
                    <a:lnTo>
                      <a:pt x="528" y="16"/>
                    </a:lnTo>
                    <a:lnTo>
                      <a:pt x="530" y="16"/>
                    </a:lnTo>
                    <a:lnTo>
                      <a:pt x="530" y="18"/>
                    </a:lnTo>
                    <a:lnTo>
                      <a:pt x="531" y="18"/>
                    </a:lnTo>
                    <a:lnTo>
                      <a:pt x="531" y="19"/>
                    </a:lnTo>
                    <a:lnTo>
                      <a:pt x="530" y="19"/>
                    </a:lnTo>
                    <a:lnTo>
                      <a:pt x="530" y="21"/>
                    </a:lnTo>
                    <a:lnTo>
                      <a:pt x="531" y="21"/>
                    </a:lnTo>
                    <a:lnTo>
                      <a:pt x="531" y="23"/>
                    </a:lnTo>
                    <a:lnTo>
                      <a:pt x="531" y="25"/>
                    </a:lnTo>
                    <a:lnTo>
                      <a:pt x="533" y="25"/>
                    </a:lnTo>
                    <a:lnTo>
                      <a:pt x="531" y="25"/>
                    </a:lnTo>
                    <a:lnTo>
                      <a:pt x="533" y="25"/>
                    </a:lnTo>
                    <a:lnTo>
                      <a:pt x="533" y="27"/>
                    </a:lnTo>
                    <a:lnTo>
                      <a:pt x="531" y="27"/>
                    </a:lnTo>
                    <a:lnTo>
                      <a:pt x="531" y="29"/>
                    </a:lnTo>
                    <a:lnTo>
                      <a:pt x="533" y="29"/>
                    </a:lnTo>
                    <a:lnTo>
                      <a:pt x="533" y="27"/>
                    </a:lnTo>
                    <a:lnTo>
                      <a:pt x="535" y="27"/>
                    </a:lnTo>
                    <a:lnTo>
                      <a:pt x="535" y="29"/>
                    </a:lnTo>
                    <a:lnTo>
                      <a:pt x="533" y="29"/>
                    </a:lnTo>
                    <a:lnTo>
                      <a:pt x="535" y="29"/>
                    </a:lnTo>
                    <a:lnTo>
                      <a:pt x="535" y="31"/>
                    </a:lnTo>
                    <a:lnTo>
                      <a:pt x="535" y="33"/>
                    </a:lnTo>
                    <a:lnTo>
                      <a:pt x="537" y="33"/>
                    </a:lnTo>
                    <a:lnTo>
                      <a:pt x="537" y="31"/>
                    </a:lnTo>
                    <a:lnTo>
                      <a:pt x="537" y="33"/>
                    </a:lnTo>
                    <a:lnTo>
                      <a:pt x="539" y="33"/>
                    </a:lnTo>
                    <a:lnTo>
                      <a:pt x="539" y="35"/>
                    </a:lnTo>
                    <a:lnTo>
                      <a:pt x="541" y="35"/>
                    </a:lnTo>
                    <a:lnTo>
                      <a:pt x="543" y="35"/>
                    </a:lnTo>
                    <a:lnTo>
                      <a:pt x="545" y="35"/>
                    </a:lnTo>
                    <a:lnTo>
                      <a:pt x="547" y="37"/>
                    </a:lnTo>
                    <a:lnTo>
                      <a:pt x="549" y="37"/>
                    </a:lnTo>
                    <a:lnTo>
                      <a:pt x="549" y="39"/>
                    </a:lnTo>
                    <a:lnTo>
                      <a:pt x="551" y="39"/>
                    </a:lnTo>
                    <a:lnTo>
                      <a:pt x="553" y="39"/>
                    </a:lnTo>
                    <a:lnTo>
                      <a:pt x="553" y="41"/>
                    </a:lnTo>
                    <a:lnTo>
                      <a:pt x="554" y="41"/>
                    </a:lnTo>
                    <a:lnTo>
                      <a:pt x="556" y="41"/>
                    </a:lnTo>
                    <a:lnTo>
                      <a:pt x="556" y="43"/>
                    </a:lnTo>
                    <a:lnTo>
                      <a:pt x="558" y="41"/>
                    </a:lnTo>
                    <a:lnTo>
                      <a:pt x="558" y="39"/>
                    </a:lnTo>
                    <a:lnTo>
                      <a:pt x="560" y="39"/>
                    </a:lnTo>
                    <a:lnTo>
                      <a:pt x="560" y="37"/>
                    </a:lnTo>
                    <a:lnTo>
                      <a:pt x="560" y="35"/>
                    </a:lnTo>
                    <a:lnTo>
                      <a:pt x="562" y="33"/>
                    </a:lnTo>
                    <a:lnTo>
                      <a:pt x="562" y="31"/>
                    </a:lnTo>
                    <a:lnTo>
                      <a:pt x="564" y="31"/>
                    </a:lnTo>
                    <a:lnTo>
                      <a:pt x="566" y="31"/>
                    </a:lnTo>
                    <a:lnTo>
                      <a:pt x="566" y="33"/>
                    </a:lnTo>
                    <a:lnTo>
                      <a:pt x="568" y="33"/>
                    </a:lnTo>
                    <a:lnTo>
                      <a:pt x="570" y="33"/>
                    </a:lnTo>
                    <a:lnTo>
                      <a:pt x="572" y="33"/>
                    </a:lnTo>
                    <a:lnTo>
                      <a:pt x="572" y="35"/>
                    </a:lnTo>
                    <a:lnTo>
                      <a:pt x="572" y="33"/>
                    </a:lnTo>
                    <a:lnTo>
                      <a:pt x="574" y="33"/>
                    </a:lnTo>
                    <a:lnTo>
                      <a:pt x="576" y="33"/>
                    </a:lnTo>
                    <a:lnTo>
                      <a:pt x="576" y="31"/>
                    </a:lnTo>
                    <a:lnTo>
                      <a:pt x="578" y="31"/>
                    </a:lnTo>
                    <a:lnTo>
                      <a:pt x="578" y="29"/>
                    </a:lnTo>
                    <a:lnTo>
                      <a:pt x="579" y="31"/>
                    </a:lnTo>
                    <a:lnTo>
                      <a:pt x="579" y="33"/>
                    </a:lnTo>
                    <a:lnTo>
                      <a:pt x="581" y="35"/>
                    </a:lnTo>
                    <a:lnTo>
                      <a:pt x="581" y="37"/>
                    </a:lnTo>
                    <a:lnTo>
                      <a:pt x="581" y="39"/>
                    </a:lnTo>
                    <a:lnTo>
                      <a:pt x="583" y="39"/>
                    </a:lnTo>
                    <a:lnTo>
                      <a:pt x="583" y="41"/>
                    </a:lnTo>
                    <a:lnTo>
                      <a:pt x="585" y="41"/>
                    </a:lnTo>
                    <a:lnTo>
                      <a:pt x="585" y="43"/>
                    </a:lnTo>
                    <a:lnTo>
                      <a:pt x="583" y="43"/>
                    </a:lnTo>
                    <a:lnTo>
                      <a:pt x="581" y="44"/>
                    </a:lnTo>
                    <a:lnTo>
                      <a:pt x="579" y="44"/>
                    </a:lnTo>
                    <a:lnTo>
                      <a:pt x="581" y="46"/>
                    </a:lnTo>
                    <a:lnTo>
                      <a:pt x="581" y="48"/>
                    </a:lnTo>
                    <a:lnTo>
                      <a:pt x="579" y="48"/>
                    </a:lnTo>
                    <a:lnTo>
                      <a:pt x="581" y="48"/>
                    </a:lnTo>
                    <a:lnTo>
                      <a:pt x="581" y="50"/>
                    </a:lnTo>
                    <a:lnTo>
                      <a:pt x="581" y="52"/>
                    </a:lnTo>
                    <a:lnTo>
                      <a:pt x="583" y="52"/>
                    </a:lnTo>
                    <a:lnTo>
                      <a:pt x="583" y="54"/>
                    </a:lnTo>
                    <a:lnTo>
                      <a:pt x="585" y="56"/>
                    </a:lnTo>
                    <a:lnTo>
                      <a:pt x="585" y="58"/>
                    </a:lnTo>
                    <a:lnTo>
                      <a:pt x="587" y="58"/>
                    </a:lnTo>
                    <a:lnTo>
                      <a:pt x="587" y="60"/>
                    </a:lnTo>
                    <a:lnTo>
                      <a:pt x="589" y="60"/>
                    </a:lnTo>
                    <a:lnTo>
                      <a:pt x="589" y="62"/>
                    </a:lnTo>
                    <a:lnTo>
                      <a:pt x="591" y="62"/>
                    </a:lnTo>
                    <a:lnTo>
                      <a:pt x="593" y="62"/>
                    </a:lnTo>
                    <a:lnTo>
                      <a:pt x="593" y="64"/>
                    </a:lnTo>
                    <a:lnTo>
                      <a:pt x="595" y="64"/>
                    </a:lnTo>
                    <a:lnTo>
                      <a:pt x="595" y="62"/>
                    </a:lnTo>
                    <a:lnTo>
                      <a:pt x="597" y="62"/>
                    </a:lnTo>
                    <a:lnTo>
                      <a:pt x="599" y="62"/>
                    </a:lnTo>
                    <a:lnTo>
                      <a:pt x="599" y="60"/>
                    </a:lnTo>
                    <a:lnTo>
                      <a:pt x="601" y="60"/>
                    </a:lnTo>
                    <a:lnTo>
                      <a:pt x="603" y="60"/>
                    </a:lnTo>
                    <a:lnTo>
                      <a:pt x="604" y="60"/>
                    </a:lnTo>
                    <a:lnTo>
                      <a:pt x="606" y="60"/>
                    </a:lnTo>
                    <a:lnTo>
                      <a:pt x="608" y="58"/>
                    </a:lnTo>
                    <a:lnTo>
                      <a:pt x="608" y="60"/>
                    </a:lnTo>
                    <a:lnTo>
                      <a:pt x="610" y="60"/>
                    </a:lnTo>
                    <a:lnTo>
                      <a:pt x="612" y="62"/>
                    </a:lnTo>
                    <a:lnTo>
                      <a:pt x="614" y="62"/>
                    </a:lnTo>
                    <a:lnTo>
                      <a:pt x="614" y="64"/>
                    </a:lnTo>
                    <a:lnTo>
                      <a:pt x="614" y="66"/>
                    </a:lnTo>
                    <a:lnTo>
                      <a:pt x="614" y="67"/>
                    </a:lnTo>
                    <a:lnTo>
                      <a:pt x="616" y="67"/>
                    </a:lnTo>
                    <a:lnTo>
                      <a:pt x="616" y="69"/>
                    </a:lnTo>
                    <a:lnTo>
                      <a:pt x="616" y="71"/>
                    </a:lnTo>
                    <a:lnTo>
                      <a:pt x="616" y="73"/>
                    </a:lnTo>
                    <a:lnTo>
                      <a:pt x="616" y="75"/>
                    </a:lnTo>
                    <a:lnTo>
                      <a:pt x="616" y="77"/>
                    </a:lnTo>
                    <a:lnTo>
                      <a:pt x="618" y="77"/>
                    </a:lnTo>
                    <a:lnTo>
                      <a:pt x="616" y="79"/>
                    </a:lnTo>
                    <a:lnTo>
                      <a:pt x="618" y="79"/>
                    </a:lnTo>
                    <a:lnTo>
                      <a:pt x="618" y="81"/>
                    </a:lnTo>
                    <a:lnTo>
                      <a:pt x="616" y="81"/>
                    </a:lnTo>
                    <a:lnTo>
                      <a:pt x="616" y="83"/>
                    </a:lnTo>
                    <a:lnTo>
                      <a:pt x="614" y="87"/>
                    </a:lnTo>
                    <a:lnTo>
                      <a:pt x="618" y="89"/>
                    </a:lnTo>
                    <a:lnTo>
                      <a:pt x="616" y="91"/>
                    </a:lnTo>
                    <a:lnTo>
                      <a:pt x="618" y="91"/>
                    </a:lnTo>
                    <a:lnTo>
                      <a:pt x="620" y="91"/>
                    </a:lnTo>
                    <a:lnTo>
                      <a:pt x="622" y="91"/>
                    </a:lnTo>
                    <a:lnTo>
                      <a:pt x="624" y="89"/>
                    </a:lnTo>
                    <a:lnTo>
                      <a:pt x="624" y="87"/>
                    </a:lnTo>
                    <a:lnTo>
                      <a:pt x="626" y="87"/>
                    </a:lnTo>
                    <a:lnTo>
                      <a:pt x="626" y="89"/>
                    </a:lnTo>
                    <a:lnTo>
                      <a:pt x="624" y="89"/>
                    </a:lnTo>
                    <a:lnTo>
                      <a:pt x="624" y="91"/>
                    </a:lnTo>
                    <a:lnTo>
                      <a:pt x="624" y="92"/>
                    </a:lnTo>
                    <a:lnTo>
                      <a:pt x="624" y="94"/>
                    </a:lnTo>
                    <a:lnTo>
                      <a:pt x="626" y="96"/>
                    </a:lnTo>
                    <a:lnTo>
                      <a:pt x="626" y="98"/>
                    </a:lnTo>
                    <a:lnTo>
                      <a:pt x="624" y="100"/>
                    </a:lnTo>
                    <a:lnTo>
                      <a:pt x="622" y="102"/>
                    </a:lnTo>
                    <a:lnTo>
                      <a:pt x="622" y="104"/>
                    </a:lnTo>
                    <a:lnTo>
                      <a:pt x="624" y="104"/>
                    </a:lnTo>
                    <a:lnTo>
                      <a:pt x="624" y="106"/>
                    </a:lnTo>
                    <a:lnTo>
                      <a:pt x="624" y="108"/>
                    </a:lnTo>
                    <a:lnTo>
                      <a:pt x="622" y="110"/>
                    </a:lnTo>
                    <a:lnTo>
                      <a:pt x="622" y="112"/>
                    </a:lnTo>
                    <a:lnTo>
                      <a:pt x="622" y="114"/>
                    </a:lnTo>
                    <a:lnTo>
                      <a:pt x="622" y="115"/>
                    </a:lnTo>
                    <a:lnTo>
                      <a:pt x="622" y="117"/>
                    </a:lnTo>
                    <a:lnTo>
                      <a:pt x="620" y="121"/>
                    </a:lnTo>
                    <a:lnTo>
                      <a:pt x="620" y="123"/>
                    </a:lnTo>
                    <a:lnTo>
                      <a:pt x="622" y="123"/>
                    </a:lnTo>
                    <a:lnTo>
                      <a:pt x="622" y="125"/>
                    </a:lnTo>
                    <a:lnTo>
                      <a:pt x="624" y="125"/>
                    </a:lnTo>
                    <a:lnTo>
                      <a:pt x="626" y="125"/>
                    </a:lnTo>
                    <a:lnTo>
                      <a:pt x="626" y="127"/>
                    </a:lnTo>
                    <a:lnTo>
                      <a:pt x="627" y="127"/>
                    </a:lnTo>
                    <a:lnTo>
                      <a:pt x="629" y="127"/>
                    </a:lnTo>
                    <a:lnTo>
                      <a:pt x="631" y="127"/>
                    </a:lnTo>
                    <a:lnTo>
                      <a:pt x="633" y="127"/>
                    </a:lnTo>
                    <a:lnTo>
                      <a:pt x="635" y="127"/>
                    </a:lnTo>
                    <a:lnTo>
                      <a:pt x="635" y="129"/>
                    </a:lnTo>
                    <a:lnTo>
                      <a:pt x="633" y="129"/>
                    </a:lnTo>
                    <a:lnTo>
                      <a:pt x="633" y="131"/>
                    </a:lnTo>
                    <a:lnTo>
                      <a:pt x="635" y="131"/>
                    </a:lnTo>
                    <a:lnTo>
                      <a:pt x="635" y="133"/>
                    </a:lnTo>
                    <a:lnTo>
                      <a:pt x="637" y="133"/>
                    </a:lnTo>
                    <a:lnTo>
                      <a:pt x="639" y="133"/>
                    </a:lnTo>
                    <a:lnTo>
                      <a:pt x="639" y="135"/>
                    </a:lnTo>
                    <a:lnTo>
                      <a:pt x="641" y="135"/>
                    </a:lnTo>
                    <a:lnTo>
                      <a:pt x="641" y="137"/>
                    </a:lnTo>
                    <a:lnTo>
                      <a:pt x="643" y="139"/>
                    </a:lnTo>
                    <a:lnTo>
                      <a:pt x="645" y="140"/>
                    </a:lnTo>
                    <a:lnTo>
                      <a:pt x="647" y="140"/>
                    </a:lnTo>
                    <a:lnTo>
                      <a:pt x="647" y="142"/>
                    </a:lnTo>
                    <a:lnTo>
                      <a:pt x="649" y="144"/>
                    </a:lnTo>
                    <a:lnTo>
                      <a:pt x="649" y="146"/>
                    </a:lnTo>
                    <a:lnTo>
                      <a:pt x="651" y="146"/>
                    </a:lnTo>
                    <a:lnTo>
                      <a:pt x="649" y="146"/>
                    </a:lnTo>
                    <a:lnTo>
                      <a:pt x="649" y="148"/>
                    </a:lnTo>
                    <a:lnTo>
                      <a:pt x="649" y="150"/>
                    </a:lnTo>
                    <a:lnTo>
                      <a:pt x="647" y="150"/>
                    </a:lnTo>
                    <a:lnTo>
                      <a:pt x="647" y="152"/>
                    </a:lnTo>
                    <a:lnTo>
                      <a:pt x="647" y="154"/>
                    </a:lnTo>
                    <a:lnTo>
                      <a:pt x="647" y="156"/>
                    </a:lnTo>
                    <a:lnTo>
                      <a:pt x="645" y="158"/>
                    </a:lnTo>
                    <a:lnTo>
                      <a:pt x="645" y="160"/>
                    </a:lnTo>
                    <a:lnTo>
                      <a:pt x="649" y="160"/>
                    </a:lnTo>
                    <a:lnTo>
                      <a:pt x="651" y="162"/>
                    </a:lnTo>
                    <a:lnTo>
                      <a:pt x="654" y="162"/>
                    </a:lnTo>
                    <a:lnTo>
                      <a:pt x="656" y="162"/>
                    </a:lnTo>
                    <a:lnTo>
                      <a:pt x="658" y="163"/>
                    </a:lnTo>
                    <a:lnTo>
                      <a:pt x="662" y="163"/>
                    </a:lnTo>
                    <a:lnTo>
                      <a:pt x="664" y="163"/>
                    </a:lnTo>
                    <a:lnTo>
                      <a:pt x="664" y="162"/>
                    </a:lnTo>
                    <a:lnTo>
                      <a:pt x="666" y="162"/>
                    </a:lnTo>
                    <a:lnTo>
                      <a:pt x="668" y="162"/>
                    </a:lnTo>
                    <a:lnTo>
                      <a:pt x="670" y="162"/>
                    </a:lnTo>
                    <a:lnTo>
                      <a:pt x="672" y="162"/>
                    </a:lnTo>
                    <a:lnTo>
                      <a:pt x="674" y="162"/>
                    </a:lnTo>
                    <a:lnTo>
                      <a:pt x="675" y="162"/>
                    </a:lnTo>
                    <a:lnTo>
                      <a:pt x="677" y="162"/>
                    </a:lnTo>
                    <a:lnTo>
                      <a:pt x="679" y="162"/>
                    </a:lnTo>
                    <a:lnTo>
                      <a:pt x="681" y="162"/>
                    </a:lnTo>
                    <a:lnTo>
                      <a:pt x="683" y="162"/>
                    </a:lnTo>
                    <a:lnTo>
                      <a:pt x="683" y="163"/>
                    </a:lnTo>
                    <a:lnTo>
                      <a:pt x="685" y="163"/>
                    </a:lnTo>
                    <a:lnTo>
                      <a:pt x="685" y="162"/>
                    </a:lnTo>
                    <a:lnTo>
                      <a:pt x="687" y="160"/>
                    </a:lnTo>
                    <a:lnTo>
                      <a:pt x="689" y="160"/>
                    </a:lnTo>
                    <a:lnTo>
                      <a:pt x="693" y="162"/>
                    </a:lnTo>
                    <a:lnTo>
                      <a:pt x="693" y="163"/>
                    </a:lnTo>
                    <a:lnTo>
                      <a:pt x="691" y="165"/>
                    </a:lnTo>
                    <a:lnTo>
                      <a:pt x="691" y="167"/>
                    </a:lnTo>
                    <a:lnTo>
                      <a:pt x="693" y="167"/>
                    </a:lnTo>
                    <a:lnTo>
                      <a:pt x="695" y="167"/>
                    </a:lnTo>
                    <a:lnTo>
                      <a:pt x="697" y="167"/>
                    </a:lnTo>
                    <a:lnTo>
                      <a:pt x="699" y="167"/>
                    </a:lnTo>
                    <a:lnTo>
                      <a:pt x="700" y="167"/>
                    </a:lnTo>
                    <a:lnTo>
                      <a:pt x="700" y="169"/>
                    </a:lnTo>
                    <a:lnTo>
                      <a:pt x="700" y="167"/>
                    </a:lnTo>
                    <a:lnTo>
                      <a:pt x="702" y="167"/>
                    </a:lnTo>
                    <a:lnTo>
                      <a:pt x="704" y="169"/>
                    </a:lnTo>
                    <a:lnTo>
                      <a:pt x="706" y="167"/>
                    </a:lnTo>
                    <a:lnTo>
                      <a:pt x="706" y="165"/>
                    </a:lnTo>
                    <a:lnTo>
                      <a:pt x="706" y="163"/>
                    </a:lnTo>
                    <a:lnTo>
                      <a:pt x="706" y="162"/>
                    </a:lnTo>
                    <a:lnTo>
                      <a:pt x="706" y="160"/>
                    </a:lnTo>
                    <a:lnTo>
                      <a:pt x="706" y="158"/>
                    </a:lnTo>
                    <a:lnTo>
                      <a:pt x="706" y="156"/>
                    </a:lnTo>
                    <a:lnTo>
                      <a:pt x="706" y="154"/>
                    </a:lnTo>
                    <a:lnTo>
                      <a:pt x="708" y="154"/>
                    </a:lnTo>
                    <a:lnTo>
                      <a:pt x="708" y="152"/>
                    </a:lnTo>
                    <a:lnTo>
                      <a:pt x="710" y="150"/>
                    </a:lnTo>
                    <a:lnTo>
                      <a:pt x="710" y="152"/>
                    </a:lnTo>
                    <a:lnTo>
                      <a:pt x="712" y="152"/>
                    </a:lnTo>
                    <a:lnTo>
                      <a:pt x="712" y="154"/>
                    </a:lnTo>
                    <a:lnTo>
                      <a:pt x="712" y="156"/>
                    </a:lnTo>
                    <a:lnTo>
                      <a:pt x="714" y="156"/>
                    </a:lnTo>
                    <a:lnTo>
                      <a:pt x="714" y="158"/>
                    </a:lnTo>
                    <a:lnTo>
                      <a:pt x="716" y="160"/>
                    </a:lnTo>
                    <a:lnTo>
                      <a:pt x="716" y="162"/>
                    </a:lnTo>
                    <a:lnTo>
                      <a:pt x="718" y="162"/>
                    </a:lnTo>
                    <a:lnTo>
                      <a:pt x="718" y="163"/>
                    </a:lnTo>
                    <a:lnTo>
                      <a:pt x="720" y="165"/>
                    </a:lnTo>
                    <a:lnTo>
                      <a:pt x="720" y="167"/>
                    </a:lnTo>
                    <a:lnTo>
                      <a:pt x="722" y="167"/>
                    </a:lnTo>
                    <a:lnTo>
                      <a:pt x="722" y="169"/>
                    </a:lnTo>
                    <a:lnTo>
                      <a:pt x="723" y="169"/>
                    </a:lnTo>
                    <a:lnTo>
                      <a:pt x="723" y="171"/>
                    </a:lnTo>
                    <a:lnTo>
                      <a:pt x="725" y="173"/>
                    </a:lnTo>
                    <a:lnTo>
                      <a:pt x="725" y="175"/>
                    </a:lnTo>
                    <a:lnTo>
                      <a:pt x="727" y="175"/>
                    </a:lnTo>
                    <a:lnTo>
                      <a:pt x="729" y="175"/>
                    </a:lnTo>
                    <a:lnTo>
                      <a:pt x="729" y="173"/>
                    </a:lnTo>
                    <a:lnTo>
                      <a:pt x="731" y="173"/>
                    </a:lnTo>
                    <a:lnTo>
                      <a:pt x="731" y="175"/>
                    </a:lnTo>
                    <a:lnTo>
                      <a:pt x="733" y="175"/>
                    </a:lnTo>
                    <a:lnTo>
                      <a:pt x="733" y="177"/>
                    </a:lnTo>
                    <a:lnTo>
                      <a:pt x="735" y="177"/>
                    </a:lnTo>
                    <a:lnTo>
                      <a:pt x="737" y="177"/>
                    </a:lnTo>
                    <a:lnTo>
                      <a:pt x="737" y="179"/>
                    </a:lnTo>
                    <a:lnTo>
                      <a:pt x="735" y="179"/>
                    </a:lnTo>
                    <a:lnTo>
                      <a:pt x="735" y="181"/>
                    </a:lnTo>
                    <a:lnTo>
                      <a:pt x="737" y="181"/>
                    </a:lnTo>
                    <a:lnTo>
                      <a:pt x="737" y="183"/>
                    </a:lnTo>
                    <a:lnTo>
                      <a:pt x="735" y="183"/>
                    </a:lnTo>
                    <a:lnTo>
                      <a:pt x="735" y="185"/>
                    </a:lnTo>
                    <a:lnTo>
                      <a:pt x="737" y="185"/>
                    </a:lnTo>
                    <a:lnTo>
                      <a:pt x="735" y="185"/>
                    </a:lnTo>
                    <a:lnTo>
                      <a:pt x="735" y="187"/>
                    </a:lnTo>
                    <a:lnTo>
                      <a:pt x="733" y="187"/>
                    </a:lnTo>
                    <a:lnTo>
                      <a:pt x="733" y="188"/>
                    </a:lnTo>
                    <a:lnTo>
                      <a:pt x="735" y="188"/>
                    </a:lnTo>
                    <a:lnTo>
                      <a:pt x="735" y="190"/>
                    </a:lnTo>
                    <a:lnTo>
                      <a:pt x="733" y="190"/>
                    </a:lnTo>
                    <a:lnTo>
                      <a:pt x="733" y="192"/>
                    </a:lnTo>
                    <a:lnTo>
                      <a:pt x="733" y="194"/>
                    </a:lnTo>
                    <a:lnTo>
                      <a:pt x="735" y="194"/>
                    </a:lnTo>
                    <a:lnTo>
                      <a:pt x="735" y="196"/>
                    </a:lnTo>
                    <a:lnTo>
                      <a:pt x="737" y="198"/>
                    </a:lnTo>
                    <a:lnTo>
                      <a:pt x="739" y="198"/>
                    </a:lnTo>
                    <a:lnTo>
                      <a:pt x="741" y="200"/>
                    </a:lnTo>
                    <a:lnTo>
                      <a:pt x="743" y="200"/>
                    </a:lnTo>
                    <a:lnTo>
                      <a:pt x="745" y="200"/>
                    </a:lnTo>
                    <a:lnTo>
                      <a:pt x="745" y="202"/>
                    </a:lnTo>
                    <a:lnTo>
                      <a:pt x="747" y="202"/>
                    </a:lnTo>
                    <a:lnTo>
                      <a:pt x="747" y="204"/>
                    </a:lnTo>
                    <a:lnTo>
                      <a:pt x="748" y="204"/>
                    </a:lnTo>
                    <a:lnTo>
                      <a:pt x="750" y="206"/>
                    </a:lnTo>
                    <a:lnTo>
                      <a:pt x="752" y="206"/>
                    </a:lnTo>
                    <a:lnTo>
                      <a:pt x="754" y="204"/>
                    </a:lnTo>
                    <a:lnTo>
                      <a:pt x="756" y="204"/>
                    </a:lnTo>
                    <a:lnTo>
                      <a:pt x="758" y="204"/>
                    </a:lnTo>
                    <a:lnTo>
                      <a:pt x="760" y="204"/>
                    </a:lnTo>
                    <a:lnTo>
                      <a:pt x="762" y="204"/>
                    </a:lnTo>
                    <a:lnTo>
                      <a:pt x="764" y="204"/>
                    </a:lnTo>
                    <a:lnTo>
                      <a:pt x="764" y="206"/>
                    </a:lnTo>
                    <a:lnTo>
                      <a:pt x="766" y="206"/>
                    </a:lnTo>
                    <a:lnTo>
                      <a:pt x="768" y="208"/>
                    </a:lnTo>
                    <a:lnTo>
                      <a:pt x="770" y="210"/>
                    </a:lnTo>
                    <a:lnTo>
                      <a:pt x="771" y="210"/>
                    </a:lnTo>
                    <a:lnTo>
                      <a:pt x="771" y="211"/>
                    </a:lnTo>
                    <a:lnTo>
                      <a:pt x="771" y="213"/>
                    </a:lnTo>
                    <a:lnTo>
                      <a:pt x="770" y="213"/>
                    </a:lnTo>
                    <a:lnTo>
                      <a:pt x="770" y="215"/>
                    </a:lnTo>
                    <a:lnTo>
                      <a:pt x="770" y="217"/>
                    </a:lnTo>
                    <a:lnTo>
                      <a:pt x="770" y="219"/>
                    </a:lnTo>
                    <a:lnTo>
                      <a:pt x="770" y="221"/>
                    </a:lnTo>
                    <a:lnTo>
                      <a:pt x="770" y="223"/>
                    </a:lnTo>
                    <a:lnTo>
                      <a:pt x="770" y="225"/>
                    </a:lnTo>
                    <a:lnTo>
                      <a:pt x="770" y="223"/>
                    </a:lnTo>
                    <a:lnTo>
                      <a:pt x="768" y="223"/>
                    </a:lnTo>
                    <a:lnTo>
                      <a:pt x="766" y="223"/>
                    </a:lnTo>
                    <a:lnTo>
                      <a:pt x="764" y="223"/>
                    </a:lnTo>
                    <a:lnTo>
                      <a:pt x="764" y="225"/>
                    </a:lnTo>
                    <a:lnTo>
                      <a:pt x="762" y="227"/>
                    </a:lnTo>
                    <a:lnTo>
                      <a:pt x="760" y="229"/>
                    </a:lnTo>
                    <a:lnTo>
                      <a:pt x="760" y="231"/>
                    </a:lnTo>
                    <a:lnTo>
                      <a:pt x="762" y="231"/>
                    </a:lnTo>
                    <a:lnTo>
                      <a:pt x="760" y="231"/>
                    </a:lnTo>
                    <a:lnTo>
                      <a:pt x="760" y="233"/>
                    </a:lnTo>
                    <a:lnTo>
                      <a:pt x="762" y="233"/>
                    </a:lnTo>
                    <a:lnTo>
                      <a:pt x="758" y="233"/>
                    </a:lnTo>
                    <a:lnTo>
                      <a:pt x="756" y="233"/>
                    </a:lnTo>
                    <a:lnTo>
                      <a:pt x="756" y="235"/>
                    </a:lnTo>
                    <a:lnTo>
                      <a:pt x="756" y="236"/>
                    </a:lnTo>
                    <a:lnTo>
                      <a:pt x="756" y="238"/>
                    </a:lnTo>
                    <a:lnTo>
                      <a:pt x="756" y="240"/>
                    </a:lnTo>
                    <a:lnTo>
                      <a:pt x="756" y="242"/>
                    </a:lnTo>
                    <a:lnTo>
                      <a:pt x="758" y="242"/>
                    </a:lnTo>
                    <a:lnTo>
                      <a:pt x="758" y="244"/>
                    </a:lnTo>
                    <a:lnTo>
                      <a:pt x="760" y="244"/>
                    </a:lnTo>
                    <a:lnTo>
                      <a:pt x="760" y="246"/>
                    </a:lnTo>
                    <a:lnTo>
                      <a:pt x="762" y="246"/>
                    </a:lnTo>
                    <a:lnTo>
                      <a:pt x="762" y="248"/>
                    </a:lnTo>
                    <a:lnTo>
                      <a:pt x="764" y="248"/>
                    </a:lnTo>
                    <a:lnTo>
                      <a:pt x="764" y="250"/>
                    </a:lnTo>
                    <a:lnTo>
                      <a:pt x="766" y="250"/>
                    </a:lnTo>
                    <a:lnTo>
                      <a:pt x="766" y="252"/>
                    </a:lnTo>
                    <a:lnTo>
                      <a:pt x="766" y="254"/>
                    </a:lnTo>
                    <a:lnTo>
                      <a:pt x="766" y="256"/>
                    </a:lnTo>
                    <a:lnTo>
                      <a:pt x="764" y="256"/>
                    </a:lnTo>
                    <a:lnTo>
                      <a:pt x="762" y="256"/>
                    </a:lnTo>
                    <a:lnTo>
                      <a:pt x="762" y="258"/>
                    </a:lnTo>
                    <a:lnTo>
                      <a:pt x="762" y="259"/>
                    </a:lnTo>
                    <a:lnTo>
                      <a:pt x="762" y="261"/>
                    </a:lnTo>
                    <a:lnTo>
                      <a:pt x="762" y="263"/>
                    </a:lnTo>
                    <a:lnTo>
                      <a:pt x="762" y="265"/>
                    </a:lnTo>
                    <a:lnTo>
                      <a:pt x="760" y="265"/>
                    </a:lnTo>
                    <a:lnTo>
                      <a:pt x="760" y="267"/>
                    </a:lnTo>
                    <a:lnTo>
                      <a:pt x="758" y="269"/>
                    </a:lnTo>
                    <a:lnTo>
                      <a:pt x="758" y="271"/>
                    </a:lnTo>
                    <a:lnTo>
                      <a:pt x="758" y="273"/>
                    </a:lnTo>
                    <a:lnTo>
                      <a:pt x="758" y="275"/>
                    </a:lnTo>
                    <a:lnTo>
                      <a:pt x="760" y="277"/>
                    </a:lnTo>
                    <a:lnTo>
                      <a:pt x="760" y="279"/>
                    </a:lnTo>
                    <a:lnTo>
                      <a:pt x="760" y="281"/>
                    </a:lnTo>
                    <a:lnTo>
                      <a:pt x="762" y="283"/>
                    </a:lnTo>
                    <a:lnTo>
                      <a:pt x="762" y="284"/>
                    </a:lnTo>
                    <a:lnTo>
                      <a:pt x="764" y="288"/>
                    </a:lnTo>
                    <a:lnTo>
                      <a:pt x="766" y="290"/>
                    </a:lnTo>
                    <a:lnTo>
                      <a:pt x="766" y="292"/>
                    </a:lnTo>
                    <a:lnTo>
                      <a:pt x="768" y="294"/>
                    </a:lnTo>
                    <a:lnTo>
                      <a:pt x="768" y="296"/>
                    </a:lnTo>
                    <a:lnTo>
                      <a:pt x="768" y="298"/>
                    </a:lnTo>
                    <a:lnTo>
                      <a:pt x="770" y="298"/>
                    </a:lnTo>
                    <a:lnTo>
                      <a:pt x="770" y="300"/>
                    </a:lnTo>
                    <a:lnTo>
                      <a:pt x="770" y="302"/>
                    </a:lnTo>
                    <a:lnTo>
                      <a:pt x="771" y="302"/>
                    </a:lnTo>
                    <a:lnTo>
                      <a:pt x="771" y="304"/>
                    </a:lnTo>
                    <a:lnTo>
                      <a:pt x="771" y="306"/>
                    </a:lnTo>
                    <a:lnTo>
                      <a:pt x="773" y="307"/>
                    </a:lnTo>
                    <a:lnTo>
                      <a:pt x="773" y="309"/>
                    </a:lnTo>
                    <a:lnTo>
                      <a:pt x="775" y="309"/>
                    </a:lnTo>
                    <a:lnTo>
                      <a:pt x="775" y="311"/>
                    </a:lnTo>
                    <a:lnTo>
                      <a:pt x="775" y="313"/>
                    </a:lnTo>
                    <a:lnTo>
                      <a:pt x="777" y="315"/>
                    </a:lnTo>
                    <a:lnTo>
                      <a:pt x="777" y="317"/>
                    </a:lnTo>
                    <a:lnTo>
                      <a:pt x="779" y="319"/>
                    </a:lnTo>
                    <a:lnTo>
                      <a:pt x="779" y="321"/>
                    </a:lnTo>
                    <a:lnTo>
                      <a:pt x="779" y="323"/>
                    </a:lnTo>
                    <a:lnTo>
                      <a:pt x="781" y="323"/>
                    </a:lnTo>
                    <a:lnTo>
                      <a:pt x="781" y="325"/>
                    </a:lnTo>
                    <a:lnTo>
                      <a:pt x="783" y="325"/>
                    </a:lnTo>
                    <a:lnTo>
                      <a:pt x="783" y="327"/>
                    </a:lnTo>
                    <a:lnTo>
                      <a:pt x="785" y="329"/>
                    </a:lnTo>
                    <a:lnTo>
                      <a:pt x="785" y="331"/>
                    </a:lnTo>
                    <a:lnTo>
                      <a:pt x="789" y="332"/>
                    </a:lnTo>
                    <a:lnTo>
                      <a:pt x="789" y="334"/>
                    </a:lnTo>
                    <a:lnTo>
                      <a:pt x="791" y="336"/>
                    </a:lnTo>
                    <a:lnTo>
                      <a:pt x="793" y="338"/>
                    </a:lnTo>
                    <a:lnTo>
                      <a:pt x="795" y="338"/>
                    </a:lnTo>
                    <a:lnTo>
                      <a:pt x="795" y="340"/>
                    </a:lnTo>
                    <a:lnTo>
                      <a:pt x="796" y="340"/>
                    </a:lnTo>
                    <a:lnTo>
                      <a:pt x="798" y="342"/>
                    </a:lnTo>
                    <a:lnTo>
                      <a:pt x="800" y="342"/>
                    </a:lnTo>
                    <a:lnTo>
                      <a:pt x="802" y="344"/>
                    </a:lnTo>
                    <a:lnTo>
                      <a:pt x="802" y="346"/>
                    </a:lnTo>
                    <a:lnTo>
                      <a:pt x="802" y="348"/>
                    </a:lnTo>
                    <a:lnTo>
                      <a:pt x="802" y="350"/>
                    </a:lnTo>
                    <a:lnTo>
                      <a:pt x="802" y="352"/>
                    </a:lnTo>
                    <a:lnTo>
                      <a:pt x="800" y="354"/>
                    </a:lnTo>
                    <a:lnTo>
                      <a:pt x="798" y="355"/>
                    </a:lnTo>
                    <a:lnTo>
                      <a:pt x="798" y="357"/>
                    </a:lnTo>
                    <a:lnTo>
                      <a:pt x="798" y="359"/>
                    </a:lnTo>
                    <a:lnTo>
                      <a:pt x="800" y="359"/>
                    </a:lnTo>
                    <a:lnTo>
                      <a:pt x="800" y="361"/>
                    </a:lnTo>
                    <a:lnTo>
                      <a:pt x="802" y="361"/>
                    </a:lnTo>
                    <a:lnTo>
                      <a:pt x="804" y="361"/>
                    </a:lnTo>
                    <a:lnTo>
                      <a:pt x="804" y="363"/>
                    </a:lnTo>
                    <a:lnTo>
                      <a:pt x="802" y="363"/>
                    </a:lnTo>
                    <a:lnTo>
                      <a:pt x="802" y="365"/>
                    </a:lnTo>
                    <a:lnTo>
                      <a:pt x="800" y="365"/>
                    </a:lnTo>
                    <a:lnTo>
                      <a:pt x="798" y="365"/>
                    </a:lnTo>
                    <a:lnTo>
                      <a:pt x="798" y="363"/>
                    </a:lnTo>
                    <a:lnTo>
                      <a:pt x="796" y="363"/>
                    </a:lnTo>
                    <a:lnTo>
                      <a:pt x="796" y="365"/>
                    </a:lnTo>
                    <a:lnTo>
                      <a:pt x="795" y="365"/>
                    </a:lnTo>
                    <a:lnTo>
                      <a:pt x="795" y="363"/>
                    </a:lnTo>
                    <a:lnTo>
                      <a:pt x="795" y="365"/>
                    </a:lnTo>
                    <a:lnTo>
                      <a:pt x="793" y="365"/>
                    </a:lnTo>
                    <a:lnTo>
                      <a:pt x="793" y="367"/>
                    </a:lnTo>
                    <a:lnTo>
                      <a:pt x="793" y="369"/>
                    </a:lnTo>
                    <a:lnTo>
                      <a:pt x="791" y="369"/>
                    </a:lnTo>
                    <a:lnTo>
                      <a:pt x="791" y="371"/>
                    </a:lnTo>
                    <a:lnTo>
                      <a:pt x="789" y="371"/>
                    </a:lnTo>
                    <a:lnTo>
                      <a:pt x="789" y="373"/>
                    </a:lnTo>
                    <a:lnTo>
                      <a:pt x="789" y="375"/>
                    </a:lnTo>
                    <a:lnTo>
                      <a:pt x="789" y="377"/>
                    </a:lnTo>
                    <a:lnTo>
                      <a:pt x="791" y="377"/>
                    </a:lnTo>
                    <a:lnTo>
                      <a:pt x="791" y="379"/>
                    </a:lnTo>
                    <a:lnTo>
                      <a:pt x="791" y="380"/>
                    </a:lnTo>
                    <a:lnTo>
                      <a:pt x="791" y="382"/>
                    </a:lnTo>
                    <a:lnTo>
                      <a:pt x="789" y="382"/>
                    </a:lnTo>
                    <a:lnTo>
                      <a:pt x="789" y="384"/>
                    </a:lnTo>
                    <a:lnTo>
                      <a:pt x="787" y="384"/>
                    </a:lnTo>
                    <a:lnTo>
                      <a:pt x="787" y="386"/>
                    </a:lnTo>
                    <a:lnTo>
                      <a:pt x="787" y="388"/>
                    </a:lnTo>
                    <a:lnTo>
                      <a:pt x="785" y="388"/>
                    </a:lnTo>
                    <a:lnTo>
                      <a:pt x="785" y="390"/>
                    </a:lnTo>
                    <a:lnTo>
                      <a:pt x="785" y="392"/>
                    </a:lnTo>
                    <a:lnTo>
                      <a:pt x="783" y="392"/>
                    </a:lnTo>
                    <a:lnTo>
                      <a:pt x="781" y="392"/>
                    </a:lnTo>
                    <a:lnTo>
                      <a:pt x="779" y="392"/>
                    </a:lnTo>
                    <a:lnTo>
                      <a:pt x="777" y="392"/>
                    </a:lnTo>
                    <a:lnTo>
                      <a:pt x="775" y="392"/>
                    </a:lnTo>
                    <a:lnTo>
                      <a:pt x="773" y="392"/>
                    </a:lnTo>
                    <a:lnTo>
                      <a:pt x="771" y="394"/>
                    </a:lnTo>
                    <a:lnTo>
                      <a:pt x="770" y="394"/>
                    </a:lnTo>
                    <a:lnTo>
                      <a:pt x="768" y="394"/>
                    </a:lnTo>
                    <a:lnTo>
                      <a:pt x="766" y="394"/>
                    </a:lnTo>
                    <a:lnTo>
                      <a:pt x="764" y="394"/>
                    </a:lnTo>
                    <a:lnTo>
                      <a:pt x="762" y="394"/>
                    </a:lnTo>
                    <a:lnTo>
                      <a:pt x="762" y="396"/>
                    </a:lnTo>
                    <a:lnTo>
                      <a:pt x="764" y="396"/>
                    </a:lnTo>
                    <a:lnTo>
                      <a:pt x="762" y="396"/>
                    </a:lnTo>
                    <a:lnTo>
                      <a:pt x="762" y="398"/>
                    </a:lnTo>
                    <a:lnTo>
                      <a:pt x="760" y="398"/>
                    </a:lnTo>
                    <a:lnTo>
                      <a:pt x="760" y="400"/>
                    </a:lnTo>
                    <a:lnTo>
                      <a:pt x="760" y="402"/>
                    </a:lnTo>
                    <a:lnTo>
                      <a:pt x="758" y="402"/>
                    </a:lnTo>
                    <a:lnTo>
                      <a:pt x="758" y="403"/>
                    </a:lnTo>
                    <a:lnTo>
                      <a:pt x="756" y="403"/>
                    </a:lnTo>
                    <a:lnTo>
                      <a:pt x="756" y="402"/>
                    </a:lnTo>
                    <a:lnTo>
                      <a:pt x="754" y="402"/>
                    </a:lnTo>
                    <a:lnTo>
                      <a:pt x="754" y="400"/>
                    </a:lnTo>
                    <a:lnTo>
                      <a:pt x="754" y="402"/>
                    </a:lnTo>
                    <a:lnTo>
                      <a:pt x="752" y="402"/>
                    </a:lnTo>
                    <a:lnTo>
                      <a:pt x="752" y="400"/>
                    </a:lnTo>
                    <a:lnTo>
                      <a:pt x="752" y="398"/>
                    </a:lnTo>
                    <a:lnTo>
                      <a:pt x="750" y="398"/>
                    </a:lnTo>
                    <a:lnTo>
                      <a:pt x="750" y="400"/>
                    </a:lnTo>
                    <a:lnTo>
                      <a:pt x="748" y="400"/>
                    </a:lnTo>
                    <a:lnTo>
                      <a:pt x="748" y="402"/>
                    </a:lnTo>
                    <a:lnTo>
                      <a:pt x="747" y="402"/>
                    </a:lnTo>
                    <a:lnTo>
                      <a:pt x="745" y="402"/>
                    </a:lnTo>
                    <a:lnTo>
                      <a:pt x="743" y="402"/>
                    </a:lnTo>
                    <a:lnTo>
                      <a:pt x="741" y="402"/>
                    </a:lnTo>
                    <a:lnTo>
                      <a:pt x="739" y="402"/>
                    </a:lnTo>
                    <a:lnTo>
                      <a:pt x="739" y="400"/>
                    </a:lnTo>
                    <a:lnTo>
                      <a:pt x="737" y="400"/>
                    </a:lnTo>
                    <a:lnTo>
                      <a:pt x="737" y="398"/>
                    </a:lnTo>
                    <a:lnTo>
                      <a:pt x="735" y="398"/>
                    </a:lnTo>
                    <a:lnTo>
                      <a:pt x="733" y="396"/>
                    </a:lnTo>
                    <a:lnTo>
                      <a:pt x="731" y="396"/>
                    </a:lnTo>
                    <a:lnTo>
                      <a:pt x="731" y="394"/>
                    </a:lnTo>
                    <a:lnTo>
                      <a:pt x="729" y="394"/>
                    </a:lnTo>
                    <a:lnTo>
                      <a:pt x="727" y="396"/>
                    </a:lnTo>
                    <a:lnTo>
                      <a:pt x="725" y="396"/>
                    </a:lnTo>
                    <a:lnTo>
                      <a:pt x="725" y="394"/>
                    </a:lnTo>
                    <a:lnTo>
                      <a:pt x="723" y="394"/>
                    </a:lnTo>
                    <a:lnTo>
                      <a:pt x="722" y="394"/>
                    </a:lnTo>
                    <a:lnTo>
                      <a:pt x="722" y="396"/>
                    </a:lnTo>
                    <a:lnTo>
                      <a:pt x="720" y="396"/>
                    </a:lnTo>
                    <a:lnTo>
                      <a:pt x="720" y="398"/>
                    </a:lnTo>
                    <a:lnTo>
                      <a:pt x="718" y="400"/>
                    </a:lnTo>
                    <a:lnTo>
                      <a:pt x="718" y="402"/>
                    </a:lnTo>
                    <a:lnTo>
                      <a:pt x="716" y="402"/>
                    </a:lnTo>
                    <a:lnTo>
                      <a:pt x="716" y="400"/>
                    </a:lnTo>
                    <a:lnTo>
                      <a:pt x="714" y="400"/>
                    </a:lnTo>
                    <a:lnTo>
                      <a:pt x="712" y="400"/>
                    </a:lnTo>
                    <a:lnTo>
                      <a:pt x="710" y="400"/>
                    </a:lnTo>
                    <a:lnTo>
                      <a:pt x="710" y="398"/>
                    </a:lnTo>
                    <a:lnTo>
                      <a:pt x="708" y="398"/>
                    </a:lnTo>
                    <a:lnTo>
                      <a:pt x="706" y="396"/>
                    </a:lnTo>
                    <a:lnTo>
                      <a:pt x="704" y="394"/>
                    </a:lnTo>
                    <a:lnTo>
                      <a:pt x="702" y="394"/>
                    </a:lnTo>
                    <a:lnTo>
                      <a:pt x="702" y="396"/>
                    </a:lnTo>
                    <a:lnTo>
                      <a:pt x="702" y="398"/>
                    </a:lnTo>
                    <a:lnTo>
                      <a:pt x="702" y="400"/>
                    </a:lnTo>
                    <a:lnTo>
                      <a:pt x="702" y="402"/>
                    </a:lnTo>
                    <a:lnTo>
                      <a:pt x="700" y="402"/>
                    </a:lnTo>
                    <a:lnTo>
                      <a:pt x="700" y="403"/>
                    </a:lnTo>
                    <a:lnTo>
                      <a:pt x="700" y="405"/>
                    </a:lnTo>
                    <a:lnTo>
                      <a:pt x="700" y="407"/>
                    </a:lnTo>
                    <a:lnTo>
                      <a:pt x="700" y="409"/>
                    </a:lnTo>
                    <a:lnTo>
                      <a:pt x="702" y="409"/>
                    </a:lnTo>
                    <a:lnTo>
                      <a:pt x="700" y="411"/>
                    </a:lnTo>
                    <a:lnTo>
                      <a:pt x="700" y="413"/>
                    </a:lnTo>
                    <a:lnTo>
                      <a:pt x="700" y="415"/>
                    </a:lnTo>
                    <a:lnTo>
                      <a:pt x="697" y="413"/>
                    </a:lnTo>
                    <a:lnTo>
                      <a:pt x="697" y="415"/>
                    </a:lnTo>
                    <a:lnTo>
                      <a:pt x="697" y="417"/>
                    </a:lnTo>
                    <a:lnTo>
                      <a:pt x="695" y="417"/>
                    </a:lnTo>
                    <a:lnTo>
                      <a:pt x="697" y="417"/>
                    </a:lnTo>
                    <a:lnTo>
                      <a:pt x="697" y="419"/>
                    </a:lnTo>
                    <a:lnTo>
                      <a:pt x="699" y="421"/>
                    </a:lnTo>
                    <a:lnTo>
                      <a:pt x="700" y="423"/>
                    </a:lnTo>
                    <a:lnTo>
                      <a:pt x="702" y="425"/>
                    </a:lnTo>
                    <a:lnTo>
                      <a:pt x="704" y="427"/>
                    </a:lnTo>
                    <a:lnTo>
                      <a:pt x="704" y="428"/>
                    </a:lnTo>
                    <a:lnTo>
                      <a:pt x="704" y="430"/>
                    </a:lnTo>
                    <a:lnTo>
                      <a:pt x="702" y="430"/>
                    </a:lnTo>
                    <a:lnTo>
                      <a:pt x="702" y="432"/>
                    </a:lnTo>
                    <a:lnTo>
                      <a:pt x="700" y="434"/>
                    </a:lnTo>
                    <a:lnTo>
                      <a:pt x="699" y="434"/>
                    </a:lnTo>
                    <a:lnTo>
                      <a:pt x="697" y="436"/>
                    </a:lnTo>
                    <a:lnTo>
                      <a:pt x="695" y="436"/>
                    </a:lnTo>
                    <a:lnTo>
                      <a:pt x="693" y="438"/>
                    </a:lnTo>
                    <a:lnTo>
                      <a:pt x="691" y="438"/>
                    </a:lnTo>
                    <a:lnTo>
                      <a:pt x="691" y="440"/>
                    </a:lnTo>
                    <a:lnTo>
                      <a:pt x="689" y="440"/>
                    </a:lnTo>
                    <a:lnTo>
                      <a:pt x="689" y="442"/>
                    </a:lnTo>
                    <a:lnTo>
                      <a:pt x="689" y="440"/>
                    </a:lnTo>
                    <a:lnTo>
                      <a:pt x="687" y="438"/>
                    </a:lnTo>
                    <a:lnTo>
                      <a:pt x="687" y="436"/>
                    </a:lnTo>
                    <a:lnTo>
                      <a:pt x="687" y="434"/>
                    </a:lnTo>
                    <a:lnTo>
                      <a:pt x="685" y="432"/>
                    </a:lnTo>
                    <a:lnTo>
                      <a:pt x="683" y="432"/>
                    </a:lnTo>
                    <a:lnTo>
                      <a:pt x="683" y="430"/>
                    </a:lnTo>
                    <a:lnTo>
                      <a:pt x="681" y="430"/>
                    </a:lnTo>
                    <a:lnTo>
                      <a:pt x="681" y="428"/>
                    </a:lnTo>
                    <a:lnTo>
                      <a:pt x="679" y="428"/>
                    </a:lnTo>
                    <a:lnTo>
                      <a:pt x="679" y="430"/>
                    </a:lnTo>
                    <a:lnTo>
                      <a:pt x="677" y="430"/>
                    </a:lnTo>
                    <a:lnTo>
                      <a:pt x="677" y="432"/>
                    </a:lnTo>
                    <a:lnTo>
                      <a:pt x="675" y="434"/>
                    </a:lnTo>
                    <a:lnTo>
                      <a:pt x="674" y="436"/>
                    </a:lnTo>
                    <a:lnTo>
                      <a:pt x="672" y="440"/>
                    </a:lnTo>
                    <a:lnTo>
                      <a:pt x="670" y="442"/>
                    </a:lnTo>
                    <a:lnTo>
                      <a:pt x="670" y="444"/>
                    </a:lnTo>
                    <a:lnTo>
                      <a:pt x="670" y="446"/>
                    </a:lnTo>
                    <a:lnTo>
                      <a:pt x="668" y="448"/>
                    </a:lnTo>
                    <a:lnTo>
                      <a:pt x="668" y="450"/>
                    </a:lnTo>
                    <a:lnTo>
                      <a:pt x="666" y="453"/>
                    </a:lnTo>
                    <a:lnTo>
                      <a:pt x="666" y="455"/>
                    </a:lnTo>
                    <a:lnTo>
                      <a:pt x="666" y="457"/>
                    </a:lnTo>
                    <a:lnTo>
                      <a:pt x="664" y="457"/>
                    </a:lnTo>
                    <a:lnTo>
                      <a:pt x="664" y="459"/>
                    </a:lnTo>
                    <a:lnTo>
                      <a:pt x="664" y="461"/>
                    </a:lnTo>
                    <a:lnTo>
                      <a:pt x="662" y="461"/>
                    </a:lnTo>
                    <a:lnTo>
                      <a:pt x="662" y="463"/>
                    </a:lnTo>
                    <a:lnTo>
                      <a:pt x="664" y="465"/>
                    </a:lnTo>
                    <a:lnTo>
                      <a:pt x="662" y="465"/>
                    </a:lnTo>
                    <a:lnTo>
                      <a:pt x="662" y="467"/>
                    </a:lnTo>
                    <a:lnTo>
                      <a:pt x="660" y="467"/>
                    </a:lnTo>
                    <a:lnTo>
                      <a:pt x="660" y="469"/>
                    </a:lnTo>
                    <a:lnTo>
                      <a:pt x="658" y="467"/>
                    </a:lnTo>
                    <a:lnTo>
                      <a:pt x="656" y="465"/>
                    </a:lnTo>
                    <a:lnTo>
                      <a:pt x="656" y="467"/>
                    </a:lnTo>
                    <a:lnTo>
                      <a:pt x="656" y="469"/>
                    </a:lnTo>
                    <a:lnTo>
                      <a:pt x="654" y="469"/>
                    </a:lnTo>
                    <a:lnTo>
                      <a:pt x="654" y="471"/>
                    </a:lnTo>
                    <a:lnTo>
                      <a:pt x="652" y="471"/>
                    </a:lnTo>
                    <a:lnTo>
                      <a:pt x="652" y="473"/>
                    </a:lnTo>
                    <a:lnTo>
                      <a:pt x="652" y="475"/>
                    </a:lnTo>
                    <a:lnTo>
                      <a:pt x="651" y="475"/>
                    </a:lnTo>
                    <a:lnTo>
                      <a:pt x="651" y="476"/>
                    </a:lnTo>
                    <a:lnTo>
                      <a:pt x="651" y="475"/>
                    </a:lnTo>
                    <a:lnTo>
                      <a:pt x="649" y="475"/>
                    </a:lnTo>
                    <a:lnTo>
                      <a:pt x="647" y="475"/>
                    </a:lnTo>
                    <a:lnTo>
                      <a:pt x="647" y="473"/>
                    </a:lnTo>
                    <a:lnTo>
                      <a:pt x="645" y="473"/>
                    </a:lnTo>
                    <a:lnTo>
                      <a:pt x="645" y="475"/>
                    </a:lnTo>
                    <a:lnTo>
                      <a:pt x="647" y="475"/>
                    </a:lnTo>
                    <a:lnTo>
                      <a:pt x="647" y="476"/>
                    </a:lnTo>
                    <a:lnTo>
                      <a:pt x="647" y="478"/>
                    </a:lnTo>
                    <a:lnTo>
                      <a:pt x="645" y="476"/>
                    </a:lnTo>
                    <a:lnTo>
                      <a:pt x="643" y="476"/>
                    </a:lnTo>
                    <a:lnTo>
                      <a:pt x="641" y="475"/>
                    </a:lnTo>
                    <a:lnTo>
                      <a:pt x="639" y="473"/>
                    </a:lnTo>
                    <a:lnTo>
                      <a:pt x="637" y="473"/>
                    </a:lnTo>
                    <a:lnTo>
                      <a:pt x="637" y="475"/>
                    </a:lnTo>
                    <a:lnTo>
                      <a:pt x="635" y="475"/>
                    </a:lnTo>
                    <a:lnTo>
                      <a:pt x="637" y="475"/>
                    </a:lnTo>
                    <a:lnTo>
                      <a:pt x="637" y="476"/>
                    </a:lnTo>
                    <a:lnTo>
                      <a:pt x="635" y="476"/>
                    </a:lnTo>
                    <a:lnTo>
                      <a:pt x="635" y="478"/>
                    </a:lnTo>
                    <a:lnTo>
                      <a:pt x="637" y="478"/>
                    </a:lnTo>
                    <a:lnTo>
                      <a:pt x="635" y="478"/>
                    </a:lnTo>
                    <a:lnTo>
                      <a:pt x="635" y="480"/>
                    </a:lnTo>
                    <a:lnTo>
                      <a:pt x="635" y="478"/>
                    </a:lnTo>
                    <a:lnTo>
                      <a:pt x="633" y="478"/>
                    </a:lnTo>
                    <a:lnTo>
                      <a:pt x="631" y="478"/>
                    </a:lnTo>
                    <a:lnTo>
                      <a:pt x="631" y="476"/>
                    </a:lnTo>
                    <a:lnTo>
                      <a:pt x="631" y="475"/>
                    </a:lnTo>
                    <a:lnTo>
                      <a:pt x="629" y="475"/>
                    </a:lnTo>
                    <a:lnTo>
                      <a:pt x="627" y="475"/>
                    </a:lnTo>
                    <a:lnTo>
                      <a:pt x="627" y="473"/>
                    </a:lnTo>
                    <a:lnTo>
                      <a:pt x="627" y="475"/>
                    </a:lnTo>
                    <a:lnTo>
                      <a:pt x="626" y="475"/>
                    </a:lnTo>
                    <a:lnTo>
                      <a:pt x="626" y="476"/>
                    </a:lnTo>
                    <a:lnTo>
                      <a:pt x="624" y="476"/>
                    </a:lnTo>
                    <a:lnTo>
                      <a:pt x="622" y="476"/>
                    </a:lnTo>
                    <a:lnTo>
                      <a:pt x="620" y="476"/>
                    </a:lnTo>
                    <a:lnTo>
                      <a:pt x="618" y="476"/>
                    </a:lnTo>
                    <a:lnTo>
                      <a:pt x="616" y="476"/>
                    </a:lnTo>
                    <a:lnTo>
                      <a:pt x="618" y="478"/>
                    </a:lnTo>
                    <a:lnTo>
                      <a:pt x="618" y="480"/>
                    </a:lnTo>
                    <a:lnTo>
                      <a:pt x="618" y="482"/>
                    </a:lnTo>
                    <a:lnTo>
                      <a:pt x="618" y="484"/>
                    </a:lnTo>
                    <a:lnTo>
                      <a:pt x="616" y="484"/>
                    </a:lnTo>
                    <a:lnTo>
                      <a:pt x="616" y="482"/>
                    </a:lnTo>
                    <a:lnTo>
                      <a:pt x="616" y="480"/>
                    </a:lnTo>
                    <a:lnTo>
                      <a:pt x="616" y="478"/>
                    </a:lnTo>
                    <a:lnTo>
                      <a:pt x="614" y="478"/>
                    </a:lnTo>
                    <a:lnTo>
                      <a:pt x="612" y="478"/>
                    </a:lnTo>
                    <a:lnTo>
                      <a:pt x="612" y="480"/>
                    </a:lnTo>
                    <a:lnTo>
                      <a:pt x="610" y="480"/>
                    </a:lnTo>
                    <a:lnTo>
                      <a:pt x="608" y="478"/>
                    </a:lnTo>
                    <a:lnTo>
                      <a:pt x="606" y="478"/>
                    </a:lnTo>
                    <a:lnTo>
                      <a:pt x="606" y="480"/>
                    </a:lnTo>
                    <a:lnTo>
                      <a:pt x="604" y="480"/>
                    </a:lnTo>
                    <a:lnTo>
                      <a:pt x="604" y="482"/>
                    </a:lnTo>
                    <a:lnTo>
                      <a:pt x="604" y="484"/>
                    </a:lnTo>
                    <a:lnTo>
                      <a:pt x="603" y="484"/>
                    </a:lnTo>
                    <a:lnTo>
                      <a:pt x="601" y="484"/>
                    </a:lnTo>
                    <a:lnTo>
                      <a:pt x="599" y="484"/>
                    </a:lnTo>
                    <a:lnTo>
                      <a:pt x="597" y="484"/>
                    </a:lnTo>
                    <a:lnTo>
                      <a:pt x="597" y="482"/>
                    </a:lnTo>
                    <a:lnTo>
                      <a:pt x="595" y="482"/>
                    </a:lnTo>
                    <a:lnTo>
                      <a:pt x="595" y="484"/>
                    </a:lnTo>
                    <a:lnTo>
                      <a:pt x="593" y="482"/>
                    </a:lnTo>
                    <a:lnTo>
                      <a:pt x="591" y="482"/>
                    </a:lnTo>
                    <a:lnTo>
                      <a:pt x="589" y="482"/>
                    </a:lnTo>
                    <a:lnTo>
                      <a:pt x="587" y="482"/>
                    </a:lnTo>
                    <a:lnTo>
                      <a:pt x="585" y="482"/>
                    </a:lnTo>
                    <a:lnTo>
                      <a:pt x="587" y="482"/>
                    </a:lnTo>
                    <a:lnTo>
                      <a:pt x="585" y="482"/>
                    </a:lnTo>
                    <a:lnTo>
                      <a:pt x="585" y="480"/>
                    </a:lnTo>
                    <a:lnTo>
                      <a:pt x="585" y="482"/>
                    </a:lnTo>
                    <a:lnTo>
                      <a:pt x="583" y="482"/>
                    </a:lnTo>
                    <a:lnTo>
                      <a:pt x="583" y="484"/>
                    </a:lnTo>
                    <a:lnTo>
                      <a:pt x="583" y="486"/>
                    </a:lnTo>
                    <a:lnTo>
                      <a:pt x="583" y="488"/>
                    </a:lnTo>
                    <a:lnTo>
                      <a:pt x="583" y="490"/>
                    </a:lnTo>
                    <a:lnTo>
                      <a:pt x="583" y="492"/>
                    </a:lnTo>
                    <a:lnTo>
                      <a:pt x="585" y="492"/>
                    </a:lnTo>
                    <a:lnTo>
                      <a:pt x="583" y="492"/>
                    </a:lnTo>
                    <a:lnTo>
                      <a:pt x="583" y="494"/>
                    </a:lnTo>
                    <a:lnTo>
                      <a:pt x="581" y="494"/>
                    </a:lnTo>
                    <a:lnTo>
                      <a:pt x="581" y="496"/>
                    </a:lnTo>
                    <a:lnTo>
                      <a:pt x="581" y="498"/>
                    </a:lnTo>
                    <a:lnTo>
                      <a:pt x="579" y="498"/>
                    </a:lnTo>
                    <a:lnTo>
                      <a:pt x="579" y="499"/>
                    </a:lnTo>
                    <a:lnTo>
                      <a:pt x="579" y="501"/>
                    </a:lnTo>
                    <a:lnTo>
                      <a:pt x="579" y="503"/>
                    </a:lnTo>
                    <a:lnTo>
                      <a:pt x="579" y="505"/>
                    </a:lnTo>
                    <a:lnTo>
                      <a:pt x="579" y="507"/>
                    </a:lnTo>
                    <a:lnTo>
                      <a:pt x="579" y="509"/>
                    </a:lnTo>
                    <a:lnTo>
                      <a:pt x="579" y="511"/>
                    </a:lnTo>
                    <a:lnTo>
                      <a:pt x="578" y="511"/>
                    </a:lnTo>
                    <a:lnTo>
                      <a:pt x="578" y="513"/>
                    </a:lnTo>
                    <a:lnTo>
                      <a:pt x="576" y="513"/>
                    </a:lnTo>
                    <a:lnTo>
                      <a:pt x="574" y="513"/>
                    </a:lnTo>
                    <a:lnTo>
                      <a:pt x="572" y="513"/>
                    </a:lnTo>
                    <a:lnTo>
                      <a:pt x="570" y="511"/>
                    </a:lnTo>
                    <a:lnTo>
                      <a:pt x="568" y="511"/>
                    </a:lnTo>
                    <a:lnTo>
                      <a:pt x="566" y="511"/>
                    </a:lnTo>
                    <a:lnTo>
                      <a:pt x="566" y="509"/>
                    </a:lnTo>
                    <a:lnTo>
                      <a:pt x="564" y="509"/>
                    </a:lnTo>
                    <a:lnTo>
                      <a:pt x="564" y="507"/>
                    </a:lnTo>
                    <a:lnTo>
                      <a:pt x="562" y="507"/>
                    </a:lnTo>
                    <a:lnTo>
                      <a:pt x="562" y="505"/>
                    </a:lnTo>
                    <a:lnTo>
                      <a:pt x="560" y="505"/>
                    </a:lnTo>
                    <a:lnTo>
                      <a:pt x="560" y="507"/>
                    </a:lnTo>
                    <a:lnTo>
                      <a:pt x="558" y="507"/>
                    </a:lnTo>
                    <a:lnTo>
                      <a:pt x="556" y="507"/>
                    </a:lnTo>
                    <a:lnTo>
                      <a:pt x="554" y="507"/>
                    </a:lnTo>
                    <a:lnTo>
                      <a:pt x="554" y="505"/>
                    </a:lnTo>
                    <a:lnTo>
                      <a:pt x="553" y="505"/>
                    </a:lnTo>
                    <a:lnTo>
                      <a:pt x="553" y="503"/>
                    </a:lnTo>
                    <a:lnTo>
                      <a:pt x="553" y="501"/>
                    </a:lnTo>
                    <a:lnTo>
                      <a:pt x="551" y="501"/>
                    </a:lnTo>
                    <a:lnTo>
                      <a:pt x="549" y="499"/>
                    </a:lnTo>
                    <a:lnTo>
                      <a:pt x="547" y="499"/>
                    </a:lnTo>
                    <a:lnTo>
                      <a:pt x="547" y="498"/>
                    </a:lnTo>
                    <a:lnTo>
                      <a:pt x="545" y="498"/>
                    </a:lnTo>
                    <a:lnTo>
                      <a:pt x="545" y="496"/>
                    </a:lnTo>
                    <a:lnTo>
                      <a:pt x="543" y="496"/>
                    </a:lnTo>
                    <a:lnTo>
                      <a:pt x="543" y="494"/>
                    </a:lnTo>
                    <a:lnTo>
                      <a:pt x="541" y="494"/>
                    </a:lnTo>
                    <a:lnTo>
                      <a:pt x="541" y="492"/>
                    </a:lnTo>
                    <a:lnTo>
                      <a:pt x="541" y="490"/>
                    </a:lnTo>
                    <a:lnTo>
                      <a:pt x="539" y="490"/>
                    </a:lnTo>
                    <a:lnTo>
                      <a:pt x="537" y="490"/>
                    </a:lnTo>
                    <a:lnTo>
                      <a:pt x="535" y="490"/>
                    </a:lnTo>
                    <a:lnTo>
                      <a:pt x="533" y="490"/>
                    </a:lnTo>
                    <a:lnTo>
                      <a:pt x="533" y="492"/>
                    </a:lnTo>
                    <a:lnTo>
                      <a:pt x="531" y="492"/>
                    </a:lnTo>
                    <a:lnTo>
                      <a:pt x="530" y="492"/>
                    </a:lnTo>
                    <a:lnTo>
                      <a:pt x="528" y="490"/>
                    </a:lnTo>
                    <a:lnTo>
                      <a:pt x="528" y="492"/>
                    </a:lnTo>
                    <a:lnTo>
                      <a:pt x="526" y="492"/>
                    </a:lnTo>
                    <a:lnTo>
                      <a:pt x="526" y="490"/>
                    </a:lnTo>
                    <a:lnTo>
                      <a:pt x="524" y="490"/>
                    </a:lnTo>
                    <a:lnTo>
                      <a:pt x="524" y="488"/>
                    </a:lnTo>
                    <a:lnTo>
                      <a:pt x="524" y="486"/>
                    </a:lnTo>
                    <a:lnTo>
                      <a:pt x="524" y="484"/>
                    </a:lnTo>
                    <a:lnTo>
                      <a:pt x="526" y="484"/>
                    </a:lnTo>
                    <a:lnTo>
                      <a:pt x="528" y="484"/>
                    </a:lnTo>
                    <a:lnTo>
                      <a:pt x="528" y="482"/>
                    </a:lnTo>
                    <a:lnTo>
                      <a:pt x="526" y="482"/>
                    </a:lnTo>
                    <a:lnTo>
                      <a:pt x="524" y="480"/>
                    </a:lnTo>
                    <a:lnTo>
                      <a:pt x="524" y="478"/>
                    </a:lnTo>
                    <a:lnTo>
                      <a:pt x="524" y="476"/>
                    </a:lnTo>
                    <a:lnTo>
                      <a:pt x="522" y="476"/>
                    </a:lnTo>
                    <a:lnTo>
                      <a:pt x="518" y="475"/>
                    </a:lnTo>
                    <a:lnTo>
                      <a:pt x="516" y="473"/>
                    </a:lnTo>
                    <a:lnTo>
                      <a:pt x="516" y="475"/>
                    </a:lnTo>
                    <a:lnTo>
                      <a:pt x="516" y="476"/>
                    </a:lnTo>
                    <a:lnTo>
                      <a:pt x="518" y="476"/>
                    </a:lnTo>
                    <a:lnTo>
                      <a:pt x="516" y="476"/>
                    </a:lnTo>
                    <a:lnTo>
                      <a:pt x="516" y="475"/>
                    </a:lnTo>
                    <a:lnTo>
                      <a:pt x="514" y="475"/>
                    </a:lnTo>
                    <a:lnTo>
                      <a:pt x="514" y="476"/>
                    </a:lnTo>
                    <a:lnTo>
                      <a:pt x="514" y="478"/>
                    </a:lnTo>
                    <a:lnTo>
                      <a:pt x="512" y="476"/>
                    </a:lnTo>
                    <a:lnTo>
                      <a:pt x="510" y="476"/>
                    </a:lnTo>
                    <a:lnTo>
                      <a:pt x="508" y="476"/>
                    </a:lnTo>
                    <a:lnTo>
                      <a:pt x="508" y="478"/>
                    </a:lnTo>
                    <a:lnTo>
                      <a:pt x="506" y="478"/>
                    </a:lnTo>
                    <a:lnTo>
                      <a:pt x="505" y="480"/>
                    </a:lnTo>
                    <a:lnTo>
                      <a:pt x="503" y="480"/>
                    </a:lnTo>
                    <a:lnTo>
                      <a:pt x="503" y="482"/>
                    </a:lnTo>
                    <a:lnTo>
                      <a:pt x="503" y="484"/>
                    </a:lnTo>
                    <a:lnTo>
                      <a:pt x="503" y="486"/>
                    </a:lnTo>
                    <a:lnTo>
                      <a:pt x="505" y="486"/>
                    </a:lnTo>
                    <a:lnTo>
                      <a:pt x="505" y="488"/>
                    </a:lnTo>
                    <a:lnTo>
                      <a:pt x="505" y="490"/>
                    </a:lnTo>
                    <a:lnTo>
                      <a:pt x="505" y="492"/>
                    </a:lnTo>
                    <a:lnTo>
                      <a:pt x="505" y="494"/>
                    </a:lnTo>
                    <a:lnTo>
                      <a:pt x="503" y="494"/>
                    </a:lnTo>
                    <a:lnTo>
                      <a:pt x="503" y="496"/>
                    </a:lnTo>
                    <a:lnTo>
                      <a:pt x="501" y="494"/>
                    </a:lnTo>
                    <a:lnTo>
                      <a:pt x="499" y="494"/>
                    </a:lnTo>
                    <a:lnTo>
                      <a:pt x="497" y="494"/>
                    </a:lnTo>
                    <a:lnTo>
                      <a:pt x="495" y="494"/>
                    </a:lnTo>
                    <a:lnTo>
                      <a:pt x="493" y="494"/>
                    </a:lnTo>
                    <a:lnTo>
                      <a:pt x="493" y="496"/>
                    </a:lnTo>
                    <a:lnTo>
                      <a:pt x="491" y="496"/>
                    </a:lnTo>
                    <a:lnTo>
                      <a:pt x="491" y="498"/>
                    </a:lnTo>
                    <a:lnTo>
                      <a:pt x="491" y="499"/>
                    </a:lnTo>
                    <a:lnTo>
                      <a:pt x="491" y="501"/>
                    </a:lnTo>
                    <a:lnTo>
                      <a:pt x="491" y="503"/>
                    </a:lnTo>
                    <a:lnTo>
                      <a:pt x="493" y="505"/>
                    </a:lnTo>
                    <a:lnTo>
                      <a:pt x="493" y="507"/>
                    </a:lnTo>
                    <a:lnTo>
                      <a:pt x="493" y="505"/>
                    </a:lnTo>
                    <a:lnTo>
                      <a:pt x="493" y="509"/>
                    </a:lnTo>
                    <a:lnTo>
                      <a:pt x="491" y="511"/>
                    </a:lnTo>
                    <a:lnTo>
                      <a:pt x="491" y="513"/>
                    </a:lnTo>
                    <a:lnTo>
                      <a:pt x="491" y="515"/>
                    </a:lnTo>
                    <a:lnTo>
                      <a:pt x="489" y="517"/>
                    </a:lnTo>
                    <a:lnTo>
                      <a:pt x="489" y="519"/>
                    </a:lnTo>
                    <a:lnTo>
                      <a:pt x="487" y="517"/>
                    </a:lnTo>
                    <a:lnTo>
                      <a:pt x="483" y="517"/>
                    </a:lnTo>
                    <a:lnTo>
                      <a:pt x="482" y="517"/>
                    </a:lnTo>
                    <a:lnTo>
                      <a:pt x="480" y="519"/>
                    </a:lnTo>
                    <a:lnTo>
                      <a:pt x="478" y="519"/>
                    </a:lnTo>
                    <a:lnTo>
                      <a:pt x="478" y="523"/>
                    </a:lnTo>
                    <a:lnTo>
                      <a:pt x="478" y="524"/>
                    </a:lnTo>
                    <a:lnTo>
                      <a:pt x="478" y="526"/>
                    </a:lnTo>
                    <a:lnTo>
                      <a:pt x="478" y="528"/>
                    </a:lnTo>
                    <a:lnTo>
                      <a:pt x="478" y="530"/>
                    </a:lnTo>
                    <a:lnTo>
                      <a:pt x="480" y="532"/>
                    </a:lnTo>
                    <a:lnTo>
                      <a:pt x="480" y="534"/>
                    </a:lnTo>
                    <a:lnTo>
                      <a:pt x="480" y="536"/>
                    </a:lnTo>
                    <a:lnTo>
                      <a:pt x="480" y="538"/>
                    </a:lnTo>
                    <a:lnTo>
                      <a:pt x="482" y="538"/>
                    </a:lnTo>
                    <a:lnTo>
                      <a:pt x="482" y="540"/>
                    </a:lnTo>
                    <a:lnTo>
                      <a:pt x="483" y="540"/>
                    </a:lnTo>
                    <a:lnTo>
                      <a:pt x="487" y="542"/>
                    </a:lnTo>
                    <a:lnTo>
                      <a:pt x="487" y="544"/>
                    </a:lnTo>
                    <a:lnTo>
                      <a:pt x="489" y="546"/>
                    </a:lnTo>
                    <a:lnTo>
                      <a:pt x="491" y="546"/>
                    </a:lnTo>
                    <a:lnTo>
                      <a:pt x="489" y="547"/>
                    </a:lnTo>
                    <a:lnTo>
                      <a:pt x="489" y="549"/>
                    </a:lnTo>
                    <a:lnTo>
                      <a:pt x="487" y="549"/>
                    </a:lnTo>
                    <a:lnTo>
                      <a:pt x="485" y="549"/>
                    </a:lnTo>
                    <a:lnTo>
                      <a:pt x="483" y="549"/>
                    </a:lnTo>
                    <a:lnTo>
                      <a:pt x="482" y="549"/>
                    </a:lnTo>
                    <a:lnTo>
                      <a:pt x="482" y="551"/>
                    </a:lnTo>
                    <a:lnTo>
                      <a:pt x="482" y="553"/>
                    </a:lnTo>
                    <a:lnTo>
                      <a:pt x="480" y="553"/>
                    </a:lnTo>
                    <a:lnTo>
                      <a:pt x="480" y="555"/>
                    </a:lnTo>
                    <a:lnTo>
                      <a:pt x="480" y="553"/>
                    </a:lnTo>
                    <a:lnTo>
                      <a:pt x="478" y="553"/>
                    </a:lnTo>
                    <a:lnTo>
                      <a:pt x="476" y="555"/>
                    </a:lnTo>
                    <a:lnTo>
                      <a:pt x="478" y="555"/>
                    </a:lnTo>
                    <a:lnTo>
                      <a:pt x="478" y="557"/>
                    </a:lnTo>
                    <a:lnTo>
                      <a:pt x="476" y="559"/>
                    </a:lnTo>
                    <a:lnTo>
                      <a:pt x="476" y="561"/>
                    </a:lnTo>
                    <a:lnTo>
                      <a:pt x="478" y="561"/>
                    </a:lnTo>
                    <a:lnTo>
                      <a:pt x="478" y="563"/>
                    </a:lnTo>
                    <a:lnTo>
                      <a:pt x="476" y="563"/>
                    </a:lnTo>
                    <a:lnTo>
                      <a:pt x="476" y="565"/>
                    </a:lnTo>
                    <a:lnTo>
                      <a:pt x="474" y="567"/>
                    </a:lnTo>
                    <a:lnTo>
                      <a:pt x="474" y="569"/>
                    </a:lnTo>
                    <a:lnTo>
                      <a:pt x="472" y="569"/>
                    </a:lnTo>
                    <a:lnTo>
                      <a:pt x="470" y="570"/>
                    </a:lnTo>
                    <a:lnTo>
                      <a:pt x="470" y="572"/>
                    </a:lnTo>
                    <a:lnTo>
                      <a:pt x="470" y="574"/>
                    </a:lnTo>
                    <a:lnTo>
                      <a:pt x="470" y="572"/>
                    </a:lnTo>
                    <a:lnTo>
                      <a:pt x="468" y="572"/>
                    </a:lnTo>
                    <a:lnTo>
                      <a:pt x="466" y="570"/>
                    </a:lnTo>
                    <a:lnTo>
                      <a:pt x="466" y="567"/>
                    </a:lnTo>
                    <a:lnTo>
                      <a:pt x="464" y="567"/>
                    </a:lnTo>
                    <a:lnTo>
                      <a:pt x="460" y="569"/>
                    </a:lnTo>
                    <a:lnTo>
                      <a:pt x="460" y="570"/>
                    </a:lnTo>
                    <a:lnTo>
                      <a:pt x="458" y="570"/>
                    </a:lnTo>
                    <a:lnTo>
                      <a:pt x="457" y="569"/>
                    </a:lnTo>
                    <a:lnTo>
                      <a:pt x="455" y="569"/>
                    </a:lnTo>
                    <a:lnTo>
                      <a:pt x="449" y="567"/>
                    </a:lnTo>
                    <a:lnTo>
                      <a:pt x="449" y="569"/>
                    </a:lnTo>
                    <a:lnTo>
                      <a:pt x="447" y="570"/>
                    </a:lnTo>
                    <a:lnTo>
                      <a:pt x="447" y="572"/>
                    </a:lnTo>
                    <a:lnTo>
                      <a:pt x="447" y="574"/>
                    </a:lnTo>
                    <a:lnTo>
                      <a:pt x="445" y="576"/>
                    </a:lnTo>
                    <a:lnTo>
                      <a:pt x="445" y="578"/>
                    </a:lnTo>
                    <a:lnTo>
                      <a:pt x="447" y="580"/>
                    </a:lnTo>
                    <a:lnTo>
                      <a:pt x="447" y="582"/>
                    </a:lnTo>
                    <a:lnTo>
                      <a:pt x="449" y="582"/>
                    </a:lnTo>
                    <a:lnTo>
                      <a:pt x="451" y="580"/>
                    </a:lnTo>
                    <a:lnTo>
                      <a:pt x="453" y="580"/>
                    </a:lnTo>
                    <a:lnTo>
                      <a:pt x="455" y="580"/>
                    </a:lnTo>
                    <a:lnTo>
                      <a:pt x="455" y="578"/>
                    </a:lnTo>
                    <a:lnTo>
                      <a:pt x="457" y="578"/>
                    </a:lnTo>
                    <a:lnTo>
                      <a:pt x="458" y="578"/>
                    </a:lnTo>
                    <a:lnTo>
                      <a:pt x="458" y="580"/>
                    </a:lnTo>
                    <a:lnTo>
                      <a:pt x="462" y="582"/>
                    </a:lnTo>
                    <a:lnTo>
                      <a:pt x="462" y="584"/>
                    </a:lnTo>
                    <a:lnTo>
                      <a:pt x="462" y="586"/>
                    </a:lnTo>
                    <a:lnTo>
                      <a:pt x="460" y="588"/>
                    </a:lnTo>
                    <a:lnTo>
                      <a:pt x="458" y="586"/>
                    </a:lnTo>
                    <a:lnTo>
                      <a:pt x="458" y="588"/>
                    </a:lnTo>
                    <a:lnTo>
                      <a:pt x="458" y="590"/>
                    </a:lnTo>
                    <a:lnTo>
                      <a:pt x="458" y="592"/>
                    </a:lnTo>
                    <a:lnTo>
                      <a:pt x="458" y="594"/>
                    </a:lnTo>
                    <a:lnTo>
                      <a:pt x="457" y="595"/>
                    </a:lnTo>
                    <a:lnTo>
                      <a:pt x="457" y="594"/>
                    </a:lnTo>
                    <a:lnTo>
                      <a:pt x="455" y="595"/>
                    </a:lnTo>
                    <a:lnTo>
                      <a:pt x="455" y="597"/>
                    </a:lnTo>
                    <a:lnTo>
                      <a:pt x="455" y="599"/>
                    </a:lnTo>
                    <a:lnTo>
                      <a:pt x="453" y="599"/>
                    </a:lnTo>
                    <a:lnTo>
                      <a:pt x="455" y="601"/>
                    </a:lnTo>
                    <a:lnTo>
                      <a:pt x="455" y="603"/>
                    </a:lnTo>
                    <a:lnTo>
                      <a:pt x="457" y="603"/>
                    </a:lnTo>
                    <a:lnTo>
                      <a:pt x="458" y="603"/>
                    </a:lnTo>
                    <a:lnTo>
                      <a:pt x="458" y="605"/>
                    </a:lnTo>
                    <a:lnTo>
                      <a:pt x="460" y="605"/>
                    </a:lnTo>
                    <a:lnTo>
                      <a:pt x="462" y="605"/>
                    </a:lnTo>
                    <a:lnTo>
                      <a:pt x="464" y="605"/>
                    </a:lnTo>
                    <a:lnTo>
                      <a:pt x="464" y="607"/>
                    </a:lnTo>
                    <a:lnTo>
                      <a:pt x="466" y="607"/>
                    </a:lnTo>
                    <a:lnTo>
                      <a:pt x="468" y="607"/>
                    </a:lnTo>
                    <a:lnTo>
                      <a:pt x="470" y="609"/>
                    </a:lnTo>
                    <a:lnTo>
                      <a:pt x="472" y="609"/>
                    </a:lnTo>
                    <a:lnTo>
                      <a:pt x="472" y="607"/>
                    </a:lnTo>
                    <a:lnTo>
                      <a:pt x="474" y="607"/>
                    </a:lnTo>
                    <a:lnTo>
                      <a:pt x="476" y="607"/>
                    </a:lnTo>
                    <a:lnTo>
                      <a:pt x="478" y="607"/>
                    </a:lnTo>
                    <a:lnTo>
                      <a:pt x="480" y="609"/>
                    </a:lnTo>
                    <a:lnTo>
                      <a:pt x="482" y="609"/>
                    </a:lnTo>
                    <a:lnTo>
                      <a:pt x="482" y="611"/>
                    </a:lnTo>
                    <a:lnTo>
                      <a:pt x="480" y="613"/>
                    </a:lnTo>
                    <a:lnTo>
                      <a:pt x="480" y="615"/>
                    </a:lnTo>
                    <a:lnTo>
                      <a:pt x="478" y="615"/>
                    </a:lnTo>
                    <a:lnTo>
                      <a:pt x="478" y="617"/>
                    </a:lnTo>
                    <a:lnTo>
                      <a:pt x="480" y="617"/>
                    </a:lnTo>
                    <a:lnTo>
                      <a:pt x="478" y="618"/>
                    </a:lnTo>
                    <a:lnTo>
                      <a:pt x="476" y="618"/>
                    </a:lnTo>
                    <a:lnTo>
                      <a:pt x="476" y="620"/>
                    </a:lnTo>
                    <a:lnTo>
                      <a:pt x="476" y="622"/>
                    </a:lnTo>
                    <a:lnTo>
                      <a:pt x="476" y="624"/>
                    </a:lnTo>
                    <a:lnTo>
                      <a:pt x="474" y="624"/>
                    </a:lnTo>
                    <a:lnTo>
                      <a:pt x="474" y="626"/>
                    </a:lnTo>
                    <a:lnTo>
                      <a:pt x="474" y="628"/>
                    </a:lnTo>
                    <a:lnTo>
                      <a:pt x="474" y="630"/>
                    </a:lnTo>
                    <a:lnTo>
                      <a:pt x="474" y="632"/>
                    </a:lnTo>
                    <a:lnTo>
                      <a:pt x="472" y="632"/>
                    </a:lnTo>
                    <a:lnTo>
                      <a:pt x="472" y="634"/>
                    </a:lnTo>
                    <a:lnTo>
                      <a:pt x="470" y="634"/>
                    </a:lnTo>
                    <a:lnTo>
                      <a:pt x="468" y="634"/>
                    </a:lnTo>
                    <a:lnTo>
                      <a:pt x="468" y="632"/>
                    </a:lnTo>
                    <a:lnTo>
                      <a:pt x="466" y="632"/>
                    </a:lnTo>
                    <a:lnTo>
                      <a:pt x="466" y="630"/>
                    </a:lnTo>
                    <a:lnTo>
                      <a:pt x="464" y="630"/>
                    </a:lnTo>
                    <a:lnTo>
                      <a:pt x="464" y="628"/>
                    </a:lnTo>
                    <a:lnTo>
                      <a:pt x="462" y="628"/>
                    </a:lnTo>
                    <a:lnTo>
                      <a:pt x="462" y="626"/>
                    </a:lnTo>
                    <a:lnTo>
                      <a:pt x="460" y="624"/>
                    </a:lnTo>
                    <a:lnTo>
                      <a:pt x="460" y="622"/>
                    </a:lnTo>
                    <a:lnTo>
                      <a:pt x="458" y="622"/>
                    </a:lnTo>
                    <a:lnTo>
                      <a:pt x="457" y="622"/>
                    </a:lnTo>
                    <a:lnTo>
                      <a:pt x="455" y="622"/>
                    </a:lnTo>
                    <a:lnTo>
                      <a:pt x="453" y="622"/>
                    </a:lnTo>
                    <a:lnTo>
                      <a:pt x="453" y="624"/>
                    </a:lnTo>
                    <a:lnTo>
                      <a:pt x="451" y="624"/>
                    </a:lnTo>
                    <a:lnTo>
                      <a:pt x="449" y="624"/>
                    </a:lnTo>
                    <a:lnTo>
                      <a:pt x="447" y="624"/>
                    </a:lnTo>
                    <a:lnTo>
                      <a:pt x="445" y="624"/>
                    </a:lnTo>
                    <a:lnTo>
                      <a:pt x="443" y="626"/>
                    </a:lnTo>
                    <a:lnTo>
                      <a:pt x="441" y="626"/>
                    </a:lnTo>
                    <a:lnTo>
                      <a:pt x="439" y="626"/>
                    </a:lnTo>
                    <a:lnTo>
                      <a:pt x="437" y="626"/>
                    </a:lnTo>
                    <a:lnTo>
                      <a:pt x="435" y="626"/>
                    </a:lnTo>
                    <a:lnTo>
                      <a:pt x="435" y="628"/>
                    </a:lnTo>
                    <a:lnTo>
                      <a:pt x="434" y="628"/>
                    </a:lnTo>
                    <a:lnTo>
                      <a:pt x="432" y="626"/>
                    </a:lnTo>
                    <a:lnTo>
                      <a:pt x="430" y="626"/>
                    </a:lnTo>
                    <a:lnTo>
                      <a:pt x="430" y="628"/>
                    </a:lnTo>
                    <a:lnTo>
                      <a:pt x="426" y="628"/>
                    </a:lnTo>
                    <a:lnTo>
                      <a:pt x="426" y="630"/>
                    </a:lnTo>
                    <a:lnTo>
                      <a:pt x="424" y="630"/>
                    </a:lnTo>
                    <a:lnTo>
                      <a:pt x="422" y="630"/>
                    </a:lnTo>
                    <a:lnTo>
                      <a:pt x="422" y="632"/>
                    </a:lnTo>
                    <a:lnTo>
                      <a:pt x="420" y="632"/>
                    </a:lnTo>
                    <a:lnTo>
                      <a:pt x="418" y="632"/>
                    </a:lnTo>
                    <a:lnTo>
                      <a:pt x="416" y="634"/>
                    </a:lnTo>
                    <a:lnTo>
                      <a:pt x="414" y="634"/>
                    </a:lnTo>
                    <a:lnTo>
                      <a:pt x="412" y="634"/>
                    </a:lnTo>
                    <a:lnTo>
                      <a:pt x="412" y="632"/>
                    </a:lnTo>
                    <a:lnTo>
                      <a:pt x="410" y="632"/>
                    </a:lnTo>
                    <a:lnTo>
                      <a:pt x="410" y="630"/>
                    </a:lnTo>
                    <a:lnTo>
                      <a:pt x="409" y="630"/>
                    </a:lnTo>
                    <a:lnTo>
                      <a:pt x="409" y="632"/>
                    </a:lnTo>
                    <a:lnTo>
                      <a:pt x="407" y="634"/>
                    </a:lnTo>
                    <a:lnTo>
                      <a:pt x="405" y="634"/>
                    </a:lnTo>
                    <a:lnTo>
                      <a:pt x="403" y="634"/>
                    </a:lnTo>
                    <a:lnTo>
                      <a:pt x="403" y="632"/>
                    </a:lnTo>
                    <a:lnTo>
                      <a:pt x="401" y="632"/>
                    </a:lnTo>
                    <a:lnTo>
                      <a:pt x="399" y="632"/>
                    </a:lnTo>
                    <a:lnTo>
                      <a:pt x="399" y="630"/>
                    </a:lnTo>
                    <a:lnTo>
                      <a:pt x="397" y="632"/>
                    </a:lnTo>
                    <a:lnTo>
                      <a:pt x="397" y="634"/>
                    </a:lnTo>
                    <a:lnTo>
                      <a:pt x="395" y="636"/>
                    </a:lnTo>
                    <a:lnTo>
                      <a:pt x="395" y="638"/>
                    </a:lnTo>
                    <a:lnTo>
                      <a:pt x="393" y="638"/>
                    </a:lnTo>
                    <a:lnTo>
                      <a:pt x="393" y="636"/>
                    </a:lnTo>
                    <a:lnTo>
                      <a:pt x="391" y="636"/>
                    </a:lnTo>
                    <a:lnTo>
                      <a:pt x="391" y="634"/>
                    </a:lnTo>
                    <a:lnTo>
                      <a:pt x="391" y="632"/>
                    </a:lnTo>
                    <a:lnTo>
                      <a:pt x="389" y="632"/>
                    </a:lnTo>
                    <a:lnTo>
                      <a:pt x="389" y="630"/>
                    </a:lnTo>
                    <a:lnTo>
                      <a:pt x="387" y="630"/>
                    </a:lnTo>
                    <a:lnTo>
                      <a:pt x="386" y="630"/>
                    </a:lnTo>
                    <a:lnTo>
                      <a:pt x="384" y="630"/>
                    </a:lnTo>
                    <a:lnTo>
                      <a:pt x="382" y="628"/>
                    </a:lnTo>
                    <a:lnTo>
                      <a:pt x="380" y="628"/>
                    </a:lnTo>
                    <a:lnTo>
                      <a:pt x="380" y="626"/>
                    </a:lnTo>
                    <a:lnTo>
                      <a:pt x="378" y="626"/>
                    </a:lnTo>
                    <a:lnTo>
                      <a:pt x="376" y="624"/>
                    </a:lnTo>
                    <a:lnTo>
                      <a:pt x="374" y="624"/>
                    </a:lnTo>
                    <a:lnTo>
                      <a:pt x="372" y="624"/>
                    </a:lnTo>
                    <a:lnTo>
                      <a:pt x="370" y="624"/>
                    </a:lnTo>
                    <a:lnTo>
                      <a:pt x="368" y="624"/>
                    </a:lnTo>
                    <a:lnTo>
                      <a:pt x="368" y="622"/>
                    </a:lnTo>
                    <a:lnTo>
                      <a:pt x="366" y="624"/>
                    </a:lnTo>
                    <a:lnTo>
                      <a:pt x="366" y="626"/>
                    </a:lnTo>
                    <a:lnTo>
                      <a:pt x="364" y="626"/>
                    </a:lnTo>
                    <a:lnTo>
                      <a:pt x="364" y="628"/>
                    </a:lnTo>
                    <a:lnTo>
                      <a:pt x="362" y="628"/>
                    </a:lnTo>
                    <a:lnTo>
                      <a:pt x="362" y="630"/>
                    </a:lnTo>
                    <a:lnTo>
                      <a:pt x="361" y="630"/>
                    </a:lnTo>
                    <a:lnTo>
                      <a:pt x="359" y="630"/>
                    </a:lnTo>
                    <a:lnTo>
                      <a:pt x="359" y="632"/>
                    </a:lnTo>
                    <a:lnTo>
                      <a:pt x="357" y="632"/>
                    </a:lnTo>
                    <a:lnTo>
                      <a:pt x="357" y="634"/>
                    </a:lnTo>
                    <a:lnTo>
                      <a:pt x="355" y="634"/>
                    </a:lnTo>
                    <a:lnTo>
                      <a:pt x="353" y="634"/>
                    </a:lnTo>
                    <a:lnTo>
                      <a:pt x="353" y="632"/>
                    </a:lnTo>
                    <a:lnTo>
                      <a:pt x="353" y="630"/>
                    </a:lnTo>
                    <a:lnTo>
                      <a:pt x="353" y="628"/>
                    </a:lnTo>
                    <a:lnTo>
                      <a:pt x="351" y="628"/>
                    </a:lnTo>
                    <a:lnTo>
                      <a:pt x="351" y="626"/>
                    </a:lnTo>
                    <a:lnTo>
                      <a:pt x="349" y="626"/>
                    </a:lnTo>
                    <a:lnTo>
                      <a:pt x="347" y="624"/>
                    </a:lnTo>
                    <a:lnTo>
                      <a:pt x="345" y="622"/>
                    </a:lnTo>
                    <a:lnTo>
                      <a:pt x="343" y="622"/>
                    </a:lnTo>
                    <a:lnTo>
                      <a:pt x="343" y="620"/>
                    </a:lnTo>
                    <a:lnTo>
                      <a:pt x="343" y="622"/>
                    </a:lnTo>
                    <a:lnTo>
                      <a:pt x="341" y="622"/>
                    </a:lnTo>
                    <a:lnTo>
                      <a:pt x="339" y="624"/>
                    </a:lnTo>
                    <a:lnTo>
                      <a:pt x="338" y="624"/>
                    </a:lnTo>
                    <a:lnTo>
                      <a:pt x="336" y="624"/>
                    </a:lnTo>
                    <a:lnTo>
                      <a:pt x="336" y="626"/>
                    </a:lnTo>
                    <a:lnTo>
                      <a:pt x="334" y="626"/>
                    </a:lnTo>
                    <a:lnTo>
                      <a:pt x="332" y="626"/>
                    </a:lnTo>
                    <a:lnTo>
                      <a:pt x="332" y="628"/>
                    </a:lnTo>
                    <a:lnTo>
                      <a:pt x="330" y="628"/>
                    </a:lnTo>
                    <a:lnTo>
                      <a:pt x="328" y="630"/>
                    </a:lnTo>
                    <a:lnTo>
                      <a:pt x="326" y="630"/>
                    </a:lnTo>
                    <a:lnTo>
                      <a:pt x="324" y="632"/>
                    </a:lnTo>
                    <a:lnTo>
                      <a:pt x="324" y="634"/>
                    </a:lnTo>
                    <a:lnTo>
                      <a:pt x="322" y="634"/>
                    </a:lnTo>
                    <a:lnTo>
                      <a:pt x="320" y="634"/>
                    </a:lnTo>
                    <a:lnTo>
                      <a:pt x="318" y="630"/>
                    </a:lnTo>
                    <a:lnTo>
                      <a:pt x="316" y="630"/>
                    </a:lnTo>
                    <a:lnTo>
                      <a:pt x="314" y="630"/>
                    </a:lnTo>
                    <a:lnTo>
                      <a:pt x="313" y="628"/>
                    </a:lnTo>
                    <a:lnTo>
                      <a:pt x="309" y="626"/>
                    </a:lnTo>
                    <a:lnTo>
                      <a:pt x="307" y="626"/>
                    </a:lnTo>
                    <a:lnTo>
                      <a:pt x="305" y="626"/>
                    </a:lnTo>
                    <a:lnTo>
                      <a:pt x="305" y="624"/>
                    </a:lnTo>
                    <a:lnTo>
                      <a:pt x="303" y="624"/>
                    </a:lnTo>
                    <a:lnTo>
                      <a:pt x="301" y="624"/>
                    </a:lnTo>
                    <a:lnTo>
                      <a:pt x="301" y="626"/>
                    </a:lnTo>
                    <a:lnTo>
                      <a:pt x="299" y="626"/>
                    </a:lnTo>
                    <a:lnTo>
                      <a:pt x="297" y="624"/>
                    </a:lnTo>
                    <a:lnTo>
                      <a:pt x="295" y="624"/>
                    </a:lnTo>
                    <a:lnTo>
                      <a:pt x="295" y="626"/>
                    </a:lnTo>
                    <a:lnTo>
                      <a:pt x="293" y="626"/>
                    </a:lnTo>
                    <a:lnTo>
                      <a:pt x="293" y="624"/>
                    </a:lnTo>
                    <a:lnTo>
                      <a:pt x="293" y="622"/>
                    </a:lnTo>
                    <a:lnTo>
                      <a:pt x="291" y="622"/>
                    </a:lnTo>
                    <a:lnTo>
                      <a:pt x="291" y="620"/>
                    </a:lnTo>
                    <a:lnTo>
                      <a:pt x="289" y="618"/>
                    </a:lnTo>
                    <a:lnTo>
                      <a:pt x="289" y="620"/>
                    </a:lnTo>
                    <a:lnTo>
                      <a:pt x="288" y="620"/>
                    </a:lnTo>
                    <a:lnTo>
                      <a:pt x="288" y="618"/>
                    </a:lnTo>
                    <a:lnTo>
                      <a:pt x="286" y="618"/>
                    </a:lnTo>
                    <a:lnTo>
                      <a:pt x="284" y="617"/>
                    </a:lnTo>
                    <a:lnTo>
                      <a:pt x="282" y="615"/>
                    </a:lnTo>
                    <a:lnTo>
                      <a:pt x="282" y="617"/>
                    </a:lnTo>
                    <a:lnTo>
                      <a:pt x="282" y="618"/>
                    </a:lnTo>
                    <a:lnTo>
                      <a:pt x="280" y="618"/>
                    </a:lnTo>
                    <a:lnTo>
                      <a:pt x="280" y="620"/>
                    </a:lnTo>
                    <a:lnTo>
                      <a:pt x="278" y="620"/>
                    </a:lnTo>
                    <a:lnTo>
                      <a:pt x="276" y="620"/>
                    </a:lnTo>
                    <a:lnTo>
                      <a:pt x="276" y="622"/>
                    </a:lnTo>
                    <a:lnTo>
                      <a:pt x="274" y="624"/>
                    </a:lnTo>
                    <a:lnTo>
                      <a:pt x="272" y="626"/>
                    </a:lnTo>
                    <a:lnTo>
                      <a:pt x="270" y="626"/>
                    </a:lnTo>
                    <a:lnTo>
                      <a:pt x="268" y="622"/>
                    </a:lnTo>
                    <a:lnTo>
                      <a:pt x="268" y="624"/>
                    </a:lnTo>
                    <a:lnTo>
                      <a:pt x="266" y="624"/>
                    </a:lnTo>
                    <a:lnTo>
                      <a:pt x="266" y="622"/>
                    </a:lnTo>
                    <a:lnTo>
                      <a:pt x="265" y="622"/>
                    </a:lnTo>
                    <a:lnTo>
                      <a:pt x="265" y="624"/>
                    </a:lnTo>
                    <a:lnTo>
                      <a:pt x="263" y="624"/>
                    </a:lnTo>
                    <a:lnTo>
                      <a:pt x="261" y="626"/>
                    </a:lnTo>
                    <a:lnTo>
                      <a:pt x="261" y="628"/>
                    </a:lnTo>
                    <a:lnTo>
                      <a:pt x="259" y="630"/>
                    </a:lnTo>
                    <a:lnTo>
                      <a:pt x="259" y="632"/>
                    </a:lnTo>
                    <a:lnTo>
                      <a:pt x="257" y="632"/>
                    </a:lnTo>
                    <a:lnTo>
                      <a:pt x="257" y="634"/>
                    </a:lnTo>
                    <a:lnTo>
                      <a:pt x="259" y="634"/>
                    </a:lnTo>
                    <a:lnTo>
                      <a:pt x="259" y="636"/>
                    </a:lnTo>
                    <a:lnTo>
                      <a:pt x="257" y="638"/>
                    </a:lnTo>
                    <a:lnTo>
                      <a:pt x="257" y="640"/>
                    </a:lnTo>
                    <a:lnTo>
                      <a:pt x="255" y="640"/>
                    </a:lnTo>
                    <a:lnTo>
                      <a:pt x="255" y="642"/>
                    </a:lnTo>
                    <a:lnTo>
                      <a:pt x="255" y="643"/>
                    </a:lnTo>
                    <a:lnTo>
                      <a:pt x="255" y="645"/>
                    </a:lnTo>
                    <a:lnTo>
                      <a:pt x="253" y="645"/>
                    </a:lnTo>
                    <a:lnTo>
                      <a:pt x="253" y="647"/>
                    </a:lnTo>
                    <a:lnTo>
                      <a:pt x="251" y="649"/>
                    </a:lnTo>
                    <a:lnTo>
                      <a:pt x="249" y="649"/>
                    </a:lnTo>
                    <a:lnTo>
                      <a:pt x="249" y="651"/>
                    </a:lnTo>
                    <a:lnTo>
                      <a:pt x="247" y="651"/>
                    </a:lnTo>
                    <a:lnTo>
                      <a:pt x="245" y="651"/>
                    </a:lnTo>
                    <a:lnTo>
                      <a:pt x="245" y="653"/>
                    </a:lnTo>
                    <a:lnTo>
                      <a:pt x="245" y="651"/>
                    </a:lnTo>
                    <a:lnTo>
                      <a:pt x="243" y="651"/>
                    </a:lnTo>
                    <a:lnTo>
                      <a:pt x="243" y="649"/>
                    </a:lnTo>
                    <a:lnTo>
                      <a:pt x="241" y="647"/>
                    </a:lnTo>
                    <a:lnTo>
                      <a:pt x="241" y="649"/>
                    </a:lnTo>
                    <a:lnTo>
                      <a:pt x="240" y="649"/>
                    </a:lnTo>
                    <a:lnTo>
                      <a:pt x="238" y="649"/>
                    </a:lnTo>
                    <a:lnTo>
                      <a:pt x="238" y="651"/>
                    </a:lnTo>
                    <a:lnTo>
                      <a:pt x="238" y="653"/>
                    </a:lnTo>
                    <a:lnTo>
                      <a:pt x="238" y="655"/>
                    </a:lnTo>
                    <a:lnTo>
                      <a:pt x="236" y="655"/>
                    </a:lnTo>
                    <a:lnTo>
                      <a:pt x="236" y="657"/>
                    </a:lnTo>
                    <a:lnTo>
                      <a:pt x="234" y="657"/>
                    </a:lnTo>
                    <a:lnTo>
                      <a:pt x="232" y="657"/>
                    </a:lnTo>
                    <a:lnTo>
                      <a:pt x="232" y="659"/>
                    </a:lnTo>
                    <a:lnTo>
                      <a:pt x="230" y="659"/>
                    </a:lnTo>
                    <a:lnTo>
                      <a:pt x="228" y="659"/>
                    </a:lnTo>
                    <a:lnTo>
                      <a:pt x="228" y="661"/>
                    </a:lnTo>
                    <a:lnTo>
                      <a:pt x="226" y="661"/>
                    </a:lnTo>
                    <a:lnTo>
                      <a:pt x="226" y="663"/>
                    </a:lnTo>
                    <a:lnTo>
                      <a:pt x="224" y="663"/>
                    </a:lnTo>
                    <a:lnTo>
                      <a:pt x="224" y="665"/>
                    </a:lnTo>
                    <a:lnTo>
                      <a:pt x="222" y="665"/>
                    </a:lnTo>
                    <a:lnTo>
                      <a:pt x="220" y="666"/>
                    </a:lnTo>
                    <a:lnTo>
                      <a:pt x="218" y="666"/>
                    </a:lnTo>
                    <a:lnTo>
                      <a:pt x="218" y="668"/>
                    </a:lnTo>
                    <a:lnTo>
                      <a:pt x="218" y="670"/>
                    </a:lnTo>
                    <a:lnTo>
                      <a:pt x="220" y="672"/>
                    </a:lnTo>
                    <a:lnTo>
                      <a:pt x="220" y="674"/>
                    </a:lnTo>
                    <a:lnTo>
                      <a:pt x="220" y="676"/>
                    </a:lnTo>
                    <a:lnTo>
                      <a:pt x="222" y="676"/>
                    </a:lnTo>
                    <a:lnTo>
                      <a:pt x="222" y="678"/>
                    </a:lnTo>
                    <a:lnTo>
                      <a:pt x="220" y="678"/>
                    </a:lnTo>
                    <a:lnTo>
                      <a:pt x="220" y="680"/>
                    </a:lnTo>
                    <a:lnTo>
                      <a:pt x="218" y="682"/>
                    </a:lnTo>
                    <a:lnTo>
                      <a:pt x="218" y="684"/>
                    </a:lnTo>
                    <a:lnTo>
                      <a:pt x="217" y="686"/>
                    </a:lnTo>
                    <a:lnTo>
                      <a:pt x="215" y="688"/>
                    </a:lnTo>
                    <a:lnTo>
                      <a:pt x="213" y="691"/>
                    </a:lnTo>
                    <a:lnTo>
                      <a:pt x="213" y="693"/>
                    </a:lnTo>
                    <a:lnTo>
                      <a:pt x="211" y="693"/>
                    </a:lnTo>
                    <a:lnTo>
                      <a:pt x="211" y="695"/>
                    </a:lnTo>
                    <a:lnTo>
                      <a:pt x="213" y="695"/>
                    </a:lnTo>
                    <a:lnTo>
                      <a:pt x="213" y="697"/>
                    </a:lnTo>
                    <a:lnTo>
                      <a:pt x="213" y="699"/>
                    </a:lnTo>
                    <a:lnTo>
                      <a:pt x="213" y="701"/>
                    </a:lnTo>
                    <a:lnTo>
                      <a:pt x="213" y="703"/>
                    </a:lnTo>
                    <a:lnTo>
                      <a:pt x="213" y="705"/>
                    </a:lnTo>
                    <a:lnTo>
                      <a:pt x="215" y="705"/>
                    </a:lnTo>
                    <a:lnTo>
                      <a:pt x="217" y="707"/>
                    </a:lnTo>
                    <a:lnTo>
                      <a:pt x="218" y="707"/>
                    </a:lnTo>
                    <a:lnTo>
                      <a:pt x="220" y="707"/>
                    </a:lnTo>
                    <a:lnTo>
                      <a:pt x="220" y="709"/>
                    </a:lnTo>
                    <a:lnTo>
                      <a:pt x="220" y="711"/>
                    </a:lnTo>
                    <a:lnTo>
                      <a:pt x="220" y="713"/>
                    </a:lnTo>
                    <a:lnTo>
                      <a:pt x="218" y="713"/>
                    </a:lnTo>
                    <a:lnTo>
                      <a:pt x="217" y="713"/>
                    </a:lnTo>
                    <a:lnTo>
                      <a:pt x="215" y="713"/>
                    </a:lnTo>
                    <a:lnTo>
                      <a:pt x="215" y="711"/>
                    </a:lnTo>
                    <a:lnTo>
                      <a:pt x="213" y="711"/>
                    </a:lnTo>
                    <a:lnTo>
                      <a:pt x="213" y="713"/>
                    </a:lnTo>
                    <a:lnTo>
                      <a:pt x="211" y="713"/>
                    </a:lnTo>
                    <a:lnTo>
                      <a:pt x="211" y="714"/>
                    </a:lnTo>
                    <a:lnTo>
                      <a:pt x="209" y="716"/>
                    </a:lnTo>
                    <a:lnTo>
                      <a:pt x="209" y="718"/>
                    </a:lnTo>
                    <a:lnTo>
                      <a:pt x="209" y="720"/>
                    </a:lnTo>
                    <a:lnTo>
                      <a:pt x="209" y="722"/>
                    </a:lnTo>
                    <a:lnTo>
                      <a:pt x="207" y="722"/>
                    </a:lnTo>
                    <a:lnTo>
                      <a:pt x="207" y="724"/>
                    </a:lnTo>
                    <a:lnTo>
                      <a:pt x="205" y="726"/>
                    </a:lnTo>
                    <a:lnTo>
                      <a:pt x="205" y="728"/>
                    </a:lnTo>
                    <a:lnTo>
                      <a:pt x="203" y="730"/>
                    </a:lnTo>
                    <a:lnTo>
                      <a:pt x="201" y="730"/>
                    </a:lnTo>
                    <a:lnTo>
                      <a:pt x="201" y="732"/>
                    </a:lnTo>
                    <a:lnTo>
                      <a:pt x="201" y="734"/>
                    </a:lnTo>
                    <a:lnTo>
                      <a:pt x="203" y="736"/>
                    </a:lnTo>
                    <a:lnTo>
                      <a:pt x="203" y="738"/>
                    </a:lnTo>
                    <a:lnTo>
                      <a:pt x="205" y="739"/>
                    </a:lnTo>
                    <a:lnTo>
                      <a:pt x="203" y="739"/>
                    </a:lnTo>
                    <a:lnTo>
                      <a:pt x="203" y="741"/>
                    </a:lnTo>
                    <a:lnTo>
                      <a:pt x="203" y="743"/>
                    </a:lnTo>
                    <a:lnTo>
                      <a:pt x="203" y="745"/>
                    </a:lnTo>
                    <a:lnTo>
                      <a:pt x="205" y="745"/>
                    </a:lnTo>
                    <a:lnTo>
                      <a:pt x="203" y="745"/>
                    </a:lnTo>
                    <a:lnTo>
                      <a:pt x="205" y="745"/>
                    </a:lnTo>
                    <a:lnTo>
                      <a:pt x="205" y="747"/>
                    </a:lnTo>
                    <a:lnTo>
                      <a:pt x="205" y="749"/>
                    </a:lnTo>
                    <a:lnTo>
                      <a:pt x="203" y="749"/>
                    </a:lnTo>
                    <a:lnTo>
                      <a:pt x="205" y="749"/>
                    </a:lnTo>
                    <a:lnTo>
                      <a:pt x="205" y="751"/>
                    </a:lnTo>
                    <a:lnTo>
                      <a:pt x="203" y="751"/>
                    </a:lnTo>
                    <a:lnTo>
                      <a:pt x="201" y="751"/>
                    </a:lnTo>
                    <a:lnTo>
                      <a:pt x="201" y="753"/>
                    </a:lnTo>
                    <a:lnTo>
                      <a:pt x="199" y="753"/>
                    </a:lnTo>
                    <a:lnTo>
                      <a:pt x="199" y="755"/>
                    </a:lnTo>
                    <a:lnTo>
                      <a:pt x="197" y="755"/>
                    </a:lnTo>
                    <a:lnTo>
                      <a:pt x="197" y="757"/>
                    </a:lnTo>
                    <a:lnTo>
                      <a:pt x="197" y="759"/>
                    </a:lnTo>
                    <a:lnTo>
                      <a:pt x="195" y="759"/>
                    </a:lnTo>
                    <a:lnTo>
                      <a:pt x="195" y="761"/>
                    </a:lnTo>
                    <a:lnTo>
                      <a:pt x="195" y="762"/>
                    </a:lnTo>
                    <a:lnTo>
                      <a:pt x="193" y="762"/>
                    </a:lnTo>
                    <a:lnTo>
                      <a:pt x="193" y="764"/>
                    </a:lnTo>
                    <a:lnTo>
                      <a:pt x="192" y="764"/>
                    </a:lnTo>
                    <a:lnTo>
                      <a:pt x="193" y="764"/>
                    </a:lnTo>
                    <a:lnTo>
                      <a:pt x="193" y="766"/>
                    </a:lnTo>
                    <a:lnTo>
                      <a:pt x="192" y="768"/>
                    </a:lnTo>
                    <a:lnTo>
                      <a:pt x="192" y="770"/>
                    </a:lnTo>
                    <a:lnTo>
                      <a:pt x="190" y="770"/>
                    </a:lnTo>
                    <a:lnTo>
                      <a:pt x="188" y="770"/>
                    </a:lnTo>
                    <a:lnTo>
                      <a:pt x="186" y="770"/>
                    </a:lnTo>
                    <a:lnTo>
                      <a:pt x="186" y="768"/>
                    </a:lnTo>
                    <a:lnTo>
                      <a:pt x="184" y="768"/>
                    </a:lnTo>
                    <a:lnTo>
                      <a:pt x="184" y="766"/>
                    </a:lnTo>
                    <a:lnTo>
                      <a:pt x="182" y="764"/>
                    </a:lnTo>
                    <a:lnTo>
                      <a:pt x="180" y="764"/>
                    </a:lnTo>
                    <a:lnTo>
                      <a:pt x="180" y="766"/>
                    </a:lnTo>
                    <a:lnTo>
                      <a:pt x="178" y="766"/>
                    </a:lnTo>
                    <a:lnTo>
                      <a:pt x="176" y="766"/>
                    </a:lnTo>
                    <a:lnTo>
                      <a:pt x="176" y="768"/>
                    </a:lnTo>
                    <a:lnTo>
                      <a:pt x="174" y="768"/>
                    </a:lnTo>
                    <a:lnTo>
                      <a:pt x="172" y="768"/>
                    </a:lnTo>
                    <a:lnTo>
                      <a:pt x="170" y="768"/>
                    </a:lnTo>
                    <a:lnTo>
                      <a:pt x="169" y="768"/>
                    </a:lnTo>
                    <a:lnTo>
                      <a:pt x="169" y="766"/>
                    </a:lnTo>
                    <a:lnTo>
                      <a:pt x="167" y="766"/>
                    </a:lnTo>
                    <a:lnTo>
                      <a:pt x="167" y="764"/>
                    </a:lnTo>
                    <a:lnTo>
                      <a:pt x="165" y="764"/>
                    </a:lnTo>
                    <a:lnTo>
                      <a:pt x="163" y="764"/>
                    </a:lnTo>
                    <a:lnTo>
                      <a:pt x="161" y="764"/>
                    </a:lnTo>
                    <a:lnTo>
                      <a:pt x="159" y="764"/>
                    </a:lnTo>
                    <a:lnTo>
                      <a:pt x="159" y="762"/>
                    </a:lnTo>
                    <a:lnTo>
                      <a:pt x="157" y="762"/>
                    </a:lnTo>
                    <a:lnTo>
                      <a:pt x="157" y="761"/>
                    </a:lnTo>
                    <a:lnTo>
                      <a:pt x="155" y="761"/>
                    </a:lnTo>
                    <a:lnTo>
                      <a:pt x="155" y="759"/>
                    </a:lnTo>
                    <a:lnTo>
                      <a:pt x="153" y="759"/>
                    </a:lnTo>
                    <a:lnTo>
                      <a:pt x="151" y="759"/>
                    </a:lnTo>
                    <a:lnTo>
                      <a:pt x="149" y="759"/>
                    </a:lnTo>
                    <a:lnTo>
                      <a:pt x="149" y="757"/>
                    </a:lnTo>
                    <a:lnTo>
                      <a:pt x="149" y="755"/>
                    </a:lnTo>
                    <a:lnTo>
                      <a:pt x="147" y="755"/>
                    </a:lnTo>
                    <a:lnTo>
                      <a:pt x="145" y="755"/>
                    </a:lnTo>
                    <a:lnTo>
                      <a:pt x="145" y="753"/>
                    </a:lnTo>
                    <a:lnTo>
                      <a:pt x="145" y="751"/>
                    </a:lnTo>
                    <a:lnTo>
                      <a:pt x="145" y="749"/>
                    </a:lnTo>
                    <a:lnTo>
                      <a:pt x="145" y="747"/>
                    </a:lnTo>
                    <a:lnTo>
                      <a:pt x="145" y="745"/>
                    </a:lnTo>
                    <a:lnTo>
                      <a:pt x="145" y="743"/>
                    </a:lnTo>
                    <a:lnTo>
                      <a:pt x="145" y="741"/>
                    </a:lnTo>
                    <a:lnTo>
                      <a:pt x="144" y="741"/>
                    </a:lnTo>
                    <a:lnTo>
                      <a:pt x="144" y="739"/>
                    </a:lnTo>
                    <a:lnTo>
                      <a:pt x="144" y="741"/>
                    </a:lnTo>
                    <a:lnTo>
                      <a:pt x="142" y="741"/>
                    </a:lnTo>
                    <a:lnTo>
                      <a:pt x="142" y="743"/>
                    </a:lnTo>
                    <a:lnTo>
                      <a:pt x="140" y="743"/>
                    </a:lnTo>
                    <a:lnTo>
                      <a:pt x="138" y="743"/>
                    </a:lnTo>
                    <a:lnTo>
                      <a:pt x="138" y="745"/>
                    </a:lnTo>
                    <a:lnTo>
                      <a:pt x="136" y="745"/>
                    </a:lnTo>
                    <a:lnTo>
                      <a:pt x="134" y="745"/>
                    </a:lnTo>
                    <a:lnTo>
                      <a:pt x="132" y="745"/>
                    </a:lnTo>
                    <a:lnTo>
                      <a:pt x="130" y="745"/>
                    </a:lnTo>
                    <a:lnTo>
                      <a:pt x="130" y="743"/>
                    </a:lnTo>
                    <a:lnTo>
                      <a:pt x="128" y="741"/>
                    </a:lnTo>
                    <a:lnTo>
                      <a:pt x="126" y="739"/>
                    </a:lnTo>
                    <a:lnTo>
                      <a:pt x="124" y="739"/>
                    </a:lnTo>
                    <a:lnTo>
                      <a:pt x="124" y="738"/>
                    </a:lnTo>
                    <a:lnTo>
                      <a:pt x="124" y="736"/>
                    </a:lnTo>
                    <a:lnTo>
                      <a:pt x="122" y="734"/>
                    </a:lnTo>
                    <a:lnTo>
                      <a:pt x="122" y="736"/>
                    </a:lnTo>
                    <a:lnTo>
                      <a:pt x="121" y="736"/>
                    </a:lnTo>
                    <a:lnTo>
                      <a:pt x="121" y="738"/>
                    </a:lnTo>
                    <a:lnTo>
                      <a:pt x="119" y="738"/>
                    </a:lnTo>
                    <a:lnTo>
                      <a:pt x="117" y="739"/>
                    </a:lnTo>
                    <a:lnTo>
                      <a:pt x="115" y="739"/>
                    </a:lnTo>
                    <a:lnTo>
                      <a:pt x="115" y="738"/>
                    </a:lnTo>
                    <a:lnTo>
                      <a:pt x="113" y="738"/>
                    </a:lnTo>
                    <a:lnTo>
                      <a:pt x="111" y="738"/>
                    </a:lnTo>
                    <a:lnTo>
                      <a:pt x="111" y="739"/>
                    </a:lnTo>
                    <a:lnTo>
                      <a:pt x="109" y="739"/>
                    </a:lnTo>
                    <a:lnTo>
                      <a:pt x="109" y="738"/>
                    </a:lnTo>
                    <a:lnTo>
                      <a:pt x="107" y="738"/>
                    </a:lnTo>
                    <a:lnTo>
                      <a:pt x="105" y="738"/>
                    </a:lnTo>
                    <a:lnTo>
                      <a:pt x="105" y="736"/>
                    </a:lnTo>
                    <a:lnTo>
                      <a:pt x="103" y="736"/>
                    </a:lnTo>
                    <a:lnTo>
                      <a:pt x="103" y="738"/>
                    </a:lnTo>
                    <a:lnTo>
                      <a:pt x="103" y="736"/>
                    </a:lnTo>
                    <a:lnTo>
                      <a:pt x="101" y="736"/>
                    </a:lnTo>
                    <a:lnTo>
                      <a:pt x="99" y="736"/>
                    </a:lnTo>
                    <a:lnTo>
                      <a:pt x="97" y="736"/>
                    </a:lnTo>
                    <a:lnTo>
                      <a:pt x="97" y="734"/>
                    </a:lnTo>
                    <a:lnTo>
                      <a:pt x="97" y="732"/>
                    </a:lnTo>
                    <a:lnTo>
                      <a:pt x="97" y="730"/>
                    </a:lnTo>
                    <a:lnTo>
                      <a:pt x="97" y="728"/>
                    </a:lnTo>
                    <a:lnTo>
                      <a:pt x="97" y="726"/>
                    </a:lnTo>
                    <a:lnTo>
                      <a:pt x="97" y="724"/>
                    </a:lnTo>
                    <a:lnTo>
                      <a:pt x="96" y="724"/>
                    </a:lnTo>
                    <a:lnTo>
                      <a:pt x="96" y="722"/>
                    </a:lnTo>
                    <a:lnTo>
                      <a:pt x="96" y="720"/>
                    </a:lnTo>
                    <a:lnTo>
                      <a:pt x="96" y="718"/>
                    </a:lnTo>
                    <a:lnTo>
                      <a:pt x="96" y="716"/>
                    </a:lnTo>
                    <a:lnTo>
                      <a:pt x="96" y="714"/>
                    </a:lnTo>
                    <a:lnTo>
                      <a:pt x="94" y="714"/>
                    </a:lnTo>
                    <a:lnTo>
                      <a:pt x="94" y="713"/>
                    </a:lnTo>
                    <a:lnTo>
                      <a:pt x="94" y="711"/>
                    </a:lnTo>
                    <a:lnTo>
                      <a:pt x="94" y="709"/>
                    </a:lnTo>
                    <a:lnTo>
                      <a:pt x="94" y="707"/>
                    </a:lnTo>
                    <a:lnTo>
                      <a:pt x="92" y="707"/>
                    </a:lnTo>
                    <a:lnTo>
                      <a:pt x="92" y="705"/>
                    </a:lnTo>
                    <a:lnTo>
                      <a:pt x="92" y="703"/>
                    </a:lnTo>
                    <a:lnTo>
                      <a:pt x="90" y="703"/>
                    </a:lnTo>
                    <a:lnTo>
                      <a:pt x="90" y="701"/>
                    </a:lnTo>
                    <a:lnTo>
                      <a:pt x="88" y="701"/>
                    </a:lnTo>
                    <a:lnTo>
                      <a:pt x="86" y="701"/>
                    </a:lnTo>
                    <a:lnTo>
                      <a:pt x="86" y="699"/>
                    </a:lnTo>
                    <a:lnTo>
                      <a:pt x="88" y="697"/>
                    </a:lnTo>
                    <a:lnTo>
                      <a:pt x="88" y="695"/>
                    </a:lnTo>
                    <a:lnTo>
                      <a:pt x="88" y="693"/>
                    </a:lnTo>
                    <a:lnTo>
                      <a:pt x="86" y="693"/>
                    </a:lnTo>
                    <a:lnTo>
                      <a:pt x="86" y="691"/>
                    </a:lnTo>
                    <a:lnTo>
                      <a:pt x="84" y="691"/>
                    </a:lnTo>
                    <a:lnTo>
                      <a:pt x="84" y="690"/>
                    </a:lnTo>
                    <a:lnTo>
                      <a:pt x="82" y="690"/>
                    </a:lnTo>
                    <a:lnTo>
                      <a:pt x="80" y="690"/>
                    </a:lnTo>
                    <a:lnTo>
                      <a:pt x="80" y="688"/>
                    </a:lnTo>
                    <a:lnTo>
                      <a:pt x="78" y="688"/>
                    </a:lnTo>
                    <a:lnTo>
                      <a:pt x="76" y="688"/>
                    </a:lnTo>
                    <a:lnTo>
                      <a:pt x="74" y="688"/>
                    </a:lnTo>
                    <a:lnTo>
                      <a:pt x="74" y="690"/>
                    </a:lnTo>
                    <a:lnTo>
                      <a:pt x="73" y="690"/>
                    </a:lnTo>
                    <a:lnTo>
                      <a:pt x="71" y="690"/>
                    </a:lnTo>
                    <a:lnTo>
                      <a:pt x="71" y="688"/>
                    </a:lnTo>
                    <a:lnTo>
                      <a:pt x="71" y="690"/>
                    </a:lnTo>
                    <a:lnTo>
                      <a:pt x="69" y="690"/>
                    </a:lnTo>
                    <a:lnTo>
                      <a:pt x="67" y="690"/>
                    </a:lnTo>
                    <a:lnTo>
                      <a:pt x="67" y="691"/>
                    </a:lnTo>
                    <a:lnTo>
                      <a:pt x="67" y="690"/>
                    </a:lnTo>
                    <a:lnTo>
                      <a:pt x="65" y="690"/>
                    </a:lnTo>
                    <a:lnTo>
                      <a:pt x="63" y="690"/>
                    </a:lnTo>
                    <a:lnTo>
                      <a:pt x="63" y="688"/>
                    </a:lnTo>
                    <a:lnTo>
                      <a:pt x="63" y="690"/>
                    </a:lnTo>
                    <a:lnTo>
                      <a:pt x="61" y="690"/>
                    </a:lnTo>
                    <a:lnTo>
                      <a:pt x="59" y="690"/>
                    </a:lnTo>
                    <a:lnTo>
                      <a:pt x="57" y="690"/>
                    </a:lnTo>
                    <a:lnTo>
                      <a:pt x="55" y="690"/>
                    </a:lnTo>
                    <a:lnTo>
                      <a:pt x="53" y="690"/>
                    </a:lnTo>
                    <a:lnTo>
                      <a:pt x="53" y="691"/>
                    </a:lnTo>
                    <a:lnTo>
                      <a:pt x="53" y="693"/>
                    </a:lnTo>
                    <a:lnTo>
                      <a:pt x="51" y="693"/>
                    </a:lnTo>
                    <a:lnTo>
                      <a:pt x="49" y="695"/>
                    </a:lnTo>
                    <a:lnTo>
                      <a:pt x="49" y="693"/>
                    </a:lnTo>
                    <a:lnTo>
                      <a:pt x="48" y="693"/>
                    </a:lnTo>
                    <a:lnTo>
                      <a:pt x="48" y="691"/>
                    </a:lnTo>
                    <a:lnTo>
                      <a:pt x="46" y="691"/>
                    </a:lnTo>
                    <a:lnTo>
                      <a:pt x="46" y="690"/>
                    </a:lnTo>
                    <a:lnTo>
                      <a:pt x="44" y="690"/>
                    </a:lnTo>
                    <a:lnTo>
                      <a:pt x="44" y="688"/>
                    </a:lnTo>
                    <a:lnTo>
                      <a:pt x="44" y="686"/>
                    </a:lnTo>
                    <a:lnTo>
                      <a:pt x="44" y="684"/>
                    </a:lnTo>
                    <a:lnTo>
                      <a:pt x="44" y="682"/>
                    </a:lnTo>
                    <a:lnTo>
                      <a:pt x="44" y="680"/>
                    </a:lnTo>
                    <a:lnTo>
                      <a:pt x="44" y="678"/>
                    </a:lnTo>
                    <a:lnTo>
                      <a:pt x="44" y="676"/>
                    </a:lnTo>
                    <a:lnTo>
                      <a:pt x="46" y="676"/>
                    </a:lnTo>
                    <a:lnTo>
                      <a:pt x="46" y="674"/>
                    </a:lnTo>
                    <a:lnTo>
                      <a:pt x="44" y="674"/>
                    </a:lnTo>
                    <a:lnTo>
                      <a:pt x="44" y="672"/>
                    </a:lnTo>
                    <a:lnTo>
                      <a:pt x="42" y="672"/>
                    </a:lnTo>
                    <a:lnTo>
                      <a:pt x="40" y="672"/>
                    </a:lnTo>
                    <a:lnTo>
                      <a:pt x="40" y="670"/>
                    </a:lnTo>
                    <a:lnTo>
                      <a:pt x="38" y="670"/>
                    </a:lnTo>
                    <a:lnTo>
                      <a:pt x="38" y="668"/>
                    </a:lnTo>
                    <a:lnTo>
                      <a:pt x="36" y="668"/>
                    </a:lnTo>
                    <a:lnTo>
                      <a:pt x="36" y="666"/>
                    </a:lnTo>
                    <a:lnTo>
                      <a:pt x="34" y="666"/>
                    </a:lnTo>
                    <a:lnTo>
                      <a:pt x="34" y="665"/>
                    </a:lnTo>
                    <a:lnTo>
                      <a:pt x="32" y="663"/>
                    </a:lnTo>
                    <a:lnTo>
                      <a:pt x="30" y="661"/>
                    </a:lnTo>
                    <a:lnTo>
                      <a:pt x="30" y="659"/>
                    </a:lnTo>
                    <a:lnTo>
                      <a:pt x="28" y="659"/>
                    </a:lnTo>
                    <a:lnTo>
                      <a:pt x="28" y="657"/>
                    </a:lnTo>
                    <a:lnTo>
                      <a:pt x="26" y="657"/>
                    </a:lnTo>
                    <a:lnTo>
                      <a:pt x="26" y="655"/>
                    </a:lnTo>
                    <a:lnTo>
                      <a:pt x="26" y="653"/>
                    </a:lnTo>
                    <a:lnTo>
                      <a:pt x="26" y="651"/>
                    </a:lnTo>
                    <a:lnTo>
                      <a:pt x="26" y="649"/>
                    </a:lnTo>
                    <a:lnTo>
                      <a:pt x="26" y="647"/>
                    </a:lnTo>
                    <a:lnTo>
                      <a:pt x="24" y="645"/>
                    </a:lnTo>
                    <a:lnTo>
                      <a:pt x="24" y="643"/>
                    </a:lnTo>
                    <a:lnTo>
                      <a:pt x="24" y="642"/>
                    </a:lnTo>
                    <a:lnTo>
                      <a:pt x="24" y="640"/>
                    </a:lnTo>
                    <a:lnTo>
                      <a:pt x="24" y="638"/>
                    </a:lnTo>
                    <a:lnTo>
                      <a:pt x="24" y="636"/>
                    </a:lnTo>
                    <a:lnTo>
                      <a:pt x="24" y="634"/>
                    </a:lnTo>
                    <a:lnTo>
                      <a:pt x="26" y="634"/>
                    </a:lnTo>
                    <a:lnTo>
                      <a:pt x="28" y="634"/>
                    </a:lnTo>
                    <a:lnTo>
                      <a:pt x="30" y="634"/>
                    </a:lnTo>
                    <a:lnTo>
                      <a:pt x="30" y="632"/>
                    </a:lnTo>
                    <a:lnTo>
                      <a:pt x="32" y="632"/>
                    </a:lnTo>
                    <a:lnTo>
                      <a:pt x="34" y="632"/>
                    </a:lnTo>
                    <a:lnTo>
                      <a:pt x="34" y="630"/>
                    </a:lnTo>
                    <a:lnTo>
                      <a:pt x="36" y="632"/>
                    </a:lnTo>
                    <a:lnTo>
                      <a:pt x="38" y="632"/>
                    </a:lnTo>
                    <a:lnTo>
                      <a:pt x="40" y="632"/>
                    </a:lnTo>
                    <a:lnTo>
                      <a:pt x="40" y="630"/>
                    </a:lnTo>
                    <a:lnTo>
                      <a:pt x="40" y="628"/>
                    </a:lnTo>
                    <a:lnTo>
                      <a:pt x="40" y="626"/>
                    </a:lnTo>
                    <a:lnTo>
                      <a:pt x="40" y="624"/>
                    </a:lnTo>
                    <a:lnTo>
                      <a:pt x="40" y="622"/>
                    </a:lnTo>
                    <a:lnTo>
                      <a:pt x="40" y="620"/>
                    </a:lnTo>
                    <a:lnTo>
                      <a:pt x="38" y="620"/>
                    </a:lnTo>
                    <a:lnTo>
                      <a:pt x="38" y="618"/>
                    </a:lnTo>
                    <a:lnTo>
                      <a:pt x="38" y="617"/>
                    </a:lnTo>
                    <a:lnTo>
                      <a:pt x="36" y="617"/>
                    </a:lnTo>
                    <a:lnTo>
                      <a:pt x="36" y="615"/>
                    </a:lnTo>
                    <a:lnTo>
                      <a:pt x="36" y="617"/>
                    </a:lnTo>
                    <a:lnTo>
                      <a:pt x="34" y="617"/>
                    </a:lnTo>
                    <a:lnTo>
                      <a:pt x="32" y="617"/>
                    </a:lnTo>
                    <a:lnTo>
                      <a:pt x="30" y="617"/>
                    </a:lnTo>
                    <a:lnTo>
                      <a:pt x="30" y="615"/>
                    </a:lnTo>
                    <a:lnTo>
                      <a:pt x="28" y="615"/>
                    </a:lnTo>
                    <a:lnTo>
                      <a:pt x="30" y="615"/>
                    </a:lnTo>
                    <a:lnTo>
                      <a:pt x="32" y="615"/>
                    </a:lnTo>
                    <a:lnTo>
                      <a:pt x="34" y="615"/>
                    </a:lnTo>
                    <a:lnTo>
                      <a:pt x="36" y="615"/>
                    </a:lnTo>
                    <a:lnTo>
                      <a:pt x="36" y="613"/>
                    </a:lnTo>
                    <a:lnTo>
                      <a:pt x="36" y="611"/>
                    </a:lnTo>
                    <a:lnTo>
                      <a:pt x="36" y="609"/>
                    </a:lnTo>
                    <a:lnTo>
                      <a:pt x="34" y="609"/>
                    </a:lnTo>
                    <a:lnTo>
                      <a:pt x="36" y="609"/>
                    </a:lnTo>
                    <a:lnTo>
                      <a:pt x="34" y="609"/>
                    </a:lnTo>
                    <a:lnTo>
                      <a:pt x="34" y="607"/>
                    </a:lnTo>
                    <a:lnTo>
                      <a:pt x="34" y="605"/>
                    </a:lnTo>
                    <a:lnTo>
                      <a:pt x="32" y="605"/>
                    </a:lnTo>
                    <a:lnTo>
                      <a:pt x="32" y="603"/>
                    </a:lnTo>
                    <a:lnTo>
                      <a:pt x="32" y="601"/>
                    </a:lnTo>
                    <a:lnTo>
                      <a:pt x="34" y="601"/>
                    </a:lnTo>
                    <a:lnTo>
                      <a:pt x="36" y="601"/>
                    </a:lnTo>
                    <a:lnTo>
                      <a:pt x="34" y="601"/>
                    </a:lnTo>
                    <a:lnTo>
                      <a:pt x="34" y="599"/>
                    </a:lnTo>
                    <a:lnTo>
                      <a:pt x="34" y="601"/>
                    </a:lnTo>
                    <a:lnTo>
                      <a:pt x="32" y="601"/>
                    </a:lnTo>
                    <a:lnTo>
                      <a:pt x="32" y="599"/>
                    </a:lnTo>
                    <a:lnTo>
                      <a:pt x="32" y="597"/>
                    </a:lnTo>
                    <a:lnTo>
                      <a:pt x="34" y="597"/>
                    </a:lnTo>
                    <a:lnTo>
                      <a:pt x="32" y="597"/>
                    </a:lnTo>
                    <a:lnTo>
                      <a:pt x="32" y="595"/>
                    </a:lnTo>
                    <a:lnTo>
                      <a:pt x="34" y="595"/>
                    </a:lnTo>
                    <a:lnTo>
                      <a:pt x="34" y="594"/>
                    </a:lnTo>
                    <a:lnTo>
                      <a:pt x="36" y="594"/>
                    </a:lnTo>
                    <a:lnTo>
                      <a:pt x="34" y="594"/>
                    </a:lnTo>
                    <a:lnTo>
                      <a:pt x="34" y="592"/>
                    </a:lnTo>
                    <a:lnTo>
                      <a:pt x="32" y="592"/>
                    </a:lnTo>
                    <a:lnTo>
                      <a:pt x="34" y="592"/>
                    </a:lnTo>
                    <a:lnTo>
                      <a:pt x="34" y="590"/>
                    </a:lnTo>
                    <a:lnTo>
                      <a:pt x="34" y="588"/>
                    </a:lnTo>
                    <a:lnTo>
                      <a:pt x="34" y="586"/>
                    </a:lnTo>
                    <a:lnTo>
                      <a:pt x="36" y="586"/>
                    </a:lnTo>
                    <a:lnTo>
                      <a:pt x="34" y="586"/>
                    </a:lnTo>
                    <a:lnTo>
                      <a:pt x="34" y="584"/>
                    </a:lnTo>
                    <a:lnTo>
                      <a:pt x="36" y="584"/>
                    </a:lnTo>
                    <a:lnTo>
                      <a:pt x="38" y="584"/>
                    </a:lnTo>
                    <a:lnTo>
                      <a:pt x="38" y="582"/>
                    </a:lnTo>
                    <a:lnTo>
                      <a:pt x="38" y="584"/>
                    </a:lnTo>
                    <a:lnTo>
                      <a:pt x="40" y="584"/>
                    </a:lnTo>
                    <a:lnTo>
                      <a:pt x="40" y="582"/>
                    </a:lnTo>
                    <a:lnTo>
                      <a:pt x="42" y="582"/>
                    </a:lnTo>
                    <a:lnTo>
                      <a:pt x="42" y="580"/>
                    </a:lnTo>
                    <a:lnTo>
                      <a:pt x="42" y="578"/>
                    </a:lnTo>
                    <a:lnTo>
                      <a:pt x="44" y="578"/>
                    </a:lnTo>
                    <a:lnTo>
                      <a:pt x="44" y="576"/>
                    </a:lnTo>
                    <a:lnTo>
                      <a:pt x="42" y="576"/>
                    </a:lnTo>
                    <a:lnTo>
                      <a:pt x="40" y="576"/>
                    </a:lnTo>
                    <a:lnTo>
                      <a:pt x="38" y="576"/>
                    </a:lnTo>
                    <a:lnTo>
                      <a:pt x="38" y="574"/>
                    </a:lnTo>
                    <a:lnTo>
                      <a:pt x="36" y="574"/>
                    </a:lnTo>
                    <a:lnTo>
                      <a:pt x="36" y="572"/>
                    </a:lnTo>
                    <a:lnTo>
                      <a:pt x="34" y="572"/>
                    </a:lnTo>
                    <a:lnTo>
                      <a:pt x="34" y="570"/>
                    </a:lnTo>
                    <a:lnTo>
                      <a:pt x="36" y="570"/>
                    </a:lnTo>
                    <a:lnTo>
                      <a:pt x="36" y="569"/>
                    </a:lnTo>
                    <a:lnTo>
                      <a:pt x="34" y="569"/>
                    </a:lnTo>
                    <a:lnTo>
                      <a:pt x="34" y="567"/>
                    </a:lnTo>
                    <a:lnTo>
                      <a:pt x="32" y="567"/>
                    </a:lnTo>
                    <a:lnTo>
                      <a:pt x="32" y="569"/>
                    </a:lnTo>
                    <a:lnTo>
                      <a:pt x="30" y="569"/>
                    </a:lnTo>
                    <a:lnTo>
                      <a:pt x="30" y="567"/>
                    </a:lnTo>
                    <a:lnTo>
                      <a:pt x="28" y="567"/>
                    </a:lnTo>
                    <a:lnTo>
                      <a:pt x="28" y="565"/>
                    </a:lnTo>
                    <a:lnTo>
                      <a:pt x="28" y="563"/>
                    </a:lnTo>
                    <a:lnTo>
                      <a:pt x="26" y="563"/>
                    </a:lnTo>
                    <a:lnTo>
                      <a:pt x="26" y="561"/>
                    </a:lnTo>
                    <a:lnTo>
                      <a:pt x="24" y="561"/>
                    </a:lnTo>
                    <a:lnTo>
                      <a:pt x="24" y="559"/>
                    </a:lnTo>
                    <a:lnTo>
                      <a:pt x="26" y="559"/>
                    </a:lnTo>
                    <a:lnTo>
                      <a:pt x="24" y="559"/>
                    </a:lnTo>
                    <a:lnTo>
                      <a:pt x="23" y="559"/>
                    </a:lnTo>
                    <a:lnTo>
                      <a:pt x="23" y="557"/>
                    </a:lnTo>
                    <a:lnTo>
                      <a:pt x="24" y="557"/>
                    </a:lnTo>
                    <a:lnTo>
                      <a:pt x="23" y="557"/>
                    </a:lnTo>
                    <a:lnTo>
                      <a:pt x="23" y="555"/>
                    </a:lnTo>
                    <a:lnTo>
                      <a:pt x="23" y="557"/>
                    </a:lnTo>
                    <a:lnTo>
                      <a:pt x="23" y="555"/>
                    </a:lnTo>
                    <a:lnTo>
                      <a:pt x="21" y="555"/>
                    </a:lnTo>
                    <a:lnTo>
                      <a:pt x="21" y="553"/>
                    </a:lnTo>
                    <a:lnTo>
                      <a:pt x="21" y="551"/>
                    </a:lnTo>
                    <a:lnTo>
                      <a:pt x="21" y="549"/>
                    </a:lnTo>
                    <a:lnTo>
                      <a:pt x="21" y="547"/>
                    </a:lnTo>
                    <a:lnTo>
                      <a:pt x="21" y="546"/>
                    </a:lnTo>
                    <a:lnTo>
                      <a:pt x="19" y="546"/>
                    </a:lnTo>
                    <a:lnTo>
                      <a:pt x="17" y="546"/>
                    </a:lnTo>
                    <a:lnTo>
                      <a:pt x="17" y="547"/>
                    </a:lnTo>
                    <a:lnTo>
                      <a:pt x="17" y="546"/>
                    </a:lnTo>
                    <a:lnTo>
                      <a:pt x="15" y="546"/>
                    </a:lnTo>
                    <a:lnTo>
                      <a:pt x="13" y="546"/>
                    </a:lnTo>
                    <a:lnTo>
                      <a:pt x="11" y="546"/>
                    </a:lnTo>
                    <a:lnTo>
                      <a:pt x="9" y="546"/>
                    </a:lnTo>
                    <a:lnTo>
                      <a:pt x="9" y="544"/>
                    </a:lnTo>
                    <a:lnTo>
                      <a:pt x="9" y="542"/>
                    </a:lnTo>
                    <a:lnTo>
                      <a:pt x="7" y="542"/>
                    </a:lnTo>
                    <a:lnTo>
                      <a:pt x="7" y="540"/>
                    </a:lnTo>
                    <a:lnTo>
                      <a:pt x="9" y="540"/>
                    </a:lnTo>
                    <a:lnTo>
                      <a:pt x="9" y="538"/>
                    </a:lnTo>
                    <a:lnTo>
                      <a:pt x="11" y="538"/>
                    </a:lnTo>
                    <a:lnTo>
                      <a:pt x="11" y="536"/>
                    </a:lnTo>
                    <a:lnTo>
                      <a:pt x="11" y="534"/>
                    </a:lnTo>
                    <a:lnTo>
                      <a:pt x="13" y="534"/>
                    </a:lnTo>
                    <a:lnTo>
                      <a:pt x="15" y="534"/>
                    </a:lnTo>
                    <a:lnTo>
                      <a:pt x="15" y="532"/>
                    </a:lnTo>
                    <a:lnTo>
                      <a:pt x="13" y="532"/>
                    </a:lnTo>
                    <a:lnTo>
                      <a:pt x="13" y="534"/>
                    </a:lnTo>
                    <a:lnTo>
                      <a:pt x="13" y="532"/>
                    </a:lnTo>
                    <a:lnTo>
                      <a:pt x="11" y="532"/>
                    </a:lnTo>
                    <a:lnTo>
                      <a:pt x="9" y="532"/>
                    </a:lnTo>
                    <a:lnTo>
                      <a:pt x="7" y="532"/>
                    </a:lnTo>
                    <a:lnTo>
                      <a:pt x="7" y="534"/>
                    </a:lnTo>
                    <a:lnTo>
                      <a:pt x="5" y="534"/>
                    </a:lnTo>
                    <a:lnTo>
                      <a:pt x="5" y="536"/>
                    </a:lnTo>
                    <a:lnTo>
                      <a:pt x="3" y="536"/>
                    </a:lnTo>
                    <a:lnTo>
                      <a:pt x="3" y="538"/>
                    </a:lnTo>
                    <a:lnTo>
                      <a:pt x="1" y="538"/>
                    </a:lnTo>
                    <a:lnTo>
                      <a:pt x="1" y="536"/>
                    </a:lnTo>
                    <a:lnTo>
                      <a:pt x="1" y="534"/>
                    </a:lnTo>
                    <a:lnTo>
                      <a:pt x="0" y="534"/>
                    </a:lnTo>
                    <a:lnTo>
                      <a:pt x="0" y="532"/>
                    </a:lnTo>
                    <a:lnTo>
                      <a:pt x="1" y="532"/>
                    </a:lnTo>
                    <a:lnTo>
                      <a:pt x="1" y="530"/>
                    </a:lnTo>
                    <a:lnTo>
                      <a:pt x="3" y="530"/>
                    </a:lnTo>
                    <a:lnTo>
                      <a:pt x="3" y="528"/>
                    </a:lnTo>
                    <a:lnTo>
                      <a:pt x="5" y="528"/>
                    </a:lnTo>
                    <a:lnTo>
                      <a:pt x="5" y="526"/>
                    </a:lnTo>
                    <a:lnTo>
                      <a:pt x="7" y="524"/>
                    </a:lnTo>
                    <a:lnTo>
                      <a:pt x="9" y="524"/>
                    </a:lnTo>
                    <a:lnTo>
                      <a:pt x="9" y="523"/>
                    </a:lnTo>
                    <a:lnTo>
                      <a:pt x="11" y="523"/>
                    </a:lnTo>
                    <a:lnTo>
                      <a:pt x="11" y="521"/>
                    </a:lnTo>
                    <a:lnTo>
                      <a:pt x="11" y="519"/>
                    </a:lnTo>
                    <a:lnTo>
                      <a:pt x="11" y="521"/>
                    </a:lnTo>
                    <a:lnTo>
                      <a:pt x="13" y="521"/>
                    </a:lnTo>
                    <a:lnTo>
                      <a:pt x="13" y="519"/>
                    </a:lnTo>
                    <a:lnTo>
                      <a:pt x="15" y="519"/>
                    </a:lnTo>
                    <a:lnTo>
                      <a:pt x="13" y="519"/>
                    </a:lnTo>
                    <a:lnTo>
                      <a:pt x="13" y="517"/>
                    </a:lnTo>
                    <a:lnTo>
                      <a:pt x="11" y="517"/>
                    </a:lnTo>
                    <a:lnTo>
                      <a:pt x="11" y="515"/>
                    </a:lnTo>
                    <a:lnTo>
                      <a:pt x="9" y="515"/>
                    </a:lnTo>
                    <a:lnTo>
                      <a:pt x="7" y="515"/>
                    </a:lnTo>
                    <a:lnTo>
                      <a:pt x="7" y="513"/>
                    </a:lnTo>
                    <a:lnTo>
                      <a:pt x="7" y="511"/>
                    </a:lnTo>
                    <a:lnTo>
                      <a:pt x="7" y="509"/>
                    </a:lnTo>
                    <a:lnTo>
                      <a:pt x="9" y="509"/>
                    </a:lnTo>
                    <a:lnTo>
                      <a:pt x="9" y="507"/>
                    </a:lnTo>
                    <a:lnTo>
                      <a:pt x="11" y="507"/>
                    </a:lnTo>
                    <a:lnTo>
                      <a:pt x="11" y="505"/>
                    </a:lnTo>
                    <a:lnTo>
                      <a:pt x="13" y="505"/>
                    </a:lnTo>
                    <a:lnTo>
                      <a:pt x="15" y="505"/>
                    </a:lnTo>
                    <a:lnTo>
                      <a:pt x="17" y="503"/>
                    </a:lnTo>
                    <a:lnTo>
                      <a:pt x="17" y="501"/>
                    </a:lnTo>
                    <a:lnTo>
                      <a:pt x="17" y="499"/>
                    </a:lnTo>
                    <a:lnTo>
                      <a:pt x="17" y="498"/>
                    </a:lnTo>
                    <a:lnTo>
                      <a:pt x="19" y="496"/>
                    </a:lnTo>
                    <a:lnTo>
                      <a:pt x="19" y="494"/>
                    </a:lnTo>
                    <a:lnTo>
                      <a:pt x="19" y="492"/>
                    </a:lnTo>
                    <a:lnTo>
                      <a:pt x="19" y="490"/>
                    </a:lnTo>
                    <a:lnTo>
                      <a:pt x="21" y="490"/>
                    </a:lnTo>
                    <a:lnTo>
                      <a:pt x="21" y="488"/>
                    </a:lnTo>
                    <a:lnTo>
                      <a:pt x="21" y="486"/>
                    </a:lnTo>
                    <a:lnTo>
                      <a:pt x="21" y="484"/>
                    </a:lnTo>
                    <a:lnTo>
                      <a:pt x="23" y="484"/>
                    </a:lnTo>
                    <a:lnTo>
                      <a:pt x="23" y="482"/>
                    </a:lnTo>
                    <a:lnTo>
                      <a:pt x="23" y="480"/>
                    </a:lnTo>
                    <a:lnTo>
                      <a:pt x="24" y="478"/>
                    </a:lnTo>
                    <a:lnTo>
                      <a:pt x="24" y="476"/>
                    </a:lnTo>
                    <a:lnTo>
                      <a:pt x="24" y="475"/>
                    </a:lnTo>
                    <a:lnTo>
                      <a:pt x="24" y="473"/>
                    </a:lnTo>
                    <a:lnTo>
                      <a:pt x="24" y="471"/>
                    </a:lnTo>
                    <a:lnTo>
                      <a:pt x="24" y="469"/>
                    </a:lnTo>
                    <a:lnTo>
                      <a:pt x="24" y="467"/>
                    </a:lnTo>
                    <a:lnTo>
                      <a:pt x="26" y="465"/>
                    </a:lnTo>
                    <a:lnTo>
                      <a:pt x="26" y="463"/>
                    </a:lnTo>
                    <a:lnTo>
                      <a:pt x="26" y="461"/>
                    </a:lnTo>
                    <a:lnTo>
                      <a:pt x="28" y="459"/>
                    </a:lnTo>
                    <a:lnTo>
                      <a:pt x="28" y="455"/>
                    </a:lnTo>
                    <a:lnTo>
                      <a:pt x="28" y="453"/>
                    </a:lnTo>
                    <a:lnTo>
                      <a:pt x="28" y="451"/>
                    </a:lnTo>
                    <a:lnTo>
                      <a:pt x="28" y="450"/>
                    </a:lnTo>
                    <a:lnTo>
                      <a:pt x="28" y="448"/>
                    </a:lnTo>
                    <a:lnTo>
                      <a:pt x="28" y="446"/>
                    </a:lnTo>
                    <a:lnTo>
                      <a:pt x="28" y="444"/>
                    </a:lnTo>
                    <a:lnTo>
                      <a:pt x="28" y="442"/>
                    </a:lnTo>
                    <a:lnTo>
                      <a:pt x="28" y="440"/>
                    </a:lnTo>
                    <a:lnTo>
                      <a:pt x="26" y="438"/>
                    </a:lnTo>
                    <a:lnTo>
                      <a:pt x="26" y="436"/>
                    </a:lnTo>
                    <a:lnTo>
                      <a:pt x="26" y="434"/>
                    </a:lnTo>
                    <a:lnTo>
                      <a:pt x="26" y="432"/>
                    </a:lnTo>
                    <a:lnTo>
                      <a:pt x="26" y="430"/>
                    </a:lnTo>
                    <a:lnTo>
                      <a:pt x="26" y="428"/>
                    </a:lnTo>
                    <a:lnTo>
                      <a:pt x="26" y="427"/>
                    </a:lnTo>
                    <a:lnTo>
                      <a:pt x="26" y="425"/>
                    </a:lnTo>
                    <a:lnTo>
                      <a:pt x="26" y="423"/>
                    </a:lnTo>
                    <a:lnTo>
                      <a:pt x="26" y="421"/>
                    </a:lnTo>
                    <a:lnTo>
                      <a:pt x="26" y="419"/>
                    </a:lnTo>
                    <a:lnTo>
                      <a:pt x="26" y="417"/>
                    </a:lnTo>
                    <a:lnTo>
                      <a:pt x="26" y="415"/>
                    </a:lnTo>
                    <a:lnTo>
                      <a:pt x="26" y="411"/>
                    </a:lnTo>
                    <a:lnTo>
                      <a:pt x="26" y="409"/>
                    </a:lnTo>
                    <a:lnTo>
                      <a:pt x="26" y="407"/>
                    </a:lnTo>
                    <a:lnTo>
                      <a:pt x="26" y="405"/>
                    </a:lnTo>
                    <a:lnTo>
                      <a:pt x="26" y="403"/>
                    </a:lnTo>
                    <a:lnTo>
                      <a:pt x="26" y="402"/>
                    </a:lnTo>
                    <a:lnTo>
                      <a:pt x="26" y="400"/>
                    </a:lnTo>
                    <a:lnTo>
                      <a:pt x="26" y="398"/>
                    </a:lnTo>
                    <a:lnTo>
                      <a:pt x="23" y="398"/>
                    </a:lnTo>
                    <a:lnTo>
                      <a:pt x="21" y="396"/>
                    </a:lnTo>
                    <a:lnTo>
                      <a:pt x="19" y="396"/>
                    </a:lnTo>
                    <a:lnTo>
                      <a:pt x="19" y="394"/>
                    </a:lnTo>
                    <a:lnTo>
                      <a:pt x="17" y="394"/>
                    </a:lnTo>
                    <a:lnTo>
                      <a:pt x="17" y="392"/>
                    </a:lnTo>
                    <a:lnTo>
                      <a:pt x="17" y="390"/>
                    </a:lnTo>
                    <a:lnTo>
                      <a:pt x="15" y="390"/>
                    </a:lnTo>
                    <a:lnTo>
                      <a:pt x="15" y="388"/>
                    </a:lnTo>
                    <a:lnTo>
                      <a:pt x="15" y="386"/>
                    </a:lnTo>
                    <a:lnTo>
                      <a:pt x="15" y="384"/>
                    </a:lnTo>
                    <a:lnTo>
                      <a:pt x="15" y="382"/>
                    </a:lnTo>
                    <a:lnTo>
                      <a:pt x="15" y="380"/>
                    </a:lnTo>
                    <a:lnTo>
                      <a:pt x="17" y="380"/>
                    </a:lnTo>
                    <a:lnTo>
                      <a:pt x="19" y="380"/>
                    </a:lnTo>
                    <a:lnTo>
                      <a:pt x="19" y="379"/>
                    </a:lnTo>
                    <a:lnTo>
                      <a:pt x="21" y="379"/>
                    </a:lnTo>
                    <a:lnTo>
                      <a:pt x="23" y="379"/>
                    </a:lnTo>
                    <a:lnTo>
                      <a:pt x="24" y="377"/>
                    </a:lnTo>
                    <a:lnTo>
                      <a:pt x="26" y="375"/>
                    </a:lnTo>
                    <a:lnTo>
                      <a:pt x="26" y="373"/>
                    </a:lnTo>
                    <a:lnTo>
                      <a:pt x="28" y="371"/>
                    </a:lnTo>
                    <a:lnTo>
                      <a:pt x="28" y="369"/>
                    </a:lnTo>
                    <a:lnTo>
                      <a:pt x="30" y="367"/>
                    </a:lnTo>
                    <a:lnTo>
                      <a:pt x="32" y="365"/>
                    </a:lnTo>
                    <a:lnTo>
                      <a:pt x="34" y="363"/>
                    </a:lnTo>
                    <a:lnTo>
                      <a:pt x="36" y="361"/>
                    </a:lnTo>
                    <a:lnTo>
                      <a:pt x="38" y="359"/>
                    </a:lnTo>
                    <a:lnTo>
                      <a:pt x="42" y="357"/>
                    </a:lnTo>
                    <a:lnTo>
                      <a:pt x="42" y="355"/>
                    </a:lnTo>
                    <a:lnTo>
                      <a:pt x="44" y="355"/>
                    </a:lnTo>
                    <a:lnTo>
                      <a:pt x="44" y="354"/>
                    </a:lnTo>
                    <a:lnTo>
                      <a:pt x="46" y="354"/>
                    </a:lnTo>
                    <a:lnTo>
                      <a:pt x="46" y="352"/>
                    </a:lnTo>
                    <a:lnTo>
                      <a:pt x="49" y="350"/>
                    </a:lnTo>
                    <a:lnTo>
                      <a:pt x="49" y="348"/>
                    </a:lnTo>
                    <a:lnTo>
                      <a:pt x="53" y="346"/>
                    </a:lnTo>
                    <a:lnTo>
                      <a:pt x="55" y="344"/>
                    </a:lnTo>
                    <a:lnTo>
                      <a:pt x="57" y="344"/>
                    </a:lnTo>
                    <a:lnTo>
                      <a:pt x="57" y="342"/>
                    </a:lnTo>
                    <a:lnTo>
                      <a:pt x="59" y="342"/>
                    </a:lnTo>
                    <a:lnTo>
                      <a:pt x="61" y="340"/>
                    </a:lnTo>
                    <a:lnTo>
                      <a:pt x="65" y="336"/>
                    </a:lnTo>
                    <a:lnTo>
                      <a:pt x="67" y="334"/>
                    </a:lnTo>
                    <a:lnTo>
                      <a:pt x="67" y="332"/>
                    </a:lnTo>
                    <a:lnTo>
                      <a:pt x="67" y="331"/>
                    </a:lnTo>
                    <a:lnTo>
                      <a:pt x="69" y="329"/>
                    </a:lnTo>
                    <a:lnTo>
                      <a:pt x="71" y="327"/>
                    </a:lnTo>
                    <a:lnTo>
                      <a:pt x="74" y="323"/>
                    </a:lnTo>
                    <a:lnTo>
                      <a:pt x="76" y="323"/>
                    </a:lnTo>
                    <a:lnTo>
                      <a:pt x="78" y="323"/>
                    </a:lnTo>
                    <a:lnTo>
                      <a:pt x="80" y="323"/>
                    </a:lnTo>
                    <a:lnTo>
                      <a:pt x="82" y="321"/>
                    </a:lnTo>
                    <a:lnTo>
                      <a:pt x="84" y="321"/>
                    </a:lnTo>
                    <a:lnTo>
                      <a:pt x="86" y="319"/>
                    </a:lnTo>
                    <a:lnTo>
                      <a:pt x="88" y="319"/>
                    </a:lnTo>
                    <a:lnTo>
                      <a:pt x="88" y="317"/>
                    </a:lnTo>
                    <a:lnTo>
                      <a:pt x="90" y="315"/>
                    </a:lnTo>
                    <a:lnTo>
                      <a:pt x="92" y="313"/>
                    </a:lnTo>
                    <a:lnTo>
                      <a:pt x="92" y="311"/>
                    </a:lnTo>
                    <a:lnTo>
                      <a:pt x="94" y="311"/>
                    </a:lnTo>
                    <a:lnTo>
                      <a:pt x="94" y="309"/>
                    </a:lnTo>
                    <a:lnTo>
                      <a:pt x="96" y="309"/>
                    </a:lnTo>
                    <a:lnTo>
                      <a:pt x="97" y="307"/>
                    </a:lnTo>
                    <a:lnTo>
                      <a:pt x="99" y="307"/>
                    </a:lnTo>
                    <a:lnTo>
                      <a:pt x="99" y="306"/>
                    </a:lnTo>
                    <a:lnTo>
                      <a:pt x="101" y="306"/>
                    </a:lnTo>
                    <a:lnTo>
                      <a:pt x="103" y="306"/>
                    </a:lnTo>
                    <a:lnTo>
                      <a:pt x="103" y="304"/>
                    </a:lnTo>
                    <a:lnTo>
                      <a:pt x="105" y="304"/>
                    </a:lnTo>
                    <a:lnTo>
                      <a:pt x="105" y="302"/>
                    </a:lnTo>
                    <a:lnTo>
                      <a:pt x="105" y="300"/>
                    </a:lnTo>
                    <a:lnTo>
                      <a:pt x="107" y="300"/>
                    </a:lnTo>
                    <a:lnTo>
                      <a:pt x="107" y="298"/>
                    </a:lnTo>
                    <a:lnTo>
                      <a:pt x="109" y="296"/>
                    </a:lnTo>
                    <a:lnTo>
                      <a:pt x="111" y="296"/>
                    </a:lnTo>
                    <a:lnTo>
                      <a:pt x="111" y="294"/>
                    </a:lnTo>
                    <a:lnTo>
                      <a:pt x="113" y="294"/>
                    </a:lnTo>
                    <a:lnTo>
                      <a:pt x="115" y="292"/>
                    </a:lnTo>
                    <a:lnTo>
                      <a:pt x="117" y="290"/>
                    </a:lnTo>
                    <a:lnTo>
                      <a:pt x="119" y="288"/>
                    </a:lnTo>
                    <a:lnTo>
                      <a:pt x="121" y="288"/>
                    </a:lnTo>
                    <a:lnTo>
                      <a:pt x="122" y="286"/>
                    </a:lnTo>
                    <a:lnTo>
                      <a:pt x="124" y="286"/>
                    </a:lnTo>
                    <a:lnTo>
                      <a:pt x="126" y="286"/>
                    </a:lnTo>
                    <a:lnTo>
                      <a:pt x="128" y="286"/>
                    </a:lnTo>
                    <a:lnTo>
                      <a:pt x="128" y="284"/>
                    </a:lnTo>
                    <a:lnTo>
                      <a:pt x="126" y="284"/>
                    </a:lnTo>
                    <a:lnTo>
                      <a:pt x="126" y="283"/>
                    </a:lnTo>
                    <a:lnTo>
                      <a:pt x="128" y="281"/>
                    </a:lnTo>
                    <a:lnTo>
                      <a:pt x="128" y="279"/>
                    </a:lnTo>
                    <a:lnTo>
                      <a:pt x="130" y="277"/>
                    </a:lnTo>
                    <a:lnTo>
                      <a:pt x="130" y="275"/>
                    </a:lnTo>
                    <a:lnTo>
                      <a:pt x="132" y="275"/>
                    </a:lnTo>
                    <a:lnTo>
                      <a:pt x="132" y="273"/>
                    </a:lnTo>
                    <a:lnTo>
                      <a:pt x="132" y="271"/>
                    </a:lnTo>
                    <a:lnTo>
                      <a:pt x="136" y="271"/>
                    </a:lnTo>
                    <a:lnTo>
                      <a:pt x="138" y="271"/>
                    </a:lnTo>
                    <a:lnTo>
                      <a:pt x="140" y="271"/>
                    </a:lnTo>
                    <a:lnTo>
                      <a:pt x="142" y="271"/>
                    </a:lnTo>
                    <a:lnTo>
                      <a:pt x="142" y="269"/>
                    </a:lnTo>
                    <a:lnTo>
                      <a:pt x="144" y="267"/>
                    </a:lnTo>
                    <a:lnTo>
                      <a:pt x="145" y="265"/>
                    </a:lnTo>
                    <a:lnTo>
                      <a:pt x="147" y="265"/>
                    </a:lnTo>
                    <a:lnTo>
                      <a:pt x="147" y="263"/>
                    </a:lnTo>
                    <a:lnTo>
                      <a:pt x="149" y="263"/>
                    </a:lnTo>
                    <a:lnTo>
                      <a:pt x="149" y="261"/>
                    </a:lnTo>
                    <a:lnTo>
                      <a:pt x="151" y="261"/>
                    </a:lnTo>
                    <a:lnTo>
                      <a:pt x="151" y="259"/>
                    </a:lnTo>
                    <a:lnTo>
                      <a:pt x="153" y="258"/>
                    </a:lnTo>
                    <a:lnTo>
                      <a:pt x="155" y="258"/>
                    </a:lnTo>
                    <a:lnTo>
                      <a:pt x="155" y="256"/>
                    </a:lnTo>
                    <a:lnTo>
                      <a:pt x="157" y="256"/>
                    </a:lnTo>
                    <a:lnTo>
                      <a:pt x="157" y="254"/>
                    </a:lnTo>
                    <a:lnTo>
                      <a:pt x="159" y="254"/>
                    </a:lnTo>
                    <a:lnTo>
                      <a:pt x="161" y="252"/>
                    </a:lnTo>
                    <a:lnTo>
                      <a:pt x="163" y="250"/>
                    </a:lnTo>
                    <a:lnTo>
                      <a:pt x="165" y="248"/>
                    </a:lnTo>
                    <a:lnTo>
                      <a:pt x="167" y="248"/>
                    </a:lnTo>
                    <a:lnTo>
                      <a:pt x="167" y="246"/>
                    </a:lnTo>
                    <a:lnTo>
                      <a:pt x="169" y="246"/>
                    </a:lnTo>
                    <a:lnTo>
                      <a:pt x="170" y="244"/>
                    </a:lnTo>
                    <a:lnTo>
                      <a:pt x="172" y="242"/>
                    </a:lnTo>
                    <a:lnTo>
                      <a:pt x="174" y="242"/>
                    </a:lnTo>
                    <a:lnTo>
                      <a:pt x="174" y="240"/>
                    </a:lnTo>
                    <a:lnTo>
                      <a:pt x="176" y="240"/>
                    </a:lnTo>
                    <a:lnTo>
                      <a:pt x="176" y="238"/>
                    </a:lnTo>
                    <a:lnTo>
                      <a:pt x="178" y="238"/>
                    </a:lnTo>
                    <a:lnTo>
                      <a:pt x="180" y="236"/>
                    </a:lnTo>
                    <a:lnTo>
                      <a:pt x="180" y="235"/>
                    </a:lnTo>
                    <a:lnTo>
                      <a:pt x="182" y="233"/>
                    </a:lnTo>
                    <a:lnTo>
                      <a:pt x="182" y="231"/>
                    </a:lnTo>
                    <a:lnTo>
                      <a:pt x="186" y="229"/>
                    </a:lnTo>
                    <a:lnTo>
                      <a:pt x="188" y="229"/>
                    </a:lnTo>
                    <a:lnTo>
                      <a:pt x="190" y="227"/>
                    </a:lnTo>
                    <a:lnTo>
                      <a:pt x="192" y="227"/>
                    </a:lnTo>
                    <a:lnTo>
                      <a:pt x="193" y="225"/>
                    </a:lnTo>
                    <a:lnTo>
                      <a:pt x="195" y="223"/>
                    </a:lnTo>
                    <a:lnTo>
                      <a:pt x="197" y="221"/>
                    </a:lnTo>
                    <a:lnTo>
                      <a:pt x="199" y="221"/>
                    </a:lnTo>
                    <a:lnTo>
                      <a:pt x="201" y="219"/>
                    </a:lnTo>
                    <a:lnTo>
                      <a:pt x="203" y="217"/>
                    </a:lnTo>
                    <a:lnTo>
                      <a:pt x="205" y="215"/>
                    </a:lnTo>
                    <a:lnTo>
                      <a:pt x="207" y="213"/>
                    </a:lnTo>
                    <a:lnTo>
                      <a:pt x="209" y="211"/>
                    </a:lnTo>
                    <a:lnTo>
                      <a:pt x="211" y="210"/>
                    </a:lnTo>
                    <a:lnTo>
                      <a:pt x="213" y="210"/>
                    </a:lnTo>
                    <a:lnTo>
                      <a:pt x="213" y="208"/>
                    </a:lnTo>
                    <a:lnTo>
                      <a:pt x="215" y="206"/>
                    </a:lnTo>
                    <a:lnTo>
                      <a:pt x="217" y="206"/>
                    </a:lnTo>
                    <a:lnTo>
                      <a:pt x="217" y="202"/>
                    </a:lnTo>
                    <a:lnTo>
                      <a:pt x="218" y="200"/>
                    </a:lnTo>
                    <a:lnTo>
                      <a:pt x="218" y="198"/>
                    </a:lnTo>
                    <a:lnTo>
                      <a:pt x="220" y="198"/>
                    </a:lnTo>
                    <a:lnTo>
                      <a:pt x="222" y="198"/>
                    </a:lnTo>
                    <a:lnTo>
                      <a:pt x="224" y="198"/>
                    </a:lnTo>
                    <a:lnTo>
                      <a:pt x="226" y="196"/>
                    </a:lnTo>
                    <a:lnTo>
                      <a:pt x="228" y="196"/>
                    </a:lnTo>
                    <a:lnTo>
                      <a:pt x="228" y="194"/>
                    </a:lnTo>
                    <a:lnTo>
                      <a:pt x="230" y="192"/>
                    </a:lnTo>
                    <a:lnTo>
                      <a:pt x="232" y="190"/>
                    </a:lnTo>
                    <a:lnTo>
                      <a:pt x="234" y="190"/>
                    </a:lnTo>
                    <a:lnTo>
                      <a:pt x="234" y="188"/>
                    </a:lnTo>
                    <a:lnTo>
                      <a:pt x="236" y="188"/>
                    </a:lnTo>
                    <a:lnTo>
                      <a:pt x="238" y="187"/>
                    </a:lnTo>
                    <a:lnTo>
                      <a:pt x="240" y="187"/>
                    </a:lnTo>
                    <a:lnTo>
                      <a:pt x="240" y="185"/>
                    </a:lnTo>
                    <a:lnTo>
                      <a:pt x="240" y="183"/>
                    </a:lnTo>
                    <a:lnTo>
                      <a:pt x="240" y="181"/>
                    </a:lnTo>
                    <a:lnTo>
                      <a:pt x="241" y="181"/>
                    </a:lnTo>
                    <a:lnTo>
                      <a:pt x="243" y="181"/>
                    </a:lnTo>
                    <a:lnTo>
                      <a:pt x="245" y="181"/>
                    </a:lnTo>
                    <a:lnTo>
                      <a:pt x="245" y="179"/>
                    </a:lnTo>
                    <a:lnTo>
                      <a:pt x="247" y="179"/>
                    </a:lnTo>
                    <a:lnTo>
                      <a:pt x="249" y="179"/>
                    </a:lnTo>
                    <a:lnTo>
                      <a:pt x="251" y="177"/>
                    </a:lnTo>
                    <a:lnTo>
                      <a:pt x="253" y="177"/>
                    </a:lnTo>
                    <a:lnTo>
                      <a:pt x="253" y="175"/>
                    </a:lnTo>
                    <a:lnTo>
                      <a:pt x="255" y="175"/>
                    </a:lnTo>
                    <a:lnTo>
                      <a:pt x="255" y="173"/>
                    </a:lnTo>
                    <a:lnTo>
                      <a:pt x="257" y="173"/>
                    </a:lnTo>
                    <a:lnTo>
                      <a:pt x="259" y="171"/>
                    </a:lnTo>
                    <a:lnTo>
                      <a:pt x="261" y="169"/>
                    </a:lnTo>
                    <a:lnTo>
                      <a:pt x="263" y="169"/>
                    </a:lnTo>
                    <a:lnTo>
                      <a:pt x="263" y="167"/>
                    </a:lnTo>
                    <a:lnTo>
                      <a:pt x="265" y="167"/>
                    </a:lnTo>
                    <a:lnTo>
                      <a:pt x="266" y="165"/>
                    </a:lnTo>
                    <a:lnTo>
                      <a:pt x="268" y="165"/>
                    </a:lnTo>
                    <a:lnTo>
                      <a:pt x="268" y="163"/>
                    </a:lnTo>
                    <a:lnTo>
                      <a:pt x="270" y="163"/>
                    </a:lnTo>
                    <a:lnTo>
                      <a:pt x="272" y="162"/>
                    </a:lnTo>
                    <a:lnTo>
                      <a:pt x="274" y="162"/>
                    </a:lnTo>
                    <a:lnTo>
                      <a:pt x="276" y="160"/>
                    </a:lnTo>
                    <a:lnTo>
                      <a:pt x="278" y="160"/>
                    </a:lnTo>
                    <a:lnTo>
                      <a:pt x="280" y="158"/>
                    </a:lnTo>
                    <a:lnTo>
                      <a:pt x="282" y="158"/>
                    </a:lnTo>
                    <a:lnTo>
                      <a:pt x="284" y="158"/>
                    </a:lnTo>
                    <a:lnTo>
                      <a:pt x="286" y="156"/>
                    </a:lnTo>
                    <a:lnTo>
                      <a:pt x="288" y="154"/>
                    </a:lnTo>
                    <a:lnTo>
                      <a:pt x="289" y="154"/>
                    </a:lnTo>
                    <a:lnTo>
                      <a:pt x="291" y="152"/>
                    </a:lnTo>
                    <a:lnTo>
                      <a:pt x="291" y="150"/>
                    </a:lnTo>
                    <a:lnTo>
                      <a:pt x="293" y="150"/>
                    </a:lnTo>
                    <a:lnTo>
                      <a:pt x="295" y="148"/>
                    </a:lnTo>
                    <a:lnTo>
                      <a:pt x="295" y="146"/>
                    </a:lnTo>
                    <a:lnTo>
                      <a:pt x="299" y="144"/>
                    </a:lnTo>
                    <a:lnTo>
                      <a:pt x="301" y="142"/>
                    </a:lnTo>
                    <a:lnTo>
                      <a:pt x="303" y="142"/>
                    </a:lnTo>
                    <a:lnTo>
                      <a:pt x="305" y="142"/>
                    </a:lnTo>
                    <a:lnTo>
                      <a:pt x="307" y="140"/>
                    </a:lnTo>
                    <a:lnTo>
                      <a:pt x="309" y="140"/>
                    </a:lnTo>
                    <a:lnTo>
                      <a:pt x="311" y="140"/>
                    </a:lnTo>
                    <a:lnTo>
                      <a:pt x="313" y="140"/>
                    </a:lnTo>
                    <a:lnTo>
                      <a:pt x="313" y="139"/>
                    </a:lnTo>
                    <a:lnTo>
                      <a:pt x="314" y="139"/>
                    </a:lnTo>
                    <a:lnTo>
                      <a:pt x="316" y="137"/>
                    </a:lnTo>
                    <a:lnTo>
                      <a:pt x="318" y="137"/>
                    </a:lnTo>
                    <a:lnTo>
                      <a:pt x="320" y="137"/>
                    </a:lnTo>
                    <a:lnTo>
                      <a:pt x="320" y="135"/>
                    </a:lnTo>
                    <a:lnTo>
                      <a:pt x="322" y="135"/>
                    </a:lnTo>
                    <a:lnTo>
                      <a:pt x="324" y="133"/>
                    </a:lnTo>
                    <a:lnTo>
                      <a:pt x="326" y="133"/>
                    </a:lnTo>
                    <a:lnTo>
                      <a:pt x="328" y="133"/>
                    </a:lnTo>
                    <a:lnTo>
                      <a:pt x="328" y="131"/>
                    </a:lnTo>
                    <a:lnTo>
                      <a:pt x="332" y="131"/>
                    </a:lnTo>
                    <a:lnTo>
                      <a:pt x="336" y="129"/>
                    </a:lnTo>
                    <a:lnTo>
                      <a:pt x="338" y="127"/>
                    </a:lnTo>
                    <a:lnTo>
                      <a:pt x="338" y="125"/>
                    </a:lnTo>
                    <a:lnTo>
                      <a:pt x="341" y="123"/>
                    </a:lnTo>
                    <a:lnTo>
                      <a:pt x="343" y="121"/>
                    </a:lnTo>
                    <a:lnTo>
                      <a:pt x="343" y="119"/>
                    </a:lnTo>
                    <a:lnTo>
                      <a:pt x="345" y="119"/>
                    </a:lnTo>
                    <a:lnTo>
                      <a:pt x="345" y="117"/>
                    </a:lnTo>
                    <a:lnTo>
                      <a:pt x="347" y="117"/>
                    </a:lnTo>
                    <a:lnTo>
                      <a:pt x="349" y="115"/>
                    </a:lnTo>
                    <a:lnTo>
                      <a:pt x="351" y="115"/>
                    </a:lnTo>
                    <a:lnTo>
                      <a:pt x="353" y="115"/>
                    </a:lnTo>
                    <a:lnTo>
                      <a:pt x="353" y="114"/>
                    </a:lnTo>
                    <a:lnTo>
                      <a:pt x="355" y="112"/>
                    </a:lnTo>
                    <a:lnTo>
                      <a:pt x="355" y="110"/>
                    </a:lnTo>
                    <a:lnTo>
                      <a:pt x="357" y="110"/>
                    </a:lnTo>
                    <a:lnTo>
                      <a:pt x="359" y="110"/>
                    </a:lnTo>
                    <a:lnTo>
                      <a:pt x="361" y="108"/>
                    </a:lnTo>
                    <a:lnTo>
                      <a:pt x="362" y="108"/>
                    </a:lnTo>
                    <a:lnTo>
                      <a:pt x="364" y="108"/>
                    </a:lnTo>
                    <a:lnTo>
                      <a:pt x="366" y="108"/>
                    </a:lnTo>
                    <a:lnTo>
                      <a:pt x="368" y="108"/>
                    </a:lnTo>
                    <a:lnTo>
                      <a:pt x="370" y="108"/>
                    </a:lnTo>
                    <a:lnTo>
                      <a:pt x="370" y="106"/>
                    </a:lnTo>
                    <a:lnTo>
                      <a:pt x="370" y="104"/>
                    </a:lnTo>
                    <a:lnTo>
                      <a:pt x="372" y="104"/>
                    </a:lnTo>
                    <a:lnTo>
                      <a:pt x="372" y="102"/>
                    </a:lnTo>
                    <a:lnTo>
                      <a:pt x="372" y="100"/>
                    </a:lnTo>
                    <a:lnTo>
                      <a:pt x="372" y="98"/>
                    </a:lnTo>
                    <a:lnTo>
                      <a:pt x="374" y="96"/>
                    </a:lnTo>
                    <a:lnTo>
                      <a:pt x="374" y="94"/>
                    </a:lnTo>
                    <a:lnTo>
                      <a:pt x="376" y="94"/>
                    </a:lnTo>
                    <a:lnTo>
                      <a:pt x="376" y="92"/>
                    </a:lnTo>
                    <a:lnTo>
                      <a:pt x="376" y="91"/>
                    </a:lnTo>
                    <a:lnTo>
                      <a:pt x="378" y="91"/>
                    </a:lnTo>
                    <a:lnTo>
                      <a:pt x="378" y="89"/>
                    </a:lnTo>
                    <a:lnTo>
                      <a:pt x="380" y="89"/>
                    </a:lnTo>
                    <a:lnTo>
                      <a:pt x="382" y="89"/>
                    </a:lnTo>
                    <a:lnTo>
                      <a:pt x="384" y="87"/>
                    </a:lnTo>
                    <a:lnTo>
                      <a:pt x="386" y="87"/>
                    </a:lnTo>
                    <a:lnTo>
                      <a:pt x="387" y="87"/>
                    </a:lnTo>
                    <a:lnTo>
                      <a:pt x="389" y="85"/>
                    </a:lnTo>
                    <a:lnTo>
                      <a:pt x="391" y="85"/>
                    </a:lnTo>
                    <a:lnTo>
                      <a:pt x="393" y="85"/>
                    </a:lnTo>
                    <a:lnTo>
                      <a:pt x="395" y="85"/>
                    </a:lnTo>
                    <a:lnTo>
                      <a:pt x="397" y="85"/>
                    </a:lnTo>
                    <a:lnTo>
                      <a:pt x="399" y="85"/>
                    </a:lnTo>
                    <a:lnTo>
                      <a:pt x="399" y="83"/>
                    </a:lnTo>
                    <a:lnTo>
                      <a:pt x="401" y="83"/>
                    </a:lnTo>
                    <a:lnTo>
                      <a:pt x="403" y="83"/>
                    </a:lnTo>
                    <a:lnTo>
                      <a:pt x="405" y="83"/>
                    </a:lnTo>
                    <a:lnTo>
                      <a:pt x="407" y="83"/>
                    </a:lnTo>
                    <a:lnTo>
                      <a:pt x="409" y="83"/>
                    </a:lnTo>
                    <a:lnTo>
                      <a:pt x="409" y="85"/>
                    </a:lnTo>
                    <a:lnTo>
                      <a:pt x="410" y="85"/>
                    </a:lnTo>
                    <a:lnTo>
                      <a:pt x="412" y="85"/>
                    </a:lnTo>
                    <a:lnTo>
                      <a:pt x="414" y="85"/>
                    </a:lnTo>
                    <a:lnTo>
                      <a:pt x="416" y="85"/>
                    </a:lnTo>
                    <a:lnTo>
                      <a:pt x="418" y="85"/>
                    </a:lnTo>
                    <a:lnTo>
                      <a:pt x="420" y="85"/>
                    </a:lnTo>
                    <a:lnTo>
                      <a:pt x="422" y="85"/>
                    </a:lnTo>
                    <a:lnTo>
                      <a:pt x="424" y="85"/>
                    </a:lnTo>
                    <a:lnTo>
                      <a:pt x="424" y="87"/>
                    </a:lnTo>
                    <a:lnTo>
                      <a:pt x="426" y="87"/>
                    </a:lnTo>
                    <a:lnTo>
                      <a:pt x="428" y="87"/>
                    </a:lnTo>
                    <a:lnTo>
                      <a:pt x="430" y="87"/>
                    </a:lnTo>
                    <a:lnTo>
                      <a:pt x="432" y="87"/>
                    </a:lnTo>
                    <a:lnTo>
                      <a:pt x="434" y="87"/>
                    </a:lnTo>
                    <a:lnTo>
                      <a:pt x="437" y="87"/>
                    </a:lnTo>
                    <a:lnTo>
                      <a:pt x="439" y="87"/>
                    </a:lnTo>
                    <a:lnTo>
                      <a:pt x="441" y="87"/>
                    </a:lnTo>
                    <a:lnTo>
                      <a:pt x="443" y="87"/>
                    </a:lnTo>
                    <a:lnTo>
                      <a:pt x="445" y="87"/>
                    </a:lnTo>
                    <a:lnTo>
                      <a:pt x="445" y="89"/>
                    </a:lnTo>
                    <a:lnTo>
                      <a:pt x="447" y="89"/>
                    </a:lnTo>
                    <a:lnTo>
                      <a:pt x="449" y="89"/>
                    </a:lnTo>
                    <a:lnTo>
                      <a:pt x="451" y="89"/>
                    </a:lnTo>
                    <a:lnTo>
                      <a:pt x="453" y="91"/>
                    </a:lnTo>
                    <a:lnTo>
                      <a:pt x="455" y="91"/>
                    </a:lnTo>
                    <a:lnTo>
                      <a:pt x="457" y="91"/>
                    </a:lnTo>
                    <a:lnTo>
                      <a:pt x="458" y="91"/>
                    </a:lnTo>
                    <a:lnTo>
                      <a:pt x="460" y="91"/>
                    </a:lnTo>
                    <a:lnTo>
                      <a:pt x="460" y="89"/>
                    </a:lnTo>
                    <a:lnTo>
                      <a:pt x="460" y="87"/>
                    </a:lnTo>
                    <a:lnTo>
                      <a:pt x="462" y="87"/>
                    </a:lnTo>
                    <a:lnTo>
                      <a:pt x="462" y="85"/>
                    </a:lnTo>
                    <a:lnTo>
                      <a:pt x="462" y="83"/>
                    </a:lnTo>
                    <a:lnTo>
                      <a:pt x="464" y="83"/>
                    </a:lnTo>
                    <a:lnTo>
                      <a:pt x="464" y="81"/>
                    </a:lnTo>
                    <a:lnTo>
                      <a:pt x="466" y="81"/>
                    </a:lnTo>
                    <a:lnTo>
                      <a:pt x="468" y="81"/>
                    </a:lnTo>
                    <a:lnTo>
                      <a:pt x="470" y="81"/>
                    </a:lnTo>
                    <a:lnTo>
                      <a:pt x="472" y="79"/>
                    </a:lnTo>
                    <a:lnTo>
                      <a:pt x="474" y="77"/>
                    </a:lnTo>
                    <a:lnTo>
                      <a:pt x="474" y="75"/>
                    </a:lnTo>
                    <a:lnTo>
                      <a:pt x="476" y="73"/>
                    </a:lnTo>
                    <a:lnTo>
                      <a:pt x="478" y="71"/>
                    </a:lnTo>
                    <a:lnTo>
                      <a:pt x="478" y="69"/>
                    </a:lnTo>
                    <a:lnTo>
                      <a:pt x="480" y="69"/>
                    </a:lnTo>
                    <a:lnTo>
                      <a:pt x="480" y="67"/>
                    </a:lnTo>
                    <a:lnTo>
                      <a:pt x="480" y="66"/>
                    </a:lnTo>
                    <a:lnTo>
                      <a:pt x="482" y="66"/>
                    </a:lnTo>
                    <a:lnTo>
                      <a:pt x="482" y="64"/>
                    </a:lnTo>
                    <a:lnTo>
                      <a:pt x="483" y="62"/>
                    </a:lnTo>
                    <a:lnTo>
                      <a:pt x="485" y="60"/>
                    </a:lnTo>
                    <a:lnTo>
                      <a:pt x="485" y="58"/>
                    </a:lnTo>
                    <a:lnTo>
                      <a:pt x="487" y="58"/>
                    </a:lnTo>
                    <a:lnTo>
                      <a:pt x="487" y="56"/>
                    </a:lnTo>
                    <a:lnTo>
                      <a:pt x="487" y="54"/>
                    </a:lnTo>
                    <a:lnTo>
                      <a:pt x="489" y="52"/>
                    </a:lnTo>
                    <a:lnTo>
                      <a:pt x="489" y="50"/>
                    </a:lnTo>
                    <a:lnTo>
                      <a:pt x="491" y="48"/>
                    </a:lnTo>
                    <a:lnTo>
                      <a:pt x="491" y="46"/>
                    </a:lnTo>
                    <a:lnTo>
                      <a:pt x="491" y="44"/>
                    </a:lnTo>
                    <a:lnTo>
                      <a:pt x="493" y="44"/>
                    </a:lnTo>
                    <a:lnTo>
                      <a:pt x="493" y="43"/>
                    </a:lnTo>
                    <a:lnTo>
                      <a:pt x="495" y="41"/>
                    </a:lnTo>
                    <a:lnTo>
                      <a:pt x="495" y="39"/>
                    </a:lnTo>
                    <a:lnTo>
                      <a:pt x="495" y="37"/>
                    </a:lnTo>
                    <a:lnTo>
                      <a:pt x="497" y="35"/>
                    </a:lnTo>
                    <a:lnTo>
                      <a:pt x="497" y="33"/>
                    </a:lnTo>
                    <a:lnTo>
                      <a:pt x="497" y="31"/>
                    </a:lnTo>
                    <a:lnTo>
                      <a:pt x="499" y="29"/>
                    </a:lnTo>
                    <a:lnTo>
                      <a:pt x="499" y="27"/>
                    </a:lnTo>
                    <a:lnTo>
                      <a:pt x="499" y="25"/>
                    </a:lnTo>
                    <a:lnTo>
                      <a:pt x="501" y="23"/>
                    </a:lnTo>
                    <a:lnTo>
                      <a:pt x="501" y="21"/>
                    </a:lnTo>
                    <a:lnTo>
                      <a:pt x="503" y="19"/>
                    </a:lnTo>
                    <a:lnTo>
                      <a:pt x="503" y="18"/>
                    </a:lnTo>
                    <a:lnTo>
                      <a:pt x="503" y="16"/>
                    </a:lnTo>
                    <a:lnTo>
                      <a:pt x="503" y="14"/>
                    </a:lnTo>
                    <a:lnTo>
                      <a:pt x="503" y="12"/>
                    </a:lnTo>
                    <a:lnTo>
                      <a:pt x="503" y="10"/>
                    </a:lnTo>
                    <a:lnTo>
                      <a:pt x="503" y="8"/>
                    </a:lnTo>
                    <a:lnTo>
                      <a:pt x="505" y="6"/>
                    </a:lnTo>
                    <a:lnTo>
                      <a:pt x="505" y="4"/>
                    </a:lnTo>
                    <a:lnTo>
                      <a:pt x="505" y="2"/>
                    </a:lnTo>
                    <a:lnTo>
                      <a:pt x="506" y="2"/>
                    </a:lnTo>
                    <a:lnTo>
                      <a:pt x="506" y="4"/>
                    </a:lnTo>
                    <a:lnTo>
                      <a:pt x="508" y="4"/>
                    </a:lnTo>
                    <a:lnTo>
                      <a:pt x="508" y="2"/>
                    </a:lnTo>
                    <a:lnTo>
                      <a:pt x="510" y="2"/>
                    </a:lnTo>
                    <a:lnTo>
                      <a:pt x="512" y="2"/>
                    </a:lnTo>
                    <a:lnTo>
                      <a:pt x="512" y="0"/>
                    </a:lnTo>
                    <a:lnTo>
                      <a:pt x="514" y="0"/>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67" name="Freeform 171">
                <a:extLst>
                  <a:ext uri="{FF2B5EF4-FFF2-40B4-BE49-F238E27FC236}">
                    <a16:creationId xmlns:a16="http://schemas.microsoft.com/office/drawing/2014/main" id="{36582574-0664-4BC2-8ABD-B39618F94353}"/>
                  </a:ext>
                </a:extLst>
              </p:cNvPr>
              <p:cNvSpPr>
                <a:spLocks noEditPoints="1"/>
              </p:cNvSpPr>
              <p:nvPr/>
            </p:nvSpPr>
            <p:spPr bwMode="auto">
              <a:xfrm>
                <a:off x="4756488" y="3925171"/>
                <a:ext cx="1455820" cy="1898057"/>
              </a:xfrm>
              <a:custGeom>
                <a:avLst/>
                <a:gdLst>
                  <a:gd name="T0" fmla="*/ 670 w 981"/>
                  <a:gd name="T1" fmla="*/ 46 h 1279"/>
                  <a:gd name="T2" fmla="*/ 735 w 981"/>
                  <a:gd name="T3" fmla="*/ 63 h 1279"/>
                  <a:gd name="T4" fmla="*/ 722 w 981"/>
                  <a:gd name="T5" fmla="*/ 102 h 1279"/>
                  <a:gd name="T6" fmla="*/ 735 w 981"/>
                  <a:gd name="T7" fmla="*/ 205 h 1279"/>
                  <a:gd name="T8" fmla="*/ 760 w 981"/>
                  <a:gd name="T9" fmla="*/ 280 h 1279"/>
                  <a:gd name="T10" fmla="*/ 856 w 981"/>
                  <a:gd name="T11" fmla="*/ 294 h 1279"/>
                  <a:gd name="T12" fmla="*/ 872 w 981"/>
                  <a:gd name="T13" fmla="*/ 359 h 1279"/>
                  <a:gd name="T14" fmla="*/ 895 w 981"/>
                  <a:gd name="T15" fmla="*/ 445 h 1279"/>
                  <a:gd name="T16" fmla="*/ 945 w 981"/>
                  <a:gd name="T17" fmla="*/ 505 h 1279"/>
                  <a:gd name="T18" fmla="*/ 950 w 981"/>
                  <a:gd name="T19" fmla="*/ 578 h 1279"/>
                  <a:gd name="T20" fmla="*/ 916 w 981"/>
                  <a:gd name="T21" fmla="*/ 632 h 1279"/>
                  <a:gd name="T22" fmla="*/ 929 w 981"/>
                  <a:gd name="T23" fmla="*/ 716 h 1279"/>
                  <a:gd name="T24" fmla="*/ 872 w 981"/>
                  <a:gd name="T25" fmla="*/ 737 h 1279"/>
                  <a:gd name="T26" fmla="*/ 801 w 981"/>
                  <a:gd name="T27" fmla="*/ 747 h 1279"/>
                  <a:gd name="T28" fmla="*/ 795 w 981"/>
                  <a:gd name="T29" fmla="*/ 804 h 1279"/>
                  <a:gd name="T30" fmla="*/ 756 w 981"/>
                  <a:gd name="T31" fmla="*/ 858 h 1279"/>
                  <a:gd name="T32" fmla="*/ 710 w 981"/>
                  <a:gd name="T33" fmla="*/ 918 h 1279"/>
                  <a:gd name="T34" fmla="*/ 651 w 981"/>
                  <a:gd name="T35" fmla="*/ 979 h 1279"/>
                  <a:gd name="T36" fmla="*/ 568 w 981"/>
                  <a:gd name="T37" fmla="*/ 1044 h 1279"/>
                  <a:gd name="T38" fmla="*/ 461 w 981"/>
                  <a:gd name="T39" fmla="*/ 1114 h 1279"/>
                  <a:gd name="T40" fmla="*/ 417 w 981"/>
                  <a:gd name="T41" fmla="*/ 1160 h 1279"/>
                  <a:gd name="T42" fmla="*/ 440 w 981"/>
                  <a:gd name="T43" fmla="*/ 1167 h 1279"/>
                  <a:gd name="T44" fmla="*/ 463 w 981"/>
                  <a:gd name="T45" fmla="*/ 1177 h 1279"/>
                  <a:gd name="T46" fmla="*/ 453 w 981"/>
                  <a:gd name="T47" fmla="*/ 1231 h 1279"/>
                  <a:gd name="T48" fmla="*/ 432 w 981"/>
                  <a:gd name="T49" fmla="*/ 1275 h 1279"/>
                  <a:gd name="T50" fmla="*/ 417 w 981"/>
                  <a:gd name="T51" fmla="*/ 1213 h 1279"/>
                  <a:gd name="T52" fmla="*/ 344 w 981"/>
                  <a:gd name="T53" fmla="*/ 1169 h 1279"/>
                  <a:gd name="T54" fmla="*/ 263 w 981"/>
                  <a:gd name="T55" fmla="*/ 1183 h 1279"/>
                  <a:gd name="T56" fmla="*/ 200 w 981"/>
                  <a:gd name="T57" fmla="*/ 1217 h 1279"/>
                  <a:gd name="T58" fmla="*/ 154 w 981"/>
                  <a:gd name="T59" fmla="*/ 1219 h 1279"/>
                  <a:gd name="T60" fmla="*/ 82 w 981"/>
                  <a:gd name="T61" fmla="*/ 1210 h 1279"/>
                  <a:gd name="T62" fmla="*/ 17 w 981"/>
                  <a:gd name="T63" fmla="*/ 1119 h 1279"/>
                  <a:gd name="T64" fmla="*/ 65 w 981"/>
                  <a:gd name="T65" fmla="*/ 1106 h 1279"/>
                  <a:gd name="T66" fmla="*/ 92 w 981"/>
                  <a:gd name="T67" fmla="*/ 1031 h 1279"/>
                  <a:gd name="T68" fmla="*/ 165 w 981"/>
                  <a:gd name="T69" fmla="*/ 996 h 1279"/>
                  <a:gd name="T70" fmla="*/ 253 w 981"/>
                  <a:gd name="T71" fmla="*/ 877 h 1279"/>
                  <a:gd name="T72" fmla="*/ 269 w 981"/>
                  <a:gd name="T73" fmla="*/ 730 h 1279"/>
                  <a:gd name="T74" fmla="*/ 361 w 981"/>
                  <a:gd name="T75" fmla="*/ 693 h 1279"/>
                  <a:gd name="T76" fmla="*/ 371 w 981"/>
                  <a:gd name="T77" fmla="*/ 755 h 1279"/>
                  <a:gd name="T78" fmla="*/ 432 w 981"/>
                  <a:gd name="T79" fmla="*/ 743 h 1279"/>
                  <a:gd name="T80" fmla="*/ 493 w 981"/>
                  <a:gd name="T81" fmla="*/ 762 h 1279"/>
                  <a:gd name="T82" fmla="*/ 609 w 981"/>
                  <a:gd name="T83" fmla="*/ 791 h 1279"/>
                  <a:gd name="T84" fmla="*/ 595 w 981"/>
                  <a:gd name="T85" fmla="*/ 772 h 1279"/>
                  <a:gd name="T86" fmla="*/ 576 w 981"/>
                  <a:gd name="T87" fmla="*/ 745 h 1279"/>
                  <a:gd name="T88" fmla="*/ 551 w 981"/>
                  <a:gd name="T89" fmla="*/ 726 h 1279"/>
                  <a:gd name="T90" fmla="*/ 580 w 981"/>
                  <a:gd name="T91" fmla="*/ 662 h 1279"/>
                  <a:gd name="T92" fmla="*/ 564 w 981"/>
                  <a:gd name="T93" fmla="*/ 589 h 1279"/>
                  <a:gd name="T94" fmla="*/ 497 w 981"/>
                  <a:gd name="T95" fmla="*/ 497 h 1279"/>
                  <a:gd name="T96" fmla="*/ 499 w 981"/>
                  <a:gd name="T97" fmla="*/ 373 h 1279"/>
                  <a:gd name="T98" fmla="*/ 432 w 981"/>
                  <a:gd name="T99" fmla="*/ 353 h 1279"/>
                  <a:gd name="T100" fmla="*/ 394 w 981"/>
                  <a:gd name="T101" fmla="*/ 311 h 1279"/>
                  <a:gd name="T102" fmla="*/ 399 w 981"/>
                  <a:gd name="T103" fmla="*/ 265 h 1279"/>
                  <a:gd name="T104" fmla="*/ 432 w 981"/>
                  <a:gd name="T105" fmla="*/ 182 h 1279"/>
                  <a:gd name="T106" fmla="*/ 440 w 981"/>
                  <a:gd name="T107" fmla="*/ 134 h 1279"/>
                  <a:gd name="T108" fmla="*/ 399 w 981"/>
                  <a:gd name="T109" fmla="*/ 90 h 1279"/>
                  <a:gd name="T110" fmla="*/ 357 w 981"/>
                  <a:gd name="T111" fmla="*/ 88 h 1279"/>
                  <a:gd name="T112" fmla="*/ 351 w 981"/>
                  <a:gd name="T113" fmla="*/ 38 h 1279"/>
                  <a:gd name="T114" fmla="*/ 397 w 981"/>
                  <a:gd name="T115" fmla="*/ 2 h 1279"/>
                  <a:gd name="T116" fmla="*/ 449 w 981"/>
                  <a:gd name="T117" fmla="*/ 31 h 1279"/>
                  <a:gd name="T118" fmla="*/ 480 w 981"/>
                  <a:gd name="T119" fmla="*/ 54 h 1279"/>
                  <a:gd name="T120" fmla="*/ 555 w 981"/>
                  <a:gd name="T121" fmla="*/ 54 h 1279"/>
                  <a:gd name="T122" fmla="*/ 601 w 981"/>
                  <a:gd name="T123" fmla="*/ 19 h 1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1" h="1279">
                    <a:moveTo>
                      <a:pt x="582" y="1273"/>
                    </a:moveTo>
                    <a:lnTo>
                      <a:pt x="580" y="1273"/>
                    </a:lnTo>
                    <a:lnTo>
                      <a:pt x="580" y="1275"/>
                    </a:lnTo>
                    <a:lnTo>
                      <a:pt x="578" y="1275"/>
                    </a:lnTo>
                    <a:lnTo>
                      <a:pt x="578" y="1273"/>
                    </a:lnTo>
                    <a:lnTo>
                      <a:pt x="580" y="1273"/>
                    </a:lnTo>
                    <a:lnTo>
                      <a:pt x="582" y="1273"/>
                    </a:lnTo>
                    <a:close/>
                    <a:moveTo>
                      <a:pt x="422" y="1162"/>
                    </a:moveTo>
                    <a:lnTo>
                      <a:pt x="424" y="1162"/>
                    </a:lnTo>
                    <a:lnTo>
                      <a:pt x="424" y="1163"/>
                    </a:lnTo>
                    <a:lnTo>
                      <a:pt x="426" y="1163"/>
                    </a:lnTo>
                    <a:lnTo>
                      <a:pt x="424" y="1163"/>
                    </a:lnTo>
                    <a:lnTo>
                      <a:pt x="424" y="1162"/>
                    </a:lnTo>
                    <a:lnTo>
                      <a:pt x="422" y="1162"/>
                    </a:lnTo>
                    <a:lnTo>
                      <a:pt x="420" y="1162"/>
                    </a:lnTo>
                    <a:lnTo>
                      <a:pt x="419" y="1162"/>
                    </a:lnTo>
                    <a:lnTo>
                      <a:pt x="419" y="1160"/>
                    </a:lnTo>
                    <a:lnTo>
                      <a:pt x="420" y="1160"/>
                    </a:lnTo>
                    <a:lnTo>
                      <a:pt x="422" y="1160"/>
                    </a:lnTo>
                    <a:lnTo>
                      <a:pt x="422" y="1162"/>
                    </a:lnTo>
                    <a:close/>
                    <a:moveTo>
                      <a:pt x="655" y="23"/>
                    </a:moveTo>
                    <a:lnTo>
                      <a:pt x="657" y="21"/>
                    </a:lnTo>
                    <a:lnTo>
                      <a:pt x="657" y="19"/>
                    </a:lnTo>
                    <a:lnTo>
                      <a:pt x="659" y="19"/>
                    </a:lnTo>
                    <a:lnTo>
                      <a:pt x="660" y="17"/>
                    </a:lnTo>
                    <a:lnTo>
                      <a:pt x="660" y="19"/>
                    </a:lnTo>
                    <a:lnTo>
                      <a:pt x="660" y="21"/>
                    </a:lnTo>
                    <a:lnTo>
                      <a:pt x="660" y="23"/>
                    </a:lnTo>
                    <a:lnTo>
                      <a:pt x="662" y="23"/>
                    </a:lnTo>
                    <a:lnTo>
                      <a:pt x="662" y="25"/>
                    </a:lnTo>
                    <a:lnTo>
                      <a:pt x="664" y="25"/>
                    </a:lnTo>
                    <a:lnTo>
                      <a:pt x="664" y="27"/>
                    </a:lnTo>
                    <a:lnTo>
                      <a:pt x="664" y="29"/>
                    </a:lnTo>
                    <a:lnTo>
                      <a:pt x="664" y="31"/>
                    </a:lnTo>
                    <a:lnTo>
                      <a:pt x="662" y="31"/>
                    </a:lnTo>
                    <a:lnTo>
                      <a:pt x="662" y="33"/>
                    </a:lnTo>
                    <a:lnTo>
                      <a:pt x="662" y="35"/>
                    </a:lnTo>
                    <a:lnTo>
                      <a:pt x="662" y="37"/>
                    </a:lnTo>
                    <a:lnTo>
                      <a:pt x="660" y="37"/>
                    </a:lnTo>
                    <a:lnTo>
                      <a:pt x="662" y="37"/>
                    </a:lnTo>
                    <a:lnTo>
                      <a:pt x="662" y="38"/>
                    </a:lnTo>
                    <a:lnTo>
                      <a:pt x="664" y="38"/>
                    </a:lnTo>
                    <a:lnTo>
                      <a:pt x="664" y="37"/>
                    </a:lnTo>
                    <a:lnTo>
                      <a:pt x="666" y="37"/>
                    </a:lnTo>
                    <a:lnTo>
                      <a:pt x="668" y="37"/>
                    </a:lnTo>
                    <a:lnTo>
                      <a:pt x="668" y="38"/>
                    </a:lnTo>
                    <a:lnTo>
                      <a:pt x="668" y="40"/>
                    </a:lnTo>
                    <a:lnTo>
                      <a:pt x="670" y="40"/>
                    </a:lnTo>
                    <a:lnTo>
                      <a:pt x="670" y="42"/>
                    </a:lnTo>
                    <a:lnTo>
                      <a:pt x="670" y="44"/>
                    </a:lnTo>
                    <a:lnTo>
                      <a:pt x="670" y="46"/>
                    </a:lnTo>
                    <a:lnTo>
                      <a:pt x="672" y="46"/>
                    </a:lnTo>
                    <a:lnTo>
                      <a:pt x="672" y="48"/>
                    </a:lnTo>
                    <a:lnTo>
                      <a:pt x="672" y="50"/>
                    </a:lnTo>
                    <a:lnTo>
                      <a:pt x="672" y="52"/>
                    </a:lnTo>
                    <a:lnTo>
                      <a:pt x="674" y="54"/>
                    </a:lnTo>
                    <a:lnTo>
                      <a:pt x="676" y="54"/>
                    </a:lnTo>
                    <a:lnTo>
                      <a:pt x="676" y="52"/>
                    </a:lnTo>
                    <a:lnTo>
                      <a:pt x="676" y="54"/>
                    </a:lnTo>
                    <a:lnTo>
                      <a:pt x="678" y="54"/>
                    </a:lnTo>
                    <a:lnTo>
                      <a:pt x="678" y="56"/>
                    </a:lnTo>
                    <a:lnTo>
                      <a:pt x="680" y="56"/>
                    </a:lnTo>
                    <a:lnTo>
                      <a:pt x="682" y="56"/>
                    </a:lnTo>
                    <a:lnTo>
                      <a:pt x="684" y="56"/>
                    </a:lnTo>
                    <a:lnTo>
                      <a:pt x="684" y="58"/>
                    </a:lnTo>
                    <a:lnTo>
                      <a:pt x="685" y="58"/>
                    </a:lnTo>
                    <a:lnTo>
                      <a:pt x="687" y="58"/>
                    </a:lnTo>
                    <a:lnTo>
                      <a:pt x="687" y="60"/>
                    </a:lnTo>
                    <a:lnTo>
                      <a:pt x="689" y="60"/>
                    </a:lnTo>
                    <a:lnTo>
                      <a:pt x="689" y="58"/>
                    </a:lnTo>
                    <a:lnTo>
                      <a:pt x="691" y="58"/>
                    </a:lnTo>
                    <a:lnTo>
                      <a:pt x="693" y="58"/>
                    </a:lnTo>
                    <a:lnTo>
                      <a:pt x="695" y="58"/>
                    </a:lnTo>
                    <a:lnTo>
                      <a:pt x="697" y="58"/>
                    </a:lnTo>
                    <a:lnTo>
                      <a:pt x="699" y="58"/>
                    </a:lnTo>
                    <a:lnTo>
                      <a:pt x="701" y="58"/>
                    </a:lnTo>
                    <a:lnTo>
                      <a:pt x="701" y="60"/>
                    </a:lnTo>
                    <a:lnTo>
                      <a:pt x="703" y="60"/>
                    </a:lnTo>
                    <a:lnTo>
                      <a:pt x="705" y="60"/>
                    </a:lnTo>
                    <a:lnTo>
                      <a:pt x="707" y="60"/>
                    </a:lnTo>
                    <a:lnTo>
                      <a:pt x="707" y="58"/>
                    </a:lnTo>
                    <a:lnTo>
                      <a:pt x="708" y="58"/>
                    </a:lnTo>
                    <a:lnTo>
                      <a:pt x="710" y="58"/>
                    </a:lnTo>
                    <a:lnTo>
                      <a:pt x="710" y="56"/>
                    </a:lnTo>
                    <a:lnTo>
                      <a:pt x="712" y="56"/>
                    </a:lnTo>
                    <a:lnTo>
                      <a:pt x="712" y="58"/>
                    </a:lnTo>
                    <a:lnTo>
                      <a:pt x="714" y="58"/>
                    </a:lnTo>
                    <a:lnTo>
                      <a:pt x="714" y="60"/>
                    </a:lnTo>
                    <a:lnTo>
                      <a:pt x="716" y="60"/>
                    </a:lnTo>
                    <a:lnTo>
                      <a:pt x="718" y="60"/>
                    </a:lnTo>
                    <a:lnTo>
                      <a:pt x="720" y="60"/>
                    </a:lnTo>
                    <a:lnTo>
                      <a:pt x="720" y="61"/>
                    </a:lnTo>
                    <a:lnTo>
                      <a:pt x="722" y="61"/>
                    </a:lnTo>
                    <a:lnTo>
                      <a:pt x="724" y="61"/>
                    </a:lnTo>
                    <a:lnTo>
                      <a:pt x="726" y="61"/>
                    </a:lnTo>
                    <a:lnTo>
                      <a:pt x="726" y="63"/>
                    </a:lnTo>
                    <a:lnTo>
                      <a:pt x="728" y="63"/>
                    </a:lnTo>
                    <a:lnTo>
                      <a:pt x="730" y="63"/>
                    </a:lnTo>
                    <a:lnTo>
                      <a:pt x="732" y="61"/>
                    </a:lnTo>
                    <a:lnTo>
                      <a:pt x="733" y="61"/>
                    </a:lnTo>
                    <a:lnTo>
                      <a:pt x="735" y="61"/>
                    </a:lnTo>
                    <a:lnTo>
                      <a:pt x="735" y="63"/>
                    </a:lnTo>
                    <a:lnTo>
                      <a:pt x="737" y="63"/>
                    </a:lnTo>
                    <a:lnTo>
                      <a:pt x="737" y="65"/>
                    </a:lnTo>
                    <a:lnTo>
                      <a:pt x="739" y="65"/>
                    </a:lnTo>
                    <a:lnTo>
                      <a:pt x="741" y="65"/>
                    </a:lnTo>
                    <a:lnTo>
                      <a:pt x="743" y="65"/>
                    </a:lnTo>
                    <a:lnTo>
                      <a:pt x="745" y="65"/>
                    </a:lnTo>
                    <a:lnTo>
                      <a:pt x="745" y="67"/>
                    </a:lnTo>
                    <a:lnTo>
                      <a:pt x="745" y="69"/>
                    </a:lnTo>
                    <a:lnTo>
                      <a:pt x="747" y="71"/>
                    </a:lnTo>
                    <a:lnTo>
                      <a:pt x="747" y="75"/>
                    </a:lnTo>
                    <a:lnTo>
                      <a:pt x="751" y="77"/>
                    </a:lnTo>
                    <a:lnTo>
                      <a:pt x="758" y="79"/>
                    </a:lnTo>
                    <a:lnTo>
                      <a:pt x="756" y="83"/>
                    </a:lnTo>
                    <a:lnTo>
                      <a:pt x="756" y="85"/>
                    </a:lnTo>
                    <a:lnTo>
                      <a:pt x="749" y="85"/>
                    </a:lnTo>
                    <a:lnTo>
                      <a:pt x="749" y="83"/>
                    </a:lnTo>
                    <a:lnTo>
                      <a:pt x="747" y="81"/>
                    </a:lnTo>
                    <a:lnTo>
                      <a:pt x="745" y="81"/>
                    </a:lnTo>
                    <a:lnTo>
                      <a:pt x="745" y="83"/>
                    </a:lnTo>
                    <a:lnTo>
                      <a:pt x="747" y="83"/>
                    </a:lnTo>
                    <a:lnTo>
                      <a:pt x="747" y="85"/>
                    </a:lnTo>
                    <a:lnTo>
                      <a:pt x="749" y="85"/>
                    </a:lnTo>
                    <a:lnTo>
                      <a:pt x="747" y="85"/>
                    </a:lnTo>
                    <a:lnTo>
                      <a:pt x="745" y="85"/>
                    </a:lnTo>
                    <a:lnTo>
                      <a:pt x="743" y="85"/>
                    </a:lnTo>
                    <a:lnTo>
                      <a:pt x="741" y="85"/>
                    </a:lnTo>
                    <a:lnTo>
                      <a:pt x="739" y="83"/>
                    </a:lnTo>
                    <a:lnTo>
                      <a:pt x="737" y="83"/>
                    </a:lnTo>
                    <a:lnTo>
                      <a:pt x="737" y="85"/>
                    </a:lnTo>
                    <a:lnTo>
                      <a:pt x="735" y="85"/>
                    </a:lnTo>
                    <a:lnTo>
                      <a:pt x="735" y="86"/>
                    </a:lnTo>
                    <a:lnTo>
                      <a:pt x="735" y="88"/>
                    </a:lnTo>
                    <a:lnTo>
                      <a:pt x="733" y="86"/>
                    </a:lnTo>
                    <a:lnTo>
                      <a:pt x="732" y="86"/>
                    </a:lnTo>
                    <a:lnTo>
                      <a:pt x="730" y="86"/>
                    </a:lnTo>
                    <a:lnTo>
                      <a:pt x="726" y="85"/>
                    </a:lnTo>
                    <a:lnTo>
                      <a:pt x="726" y="86"/>
                    </a:lnTo>
                    <a:lnTo>
                      <a:pt x="724" y="88"/>
                    </a:lnTo>
                    <a:lnTo>
                      <a:pt x="724" y="90"/>
                    </a:lnTo>
                    <a:lnTo>
                      <a:pt x="722" y="92"/>
                    </a:lnTo>
                    <a:lnTo>
                      <a:pt x="722" y="90"/>
                    </a:lnTo>
                    <a:lnTo>
                      <a:pt x="722" y="92"/>
                    </a:lnTo>
                    <a:lnTo>
                      <a:pt x="720" y="92"/>
                    </a:lnTo>
                    <a:lnTo>
                      <a:pt x="718" y="92"/>
                    </a:lnTo>
                    <a:lnTo>
                      <a:pt x="716" y="92"/>
                    </a:lnTo>
                    <a:lnTo>
                      <a:pt x="714" y="92"/>
                    </a:lnTo>
                    <a:lnTo>
                      <a:pt x="716" y="96"/>
                    </a:lnTo>
                    <a:lnTo>
                      <a:pt x="718" y="98"/>
                    </a:lnTo>
                    <a:lnTo>
                      <a:pt x="720" y="98"/>
                    </a:lnTo>
                    <a:lnTo>
                      <a:pt x="720" y="96"/>
                    </a:lnTo>
                    <a:lnTo>
                      <a:pt x="722" y="102"/>
                    </a:lnTo>
                    <a:lnTo>
                      <a:pt x="724" y="104"/>
                    </a:lnTo>
                    <a:lnTo>
                      <a:pt x="724" y="109"/>
                    </a:lnTo>
                    <a:lnTo>
                      <a:pt x="726" y="111"/>
                    </a:lnTo>
                    <a:lnTo>
                      <a:pt x="726" y="113"/>
                    </a:lnTo>
                    <a:lnTo>
                      <a:pt x="724" y="115"/>
                    </a:lnTo>
                    <a:lnTo>
                      <a:pt x="722" y="115"/>
                    </a:lnTo>
                    <a:lnTo>
                      <a:pt x="720" y="115"/>
                    </a:lnTo>
                    <a:lnTo>
                      <a:pt x="716" y="117"/>
                    </a:lnTo>
                    <a:lnTo>
                      <a:pt x="716" y="119"/>
                    </a:lnTo>
                    <a:lnTo>
                      <a:pt x="718" y="123"/>
                    </a:lnTo>
                    <a:lnTo>
                      <a:pt x="720" y="127"/>
                    </a:lnTo>
                    <a:lnTo>
                      <a:pt x="720" y="129"/>
                    </a:lnTo>
                    <a:lnTo>
                      <a:pt x="722" y="131"/>
                    </a:lnTo>
                    <a:lnTo>
                      <a:pt x="720" y="131"/>
                    </a:lnTo>
                    <a:lnTo>
                      <a:pt x="720" y="133"/>
                    </a:lnTo>
                    <a:lnTo>
                      <a:pt x="720" y="134"/>
                    </a:lnTo>
                    <a:lnTo>
                      <a:pt x="720" y="136"/>
                    </a:lnTo>
                    <a:lnTo>
                      <a:pt x="722" y="138"/>
                    </a:lnTo>
                    <a:lnTo>
                      <a:pt x="726" y="142"/>
                    </a:lnTo>
                    <a:lnTo>
                      <a:pt x="728" y="144"/>
                    </a:lnTo>
                    <a:lnTo>
                      <a:pt x="730" y="144"/>
                    </a:lnTo>
                    <a:lnTo>
                      <a:pt x="732" y="148"/>
                    </a:lnTo>
                    <a:lnTo>
                      <a:pt x="733" y="152"/>
                    </a:lnTo>
                    <a:lnTo>
                      <a:pt x="733" y="154"/>
                    </a:lnTo>
                    <a:lnTo>
                      <a:pt x="735" y="154"/>
                    </a:lnTo>
                    <a:lnTo>
                      <a:pt x="733" y="154"/>
                    </a:lnTo>
                    <a:lnTo>
                      <a:pt x="733" y="156"/>
                    </a:lnTo>
                    <a:lnTo>
                      <a:pt x="732" y="156"/>
                    </a:lnTo>
                    <a:lnTo>
                      <a:pt x="732" y="157"/>
                    </a:lnTo>
                    <a:lnTo>
                      <a:pt x="732" y="159"/>
                    </a:lnTo>
                    <a:lnTo>
                      <a:pt x="732" y="161"/>
                    </a:lnTo>
                    <a:lnTo>
                      <a:pt x="733" y="161"/>
                    </a:lnTo>
                    <a:lnTo>
                      <a:pt x="733" y="169"/>
                    </a:lnTo>
                    <a:lnTo>
                      <a:pt x="733" y="171"/>
                    </a:lnTo>
                    <a:lnTo>
                      <a:pt x="733" y="173"/>
                    </a:lnTo>
                    <a:lnTo>
                      <a:pt x="733" y="175"/>
                    </a:lnTo>
                    <a:lnTo>
                      <a:pt x="733" y="177"/>
                    </a:lnTo>
                    <a:lnTo>
                      <a:pt x="733" y="179"/>
                    </a:lnTo>
                    <a:lnTo>
                      <a:pt x="733" y="181"/>
                    </a:lnTo>
                    <a:lnTo>
                      <a:pt x="733" y="182"/>
                    </a:lnTo>
                    <a:lnTo>
                      <a:pt x="733" y="184"/>
                    </a:lnTo>
                    <a:lnTo>
                      <a:pt x="733" y="186"/>
                    </a:lnTo>
                    <a:lnTo>
                      <a:pt x="733" y="190"/>
                    </a:lnTo>
                    <a:lnTo>
                      <a:pt x="733" y="192"/>
                    </a:lnTo>
                    <a:lnTo>
                      <a:pt x="735" y="192"/>
                    </a:lnTo>
                    <a:lnTo>
                      <a:pt x="735" y="194"/>
                    </a:lnTo>
                    <a:lnTo>
                      <a:pt x="735" y="196"/>
                    </a:lnTo>
                    <a:lnTo>
                      <a:pt x="735" y="198"/>
                    </a:lnTo>
                    <a:lnTo>
                      <a:pt x="735" y="200"/>
                    </a:lnTo>
                    <a:lnTo>
                      <a:pt x="735" y="202"/>
                    </a:lnTo>
                    <a:lnTo>
                      <a:pt x="735" y="205"/>
                    </a:lnTo>
                    <a:lnTo>
                      <a:pt x="737" y="205"/>
                    </a:lnTo>
                    <a:lnTo>
                      <a:pt x="739" y="205"/>
                    </a:lnTo>
                    <a:lnTo>
                      <a:pt x="741" y="205"/>
                    </a:lnTo>
                    <a:lnTo>
                      <a:pt x="745" y="205"/>
                    </a:lnTo>
                    <a:lnTo>
                      <a:pt x="749" y="204"/>
                    </a:lnTo>
                    <a:lnTo>
                      <a:pt x="751" y="204"/>
                    </a:lnTo>
                    <a:lnTo>
                      <a:pt x="753" y="204"/>
                    </a:lnTo>
                    <a:lnTo>
                      <a:pt x="758" y="204"/>
                    </a:lnTo>
                    <a:lnTo>
                      <a:pt x="760" y="204"/>
                    </a:lnTo>
                    <a:lnTo>
                      <a:pt x="762" y="204"/>
                    </a:lnTo>
                    <a:lnTo>
                      <a:pt x="762" y="209"/>
                    </a:lnTo>
                    <a:lnTo>
                      <a:pt x="762" y="211"/>
                    </a:lnTo>
                    <a:lnTo>
                      <a:pt x="762" y="213"/>
                    </a:lnTo>
                    <a:lnTo>
                      <a:pt x="766" y="213"/>
                    </a:lnTo>
                    <a:lnTo>
                      <a:pt x="766" y="217"/>
                    </a:lnTo>
                    <a:lnTo>
                      <a:pt x="764" y="217"/>
                    </a:lnTo>
                    <a:lnTo>
                      <a:pt x="762" y="217"/>
                    </a:lnTo>
                    <a:lnTo>
                      <a:pt x="760" y="217"/>
                    </a:lnTo>
                    <a:lnTo>
                      <a:pt x="758" y="217"/>
                    </a:lnTo>
                    <a:lnTo>
                      <a:pt x="758" y="219"/>
                    </a:lnTo>
                    <a:lnTo>
                      <a:pt x="760" y="223"/>
                    </a:lnTo>
                    <a:lnTo>
                      <a:pt x="760" y="227"/>
                    </a:lnTo>
                    <a:lnTo>
                      <a:pt x="760" y="229"/>
                    </a:lnTo>
                    <a:lnTo>
                      <a:pt x="758" y="229"/>
                    </a:lnTo>
                    <a:lnTo>
                      <a:pt x="756" y="229"/>
                    </a:lnTo>
                    <a:lnTo>
                      <a:pt x="755" y="229"/>
                    </a:lnTo>
                    <a:lnTo>
                      <a:pt x="753" y="229"/>
                    </a:lnTo>
                    <a:lnTo>
                      <a:pt x="753" y="230"/>
                    </a:lnTo>
                    <a:lnTo>
                      <a:pt x="751" y="230"/>
                    </a:lnTo>
                    <a:lnTo>
                      <a:pt x="749" y="230"/>
                    </a:lnTo>
                    <a:lnTo>
                      <a:pt x="749" y="232"/>
                    </a:lnTo>
                    <a:lnTo>
                      <a:pt x="751" y="234"/>
                    </a:lnTo>
                    <a:lnTo>
                      <a:pt x="751" y="238"/>
                    </a:lnTo>
                    <a:lnTo>
                      <a:pt x="751" y="240"/>
                    </a:lnTo>
                    <a:lnTo>
                      <a:pt x="751" y="242"/>
                    </a:lnTo>
                    <a:lnTo>
                      <a:pt x="751" y="244"/>
                    </a:lnTo>
                    <a:lnTo>
                      <a:pt x="751" y="248"/>
                    </a:lnTo>
                    <a:lnTo>
                      <a:pt x="751" y="250"/>
                    </a:lnTo>
                    <a:lnTo>
                      <a:pt x="751" y="252"/>
                    </a:lnTo>
                    <a:lnTo>
                      <a:pt x="753" y="257"/>
                    </a:lnTo>
                    <a:lnTo>
                      <a:pt x="753" y="261"/>
                    </a:lnTo>
                    <a:lnTo>
                      <a:pt x="753" y="265"/>
                    </a:lnTo>
                    <a:lnTo>
                      <a:pt x="753" y="267"/>
                    </a:lnTo>
                    <a:lnTo>
                      <a:pt x="753" y="269"/>
                    </a:lnTo>
                    <a:lnTo>
                      <a:pt x="753" y="273"/>
                    </a:lnTo>
                    <a:lnTo>
                      <a:pt x="753" y="275"/>
                    </a:lnTo>
                    <a:lnTo>
                      <a:pt x="753" y="278"/>
                    </a:lnTo>
                    <a:lnTo>
                      <a:pt x="753" y="282"/>
                    </a:lnTo>
                    <a:lnTo>
                      <a:pt x="755" y="282"/>
                    </a:lnTo>
                    <a:lnTo>
                      <a:pt x="758" y="280"/>
                    </a:lnTo>
                    <a:lnTo>
                      <a:pt x="760" y="280"/>
                    </a:lnTo>
                    <a:lnTo>
                      <a:pt x="766" y="280"/>
                    </a:lnTo>
                    <a:lnTo>
                      <a:pt x="766" y="282"/>
                    </a:lnTo>
                    <a:lnTo>
                      <a:pt x="766" y="286"/>
                    </a:lnTo>
                    <a:lnTo>
                      <a:pt x="766" y="290"/>
                    </a:lnTo>
                    <a:lnTo>
                      <a:pt x="776" y="290"/>
                    </a:lnTo>
                    <a:lnTo>
                      <a:pt x="783" y="288"/>
                    </a:lnTo>
                    <a:lnTo>
                      <a:pt x="791" y="288"/>
                    </a:lnTo>
                    <a:lnTo>
                      <a:pt x="793" y="288"/>
                    </a:lnTo>
                    <a:lnTo>
                      <a:pt x="793" y="290"/>
                    </a:lnTo>
                    <a:lnTo>
                      <a:pt x="795" y="290"/>
                    </a:lnTo>
                    <a:lnTo>
                      <a:pt x="797" y="290"/>
                    </a:lnTo>
                    <a:lnTo>
                      <a:pt x="801" y="288"/>
                    </a:lnTo>
                    <a:lnTo>
                      <a:pt x="803" y="288"/>
                    </a:lnTo>
                    <a:lnTo>
                      <a:pt x="808" y="288"/>
                    </a:lnTo>
                    <a:lnTo>
                      <a:pt x="808" y="290"/>
                    </a:lnTo>
                    <a:lnTo>
                      <a:pt x="808" y="292"/>
                    </a:lnTo>
                    <a:lnTo>
                      <a:pt x="812" y="292"/>
                    </a:lnTo>
                    <a:lnTo>
                      <a:pt x="814" y="290"/>
                    </a:lnTo>
                    <a:lnTo>
                      <a:pt x="818" y="290"/>
                    </a:lnTo>
                    <a:lnTo>
                      <a:pt x="822" y="290"/>
                    </a:lnTo>
                    <a:lnTo>
                      <a:pt x="822" y="292"/>
                    </a:lnTo>
                    <a:lnTo>
                      <a:pt x="822" y="294"/>
                    </a:lnTo>
                    <a:lnTo>
                      <a:pt x="822" y="296"/>
                    </a:lnTo>
                    <a:lnTo>
                      <a:pt x="820" y="296"/>
                    </a:lnTo>
                    <a:lnTo>
                      <a:pt x="820" y="298"/>
                    </a:lnTo>
                    <a:lnTo>
                      <a:pt x="820" y="301"/>
                    </a:lnTo>
                    <a:lnTo>
                      <a:pt x="820" y="303"/>
                    </a:lnTo>
                    <a:lnTo>
                      <a:pt x="822" y="303"/>
                    </a:lnTo>
                    <a:lnTo>
                      <a:pt x="829" y="303"/>
                    </a:lnTo>
                    <a:lnTo>
                      <a:pt x="831" y="303"/>
                    </a:lnTo>
                    <a:lnTo>
                      <a:pt x="833" y="303"/>
                    </a:lnTo>
                    <a:lnTo>
                      <a:pt x="835" y="303"/>
                    </a:lnTo>
                    <a:lnTo>
                      <a:pt x="835" y="301"/>
                    </a:lnTo>
                    <a:lnTo>
                      <a:pt x="837" y="301"/>
                    </a:lnTo>
                    <a:lnTo>
                      <a:pt x="837" y="298"/>
                    </a:lnTo>
                    <a:lnTo>
                      <a:pt x="835" y="294"/>
                    </a:lnTo>
                    <a:lnTo>
                      <a:pt x="835" y="290"/>
                    </a:lnTo>
                    <a:lnTo>
                      <a:pt x="835" y="288"/>
                    </a:lnTo>
                    <a:lnTo>
                      <a:pt x="837" y="288"/>
                    </a:lnTo>
                    <a:lnTo>
                      <a:pt x="841" y="288"/>
                    </a:lnTo>
                    <a:lnTo>
                      <a:pt x="845" y="288"/>
                    </a:lnTo>
                    <a:lnTo>
                      <a:pt x="849" y="288"/>
                    </a:lnTo>
                    <a:lnTo>
                      <a:pt x="851" y="288"/>
                    </a:lnTo>
                    <a:lnTo>
                      <a:pt x="854" y="288"/>
                    </a:lnTo>
                    <a:lnTo>
                      <a:pt x="856" y="286"/>
                    </a:lnTo>
                    <a:lnTo>
                      <a:pt x="858" y="286"/>
                    </a:lnTo>
                    <a:lnTo>
                      <a:pt x="858" y="288"/>
                    </a:lnTo>
                    <a:lnTo>
                      <a:pt x="858" y="290"/>
                    </a:lnTo>
                    <a:lnTo>
                      <a:pt x="858" y="292"/>
                    </a:lnTo>
                    <a:lnTo>
                      <a:pt x="856" y="292"/>
                    </a:lnTo>
                    <a:lnTo>
                      <a:pt x="856" y="294"/>
                    </a:lnTo>
                    <a:lnTo>
                      <a:pt x="854" y="294"/>
                    </a:lnTo>
                    <a:lnTo>
                      <a:pt x="854" y="298"/>
                    </a:lnTo>
                    <a:lnTo>
                      <a:pt x="853" y="298"/>
                    </a:lnTo>
                    <a:lnTo>
                      <a:pt x="853" y="300"/>
                    </a:lnTo>
                    <a:lnTo>
                      <a:pt x="853" y="301"/>
                    </a:lnTo>
                    <a:lnTo>
                      <a:pt x="853" y="305"/>
                    </a:lnTo>
                    <a:lnTo>
                      <a:pt x="853" y="307"/>
                    </a:lnTo>
                    <a:lnTo>
                      <a:pt x="853" y="311"/>
                    </a:lnTo>
                    <a:lnTo>
                      <a:pt x="853" y="313"/>
                    </a:lnTo>
                    <a:lnTo>
                      <a:pt x="851" y="315"/>
                    </a:lnTo>
                    <a:lnTo>
                      <a:pt x="849" y="315"/>
                    </a:lnTo>
                    <a:lnTo>
                      <a:pt x="847" y="315"/>
                    </a:lnTo>
                    <a:lnTo>
                      <a:pt x="845" y="315"/>
                    </a:lnTo>
                    <a:lnTo>
                      <a:pt x="843" y="315"/>
                    </a:lnTo>
                    <a:lnTo>
                      <a:pt x="843" y="317"/>
                    </a:lnTo>
                    <a:lnTo>
                      <a:pt x="843" y="319"/>
                    </a:lnTo>
                    <a:lnTo>
                      <a:pt x="843" y="323"/>
                    </a:lnTo>
                    <a:lnTo>
                      <a:pt x="845" y="323"/>
                    </a:lnTo>
                    <a:lnTo>
                      <a:pt x="845" y="325"/>
                    </a:lnTo>
                    <a:lnTo>
                      <a:pt x="847" y="325"/>
                    </a:lnTo>
                    <a:lnTo>
                      <a:pt x="847" y="326"/>
                    </a:lnTo>
                    <a:lnTo>
                      <a:pt x="849" y="326"/>
                    </a:lnTo>
                    <a:lnTo>
                      <a:pt x="849" y="328"/>
                    </a:lnTo>
                    <a:lnTo>
                      <a:pt x="849" y="330"/>
                    </a:lnTo>
                    <a:lnTo>
                      <a:pt x="853" y="330"/>
                    </a:lnTo>
                    <a:lnTo>
                      <a:pt x="853" y="328"/>
                    </a:lnTo>
                    <a:lnTo>
                      <a:pt x="854" y="328"/>
                    </a:lnTo>
                    <a:lnTo>
                      <a:pt x="856" y="328"/>
                    </a:lnTo>
                    <a:lnTo>
                      <a:pt x="858" y="326"/>
                    </a:lnTo>
                    <a:lnTo>
                      <a:pt x="858" y="330"/>
                    </a:lnTo>
                    <a:lnTo>
                      <a:pt x="860" y="330"/>
                    </a:lnTo>
                    <a:lnTo>
                      <a:pt x="862" y="330"/>
                    </a:lnTo>
                    <a:lnTo>
                      <a:pt x="864" y="330"/>
                    </a:lnTo>
                    <a:lnTo>
                      <a:pt x="866" y="330"/>
                    </a:lnTo>
                    <a:lnTo>
                      <a:pt x="866" y="334"/>
                    </a:lnTo>
                    <a:lnTo>
                      <a:pt x="866" y="336"/>
                    </a:lnTo>
                    <a:lnTo>
                      <a:pt x="868" y="336"/>
                    </a:lnTo>
                    <a:lnTo>
                      <a:pt x="870" y="334"/>
                    </a:lnTo>
                    <a:lnTo>
                      <a:pt x="872" y="334"/>
                    </a:lnTo>
                    <a:lnTo>
                      <a:pt x="877" y="334"/>
                    </a:lnTo>
                    <a:lnTo>
                      <a:pt x="879" y="334"/>
                    </a:lnTo>
                    <a:lnTo>
                      <a:pt x="879" y="338"/>
                    </a:lnTo>
                    <a:lnTo>
                      <a:pt x="877" y="338"/>
                    </a:lnTo>
                    <a:lnTo>
                      <a:pt x="877" y="344"/>
                    </a:lnTo>
                    <a:lnTo>
                      <a:pt x="879" y="348"/>
                    </a:lnTo>
                    <a:lnTo>
                      <a:pt x="879" y="349"/>
                    </a:lnTo>
                    <a:lnTo>
                      <a:pt x="876" y="349"/>
                    </a:lnTo>
                    <a:lnTo>
                      <a:pt x="870" y="349"/>
                    </a:lnTo>
                    <a:lnTo>
                      <a:pt x="870" y="353"/>
                    </a:lnTo>
                    <a:lnTo>
                      <a:pt x="870" y="355"/>
                    </a:lnTo>
                    <a:lnTo>
                      <a:pt x="872" y="359"/>
                    </a:lnTo>
                    <a:lnTo>
                      <a:pt x="870" y="359"/>
                    </a:lnTo>
                    <a:lnTo>
                      <a:pt x="870" y="371"/>
                    </a:lnTo>
                    <a:lnTo>
                      <a:pt x="872" y="374"/>
                    </a:lnTo>
                    <a:lnTo>
                      <a:pt x="870" y="374"/>
                    </a:lnTo>
                    <a:lnTo>
                      <a:pt x="868" y="374"/>
                    </a:lnTo>
                    <a:lnTo>
                      <a:pt x="866" y="374"/>
                    </a:lnTo>
                    <a:lnTo>
                      <a:pt x="866" y="376"/>
                    </a:lnTo>
                    <a:lnTo>
                      <a:pt x="866" y="378"/>
                    </a:lnTo>
                    <a:lnTo>
                      <a:pt x="866" y="382"/>
                    </a:lnTo>
                    <a:lnTo>
                      <a:pt x="866" y="384"/>
                    </a:lnTo>
                    <a:lnTo>
                      <a:pt x="872" y="384"/>
                    </a:lnTo>
                    <a:lnTo>
                      <a:pt x="874" y="384"/>
                    </a:lnTo>
                    <a:lnTo>
                      <a:pt x="876" y="384"/>
                    </a:lnTo>
                    <a:lnTo>
                      <a:pt x="877" y="386"/>
                    </a:lnTo>
                    <a:lnTo>
                      <a:pt x="877" y="388"/>
                    </a:lnTo>
                    <a:lnTo>
                      <a:pt x="877" y="392"/>
                    </a:lnTo>
                    <a:lnTo>
                      <a:pt x="877" y="394"/>
                    </a:lnTo>
                    <a:lnTo>
                      <a:pt x="872" y="394"/>
                    </a:lnTo>
                    <a:lnTo>
                      <a:pt x="872" y="396"/>
                    </a:lnTo>
                    <a:lnTo>
                      <a:pt x="872" y="399"/>
                    </a:lnTo>
                    <a:lnTo>
                      <a:pt x="872" y="401"/>
                    </a:lnTo>
                    <a:lnTo>
                      <a:pt x="872" y="403"/>
                    </a:lnTo>
                    <a:lnTo>
                      <a:pt x="872" y="405"/>
                    </a:lnTo>
                    <a:lnTo>
                      <a:pt x="872" y="407"/>
                    </a:lnTo>
                    <a:lnTo>
                      <a:pt x="872" y="409"/>
                    </a:lnTo>
                    <a:lnTo>
                      <a:pt x="874" y="409"/>
                    </a:lnTo>
                    <a:lnTo>
                      <a:pt x="874" y="411"/>
                    </a:lnTo>
                    <a:lnTo>
                      <a:pt x="877" y="411"/>
                    </a:lnTo>
                    <a:lnTo>
                      <a:pt x="877" y="413"/>
                    </a:lnTo>
                    <a:lnTo>
                      <a:pt x="879" y="419"/>
                    </a:lnTo>
                    <a:lnTo>
                      <a:pt x="877" y="419"/>
                    </a:lnTo>
                    <a:lnTo>
                      <a:pt x="874" y="419"/>
                    </a:lnTo>
                    <a:lnTo>
                      <a:pt x="874" y="420"/>
                    </a:lnTo>
                    <a:lnTo>
                      <a:pt x="868" y="420"/>
                    </a:lnTo>
                    <a:lnTo>
                      <a:pt x="866" y="422"/>
                    </a:lnTo>
                    <a:lnTo>
                      <a:pt x="866" y="424"/>
                    </a:lnTo>
                    <a:lnTo>
                      <a:pt x="868" y="426"/>
                    </a:lnTo>
                    <a:lnTo>
                      <a:pt x="868" y="428"/>
                    </a:lnTo>
                    <a:lnTo>
                      <a:pt x="870" y="428"/>
                    </a:lnTo>
                    <a:lnTo>
                      <a:pt x="874" y="428"/>
                    </a:lnTo>
                    <a:lnTo>
                      <a:pt x="874" y="436"/>
                    </a:lnTo>
                    <a:lnTo>
                      <a:pt x="876" y="440"/>
                    </a:lnTo>
                    <a:lnTo>
                      <a:pt x="876" y="442"/>
                    </a:lnTo>
                    <a:lnTo>
                      <a:pt x="876" y="444"/>
                    </a:lnTo>
                    <a:lnTo>
                      <a:pt x="876" y="445"/>
                    </a:lnTo>
                    <a:lnTo>
                      <a:pt x="876" y="447"/>
                    </a:lnTo>
                    <a:lnTo>
                      <a:pt x="877" y="447"/>
                    </a:lnTo>
                    <a:lnTo>
                      <a:pt x="879" y="445"/>
                    </a:lnTo>
                    <a:lnTo>
                      <a:pt x="883" y="445"/>
                    </a:lnTo>
                    <a:lnTo>
                      <a:pt x="889" y="445"/>
                    </a:lnTo>
                    <a:lnTo>
                      <a:pt x="895" y="445"/>
                    </a:lnTo>
                    <a:lnTo>
                      <a:pt x="901" y="444"/>
                    </a:lnTo>
                    <a:lnTo>
                      <a:pt x="902" y="444"/>
                    </a:lnTo>
                    <a:lnTo>
                      <a:pt x="901" y="447"/>
                    </a:lnTo>
                    <a:lnTo>
                      <a:pt x="899" y="453"/>
                    </a:lnTo>
                    <a:lnTo>
                      <a:pt x="901" y="453"/>
                    </a:lnTo>
                    <a:lnTo>
                      <a:pt x="902" y="453"/>
                    </a:lnTo>
                    <a:lnTo>
                      <a:pt x="904" y="453"/>
                    </a:lnTo>
                    <a:lnTo>
                      <a:pt x="904" y="455"/>
                    </a:lnTo>
                    <a:lnTo>
                      <a:pt x="904" y="461"/>
                    </a:lnTo>
                    <a:lnTo>
                      <a:pt x="906" y="465"/>
                    </a:lnTo>
                    <a:lnTo>
                      <a:pt x="906" y="467"/>
                    </a:lnTo>
                    <a:lnTo>
                      <a:pt x="914" y="465"/>
                    </a:lnTo>
                    <a:lnTo>
                      <a:pt x="918" y="465"/>
                    </a:lnTo>
                    <a:lnTo>
                      <a:pt x="920" y="465"/>
                    </a:lnTo>
                    <a:lnTo>
                      <a:pt x="924" y="465"/>
                    </a:lnTo>
                    <a:lnTo>
                      <a:pt x="924" y="463"/>
                    </a:lnTo>
                    <a:lnTo>
                      <a:pt x="925" y="461"/>
                    </a:lnTo>
                    <a:lnTo>
                      <a:pt x="929" y="461"/>
                    </a:lnTo>
                    <a:lnTo>
                      <a:pt x="933" y="461"/>
                    </a:lnTo>
                    <a:lnTo>
                      <a:pt x="935" y="461"/>
                    </a:lnTo>
                    <a:lnTo>
                      <a:pt x="943" y="459"/>
                    </a:lnTo>
                    <a:lnTo>
                      <a:pt x="947" y="459"/>
                    </a:lnTo>
                    <a:lnTo>
                      <a:pt x="950" y="459"/>
                    </a:lnTo>
                    <a:lnTo>
                      <a:pt x="952" y="463"/>
                    </a:lnTo>
                    <a:lnTo>
                      <a:pt x="949" y="463"/>
                    </a:lnTo>
                    <a:lnTo>
                      <a:pt x="950" y="467"/>
                    </a:lnTo>
                    <a:lnTo>
                      <a:pt x="950" y="468"/>
                    </a:lnTo>
                    <a:lnTo>
                      <a:pt x="950" y="470"/>
                    </a:lnTo>
                    <a:lnTo>
                      <a:pt x="950" y="476"/>
                    </a:lnTo>
                    <a:lnTo>
                      <a:pt x="950" y="478"/>
                    </a:lnTo>
                    <a:lnTo>
                      <a:pt x="949" y="478"/>
                    </a:lnTo>
                    <a:lnTo>
                      <a:pt x="941" y="478"/>
                    </a:lnTo>
                    <a:lnTo>
                      <a:pt x="941" y="482"/>
                    </a:lnTo>
                    <a:lnTo>
                      <a:pt x="943" y="488"/>
                    </a:lnTo>
                    <a:lnTo>
                      <a:pt x="943" y="492"/>
                    </a:lnTo>
                    <a:lnTo>
                      <a:pt x="943" y="493"/>
                    </a:lnTo>
                    <a:lnTo>
                      <a:pt x="937" y="495"/>
                    </a:lnTo>
                    <a:lnTo>
                      <a:pt x="933" y="495"/>
                    </a:lnTo>
                    <a:lnTo>
                      <a:pt x="933" y="490"/>
                    </a:lnTo>
                    <a:lnTo>
                      <a:pt x="929" y="490"/>
                    </a:lnTo>
                    <a:lnTo>
                      <a:pt x="929" y="495"/>
                    </a:lnTo>
                    <a:lnTo>
                      <a:pt x="931" y="499"/>
                    </a:lnTo>
                    <a:lnTo>
                      <a:pt x="927" y="499"/>
                    </a:lnTo>
                    <a:lnTo>
                      <a:pt x="927" y="503"/>
                    </a:lnTo>
                    <a:lnTo>
                      <a:pt x="927" y="505"/>
                    </a:lnTo>
                    <a:lnTo>
                      <a:pt x="929" y="503"/>
                    </a:lnTo>
                    <a:lnTo>
                      <a:pt x="933" y="503"/>
                    </a:lnTo>
                    <a:lnTo>
                      <a:pt x="933" y="505"/>
                    </a:lnTo>
                    <a:lnTo>
                      <a:pt x="939" y="505"/>
                    </a:lnTo>
                    <a:lnTo>
                      <a:pt x="943" y="505"/>
                    </a:lnTo>
                    <a:lnTo>
                      <a:pt x="945" y="505"/>
                    </a:lnTo>
                    <a:lnTo>
                      <a:pt x="947" y="505"/>
                    </a:lnTo>
                    <a:lnTo>
                      <a:pt x="950" y="505"/>
                    </a:lnTo>
                    <a:lnTo>
                      <a:pt x="952" y="507"/>
                    </a:lnTo>
                    <a:lnTo>
                      <a:pt x="954" y="507"/>
                    </a:lnTo>
                    <a:lnTo>
                      <a:pt x="954" y="505"/>
                    </a:lnTo>
                    <a:lnTo>
                      <a:pt x="954" y="499"/>
                    </a:lnTo>
                    <a:lnTo>
                      <a:pt x="960" y="499"/>
                    </a:lnTo>
                    <a:lnTo>
                      <a:pt x="968" y="497"/>
                    </a:lnTo>
                    <a:lnTo>
                      <a:pt x="970" y="501"/>
                    </a:lnTo>
                    <a:lnTo>
                      <a:pt x="972" y="501"/>
                    </a:lnTo>
                    <a:lnTo>
                      <a:pt x="975" y="501"/>
                    </a:lnTo>
                    <a:lnTo>
                      <a:pt x="975" y="505"/>
                    </a:lnTo>
                    <a:lnTo>
                      <a:pt x="975" y="507"/>
                    </a:lnTo>
                    <a:lnTo>
                      <a:pt x="975" y="516"/>
                    </a:lnTo>
                    <a:lnTo>
                      <a:pt x="977" y="524"/>
                    </a:lnTo>
                    <a:lnTo>
                      <a:pt x="977" y="526"/>
                    </a:lnTo>
                    <a:lnTo>
                      <a:pt x="977" y="532"/>
                    </a:lnTo>
                    <a:lnTo>
                      <a:pt x="977" y="534"/>
                    </a:lnTo>
                    <a:lnTo>
                      <a:pt x="977" y="536"/>
                    </a:lnTo>
                    <a:lnTo>
                      <a:pt x="979" y="536"/>
                    </a:lnTo>
                    <a:lnTo>
                      <a:pt x="979" y="538"/>
                    </a:lnTo>
                    <a:lnTo>
                      <a:pt x="981" y="540"/>
                    </a:lnTo>
                    <a:lnTo>
                      <a:pt x="977" y="540"/>
                    </a:lnTo>
                    <a:lnTo>
                      <a:pt x="977" y="541"/>
                    </a:lnTo>
                    <a:lnTo>
                      <a:pt x="979" y="543"/>
                    </a:lnTo>
                    <a:lnTo>
                      <a:pt x="979" y="545"/>
                    </a:lnTo>
                    <a:lnTo>
                      <a:pt x="979" y="547"/>
                    </a:lnTo>
                    <a:lnTo>
                      <a:pt x="979" y="549"/>
                    </a:lnTo>
                    <a:lnTo>
                      <a:pt x="979" y="551"/>
                    </a:lnTo>
                    <a:lnTo>
                      <a:pt x="979" y="553"/>
                    </a:lnTo>
                    <a:lnTo>
                      <a:pt x="979" y="555"/>
                    </a:lnTo>
                    <a:lnTo>
                      <a:pt x="977" y="555"/>
                    </a:lnTo>
                    <a:lnTo>
                      <a:pt x="977" y="559"/>
                    </a:lnTo>
                    <a:lnTo>
                      <a:pt x="977" y="561"/>
                    </a:lnTo>
                    <a:lnTo>
                      <a:pt x="975" y="561"/>
                    </a:lnTo>
                    <a:lnTo>
                      <a:pt x="975" y="564"/>
                    </a:lnTo>
                    <a:lnTo>
                      <a:pt x="972" y="564"/>
                    </a:lnTo>
                    <a:lnTo>
                      <a:pt x="970" y="564"/>
                    </a:lnTo>
                    <a:lnTo>
                      <a:pt x="968" y="564"/>
                    </a:lnTo>
                    <a:lnTo>
                      <a:pt x="968" y="563"/>
                    </a:lnTo>
                    <a:lnTo>
                      <a:pt x="958" y="563"/>
                    </a:lnTo>
                    <a:lnTo>
                      <a:pt x="956" y="563"/>
                    </a:lnTo>
                    <a:lnTo>
                      <a:pt x="956" y="564"/>
                    </a:lnTo>
                    <a:lnTo>
                      <a:pt x="958" y="564"/>
                    </a:lnTo>
                    <a:lnTo>
                      <a:pt x="958" y="570"/>
                    </a:lnTo>
                    <a:lnTo>
                      <a:pt x="958" y="572"/>
                    </a:lnTo>
                    <a:lnTo>
                      <a:pt x="958" y="574"/>
                    </a:lnTo>
                    <a:lnTo>
                      <a:pt x="960" y="576"/>
                    </a:lnTo>
                    <a:lnTo>
                      <a:pt x="958" y="576"/>
                    </a:lnTo>
                    <a:lnTo>
                      <a:pt x="954" y="576"/>
                    </a:lnTo>
                    <a:lnTo>
                      <a:pt x="950" y="578"/>
                    </a:lnTo>
                    <a:lnTo>
                      <a:pt x="947" y="578"/>
                    </a:lnTo>
                    <a:lnTo>
                      <a:pt x="945" y="578"/>
                    </a:lnTo>
                    <a:lnTo>
                      <a:pt x="933" y="578"/>
                    </a:lnTo>
                    <a:lnTo>
                      <a:pt x="929" y="578"/>
                    </a:lnTo>
                    <a:lnTo>
                      <a:pt x="929" y="574"/>
                    </a:lnTo>
                    <a:lnTo>
                      <a:pt x="925" y="574"/>
                    </a:lnTo>
                    <a:lnTo>
                      <a:pt x="922" y="574"/>
                    </a:lnTo>
                    <a:lnTo>
                      <a:pt x="920" y="576"/>
                    </a:lnTo>
                    <a:lnTo>
                      <a:pt x="914" y="576"/>
                    </a:lnTo>
                    <a:lnTo>
                      <a:pt x="914" y="580"/>
                    </a:lnTo>
                    <a:lnTo>
                      <a:pt x="912" y="580"/>
                    </a:lnTo>
                    <a:lnTo>
                      <a:pt x="902" y="580"/>
                    </a:lnTo>
                    <a:lnTo>
                      <a:pt x="901" y="580"/>
                    </a:lnTo>
                    <a:lnTo>
                      <a:pt x="899" y="580"/>
                    </a:lnTo>
                    <a:lnTo>
                      <a:pt x="897" y="582"/>
                    </a:lnTo>
                    <a:lnTo>
                      <a:pt x="895" y="582"/>
                    </a:lnTo>
                    <a:lnTo>
                      <a:pt x="893" y="582"/>
                    </a:lnTo>
                    <a:lnTo>
                      <a:pt x="893" y="584"/>
                    </a:lnTo>
                    <a:lnTo>
                      <a:pt x="893" y="586"/>
                    </a:lnTo>
                    <a:lnTo>
                      <a:pt x="893" y="588"/>
                    </a:lnTo>
                    <a:lnTo>
                      <a:pt x="893" y="589"/>
                    </a:lnTo>
                    <a:lnTo>
                      <a:pt x="893" y="591"/>
                    </a:lnTo>
                    <a:lnTo>
                      <a:pt x="895" y="593"/>
                    </a:lnTo>
                    <a:lnTo>
                      <a:pt x="897" y="595"/>
                    </a:lnTo>
                    <a:lnTo>
                      <a:pt x="897" y="597"/>
                    </a:lnTo>
                    <a:lnTo>
                      <a:pt x="899" y="599"/>
                    </a:lnTo>
                    <a:lnTo>
                      <a:pt x="899" y="601"/>
                    </a:lnTo>
                    <a:lnTo>
                      <a:pt x="899" y="603"/>
                    </a:lnTo>
                    <a:lnTo>
                      <a:pt x="899" y="605"/>
                    </a:lnTo>
                    <a:lnTo>
                      <a:pt x="899" y="607"/>
                    </a:lnTo>
                    <a:lnTo>
                      <a:pt x="899" y="609"/>
                    </a:lnTo>
                    <a:lnTo>
                      <a:pt x="899" y="611"/>
                    </a:lnTo>
                    <a:lnTo>
                      <a:pt x="901" y="609"/>
                    </a:lnTo>
                    <a:lnTo>
                      <a:pt x="901" y="611"/>
                    </a:lnTo>
                    <a:lnTo>
                      <a:pt x="902" y="611"/>
                    </a:lnTo>
                    <a:lnTo>
                      <a:pt x="904" y="611"/>
                    </a:lnTo>
                    <a:lnTo>
                      <a:pt x="904" y="612"/>
                    </a:lnTo>
                    <a:lnTo>
                      <a:pt x="906" y="612"/>
                    </a:lnTo>
                    <a:lnTo>
                      <a:pt x="908" y="614"/>
                    </a:lnTo>
                    <a:lnTo>
                      <a:pt x="910" y="616"/>
                    </a:lnTo>
                    <a:lnTo>
                      <a:pt x="912" y="618"/>
                    </a:lnTo>
                    <a:lnTo>
                      <a:pt x="912" y="620"/>
                    </a:lnTo>
                    <a:lnTo>
                      <a:pt x="914" y="620"/>
                    </a:lnTo>
                    <a:lnTo>
                      <a:pt x="914" y="622"/>
                    </a:lnTo>
                    <a:lnTo>
                      <a:pt x="914" y="624"/>
                    </a:lnTo>
                    <a:lnTo>
                      <a:pt x="916" y="626"/>
                    </a:lnTo>
                    <a:lnTo>
                      <a:pt x="914" y="626"/>
                    </a:lnTo>
                    <a:lnTo>
                      <a:pt x="914" y="628"/>
                    </a:lnTo>
                    <a:lnTo>
                      <a:pt x="914" y="630"/>
                    </a:lnTo>
                    <a:lnTo>
                      <a:pt x="916" y="630"/>
                    </a:lnTo>
                    <a:lnTo>
                      <a:pt x="916" y="632"/>
                    </a:lnTo>
                    <a:lnTo>
                      <a:pt x="916" y="634"/>
                    </a:lnTo>
                    <a:lnTo>
                      <a:pt x="918" y="634"/>
                    </a:lnTo>
                    <a:lnTo>
                      <a:pt x="920" y="634"/>
                    </a:lnTo>
                    <a:lnTo>
                      <a:pt x="922" y="634"/>
                    </a:lnTo>
                    <a:lnTo>
                      <a:pt x="924" y="636"/>
                    </a:lnTo>
                    <a:lnTo>
                      <a:pt x="925" y="636"/>
                    </a:lnTo>
                    <a:lnTo>
                      <a:pt x="927" y="637"/>
                    </a:lnTo>
                    <a:lnTo>
                      <a:pt x="927" y="639"/>
                    </a:lnTo>
                    <a:lnTo>
                      <a:pt x="927" y="641"/>
                    </a:lnTo>
                    <a:lnTo>
                      <a:pt x="927" y="643"/>
                    </a:lnTo>
                    <a:lnTo>
                      <a:pt x="927" y="645"/>
                    </a:lnTo>
                    <a:lnTo>
                      <a:pt x="925" y="649"/>
                    </a:lnTo>
                    <a:lnTo>
                      <a:pt x="925" y="651"/>
                    </a:lnTo>
                    <a:lnTo>
                      <a:pt x="925" y="653"/>
                    </a:lnTo>
                    <a:lnTo>
                      <a:pt x="925" y="655"/>
                    </a:lnTo>
                    <a:lnTo>
                      <a:pt x="925" y="657"/>
                    </a:lnTo>
                    <a:lnTo>
                      <a:pt x="925" y="659"/>
                    </a:lnTo>
                    <a:lnTo>
                      <a:pt x="927" y="659"/>
                    </a:lnTo>
                    <a:lnTo>
                      <a:pt x="927" y="662"/>
                    </a:lnTo>
                    <a:lnTo>
                      <a:pt x="929" y="664"/>
                    </a:lnTo>
                    <a:lnTo>
                      <a:pt x="929" y="666"/>
                    </a:lnTo>
                    <a:lnTo>
                      <a:pt x="931" y="666"/>
                    </a:lnTo>
                    <a:lnTo>
                      <a:pt x="931" y="668"/>
                    </a:lnTo>
                    <a:lnTo>
                      <a:pt x="931" y="670"/>
                    </a:lnTo>
                    <a:lnTo>
                      <a:pt x="929" y="672"/>
                    </a:lnTo>
                    <a:lnTo>
                      <a:pt x="927" y="674"/>
                    </a:lnTo>
                    <a:lnTo>
                      <a:pt x="925" y="676"/>
                    </a:lnTo>
                    <a:lnTo>
                      <a:pt x="924" y="676"/>
                    </a:lnTo>
                    <a:lnTo>
                      <a:pt x="924" y="678"/>
                    </a:lnTo>
                    <a:lnTo>
                      <a:pt x="924" y="680"/>
                    </a:lnTo>
                    <a:lnTo>
                      <a:pt x="924" y="682"/>
                    </a:lnTo>
                    <a:lnTo>
                      <a:pt x="924" y="684"/>
                    </a:lnTo>
                    <a:lnTo>
                      <a:pt x="924" y="685"/>
                    </a:lnTo>
                    <a:lnTo>
                      <a:pt x="924" y="687"/>
                    </a:lnTo>
                    <a:lnTo>
                      <a:pt x="924" y="689"/>
                    </a:lnTo>
                    <a:lnTo>
                      <a:pt x="925" y="689"/>
                    </a:lnTo>
                    <a:lnTo>
                      <a:pt x="925" y="691"/>
                    </a:lnTo>
                    <a:lnTo>
                      <a:pt x="929" y="693"/>
                    </a:lnTo>
                    <a:lnTo>
                      <a:pt x="929" y="695"/>
                    </a:lnTo>
                    <a:lnTo>
                      <a:pt x="929" y="699"/>
                    </a:lnTo>
                    <a:lnTo>
                      <a:pt x="929" y="701"/>
                    </a:lnTo>
                    <a:lnTo>
                      <a:pt x="927" y="703"/>
                    </a:lnTo>
                    <a:lnTo>
                      <a:pt x="927" y="705"/>
                    </a:lnTo>
                    <a:lnTo>
                      <a:pt x="927" y="707"/>
                    </a:lnTo>
                    <a:lnTo>
                      <a:pt x="929" y="707"/>
                    </a:lnTo>
                    <a:lnTo>
                      <a:pt x="929" y="708"/>
                    </a:lnTo>
                    <a:lnTo>
                      <a:pt x="929" y="710"/>
                    </a:lnTo>
                    <a:lnTo>
                      <a:pt x="929" y="712"/>
                    </a:lnTo>
                    <a:lnTo>
                      <a:pt x="933" y="714"/>
                    </a:lnTo>
                    <a:lnTo>
                      <a:pt x="931" y="716"/>
                    </a:lnTo>
                    <a:lnTo>
                      <a:pt x="929" y="716"/>
                    </a:lnTo>
                    <a:lnTo>
                      <a:pt x="927" y="716"/>
                    </a:lnTo>
                    <a:lnTo>
                      <a:pt x="925" y="716"/>
                    </a:lnTo>
                    <a:lnTo>
                      <a:pt x="925" y="718"/>
                    </a:lnTo>
                    <a:lnTo>
                      <a:pt x="927" y="718"/>
                    </a:lnTo>
                    <a:lnTo>
                      <a:pt x="929" y="718"/>
                    </a:lnTo>
                    <a:lnTo>
                      <a:pt x="929" y="720"/>
                    </a:lnTo>
                    <a:lnTo>
                      <a:pt x="929" y="722"/>
                    </a:lnTo>
                    <a:lnTo>
                      <a:pt x="929" y="724"/>
                    </a:lnTo>
                    <a:lnTo>
                      <a:pt x="927" y="724"/>
                    </a:lnTo>
                    <a:lnTo>
                      <a:pt x="925" y="724"/>
                    </a:lnTo>
                    <a:lnTo>
                      <a:pt x="925" y="726"/>
                    </a:lnTo>
                    <a:lnTo>
                      <a:pt x="925" y="728"/>
                    </a:lnTo>
                    <a:lnTo>
                      <a:pt x="924" y="728"/>
                    </a:lnTo>
                    <a:lnTo>
                      <a:pt x="922" y="728"/>
                    </a:lnTo>
                    <a:lnTo>
                      <a:pt x="920" y="728"/>
                    </a:lnTo>
                    <a:lnTo>
                      <a:pt x="918" y="728"/>
                    </a:lnTo>
                    <a:lnTo>
                      <a:pt x="916" y="728"/>
                    </a:lnTo>
                    <a:lnTo>
                      <a:pt x="914" y="728"/>
                    </a:lnTo>
                    <a:lnTo>
                      <a:pt x="914" y="730"/>
                    </a:lnTo>
                    <a:lnTo>
                      <a:pt x="912" y="730"/>
                    </a:lnTo>
                    <a:lnTo>
                      <a:pt x="910" y="730"/>
                    </a:lnTo>
                    <a:lnTo>
                      <a:pt x="908" y="730"/>
                    </a:lnTo>
                    <a:lnTo>
                      <a:pt x="906" y="730"/>
                    </a:lnTo>
                    <a:lnTo>
                      <a:pt x="904" y="730"/>
                    </a:lnTo>
                    <a:lnTo>
                      <a:pt x="902" y="730"/>
                    </a:lnTo>
                    <a:lnTo>
                      <a:pt x="901" y="730"/>
                    </a:lnTo>
                    <a:lnTo>
                      <a:pt x="901" y="732"/>
                    </a:lnTo>
                    <a:lnTo>
                      <a:pt x="899" y="732"/>
                    </a:lnTo>
                    <a:lnTo>
                      <a:pt x="897" y="732"/>
                    </a:lnTo>
                    <a:lnTo>
                      <a:pt x="895" y="732"/>
                    </a:lnTo>
                    <a:lnTo>
                      <a:pt x="893" y="732"/>
                    </a:lnTo>
                    <a:lnTo>
                      <a:pt x="891" y="732"/>
                    </a:lnTo>
                    <a:lnTo>
                      <a:pt x="891" y="733"/>
                    </a:lnTo>
                    <a:lnTo>
                      <a:pt x="889" y="733"/>
                    </a:lnTo>
                    <a:lnTo>
                      <a:pt x="887" y="733"/>
                    </a:lnTo>
                    <a:lnTo>
                      <a:pt x="885" y="733"/>
                    </a:lnTo>
                    <a:lnTo>
                      <a:pt x="883" y="733"/>
                    </a:lnTo>
                    <a:lnTo>
                      <a:pt x="881" y="733"/>
                    </a:lnTo>
                    <a:lnTo>
                      <a:pt x="883" y="733"/>
                    </a:lnTo>
                    <a:lnTo>
                      <a:pt x="881" y="733"/>
                    </a:lnTo>
                    <a:lnTo>
                      <a:pt x="879" y="733"/>
                    </a:lnTo>
                    <a:lnTo>
                      <a:pt x="879" y="735"/>
                    </a:lnTo>
                    <a:lnTo>
                      <a:pt x="879" y="733"/>
                    </a:lnTo>
                    <a:lnTo>
                      <a:pt x="877" y="733"/>
                    </a:lnTo>
                    <a:lnTo>
                      <a:pt x="876" y="733"/>
                    </a:lnTo>
                    <a:lnTo>
                      <a:pt x="876" y="735"/>
                    </a:lnTo>
                    <a:lnTo>
                      <a:pt x="874" y="735"/>
                    </a:lnTo>
                    <a:lnTo>
                      <a:pt x="874" y="737"/>
                    </a:lnTo>
                    <a:lnTo>
                      <a:pt x="874" y="735"/>
                    </a:lnTo>
                    <a:lnTo>
                      <a:pt x="874" y="737"/>
                    </a:lnTo>
                    <a:lnTo>
                      <a:pt x="872" y="737"/>
                    </a:lnTo>
                    <a:lnTo>
                      <a:pt x="870" y="737"/>
                    </a:lnTo>
                    <a:lnTo>
                      <a:pt x="868" y="737"/>
                    </a:lnTo>
                    <a:lnTo>
                      <a:pt x="866" y="737"/>
                    </a:lnTo>
                    <a:lnTo>
                      <a:pt x="866" y="739"/>
                    </a:lnTo>
                    <a:lnTo>
                      <a:pt x="864" y="739"/>
                    </a:lnTo>
                    <a:lnTo>
                      <a:pt x="862" y="739"/>
                    </a:lnTo>
                    <a:lnTo>
                      <a:pt x="860" y="739"/>
                    </a:lnTo>
                    <a:lnTo>
                      <a:pt x="858" y="739"/>
                    </a:lnTo>
                    <a:lnTo>
                      <a:pt x="856" y="739"/>
                    </a:lnTo>
                    <a:lnTo>
                      <a:pt x="854" y="739"/>
                    </a:lnTo>
                    <a:lnTo>
                      <a:pt x="853" y="739"/>
                    </a:lnTo>
                    <a:lnTo>
                      <a:pt x="853" y="741"/>
                    </a:lnTo>
                    <a:lnTo>
                      <a:pt x="851" y="741"/>
                    </a:lnTo>
                    <a:lnTo>
                      <a:pt x="849" y="741"/>
                    </a:lnTo>
                    <a:lnTo>
                      <a:pt x="847" y="741"/>
                    </a:lnTo>
                    <a:lnTo>
                      <a:pt x="845" y="741"/>
                    </a:lnTo>
                    <a:lnTo>
                      <a:pt x="845" y="743"/>
                    </a:lnTo>
                    <a:lnTo>
                      <a:pt x="843" y="743"/>
                    </a:lnTo>
                    <a:lnTo>
                      <a:pt x="841" y="743"/>
                    </a:lnTo>
                    <a:lnTo>
                      <a:pt x="839" y="743"/>
                    </a:lnTo>
                    <a:lnTo>
                      <a:pt x="839" y="745"/>
                    </a:lnTo>
                    <a:lnTo>
                      <a:pt x="837" y="745"/>
                    </a:lnTo>
                    <a:lnTo>
                      <a:pt x="835" y="745"/>
                    </a:lnTo>
                    <a:lnTo>
                      <a:pt x="833" y="745"/>
                    </a:lnTo>
                    <a:lnTo>
                      <a:pt x="833" y="747"/>
                    </a:lnTo>
                    <a:lnTo>
                      <a:pt x="831" y="747"/>
                    </a:lnTo>
                    <a:lnTo>
                      <a:pt x="829" y="747"/>
                    </a:lnTo>
                    <a:lnTo>
                      <a:pt x="829" y="749"/>
                    </a:lnTo>
                    <a:lnTo>
                      <a:pt x="828" y="749"/>
                    </a:lnTo>
                    <a:lnTo>
                      <a:pt x="826" y="749"/>
                    </a:lnTo>
                    <a:lnTo>
                      <a:pt x="824" y="749"/>
                    </a:lnTo>
                    <a:lnTo>
                      <a:pt x="822" y="749"/>
                    </a:lnTo>
                    <a:lnTo>
                      <a:pt x="822" y="751"/>
                    </a:lnTo>
                    <a:lnTo>
                      <a:pt x="822" y="749"/>
                    </a:lnTo>
                    <a:lnTo>
                      <a:pt x="820" y="749"/>
                    </a:lnTo>
                    <a:lnTo>
                      <a:pt x="820" y="751"/>
                    </a:lnTo>
                    <a:lnTo>
                      <a:pt x="820" y="749"/>
                    </a:lnTo>
                    <a:lnTo>
                      <a:pt x="820" y="751"/>
                    </a:lnTo>
                    <a:lnTo>
                      <a:pt x="820" y="749"/>
                    </a:lnTo>
                    <a:lnTo>
                      <a:pt x="818" y="749"/>
                    </a:lnTo>
                    <a:lnTo>
                      <a:pt x="818" y="747"/>
                    </a:lnTo>
                    <a:lnTo>
                      <a:pt x="816" y="747"/>
                    </a:lnTo>
                    <a:lnTo>
                      <a:pt x="816" y="745"/>
                    </a:lnTo>
                    <a:lnTo>
                      <a:pt x="814" y="745"/>
                    </a:lnTo>
                    <a:lnTo>
                      <a:pt x="812" y="745"/>
                    </a:lnTo>
                    <a:lnTo>
                      <a:pt x="810" y="745"/>
                    </a:lnTo>
                    <a:lnTo>
                      <a:pt x="808" y="745"/>
                    </a:lnTo>
                    <a:lnTo>
                      <a:pt x="806" y="745"/>
                    </a:lnTo>
                    <a:lnTo>
                      <a:pt x="805" y="747"/>
                    </a:lnTo>
                    <a:lnTo>
                      <a:pt x="803" y="747"/>
                    </a:lnTo>
                    <a:lnTo>
                      <a:pt x="801" y="747"/>
                    </a:lnTo>
                    <a:lnTo>
                      <a:pt x="801" y="749"/>
                    </a:lnTo>
                    <a:lnTo>
                      <a:pt x="799" y="749"/>
                    </a:lnTo>
                    <a:lnTo>
                      <a:pt x="797" y="751"/>
                    </a:lnTo>
                    <a:lnTo>
                      <a:pt x="797" y="753"/>
                    </a:lnTo>
                    <a:lnTo>
                      <a:pt x="795" y="753"/>
                    </a:lnTo>
                    <a:lnTo>
                      <a:pt x="795" y="755"/>
                    </a:lnTo>
                    <a:lnTo>
                      <a:pt x="793" y="755"/>
                    </a:lnTo>
                    <a:lnTo>
                      <a:pt x="793" y="756"/>
                    </a:lnTo>
                    <a:lnTo>
                      <a:pt x="793" y="758"/>
                    </a:lnTo>
                    <a:lnTo>
                      <a:pt x="793" y="760"/>
                    </a:lnTo>
                    <a:lnTo>
                      <a:pt x="791" y="760"/>
                    </a:lnTo>
                    <a:lnTo>
                      <a:pt x="791" y="762"/>
                    </a:lnTo>
                    <a:lnTo>
                      <a:pt x="793" y="762"/>
                    </a:lnTo>
                    <a:lnTo>
                      <a:pt x="793" y="764"/>
                    </a:lnTo>
                    <a:lnTo>
                      <a:pt x="791" y="764"/>
                    </a:lnTo>
                    <a:lnTo>
                      <a:pt x="791" y="766"/>
                    </a:lnTo>
                    <a:lnTo>
                      <a:pt x="791" y="768"/>
                    </a:lnTo>
                    <a:lnTo>
                      <a:pt x="793" y="768"/>
                    </a:lnTo>
                    <a:lnTo>
                      <a:pt x="793" y="770"/>
                    </a:lnTo>
                    <a:lnTo>
                      <a:pt x="795" y="770"/>
                    </a:lnTo>
                    <a:lnTo>
                      <a:pt x="795" y="772"/>
                    </a:lnTo>
                    <a:lnTo>
                      <a:pt x="797" y="772"/>
                    </a:lnTo>
                    <a:lnTo>
                      <a:pt x="797" y="774"/>
                    </a:lnTo>
                    <a:lnTo>
                      <a:pt x="797" y="772"/>
                    </a:lnTo>
                    <a:lnTo>
                      <a:pt x="799" y="772"/>
                    </a:lnTo>
                    <a:lnTo>
                      <a:pt x="799" y="778"/>
                    </a:lnTo>
                    <a:lnTo>
                      <a:pt x="801" y="778"/>
                    </a:lnTo>
                    <a:lnTo>
                      <a:pt x="799" y="778"/>
                    </a:lnTo>
                    <a:lnTo>
                      <a:pt x="799" y="780"/>
                    </a:lnTo>
                    <a:lnTo>
                      <a:pt x="801" y="780"/>
                    </a:lnTo>
                    <a:lnTo>
                      <a:pt x="799" y="780"/>
                    </a:lnTo>
                    <a:lnTo>
                      <a:pt x="799" y="781"/>
                    </a:lnTo>
                    <a:lnTo>
                      <a:pt x="799" y="783"/>
                    </a:lnTo>
                    <a:lnTo>
                      <a:pt x="799" y="785"/>
                    </a:lnTo>
                    <a:lnTo>
                      <a:pt x="799" y="787"/>
                    </a:lnTo>
                    <a:lnTo>
                      <a:pt x="799" y="789"/>
                    </a:lnTo>
                    <a:lnTo>
                      <a:pt x="801" y="789"/>
                    </a:lnTo>
                    <a:lnTo>
                      <a:pt x="801" y="791"/>
                    </a:lnTo>
                    <a:lnTo>
                      <a:pt x="801" y="793"/>
                    </a:lnTo>
                    <a:lnTo>
                      <a:pt x="801" y="795"/>
                    </a:lnTo>
                    <a:lnTo>
                      <a:pt x="799" y="795"/>
                    </a:lnTo>
                    <a:lnTo>
                      <a:pt x="799" y="797"/>
                    </a:lnTo>
                    <a:lnTo>
                      <a:pt x="799" y="799"/>
                    </a:lnTo>
                    <a:lnTo>
                      <a:pt x="797" y="799"/>
                    </a:lnTo>
                    <a:lnTo>
                      <a:pt x="799" y="801"/>
                    </a:lnTo>
                    <a:lnTo>
                      <a:pt x="799" y="803"/>
                    </a:lnTo>
                    <a:lnTo>
                      <a:pt x="797" y="803"/>
                    </a:lnTo>
                    <a:lnTo>
                      <a:pt x="797" y="804"/>
                    </a:lnTo>
                    <a:lnTo>
                      <a:pt x="797" y="803"/>
                    </a:lnTo>
                    <a:lnTo>
                      <a:pt x="797" y="804"/>
                    </a:lnTo>
                    <a:lnTo>
                      <a:pt x="795" y="804"/>
                    </a:lnTo>
                    <a:lnTo>
                      <a:pt x="797" y="804"/>
                    </a:lnTo>
                    <a:lnTo>
                      <a:pt x="795" y="804"/>
                    </a:lnTo>
                    <a:lnTo>
                      <a:pt x="795" y="806"/>
                    </a:lnTo>
                    <a:lnTo>
                      <a:pt x="795" y="808"/>
                    </a:lnTo>
                    <a:lnTo>
                      <a:pt x="793" y="808"/>
                    </a:lnTo>
                    <a:lnTo>
                      <a:pt x="793" y="810"/>
                    </a:lnTo>
                    <a:lnTo>
                      <a:pt x="793" y="812"/>
                    </a:lnTo>
                    <a:lnTo>
                      <a:pt x="793" y="814"/>
                    </a:lnTo>
                    <a:lnTo>
                      <a:pt x="791" y="814"/>
                    </a:lnTo>
                    <a:lnTo>
                      <a:pt x="791" y="816"/>
                    </a:lnTo>
                    <a:lnTo>
                      <a:pt x="791" y="818"/>
                    </a:lnTo>
                    <a:lnTo>
                      <a:pt x="791" y="820"/>
                    </a:lnTo>
                    <a:lnTo>
                      <a:pt x="789" y="820"/>
                    </a:lnTo>
                    <a:lnTo>
                      <a:pt x="789" y="822"/>
                    </a:lnTo>
                    <a:lnTo>
                      <a:pt x="789" y="820"/>
                    </a:lnTo>
                    <a:lnTo>
                      <a:pt x="787" y="820"/>
                    </a:lnTo>
                    <a:lnTo>
                      <a:pt x="787" y="822"/>
                    </a:lnTo>
                    <a:lnTo>
                      <a:pt x="785" y="822"/>
                    </a:lnTo>
                    <a:lnTo>
                      <a:pt x="785" y="824"/>
                    </a:lnTo>
                    <a:lnTo>
                      <a:pt x="783" y="824"/>
                    </a:lnTo>
                    <a:lnTo>
                      <a:pt x="781" y="824"/>
                    </a:lnTo>
                    <a:lnTo>
                      <a:pt x="781" y="826"/>
                    </a:lnTo>
                    <a:lnTo>
                      <a:pt x="780" y="826"/>
                    </a:lnTo>
                    <a:lnTo>
                      <a:pt x="780" y="828"/>
                    </a:lnTo>
                    <a:lnTo>
                      <a:pt x="778" y="828"/>
                    </a:lnTo>
                    <a:lnTo>
                      <a:pt x="778" y="829"/>
                    </a:lnTo>
                    <a:lnTo>
                      <a:pt x="776" y="829"/>
                    </a:lnTo>
                    <a:lnTo>
                      <a:pt x="776" y="831"/>
                    </a:lnTo>
                    <a:lnTo>
                      <a:pt x="774" y="831"/>
                    </a:lnTo>
                    <a:lnTo>
                      <a:pt x="774" y="833"/>
                    </a:lnTo>
                    <a:lnTo>
                      <a:pt x="772" y="833"/>
                    </a:lnTo>
                    <a:lnTo>
                      <a:pt x="772" y="835"/>
                    </a:lnTo>
                    <a:lnTo>
                      <a:pt x="772" y="837"/>
                    </a:lnTo>
                    <a:lnTo>
                      <a:pt x="770" y="837"/>
                    </a:lnTo>
                    <a:lnTo>
                      <a:pt x="770" y="839"/>
                    </a:lnTo>
                    <a:lnTo>
                      <a:pt x="768" y="839"/>
                    </a:lnTo>
                    <a:lnTo>
                      <a:pt x="768" y="841"/>
                    </a:lnTo>
                    <a:lnTo>
                      <a:pt x="766" y="843"/>
                    </a:lnTo>
                    <a:lnTo>
                      <a:pt x="768" y="843"/>
                    </a:lnTo>
                    <a:lnTo>
                      <a:pt x="766" y="845"/>
                    </a:lnTo>
                    <a:lnTo>
                      <a:pt x="766" y="847"/>
                    </a:lnTo>
                    <a:lnTo>
                      <a:pt x="764" y="847"/>
                    </a:lnTo>
                    <a:lnTo>
                      <a:pt x="764" y="849"/>
                    </a:lnTo>
                    <a:lnTo>
                      <a:pt x="762" y="849"/>
                    </a:lnTo>
                    <a:lnTo>
                      <a:pt x="762" y="851"/>
                    </a:lnTo>
                    <a:lnTo>
                      <a:pt x="762" y="852"/>
                    </a:lnTo>
                    <a:lnTo>
                      <a:pt x="762" y="854"/>
                    </a:lnTo>
                    <a:lnTo>
                      <a:pt x="760" y="854"/>
                    </a:lnTo>
                    <a:lnTo>
                      <a:pt x="758" y="854"/>
                    </a:lnTo>
                    <a:lnTo>
                      <a:pt x="758" y="856"/>
                    </a:lnTo>
                    <a:lnTo>
                      <a:pt x="756" y="858"/>
                    </a:lnTo>
                    <a:lnTo>
                      <a:pt x="756" y="860"/>
                    </a:lnTo>
                    <a:lnTo>
                      <a:pt x="755" y="862"/>
                    </a:lnTo>
                    <a:lnTo>
                      <a:pt x="755" y="864"/>
                    </a:lnTo>
                    <a:lnTo>
                      <a:pt x="753" y="864"/>
                    </a:lnTo>
                    <a:lnTo>
                      <a:pt x="753" y="866"/>
                    </a:lnTo>
                    <a:lnTo>
                      <a:pt x="753" y="868"/>
                    </a:lnTo>
                    <a:lnTo>
                      <a:pt x="751" y="868"/>
                    </a:lnTo>
                    <a:lnTo>
                      <a:pt x="751" y="870"/>
                    </a:lnTo>
                    <a:lnTo>
                      <a:pt x="749" y="870"/>
                    </a:lnTo>
                    <a:lnTo>
                      <a:pt x="749" y="872"/>
                    </a:lnTo>
                    <a:lnTo>
                      <a:pt x="749" y="874"/>
                    </a:lnTo>
                    <a:lnTo>
                      <a:pt x="747" y="874"/>
                    </a:lnTo>
                    <a:lnTo>
                      <a:pt x="747" y="876"/>
                    </a:lnTo>
                    <a:lnTo>
                      <a:pt x="745" y="876"/>
                    </a:lnTo>
                    <a:lnTo>
                      <a:pt x="745" y="877"/>
                    </a:lnTo>
                    <a:lnTo>
                      <a:pt x="743" y="879"/>
                    </a:lnTo>
                    <a:lnTo>
                      <a:pt x="743" y="881"/>
                    </a:lnTo>
                    <a:lnTo>
                      <a:pt x="741" y="881"/>
                    </a:lnTo>
                    <a:lnTo>
                      <a:pt x="741" y="883"/>
                    </a:lnTo>
                    <a:lnTo>
                      <a:pt x="739" y="883"/>
                    </a:lnTo>
                    <a:lnTo>
                      <a:pt x="737" y="885"/>
                    </a:lnTo>
                    <a:lnTo>
                      <a:pt x="737" y="887"/>
                    </a:lnTo>
                    <a:lnTo>
                      <a:pt x="735" y="887"/>
                    </a:lnTo>
                    <a:lnTo>
                      <a:pt x="735" y="889"/>
                    </a:lnTo>
                    <a:lnTo>
                      <a:pt x="733" y="891"/>
                    </a:lnTo>
                    <a:lnTo>
                      <a:pt x="733" y="893"/>
                    </a:lnTo>
                    <a:lnTo>
                      <a:pt x="732" y="893"/>
                    </a:lnTo>
                    <a:lnTo>
                      <a:pt x="732" y="895"/>
                    </a:lnTo>
                    <a:lnTo>
                      <a:pt x="732" y="897"/>
                    </a:lnTo>
                    <a:lnTo>
                      <a:pt x="730" y="897"/>
                    </a:lnTo>
                    <a:lnTo>
                      <a:pt x="730" y="899"/>
                    </a:lnTo>
                    <a:lnTo>
                      <a:pt x="730" y="900"/>
                    </a:lnTo>
                    <a:lnTo>
                      <a:pt x="728" y="900"/>
                    </a:lnTo>
                    <a:lnTo>
                      <a:pt x="728" y="902"/>
                    </a:lnTo>
                    <a:lnTo>
                      <a:pt x="728" y="904"/>
                    </a:lnTo>
                    <a:lnTo>
                      <a:pt x="726" y="904"/>
                    </a:lnTo>
                    <a:lnTo>
                      <a:pt x="726" y="906"/>
                    </a:lnTo>
                    <a:lnTo>
                      <a:pt x="724" y="906"/>
                    </a:lnTo>
                    <a:lnTo>
                      <a:pt x="724" y="908"/>
                    </a:lnTo>
                    <a:lnTo>
                      <a:pt x="722" y="908"/>
                    </a:lnTo>
                    <a:lnTo>
                      <a:pt x="722" y="910"/>
                    </a:lnTo>
                    <a:lnTo>
                      <a:pt x="720" y="910"/>
                    </a:lnTo>
                    <a:lnTo>
                      <a:pt x="720" y="912"/>
                    </a:lnTo>
                    <a:lnTo>
                      <a:pt x="718" y="912"/>
                    </a:lnTo>
                    <a:lnTo>
                      <a:pt x="718" y="914"/>
                    </a:lnTo>
                    <a:lnTo>
                      <a:pt x="716" y="914"/>
                    </a:lnTo>
                    <a:lnTo>
                      <a:pt x="716" y="916"/>
                    </a:lnTo>
                    <a:lnTo>
                      <a:pt x="714" y="916"/>
                    </a:lnTo>
                    <a:lnTo>
                      <a:pt x="712" y="916"/>
                    </a:lnTo>
                    <a:lnTo>
                      <a:pt x="712" y="918"/>
                    </a:lnTo>
                    <a:lnTo>
                      <a:pt x="710" y="918"/>
                    </a:lnTo>
                    <a:lnTo>
                      <a:pt x="710" y="920"/>
                    </a:lnTo>
                    <a:lnTo>
                      <a:pt x="708" y="920"/>
                    </a:lnTo>
                    <a:lnTo>
                      <a:pt x="708" y="922"/>
                    </a:lnTo>
                    <a:lnTo>
                      <a:pt x="708" y="923"/>
                    </a:lnTo>
                    <a:lnTo>
                      <a:pt x="707" y="923"/>
                    </a:lnTo>
                    <a:lnTo>
                      <a:pt x="707" y="925"/>
                    </a:lnTo>
                    <a:lnTo>
                      <a:pt x="705" y="925"/>
                    </a:lnTo>
                    <a:lnTo>
                      <a:pt x="705" y="927"/>
                    </a:lnTo>
                    <a:lnTo>
                      <a:pt x="705" y="929"/>
                    </a:lnTo>
                    <a:lnTo>
                      <a:pt x="703" y="929"/>
                    </a:lnTo>
                    <a:lnTo>
                      <a:pt x="703" y="931"/>
                    </a:lnTo>
                    <a:lnTo>
                      <a:pt x="701" y="931"/>
                    </a:lnTo>
                    <a:lnTo>
                      <a:pt x="701" y="933"/>
                    </a:lnTo>
                    <a:lnTo>
                      <a:pt x="699" y="935"/>
                    </a:lnTo>
                    <a:lnTo>
                      <a:pt x="699" y="937"/>
                    </a:lnTo>
                    <a:lnTo>
                      <a:pt x="697" y="937"/>
                    </a:lnTo>
                    <a:lnTo>
                      <a:pt x="695" y="937"/>
                    </a:lnTo>
                    <a:lnTo>
                      <a:pt x="697" y="939"/>
                    </a:lnTo>
                    <a:lnTo>
                      <a:pt x="695" y="939"/>
                    </a:lnTo>
                    <a:lnTo>
                      <a:pt x="695" y="941"/>
                    </a:lnTo>
                    <a:lnTo>
                      <a:pt x="693" y="941"/>
                    </a:lnTo>
                    <a:lnTo>
                      <a:pt x="691" y="941"/>
                    </a:lnTo>
                    <a:lnTo>
                      <a:pt x="691" y="943"/>
                    </a:lnTo>
                    <a:lnTo>
                      <a:pt x="689" y="943"/>
                    </a:lnTo>
                    <a:lnTo>
                      <a:pt x="689" y="945"/>
                    </a:lnTo>
                    <a:lnTo>
                      <a:pt x="687" y="945"/>
                    </a:lnTo>
                    <a:lnTo>
                      <a:pt x="685" y="947"/>
                    </a:lnTo>
                    <a:lnTo>
                      <a:pt x="684" y="947"/>
                    </a:lnTo>
                    <a:lnTo>
                      <a:pt x="684" y="948"/>
                    </a:lnTo>
                    <a:lnTo>
                      <a:pt x="682" y="948"/>
                    </a:lnTo>
                    <a:lnTo>
                      <a:pt x="682" y="950"/>
                    </a:lnTo>
                    <a:lnTo>
                      <a:pt x="680" y="950"/>
                    </a:lnTo>
                    <a:lnTo>
                      <a:pt x="680" y="952"/>
                    </a:lnTo>
                    <a:lnTo>
                      <a:pt x="678" y="952"/>
                    </a:lnTo>
                    <a:lnTo>
                      <a:pt x="678" y="954"/>
                    </a:lnTo>
                    <a:lnTo>
                      <a:pt x="676" y="954"/>
                    </a:lnTo>
                    <a:lnTo>
                      <a:pt x="676" y="956"/>
                    </a:lnTo>
                    <a:lnTo>
                      <a:pt x="674" y="956"/>
                    </a:lnTo>
                    <a:lnTo>
                      <a:pt x="674" y="958"/>
                    </a:lnTo>
                    <a:lnTo>
                      <a:pt x="672" y="958"/>
                    </a:lnTo>
                    <a:lnTo>
                      <a:pt x="670" y="962"/>
                    </a:lnTo>
                    <a:lnTo>
                      <a:pt x="666" y="964"/>
                    </a:lnTo>
                    <a:lnTo>
                      <a:pt x="662" y="968"/>
                    </a:lnTo>
                    <a:lnTo>
                      <a:pt x="660" y="970"/>
                    </a:lnTo>
                    <a:lnTo>
                      <a:pt x="659" y="970"/>
                    </a:lnTo>
                    <a:lnTo>
                      <a:pt x="659" y="971"/>
                    </a:lnTo>
                    <a:lnTo>
                      <a:pt x="657" y="973"/>
                    </a:lnTo>
                    <a:lnTo>
                      <a:pt x="655" y="975"/>
                    </a:lnTo>
                    <a:lnTo>
                      <a:pt x="653" y="975"/>
                    </a:lnTo>
                    <a:lnTo>
                      <a:pt x="653" y="977"/>
                    </a:lnTo>
                    <a:lnTo>
                      <a:pt x="651" y="979"/>
                    </a:lnTo>
                    <a:lnTo>
                      <a:pt x="649" y="981"/>
                    </a:lnTo>
                    <a:lnTo>
                      <a:pt x="647" y="981"/>
                    </a:lnTo>
                    <a:lnTo>
                      <a:pt x="647" y="983"/>
                    </a:lnTo>
                    <a:lnTo>
                      <a:pt x="645" y="985"/>
                    </a:lnTo>
                    <a:lnTo>
                      <a:pt x="645" y="987"/>
                    </a:lnTo>
                    <a:lnTo>
                      <a:pt x="643" y="987"/>
                    </a:lnTo>
                    <a:lnTo>
                      <a:pt x="641" y="989"/>
                    </a:lnTo>
                    <a:lnTo>
                      <a:pt x="639" y="991"/>
                    </a:lnTo>
                    <a:lnTo>
                      <a:pt x="639" y="993"/>
                    </a:lnTo>
                    <a:lnTo>
                      <a:pt x="637" y="993"/>
                    </a:lnTo>
                    <a:lnTo>
                      <a:pt x="637" y="995"/>
                    </a:lnTo>
                    <a:lnTo>
                      <a:pt x="636" y="996"/>
                    </a:lnTo>
                    <a:lnTo>
                      <a:pt x="634" y="998"/>
                    </a:lnTo>
                    <a:lnTo>
                      <a:pt x="632" y="1000"/>
                    </a:lnTo>
                    <a:lnTo>
                      <a:pt x="630" y="1002"/>
                    </a:lnTo>
                    <a:lnTo>
                      <a:pt x="628" y="1004"/>
                    </a:lnTo>
                    <a:lnTo>
                      <a:pt x="626" y="1006"/>
                    </a:lnTo>
                    <a:lnTo>
                      <a:pt x="624" y="1008"/>
                    </a:lnTo>
                    <a:lnTo>
                      <a:pt x="622" y="1010"/>
                    </a:lnTo>
                    <a:lnTo>
                      <a:pt x="620" y="1012"/>
                    </a:lnTo>
                    <a:lnTo>
                      <a:pt x="618" y="1014"/>
                    </a:lnTo>
                    <a:lnTo>
                      <a:pt x="616" y="1016"/>
                    </a:lnTo>
                    <a:lnTo>
                      <a:pt x="614" y="1016"/>
                    </a:lnTo>
                    <a:lnTo>
                      <a:pt x="614" y="1018"/>
                    </a:lnTo>
                    <a:lnTo>
                      <a:pt x="612" y="1018"/>
                    </a:lnTo>
                    <a:lnTo>
                      <a:pt x="612" y="1019"/>
                    </a:lnTo>
                    <a:lnTo>
                      <a:pt x="611" y="1019"/>
                    </a:lnTo>
                    <a:lnTo>
                      <a:pt x="609" y="1019"/>
                    </a:lnTo>
                    <a:lnTo>
                      <a:pt x="607" y="1021"/>
                    </a:lnTo>
                    <a:lnTo>
                      <a:pt x="605" y="1023"/>
                    </a:lnTo>
                    <a:lnTo>
                      <a:pt x="603" y="1025"/>
                    </a:lnTo>
                    <a:lnTo>
                      <a:pt x="599" y="1027"/>
                    </a:lnTo>
                    <a:lnTo>
                      <a:pt x="597" y="1027"/>
                    </a:lnTo>
                    <a:lnTo>
                      <a:pt x="595" y="1029"/>
                    </a:lnTo>
                    <a:lnTo>
                      <a:pt x="593" y="1031"/>
                    </a:lnTo>
                    <a:lnTo>
                      <a:pt x="591" y="1031"/>
                    </a:lnTo>
                    <a:lnTo>
                      <a:pt x="589" y="1033"/>
                    </a:lnTo>
                    <a:lnTo>
                      <a:pt x="588" y="1033"/>
                    </a:lnTo>
                    <a:lnTo>
                      <a:pt x="586" y="1033"/>
                    </a:lnTo>
                    <a:lnTo>
                      <a:pt x="586" y="1035"/>
                    </a:lnTo>
                    <a:lnTo>
                      <a:pt x="584" y="1035"/>
                    </a:lnTo>
                    <a:lnTo>
                      <a:pt x="584" y="1037"/>
                    </a:lnTo>
                    <a:lnTo>
                      <a:pt x="582" y="1037"/>
                    </a:lnTo>
                    <a:lnTo>
                      <a:pt x="580" y="1037"/>
                    </a:lnTo>
                    <a:lnTo>
                      <a:pt x="578" y="1039"/>
                    </a:lnTo>
                    <a:lnTo>
                      <a:pt x="576" y="1041"/>
                    </a:lnTo>
                    <a:lnTo>
                      <a:pt x="574" y="1041"/>
                    </a:lnTo>
                    <a:lnTo>
                      <a:pt x="572" y="1043"/>
                    </a:lnTo>
                    <a:lnTo>
                      <a:pt x="570" y="1043"/>
                    </a:lnTo>
                    <a:lnTo>
                      <a:pt x="570" y="1044"/>
                    </a:lnTo>
                    <a:lnTo>
                      <a:pt x="568" y="1044"/>
                    </a:lnTo>
                    <a:lnTo>
                      <a:pt x="566" y="1046"/>
                    </a:lnTo>
                    <a:lnTo>
                      <a:pt x="564" y="1048"/>
                    </a:lnTo>
                    <a:lnTo>
                      <a:pt x="563" y="1048"/>
                    </a:lnTo>
                    <a:lnTo>
                      <a:pt x="561" y="1050"/>
                    </a:lnTo>
                    <a:lnTo>
                      <a:pt x="559" y="1052"/>
                    </a:lnTo>
                    <a:lnTo>
                      <a:pt x="555" y="1054"/>
                    </a:lnTo>
                    <a:lnTo>
                      <a:pt x="553" y="1056"/>
                    </a:lnTo>
                    <a:lnTo>
                      <a:pt x="551" y="1058"/>
                    </a:lnTo>
                    <a:lnTo>
                      <a:pt x="549" y="1058"/>
                    </a:lnTo>
                    <a:lnTo>
                      <a:pt x="547" y="1062"/>
                    </a:lnTo>
                    <a:lnTo>
                      <a:pt x="545" y="1062"/>
                    </a:lnTo>
                    <a:lnTo>
                      <a:pt x="543" y="1064"/>
                    </a:lnTo>
                    <a:lnTo>
                      <a:pt x="541" y="1064"/>
                    </a:lnTo>
                    <a:lnTo>
                      <a:pt x="540" y="1066"/>
                    </a:lnTo>
                    <a:lnTo>
                      <a:pt x="538" y="1067"/>
                    </a:lnTo>
                    <a:lnTo>
                      <a:pt x="536" y="1069"/>
                    </a:lnTo>
                    <a:lnTo>
                      <a:pt x="534" y="1069"/>
                    </a:lnTo>
                    <a:lnTo>
                      <a:pt x="532" y="1071"/>
                    </a:lnTo>
                    <a:lnTo>
                      <a:pt x="530" y="1071"/>
                    </a:lnTo>
                    <a:lnTo>
                      <a:pt x="530" y="1073"/>
                    </a:lnTo>
                    <a:lnTo>
                      <a:pt x="528" y="1073"/>
                    </a:lnTo>
                    <a:lnTo>
                      <a:pt x="526" y="1075"/>
                    </a:lnTo>
                    <a:lnTo>
                      <a:pt x="520" y="1077"/>
                    </a:lnTo>
                    <a:lnTo>
                      <a:pt x="518" y="1079"/>
                    </a:lnTo>
                    <a:lnTo>
                      <a:pt x="516" y="1079"/>
                    </a:lnTo>
                    <a:lnTo>
                      <a:pt x="515" y="1081"/>
                    </a:lnTo>
                    <a:lnTo>
                      <a:pt x="515" y="1083"/>
                    </a:lnTo>
                    <a:lnTo>
                      <a:pt x="511" y="1083"/>
                    </a:lnTo>
                    <a:lnTo>
                      <a:pt x="511" y="1085"/>
                    </a:lnTo>
                    <a:lnTo>
                      <a:pt x="505" y="1089"/>
                    </a:lnTo>
                    <a:lnTo>
                      <a:pt x="501" y="1091"/>
                    </a:lnTo>
                    <a:lnTo>
                      <a:pt x="497" y="1092"/>
                    </a:lnTo>
                    <a:lnTo>
                      <a:pt x="497" y="1094"/>
                    </a:lnTo>
                    <a:lnTo>
                      <a:pt x="495" y="1094"/>
                    </a:lnTo>
                    <a:lnTo>
                      <a:pt x="491" y="1096"/>
                    </a:lnTo>
                    <a:lnTo>
                      <a:pt x="490" y="1098"/>
                    </a:lnTo>
                    <a:lnTo>
                      <a:pt x="488" y="1098"/>
                    </a:lnTo>
                    <a:lnTo>
                      <a:pt x="484" y="1100"/>
                    </a:lnTo>
                    <a:lnTo>
                      <a:pt x="480" y="1102"/>
                    </a:lnTo>
                    <a:lnTo>
                      <a:pt x="476" y="1104"/>
                    </a:lnTo>
                    <a:lnTo>
                      <a:pt x="474" y="1106"/>
                    </a:lnTo>
                    <a:lnTo>
                      <a:pt x="472" y="1108"/>
                    </a:lnTo>
                    <a:lnTo>
                      <a:pt x="470" y="1108"/>
                    </a:lnTo>
                    <a:lnTo>
                      <a:pt x="470" y="1110"/>
                    </a:lnTo>
                    <a:lnTo>
                      <a:pt x="468" y="1110"/>
                    </a:lnTo>
                    <a:lnTo>
                      <a:pt x="467" y="1110"/>
                    </a:lnTo>
                    <a:lnTo>
                      <a:pt x="467" y="1112"/>
                    </a:lnTo>
                    <a:lnTo>
                      <a:pt x="465" y="1112"/>
                    </a:lnTo>
                    <a:lnTo>
                      <a:pt x="463" y="1112"/>
                    </a:lnTo>
                    <a:lnTo>
                      <a:pt x="463" y="1114"/>
                    </a:lnTo>
                    <a:lnTo>
                      <a:pt x="461" y="1114"/>
                    </a:lnTo>
                    <a:lnTo>
                      <a:pt x="459" y="1115"/>
                    </a:lnTo>
                    <a:lnTo>
                      <a:pt x="457" y="1115"/>
                    </a:lnTo>
                    <a:lnTo>
                      <a:pt x="455" y="1117"/>
                    </a:lnTo>
                    <a:lnTo>
                      <a:pt x="453" y="1119"/>
                    </a:lnTo>
                    <a:lnTo>
                      <a:pt x="451" y="1121"/>
                    </a:lnTo>
                    <a:lnTo>
                      <a:pt x="449" y="1121"/>
                    </a:lnTo>
                    <a:lnTo>
                      <a:pt x="447" y="1123"/>
                    </a:lnTo>
                    <a:lnTo>
                      <a:pt x="445" y="1123"/>
                    </a:lnTo>
                    <a:lnTo>
                      <a:pt x="445" y="1125"/>
                    </a:lnTo>
                    <a:lnTo>
                      <a:pt x="443" y="1127"/>
                    </a:lnTo>
                    <a:lnTo>
                      <a:pt x="442" y="1127"/>
                    </a:lnTo>
                    <a:lnTo>
                      <a:pt x="440" y="1129"/>
                    </a:lnTo>
                    <a:lnTo>
                      <a:pt x="440" y="1131"/>
                    </a:lnTo>
                    <a:lnTo>
                      <a:pt x="438" y="1131"/>
                    </a:lnTo>
                    <a:lnTo>
                      <a:pt x="438" y="1133"/>
                    </a:lnTo>
                    <a:lnTo>
                      <a:pt x="436" y="1133"/>
                    </a:lnTo>
                    <a:lnTo>
                      <a:pt x="436" y="1135"/>
                    </a:lnTo>
                    <a:lnTo>
                      <a:pt x="434" y="1135"/>
                    </a:lnTo>
                    <a:lnTo>
                      <a:pt x="434" y="1137"/>
                    </a:lnTo>
                    <a:lnTo>
                      <a:pt x="432" y="1137"/>
                    </a:lnTo>
                    <a:lnTo>
                      <a:pt x="432" y="1139"/>
                    </a:lnTo>
                    <a:lnTo>
                      <a:pt x="430" y="1139"/>
                    </a:lnTo>
                    <a:lnTo>
                      <a:pt x="430" y="1140"/>
                    </a:lnTo>
                    <a:lnTo>
                      <a:pt x="428" y="1140"/>
                    </a:lnTo>
                    <a:lnTo>
                      <a:pt x="428" y="1142"/>
                    </a:lnTo>
                    <a:lnTo>
                      <a:pt x="426" y="1142"/>
                    </a:lnTo>
                    <a:lnTo>
                      <a:pt x="426" y="1144"/>
                    </a:lnTo>
                    <a:lnTo>
                      <a:pt x="424" y="1144"/>
                    </a:lnTo>
                    <a:lnTo>
                      <a:pt x="424" y="1146"/>
                    </a:lnTo>
                    <a:lnTo>
                      <a:pt x="422" y="1146"/>
                    </a:lnTo>
                    <a:lnTo>
                      <a:pt x="422" y="1148"/>
                    </a:lnTo>
                    <a:lnTo>
                      <a:pt x="420" y="1148"/>
                    </a:lnTo>
                    <a:lnTo>
                      <a:pt x="420" y="1150"/>
                    </a:lnTo>
                    <a:lnTo>
                      <a:pt x="420" y="1152"/>
                    </a:lnTo>
                    <a:lnTo>
                      <a:pt x="419" y="1152"/>
                    </a:lnTo>
                    <a:lnTo>
                      <a:pt x="419" y="1154"/>
                    </a:lnTo>
                    <a:lnTo>
                      <a:pt x="419" y="1156"/>
                    </a:lnTo>
                    <a:lnTo>
                      <a:pt x="420" y="1156"/>
                    </a:lnTo>
                    <a:lnTo>
                      <a:pt x="420" y="1158"/>
                    </a:lnTo>
                    <a:lnTo>
                      <a:pt x="419" y="1158"/>
                    </a:lnTo>
                    <a:lnTo>
                      <a:pt x="419" y="1156"/>
                    </a:lnTo>
                    <a:lnTo>
                      <a:pt x="419" y="1158"/>
                    </a:lnTo>
                    <a:lnTo>
                      <a:pt x="419" y="1160"/>
                    </a:lnTo>
                    <a:lnTo>
                      <a:pt x="419" y="1158"/>
                    </a:lnTo>
                    <a:lnTo>
                      <a:pt x="417" y="1158"/>
                    </a:lnTo>
                    <a:lnTo>
                      <a:pt x="417" y="1156"/>
                    </a:lnTo>
                    <a:lnTo>
                      <a:pt x="417" y="1158"/>
                    </a:lnTo>
                    <a:lnTo>
                      <a:pt x="415" y="1158"/>
                    </a:lnTo>
                    <a:lnTo>
                      <a:pt x="417" y="1158"/>
                    </a:lnTo>
                    <a:lnTo>
                      <a:pt x="415" y="1158"/>
                    </a:lnTo>
                    <a:lnTo>
                      <a:pt x="417" y="1160"/>
                    </a:lnTo>
                    <a:lnTo>
                      <a:pt x="417" y="1162"/>
                    </a:lnTo>
                    <a:lnTo>
                      <a:pt x="415" y="1160"/>
                    </a:lnTo>
                    <a:lnTo>
                      <a:pt x="415" y="1158"/>
                    </a:lnTo>
                    <a:lnTo>
                      <a:pt x="415" y="1156"/>
                    </a:lnTo>
                    <a:lnTo>
                      <a:pt x="415" y="1158"/>
                    </a:lnTo>
                    <a:lnTo>
                      <a:pt x="415" y="1156"/>
                    </a:lnTo>
                    <a:lnTo>
                      <a:pt x="413" y="1156"/>
                    </a:lnTo>
                    <a:lnTo>
                      <a:pt x="413" y="1158"/>
                    </a:lnTo>
                    <a:lnTo>
                      <a:pt x="413" y="1160"/>
                    </a:lnTo>
                    <a:lnTo>
                      <a:pt x="413" y="1162"/>
                    </a:lnTo>
                    <a:lnTo>
                      <a:pt x="415" y="1162"/>
                    </a:lnTo>
                    <a:lnTo>
                      <a:pt x="415" y="1163"/>
                    </a:lnTo>
                    <a:lnTo>
                      <a:pt x="417" y="1163"/>
                    </a:lnTo>
                    <a:lnTo>
                      <a:pt x="419" y="1163"/>
                    </a:lnTo>
                    <a:lnTo>
                      <a:pt x="419" y="1162"/>
                    </a:lnTo>
                    <a:lnTo>
                      <a:pt x="420" y="1162"/>
                    </a:lnTo>
                    <a:lnTo>
                      <a:pt x="420" y="1163"/>
                    </a:lnTo>
                    <a:lnTo>
                      <a:pt x="420" y="1165"/>
                    </a:lnTo>
                    <a:lnTo>
                      <a:pt x="420" y="1167"/>
                    </a:lnTo>
                    <a:lnTo>
                      <a:pt x="420" y="1169"/>
                    </a:lnTo>
                    <a:lnTo>
                      <a:pt x="422" y="1169"/>
                    </a:lnTo>
                    <a:lnTo>
                      <a:pt x="422" y="1171"/>
                    </a:lnTo>
                    <a:lnTo>
                      <a:pt x="424" y="1171"/>
                    </a:lnTo>
                    <a:lnTo>
                      <a:pt x="424" y="1173"/>
                    </a:lnTo>
                    <a:lnTo>
                      <a:pt x="426" y="1173"/>
                    </a:lnTo>
                    <a:lnTo>
                      <a:pt x="426" y="1171"/>
                    </a:lnTo>
                    <a:lnTo>
                      <a:pt x="426" y="1169"/>
                    </a:lnTo>
                    <a:lnTo>
                      <a:pt x="428" y="1169"/>
                    </a:lnTo>
                    <a:lnTo>
                      <a:pt x="428" y="1167"/>
                    </a:lnTo>
                    <a:lnTo>
                      <a:pt x="428" y="1165"/>
                    </a:lnTo>
                    <a:lnTo>
                      <a:pt x="428" y="1167"/>
                    </a:lnTo>
                    <a:lnTo>
                      <a:pt x="426" y="1167"/>
                    </a:lnTo>
                    <a:lnTo>
                      <a:pt x="426" y="1165"/>
                    </a:lnTo>
                    <a:lnTo>
                      <a:pt x="426" y="1163"/>
                    </a:lnTo>
                    <a:lnTo>
                      <a:pt x="428" y="1163"/>
                    </a:lnTo>
                    <a:lnTo>
                      <a:pt x="428" y="1162"/>
                    </a:lnTo>
                    <a:lnTo>
                      <a:pt x="430" y="1162"/>
                    </a:lnTo>
                    <a:lnTo>
                      <a:pt x="430" y="1163"/>
                    </a:lnTo>
                    <a:lnTo>
                      <a:pt x="432" y="1163"/>
                    </a:lnTo>
                    <a:lnTo>
                      <a:pt x="432" y="1165"/>
                    </a:lnTo>
                    <a:lnTo>
                      <a:pt x="434" y="1165"/>
                    </a:lnTo>
                    <a:lnTo>
                      <a:pt x="434" y="1167"/>
                    </a:lnTo>
                    <a:lnTo>
                      <a:pt x="432" y="1167"/>
                    </a:lnTo>
                    <a:lnTo>
                      <a:pt x="432" y="1169"/>
                    </a:lnTo>
                    <a:lnTo>
                      <a:pt x="434" y="1169"/>
                    </a:lnTo>
                    <a:lnTo>
                      <a:pt x="434" y="1171"/>
                    </a:lnTo>
                    <a:lnTo>
                      <a:pt x="436" y="1171"/>
                    </a:lnTo>
                    <a:lnTo>
                      <a:pt x="436" y="1169"/>
                    </a:lnTo>
                    <a:lnTo>
                      <a:pt x="436" y="1167"/>
                    </a:lnTo>
                    <a:lnTo>
                      <a:pt x="438" y="1167"/>
                    </a:lnTo>
                    <a:lnTo>
                      <a:pt x="440" y="1167"/>
                    </a:lnTo>
                    <a:lnTo>
                      <a:pt x="440" y="1169"/>
                    </a:lnTo>
                    <a:lnTo>
                      <a:pt x="442" y="1169"/>
                    </a:lnTo>
                    <a:lnTo>
                      <a:pt x="440" y="1171"/>
                    </a:lnTo>
                    <a:lnTo>
                      <a:pt x="442" y="1171"/>
                    </a:lnTo>
                    <a:lnTo>
                      <a:pt x="443" y="1171"/>
                    </a:lnTo>
                    <a:lnTo>
                      <a:pt x="442" y="1171"/>
                    </a:lnTo>
                    <a:lnTo>
                      <a:pt x="443" y="1171"/>
                    </a:lnTo>
                    <a:lnTo>
                      <a:pt x="443" y="1169"/>
                    </a:lnTo>
                    <a:lnTo>
                      <a:pt x="443" y="1167"/>
                    </a:lnTo>
                    <a:lnTo>
                      <a:pt x="443" y="1169"/>
                    </a:lnTo>
                    <a:lnTo>
                      <a:pt x="443" y="1167"/>
                    </a:lnTo>
                    <a:lnTo>
                      <a:pt x="442" y="1167"/>
                    </a:lnTo>
                    <a:lnTo>
                      <a:pt x="443" y="1167"/>
                    </a:lnTo>
                    <a:lnTo>
                      <a:pt x="443" y="1165"/>
                    </a:lnTo>
                    <a:lnTo>
                      <a:pt x="445" y="1165"/>
                    </a:lnTo>
                    <a:lnTo>
                      <a:pt x="447" y="1163"/>
                    </a:lnTo>
                    <a:lnTo>
                      <a:pt x="449" y="1163"/>
                    </a:lnTo>
                    <a:lnTo>
                      <a:pt x="449" y="1162"/>
                    </a:lnTo>
                    <a:lnTo>
                      <a:pt x="451" y="1162"/>
                    </a:lnTo>
                    <a:lnTo>
                      <a:pt x="453" y="1162"/>
                    </a:lnTo>
                    <a:lnTo>
                      <a:pt x="453" y="1160"/>
                    </a:lnTo>
                    <a:lnTo>
                      <a:pt x="455" y="1160"/>
                    </a:lnTo>
                    <a:lnTo>
                      <a:pt x="457" y="1160"/>
                    </a:lnTo>
                    <a:lnTo>
                      <a:pt x="457" y="1162"/>
                    </a:lnTo>
                    <a:lnTo>
                      <a:pt x="455" y="1162"/>
                    </a:lnTo>
                    <a:lnTo>
                      <a:pt x="455" y="1163"/>
                    </a:lnTo>
                    <a:lnTo>
                      <a:pt x="455" y="1165"/>
                    </a:lnTo>
                    <a:lnTo>
                      <a:pt x="455" y="1167"/>
                    </a:lnTo>
                    <a:lnTo>
                      <a:pt x="455" y="1169"/>
                    </a:lnTo>
                    <a:lnTo>
                      <a:pt x="457" y="1169"/>
                    </a:lnTo>
                    <a:lnTo>
                      <a:pt x="459" y="1169"/>
                    </a:lnTo>
                    <a:lnTo>
                      <a:pt x="461" y="1169"/>
                    </a:lnTo>
                    <a:lnTo>
                      <a:pt x="461" y="1167"/>
                    </a:lnTo>
                    <a:lnTo>
                      <a:pt x="461" y="1169"/>
                    </a:lnTo>
                    <a:lnTo>
                      <a:pt x="463" y="1169"/>
                    </a:lnTo>
                    <a:lnTo>
                      <a:pt x="465" y="1169"/>
                    </a:lnTo>
                    <a:lnTo>
                      <a:pt x="465" y="1171"/>
                    </a:lnTo>
                    <a:lnTo>
                      <a:pt x="465" y="1173"/>
                    </a:lnTo>
                    <a:lnTo>
                      <a:pt x="465" y="1175"/>
                    </a:lnTo>
                    <a:lnTo>
                      <a:pt x="465" y="1177"/>
                    </a:lnTo>
                    <a:lnTo>
                      <a:pt x="463" y="1177"/>
                    </a:lnTo>
                    <a:lnTo>
                      <a:pt x="463" y="1179"/>
                    </a:lnTo>
                    <a:lnTo>
                      <a:pt x="463" y="1181"/>
                    </a:lnTo>
                    <a:lnTo>
                      <a:pt x="463" y="1183"/>
                    </a:lnTo>
                    <a:lnTo>
                      <a:pt x="461" y="1183"/>
                    </a:lnTo>
                    <a:lnTo>
                      <a:pt x="461" y="1185"/>
                    </a:lnTo>
                    <a:lnTo>
                      <a:pt x="461" y="1183"/>
                    </a:lnTo>
                    <a:lnTo>
                      <a:pt x="461" y="1181"/>
                    </a:lnTo>
                    <a:lnTo>
                      <a:pt x="461" y="1179"/>
                    </a:lnTo>
                    <a:lnTo>
                      <a:pt x="463" y="1179"/>
                    </a:lnTo>
                    <a:lnTo>
                      <a:pt x="463" y="1177"/>
                    </a:lnTo>
                    <a:lnTo>
                      <a:pt x="461" y="1177"/>
                    </a:lnTo>
                    <a:lnTo>
                      <a:pt x="459" y="1177"/>
                    </a:lnTo>
                    <a:lnTo>
                      <a:pt x="457" y="1177"/>
                    </a:lnTo>
                    <a:lnTo>
                      <a:pt x="457" y="1179"/>
                    </a:lnTo>
                    <a:lnTo>
                      <a:pt x="459" y="1179"/>
                    </a:lnTo>
                    <a:lnTo>
                      <a:pt x="457" y="1179"/>
                    </a:lnTo>
                    <a:lnTo>
                      <a:pt x="455" y="1179"/>
                    </a:lnTo>
                    <a:lnTo>
                      <a:pt x="455" y="1181"/>
                    </a:lnTo>
                    <a:lnTo>
                      <a:pt x="457" y="1181"/>
                    </a:lnTo>
                    <a:lnTo>
                      <a:pt x="457" y="1183"/>
                    </a:lnTo>
                    <a:lnTo>
                      <a:pt x="457" y="1185"/>
                    </a:lnTo>
                    <a:lnTo>
                      <a:pt x="457" y="1187"/>
                    </a:lnTo>
                    <a:lnTo>
                      <a:pt x="457" y="1188"/>
                    </a:lnTo>
                    <a:lnTo>
                      <a:pt x="459" y="1188"/>
                    </a:lnTo>
                    <a:lnTo>
                      <a:pt x="457" y="1188"/>
                    </a:lnTo>
                    <a:lnTo>
                      <a:pt x="457" y="1190"/>
                    </a:lnTo>
                    <a:lnTo>
                      <a:pt x="459" y="1190"/>
                    </a:lnTo>
                    <a:lnTo>
                      <a:pt x="457" y="1190"/>
                    </a:lnTo>
                    <a:lnTo>
                      <a:pt x="457" y="1192"/>
                    </a:lnTo>
                    <a:lnTo>
                      <a:pt x="455" y="1192"/>
                    </a:lnTo>
                    <a:lnTo>
                      <a:pt x="455" y="1194"/>
                    </a:lnTo>
                    <a:lnTo>
                      <a:pt x="455" y="1196"/>
                    </a:lnTo>
                    <a:lnTo>
                      <a:pt x="455" y="1198"/>
                    </a:lnTo>
                    <a:lnTo>
                      <a:pt x="455" y="1200"/>
                    </a:lnTo>
                    <a:lnTo>
                      <a:pt x="455" y="1202"/>
                    </a:lnTo>
                    <a:lnTo>
                      <a:pt x="453" y="1202"/>
                    </a:lnTo>
                    <a:lnTo>
                      <a:pt x="453" y="1204"/>
                    </a:lnTo>
                    <a:lnTo>
                      <a:pt x="453" y="1206"/>
                    </a:lnTo>
                    <a:lnTo>
                      <a:pt x="453" y="1208"/>
                    </a:lnTo>
                    <a:lnTo>
                      <a:pt x="453" y="1210"/>
                    </a:lnTo>
                    <a:lnTo>
                      <a:pt x="451" y="1210"/>
                    </a:lnTo>
                    <a:lnTo>
                      <a:pt x="453" y="1210"/>
                    </a:lnTo>
                    <a:lnTo>
                      <a:pt x="451" y="1210"/>
                    </a:lnTo>
                    <a:lnTo>
                      <a:pt x="451" y="1211"/>
                    </a:lnTo>
                    <a:lnTo>
                      <a:pt x="451" y="1213"/>
                    </a:lnTo>
                    <a:lnTo>
                      <a:pt x="451" y="1215"/>
                    </a:lnTo>
                    <a:lnTo>
                      <a:pt x="453" y="1215"/>
                    </a:lnTo>
                    <a:lnTo>
                      <a:pt x="453" y="1217"/>
                    </a:lnTo>
                    <a:lnTo>
                      <a:pt x="453" y="1219"/>
                    </a:lnTo>
                    <a:lnTo>
                      <a:pt x="453" y="1221"/>
                    </a:lnTo>
                    <a:lnTo>
                      <a:pt x="455" y="1221"/>
                    </a:lnTo>
                    <a:lnTo>
                      <a:pt x="455" y="1223"/>
                    </a:lnTo>
                    <a:lnTo>
                      <a:pt x="453" y="1223"/>
                    </a:lnTo>
                    <a:lnTo>
                      <a:pt x="451" y="1223"/>
                    </a:lnTo>
                    <a:lnTo>
                      <a:pt x="451" y="1225"/>
                    </a:lnTo>
                    <a:lnTo>
                      <a:pt x="453" y="1225"/>
                    </a:lnTo>
                    <a:lnTo>
                      <a:pt x="451" y="1225"/>
                    </a:lnTo>
                    <a:lnTo>
                      <a:pt x="451" y="1227"/>
                    </a:lnTo>
                    <a:lnTo>
                      <a:pt x="453" y="1227"/>
                    </a:lnTo>
                    <a:lnTo>
                      <a:pt x="453" y="1229"/>
                    </a:lnTo>
                    <a:lnTo>
                      <a:pt x="453" y="1231"/>
                    </a:lnTo>
                    <a:lnTo>
                      <a:pt x="453" y="1233"/>
                    </a:lnTo>
                    <a:lnTo>
                      <a:pt x="451" y="1233"/>
                    </a:lnTo>
                    <a:lnTo>
                      <a:pt x="451" y="1235"/>
                    </a:lnTo>
                    <a:lnTo>
                      <a:pt x="451" y="1236"/>
                    </a:lnTo>
                    <a:lnTo>
                      <a:pt x="449" y="1236"/>
                    </a:lnTo>
                    <a:lnTo>
                      <a:pt x="447" y="1238"/>
                    </a:lnTo>
                    <a:lnTo>
                      <a:pt x="449" y="1238"/>
                    </a:lnTo>
                    <a:lnTo>
                      <a:pt x="447" y="1240"/>
                    </a:lnTo>
                    <a:lnTo>
                      <a:pt x="447" y="1242"/>
                    </a:lnTo>
                    <a:lnTo>
                      <a:pt x="445" y="1242"/>
                    </a:lnTo>
                    <a:lnTo>
                      <a:pt x="445" y="1244"/>
                    </a:lnTo>
                    <a:lnTo>
                      <a:pt x="445" y="1246"/>
                    </a:lnTo>
                    <a:lnTo>
                      <a:pt x="443" y="1246"/>
                    </a:lnTo>
                    <a:lnTo>
                      <a:pt x="443" y="1248"/>
                    </a:lnTo>
                    <a:lnTo>
                      <a:pt x="443" y="1250"/>
                    </a:lnTo>
                    <a:lnTo>
                      <a:pt x="443" y="1252"/>
                    </a:lnTo>
                    <a:lnTo>
                      <a:pt x="443" y="1254"/>
                    </a:lnTo>
                    <a:lnTo>
                      <a:pt x="443" y="1256"/>
                    </a:lnTo>
                    <a:lnTo>
                      <a:pt x="443" y="1258"/>
                    </a:lnTo>
                    <a:lnTo>
                      <a:pt x="443" y="1259"/>
                    </a:lnTo>
                    <a:lnTo>
                      <a:pt x="442" y="1259"/>
                    </a:lnTo>
                    <a:lnTo>
                      <a:pt x="443" y="1259"/>
                    </a:lnTo>
                    <a:lnTo>
                      <a:pt x="442" y="1259"/>
                    </a:lnTo>
                    <a:lnTo>
                      <a:pt x="443" y="1259"/>
                    </a:lnTo>
                    <a:lnTo>
                      <a:pt x="442" y="1261"/>
                    </a:lnTo>
                    <a:lnTo>
                      <a:pt x="442" y="1263"/>
                    </a:lnTo>
                    <a:lnTo>
                      <a:pt x="443" y="1263"/>
                    </a:lnTo>
                    <a:lnTo>
                      <a:pt x="443" y="1265"/>
                    </a:lnTo>
                    <a:lnTo>
                      <a:pt x="443" y="1267"/>
                    </a:lnTo>
                    <a:lnTo>
                      <a:pt x="443" y="1269"/>
                    </a:lnTo>
                    <a:lnTo>
                      <a:pt x="445" y="1269"/>
                    </a:lnTo>
                    <a:lnTo>
                      <a:pt x="445" y="1271"/>
                    </a:lnTo>
                    <a:lnTo>
                      <a:pt x="445" y="1273"/>
                    </a:lnTo>
                    <a:lnTo>
                      <a:pt x="443" y="1273"/>
                    </a:lnTo>
                    <a:lnTo>
                      <a:pt x="442" y="1271"/>
                    </a:lnTo>
                    <a:lnTo>
                      <a:pt x="440" y="1271"/>
                    </a:lnTo>
                    <a:lnTo>
                      <a:pt x="440" y="1269"/>
                    </a:lnTo>
                    <a:lnTo>
                      <a:pt x="438" y="1271"/>
                    </a:lnTo>
                    <a:lnTo>
                      <a:pt x="438" y="1273"/>
                    </a:lnTo>
                    <a:lnTo>
                      <a:pt x="436" y="1273"/>
                    </a:lnTo>
                    <a:lnTo>
                      <a:pt x="438" y="1273"/>
                    </a:lnTo>
                    <a:lnTo>
                      <a:pt x="436" y="1273"/>
                    </a:lnTo>
                    <a:lnTo>
                      <a:pt x="436" y="1275"/>
                    </a:lnTo>
                    <a:lnTo>
                      <a:pt x="436" y="1277"/>
                    </a:lnTo>
                    <a:lnTo>
                      <a:pt x="434" y="1277"/>
                    </a:lnTo>
                    <a:lnTo>
                      <a:pt x="432" y="1277"/>
                    </a:lnTo>
                    <a:lnTo>
                      <a:pt x="434" y="1277"/>
                    </a:lnTo>
                    <a:lnTo>
                      <a:pt x="432" y="1277"/>
                    </a:lnTo>
                    <a:lnTo>
                      <a:pt x="432" y="1275"/>
                    </a:lnTo>
                    <a:lnTo>
                      <a:pt x="434" y="1275"/>
                    </a:lnTo>
                    <a:lnTo>
                      <a:pt x="432" y="1275"/>
                    </a:lnTo>
                    <a:lnTo>
                      <a:pt x="434" y="1275"/>
                    </a:lnTo>
                    <a:lnTo>
                      <a:pt x="434" y="1273"/>
                    </a:lnTo>
                    <a:lnTo>
                      <a:pt x="432" y="1273"/>
                    </a:lnTo>
                    <a:lnTo>
                      <a:pt x="430" y="1273"/>
                    </a:lnTo>
                    <a:lnTo>
                      <a:pt x="430" y="1271"/>
                    </a:lnTo>
                    <a:lnTo>
                      <a:pt x="430" y="1273"/>
                    </a:lnTo>
                    <a:lnTo>
                      <a:pt x="430" y="1275"/>
                    </a:lnTo>
                    <a:lnTo>
                      <a:pt x="428" y="1275"/>
                    </a:lnTo>
                    <a:lnTo>
                      <a:pt x="426" y="1275"/>
                    </a:lnTo>
                    <a:lnTo>
                      <a:pt x="426" y="1277"/>
                    </a:lnTo>
                    <a:lnTo>
                      <a:pt x="424" y="1277"/>
                    </a:lnTo>
                    <a:lnTo>
                      <a:pt x="424" y="1279"/>
                    </a:lnTo>
                    <a:lnTo>
                      <a:pt x="424" y="1277"/>
                    </a:lnTo>
                    <a:lnTo>
                      <a:pt x="422" y="1277"/>
                    </a:lnTo>
                    <a:lnTo>
                      <a:pt x="422" y="1275"/>
                    </a:lnTo>
                    <a:lnTo>
                      <a:pt x="420" y="1273"/>
                    </a:lnTo>
                    <a:lnTo>
                      <a:pt x="420" y="1271"/>
                    </a:lnTo>
                    <a:lnTo>
                      <a:pt x="420" y="1269"/>
                    </a:lnTo>
                    <a:lnTo>
                      <a:pt x="419" y="1269"/>
                    </a:lnTo>
                    <a:lnTo>
                      <a:pt x="419" y="1267"/>
                    </a:lnTo>
                    <a:lnTo>
                      <a:pt x="419" y="1265"/>
                    </a:lnTo>
                    <a:lnTo>
                      <a:pt x="419" y="1263"/>
                    </a:lnTo>
                    <a:lnTo>
                      <a:pt x="419" y="1261"/>
                    </a:lnTo>
                    <a:lnTo>
                      <a:pt x="419" y="1259"/>
                    </a:lnTo>
                    <a:lnTo>
                      <a:pt x="419" y="1258"/>
                    </a:lnTo>
                    <a:lnTo>
                      <a:pt x="419" y="1256"/>
                    </a:lnTo>
                    <a:lnTo>
                      <a:pt x="419" y="1254"/>
                    </a:lnTo>
                    <a:lnTo>
                      <a:pt x="420" y="1254"/>
                    </a:lnTo>
                    <a:lnTo>
                      <a:pt x="422" y="1252"/>
                    </a:lnTo>
                    <a:lnTo>
                      <a:pt x="424" y="1250"/>
                    </a:lnTo>
                    <a:lnTo>
                      <a:pt x="424" y="1248"/>
                    </a:lnTo>
                    <a:lnTo>
                      <a:pt x="424" y="1246"/>
                    </a:lnTo>
                    <a:lnTo>
                      <a:pt x="424" y="1244"/>
                    </a:lnTo>
                    <a:lnTo>
                      <a:pt x="424" y="1242"/>
                    </a:lnTo>
                    <a:lnTo>
                      <a:pt x="424" y="1240"/>
                    </a:lnTo>
                    <a:lnTo>
                      <a:pt x="422" y="1240"/>
                    </a:lnTo>
                    <a:lnTo>
                      <a:pt x="422" y="1238"/>
                    </a:lnTo>
                    <a:lnTo>
                      <a:pt x="424" y="1235"/>
                    </a:lnTo>
                    <a:lnTo>
                      <a:pt x="424" y="1233"/>
                    </a:lnTo>
                    <a:lnTo>
                      <a:pt x="422" y="1231"/>
                    </a:lnTo>
                    <a:lnTo>
                      <a:pt x="422" y="1229"/>
                    </a:lnTo>
                    <a:lnTo>
                      <a:pt x="422" y="1227"/>
                    </a:lnTo>
                    <a:lnTo>
                      <a:pt x="422" y="1225"/>
                    </a:lnTo>
                    <a:lnTo>
                      <a:pt x="420" y="1225"/>
                    </a:lnTo>
                    <a:lnTo>
                      <a:pt x="420" y="1223"/>
                    </a:lnTo>
                    <a:lnTo>
                      <a:pt x="420" y="1221"/>
                    </a:lnTo>
                    <a:lnTo>
                      <a:pt x="420" y="1219"/>
                    </a:lnTo>
                    <a:lnTo>
                      <a:pt x="419" y="1217"/>
                    </a:lnTo>
                    <a:lnTo>
                      <a:pt x="417" y="1217"/>
                    </a:lnTo>
                    <a:lnTo>
                      <a:pt x="417" y="1215"/>
                    </a:lnTo>
                    <a:lnTo>
                      <a:pt x="417" y="1213"/>
                    </a:lnTo>
                    <a:lnTo>
                      <a:pt x="415" y="1213"/>
                    </a:lnTo>
                    <a:lnTo>
                      <a:pt x="415" y="1211"/>
                    </a:lnTo>
                    <a:lnTo>
                      <a:pt x="413" y="1211"/>
                    </a:lnTo>
                    <a:lnTo>
                      <a:pt x="413" y="1210"/>
                    </a:lnTo>
                    <a:lnTo>
                      <a:pt x="411" y="1206"/>
                    </a:lnTo>
                    <a:lnTo>
                      <a:pt x="409" y="1204"/>
                    </a:lnTo>
                    <a:lnTo>
                      <a:pt x="409" y="1202"/>
                    </a:lnTo>
                    <a:lnTo>
                      <a:pt x="407" y="1200"/>
                    </a:lnTo>
                    <a:lnTo>
                      <a:pt x="407" y="1198"/>
                    </a:lnTo>
                    <a:lnTo>
                      <a:pt x="405" y="1198"/>
                    </a:lnTo>
                    <a:lnTo>
                      <a:pt x="405" y="1196"/>
                    </a:lnTo>
                    <a:lnTo>
                      <a:pt x="403" y="1196"/>
                    </a:lnTo>
                    <a:lnTo>
                      <a:pt x="399" y="1192"/>
                    </a:lnTo>
                    <a:lnTo>
                      <a:pt x="397" y="1190"/>
                    </a:lnTo>
                    <a:lnTo>
                      <a:pt x="395" y="1190"/>
                    </a:lnTo>
                    <a:lnTo>
                      <a:pt x="395" y="1188"/>
                    </a:lnTo>
                    <a:lnTo>
                      <a:pt x="394" y="1188"/>
                    </a:lnTo>
                    <a:lnTo>
                      <a:pt x="394" y="1187"/>
                    </a:lnTo>
                    <a:lnTo>
                      <a:pt x="392" y="1187"/>
                    </a:lnTo>
                    <a:lnTo>
                      <a:pt x="390" y="1187"/>
                    </a:lnTo>
                    <a:lnTo>
                      <a:pt x="390" y="1185"/>
                    </a:lnTo>
                    <a:lnTo>
                      <a:pt x="388" y="1185"/>
                    </a:lnTo>
                    <a:lnTo>
                      <a:pt x="386" y="1185"/>
                    </a:lnTo>
                    <a:lnTo>
                      <a:pt x="380" y="1181"/>
                    </a:lnTo>
                    <a:lnTo>
                      <a:pt x="378" y="1181"/>
                    </a:lnTo>
                    <a:lnTo>
                      <a:pt x="376" y="1181"/>
                    </a:lnTo>
                    <a:lnTo>
                      <a:pt x="376" y="1179"/>
                    </a:lnTo>
                    <a:lnTo>
                      <a:pt x="374" y="1179"/>
                    </a:lnTo>
                    <a:lnTo>
                      <a:pt x="372" y="1179"/>
                    </a:lnTo>
                    <a:lnTo>
                      <a:pt x="371" y="1177"/>
                    </a:lnTo>
                    <a:lnTo>
                      <a:pt x="369" y="1177"/>
                    </a:lnTo>
                    <a:lnTo>
                      <a:pt x="369" y="1175"/>
                    </a:lnTo>
                    <a:lnTo>
                      <a:pt x="367" y="1175"/>
                    </a:lnTo>
                    <a:lnTo>
                      <a:pt x="365" y="1175"/>
                    </a:lnTo>
                    <a:lnTo>
                      <a:pt x="365" y="1173"/>
                    </a:lnTo>
                    <a:lnTo>
                      <a:pt x="363" y="1173"/>
                    </a:lnTo>
                    <a:lnTo>
                      <a:pt x="361" y="1173"/>
                    </a:lnTo>
                    <a:lnTo>
                      <a:pt x="361" y="1171"/>
                    </a:lnTo>
                    <a:lnTo>
                      <a:pt x="361" y="1169"/>
                    </a:lnTo>
                    <a:lnTo>
                      <a:pt x="359" y="1169"/>
                    </a:lnTo>
                    <a:lnTo>
                      <a:pt x="359" y="1167"/>
                    </a:lnTo>
                    <a:lnTo>
                      <a:pt x="357" y="1167"/>
                    </a:lnTo>
                    <a:lnTo>
                      <a:pt x="355" y="1169"/>
                    </a:lnTo>
                    <a:lnTo>
                      <a:pt x="353" y="1169"/>
                    </a:lnTo>
                    <a:lnTo>
                      <a:pt x="351" y="1169"/>
                    </a:lnTo>
                    <a:lnTo>
                      <a:pt x="349" y="1169"/>
                    </a:lnTo>
                    <a:lnTo>
                      <a:pt x="347" y="1169"/>
                    </a:lnTo>
                    <a:lnTo>
                      <a:pt x="346" y="1169"/>
                    </a:lnTo>
                    <a:lnTo>
                      <a:pt x="346" y="1167"/>
                    </a:lnTo>
                    <a:lnTo>
                      <a:pt x="344" y="1167"/>
                    </a:lnTo>
                    <a:lnTo>
                      <a:pt x="344" y="1169"/>
                    </a:lnTo>
                    <a:lnTo>
                      <a:pt x="342" y="1169"/>
                    </a:lnTo>
                    <a:lnTo>
                      <a:pt x="340" y="1169"/>
                    </a:lnTo>
                    <a:lnTo>
                      <a:pt x="340" y="1167"/>
                    </a:lnTo>
                    <a:lnTo>
                      <a:pt x="338" y="1167"/>
                    </a:lnTo>
                    <a:lnTo>
                      <a:pt x="336" y="1167"/>
                    </a:lnTo>
                    <a:lnTo>
                      <a:pt x="334" y="1167"/>
                    </a:lnTo>
                    <a:lnTo>
                      <a:pt x="334" y="1165"/>
                    </a:lnTo>
                    <a:lnTo>
                      <a:pt x="332" y="1163"/>
                    </a:lnTo>
                    <a:lnTo>
                      <a:pt x="330" y="1163"/>
                    </a:lnTo>
                    <a:lnTo>
                      <a:pt x="330" y="1162"/>
                    </a:lnTo>
                    <a:lnTo>
                      <a:pt x="328" y="1163"/>
                    </a:lnTo>
                    <a:lnTo>
                      <a:pt x="326" y="1163"/>
                    </a:lnTo>
                    <a:lnTo>
                      <a:pt x="324" y="1165"/>
                    </a:lnTo>
                    <a:lnTo>
                      <a:pt x="323" y="1167"/>
                    </a:lnTo>
                    <a:lnTo>
                      <a:pt x="321" y="1169"/>
                    </a:lnTo>
                    <a:lnTo>
                      <a:pt x="319" y="1169"/>
                    </a:lnTo>
                    <a:lnTo>
                      <a:pt x="317" y="1169"/>
                    </a:lnTo>
                    <a:lnTo>
                      <a:pt x="315" y="1169"/>
                    </a:lnTo>
                    <a:lnTo>
                      <a:pt x="313" y="1169"/>
                    </a:lnTo>
                    <a:lnTo>
                      <a:pt x="311" y="1169"/>
                    </a:lnTo>
                    <a:lnTo>
                      <a:pt x="311" y="1167"/>
                    </a:lnTo>
                    <a:lnTo>
                      <a:pt x="309" y="1167"/>
                    </a:lnTo>
                    <a:lnTo>
                      <a:pt x="309" y="1165"/>
                    </a:lnTo>
                    <a:lnTo>
                      <a:pt x="307" y="1165"/>
                    </a:lnTo>
                    <a:lnTo>
                      <a:pt x="305" y="1165"/>
                    </a:lnTo>
                    <a:lnTo>
                      <a:pt x="303" y="1165"/>
                    </a:lnTo>
                    <a:lnTo>
                      <a:pt x="301" y="1165"/>
                    </a:lnTo>
                    <a:lnTo>
                      <a:pt x="299" y="1167"/>
                    </a:lnTo>
                    <a:lnTo>
                      <a:pt x="299" y="1169"/>
                    </a:lnTo>
                    <a:lnTo>
                      <a:pt x="298" y="1169"/>
                    </a:lnTo>
                    <a:lnTo>
                      <a:pt x="296" y="1171"/>
                    </a:lnTo>
                    <a:lnTo>
                      <a:pt x="294" y="1171"/>
                    </a:lnTo>
                    <a:lnTo>
                      <a:pt x="292" y="1171"/>
                    </a:lnTo>
                    <a:lnTo>
                      <a:pt x="290" y="1171"/>
                    </a:lnTo>
                    <a:lnTo>
                      <a:pt x="288" y="1171"/>
                    </a:lnTo>
                    <a:lnTo>
                      <a:pt x="288" y="1173"/>
                    </a:lnTo>
                    <a:lnTo>
                      <a:pt x="286" y="1173"/>
                    </a:lnTo>
                    <a:lnTo>
                      <a:pt x="284" y="1175"/>
                    </a:lnTo>
                    <a:lnTo>
                      <a:pt x="284" y="1177"/>
                    </a:lnTo>
                    <a:lnTo>
                      <a:pt x="282" y="1177"/>
                    </a:lnTo>
                    <a:lnTo>
                      <a:pt x="282" y="1179"/>
                    </a:lnTo>
                    <a:lnTo>
                      <a:pt x="280" y="1179"/>
                    </a:lnTo>
                    <a:lnTo>
                      <a:pt x="278" y="1179"/>
                    </a:lnTo>
                    <a:lnTo>
                      <a:pt x="276" y="1181"/>
                    </a:lnTo>
                    <a:lnTo>
                      <a:pt x="275" y="1181"/>
                    </a:lnTo>
                    <a:lnTo>
                      <a:pt x="273" y="1181"/>
                    </a:lnTo>
                    <a:lnTo>
                      <a:pt x="271" y="1183"/>
                    </a:lnTo>
                    <a:lnTo>
                      <a:pt x="269" y="1183"/>
                    </a:lnTo>
                    <a:lnTo>
                      <a:pt x="267" y="1183"/>
                    </a:lnTo>
                    <a:lnTo>
                      <a:pt x="265" y="1183"/>
                    </a:lnTo>
                    <a:lnTo>
                      <a:pt x="263" y="1183"/>
                    </a:lnTo>
                    <a:lnTo>
                      <a:pt x="263" y="1185"/>
                    </a:lnTo>
                    <a:lnTo>
                      <a:pt x="261" y="1185"/>
                    </a:lnTo>
                    <a:lnTo>
                      <a:pt x="259" y="1185"/>
                    </a:lnTo>
                    <a:lnTo>
                      <a:pt x="257" y="1185"/>
                    </a:lnTo>
                    <a:lnTo>
                      <a:pt x="255" y="1185"/>
                    </a:lnTo>
                    <a:lnTo>
                      <a:pt x="253" y="1185"/>
                    </a:lnTo>
                    <a:lnTo>
                      <a:pt x="251" y="1187"/>
                    </a:lnTo>
                    <a:lnTo>
                      <a:pt x="250" y="1188"/>
                    </a:lnTo>
                    <a:lnTo>
                      <a:pt x="248" y="1188"/>
                    </a:lnTo>
                    <a:lnTo>
                      <a:pt x="246" y="1190"/>
                    </a:lnTo>
                    <a:lnTo>
                      <a:pt x="244" y="1190"/>
                    </a:lnTo>
                    <a:lnTo>
                      <a:pt x="242" y="1188"/>
                    </a:lnTo>
                    <a:lnTo>
                      <a:pt x="240" y="1188"/>
                    </a:lnTo>
                    <a:lnTo>
                      <a:pt x="240" y="1190"/>
                    </a:lnTo>
                    <a:lnTo>
                      <a:pt x="238" y="1190"/>
                    </a:lnTo>
                    <a:lnTo>
                      <a:pt x="238" y="1192"/>
                    </a:lnTo>
                    <a:lnTo>
                      <a:pt x="236" y="1192"/>
                    </a:lnTo>
                    <a:lnTo>
                      <a:pt x="234" y="1192"/>
                    </a:lnTo>
                    <a:lnTo>
                      <a:pt x="234" y="1194"/>
                    </a:lnTo>
                    <a:lnTo>
                      <a:pt x="232" y="1194"/>
                    </a:lnTo>
                    <a:lnTo>
                      <a:pt x="230" y="1194"/>
                    </a:lnTo>
                    <a:lnTo>
                      <a:pt x="228" y="1194"/>
                    </a:lnTo>
                    <a:lnTo>
                      <a:pt x="228" y="1196"/>
                    </a:lnTo>
                    <a:lnTo>
                      <a:pt x="226" y="1196"/>
                    </a:lnTo>
                    <a:lnTo>
                      <a:pt x="226" y="1198"/>
                    </a:lnTo>
                    <a:lnTo>
                      <a:pt x="225" y="1198"/>
                    </a:lnTo>
                    <a:lnTo>
                      <a:pt x="223" y="1198"/>
                    </a:lnTo>
                    <a:lnTo>
                      <a:pt x="221" y="1198"/>
                    </a:lnTo>
                    <a:lnTo>
                      <a:pt x="219" y="1198"/>
                    </a:lnTo>
                    <a:lnTo>
                      <a:pt x="217" y="1198"/>
                    </a:lnTo>
                    <a:lnTo>
                      <a:pt x="215" y="1198"/>
                    </a:lnTo>
                    <a:lnTo>
                      <a:pt x="215" y="1200"/>
                    </a:lnTo>
                    <a:lnTo>
                      <a:pt x="213" y="1200"/>
                    </a:lnTo>
                    <a:lnTo>
                      <a:pt x="213" y="1202"/>
                    </a:lnTo>
                    <a:lnTo>
                      <a:pt x="213" y="1204"/>
                    </a:lnTo>
                    <a:lnTo>
                      <a:pt x="211" y="1204"/>
                    </a:lnTo>
                    <a:lnTo>
                      <a:pt x="211" y="1206"/>
                    </a:lnTo>
                    <a:lnTo>
                      <a:pt x="211" y="1208"/>
                    </a:lnTo>
                    <a:lnTo>
                      <a:pt x="209" y="1208"/>
                    </a:lnTo>
                    <a:lnTo>
                      <a:pt x="211" y="1210"/>
                    </a:lnTo>
                    <a:lnTo>
                      <a:pt x="211" y="1211"/>
                    </a:lnTo>
                    <a:lnTo>
                      <a:pt x="211" y="1213"/>
                    </a:lnTo>
                    <a:lnTo>
                      <a:pt x="211" y="1215"/>
                    </a:lnTo>
                    <a:lnTo>
                      <a:pt x="211" y="1217"/>
                    </a:lnTo>
                    <a:lnTo>
                      <a:pt x="209" y="1217"/>
                    </a:lnTo>
                    <a:lnTo>
                      <a:pt x="209" y="1219"/>
                    </a:lnTo>
                    <a:lnTo>
                      <a:pt x="207" y="1219"/>
                    </a:lnTo>
                    <a:lnTo>
                      <a:pt x="205" y="1219"/>
                    </a:lnTo>
                    <a:lnTo>
                      <a:pt x="203" y="1219"/>
                    </a:lnTo>
                    <a:lnTo>
                      <a:pt x="202" y="1217"/>
                    </a:lnTo>
                    <a:lnTo>
                      <a:pt x="200" y="1217"/>
                    </a:lnTo>
                    <a:lnTo>
                      <a:pt x="200" y="1215"/>
                    </a:lnTo>
                    <a:lnTo>
                      <a:pt x="198" y="1213"/>
                    </a:lnTo>
                    <a:lnTo>
                      <a:pt x="196" y="1211"/>
                    </a:lnTo>
                    <a:lnTo>
                      <a:pt x="194" y="1210"/>
                    </a:lnTo>
                    <a:lnTo>
                      <a:pt x="192" y="1208"/>
                    </a:lnTo>
                    <a:lnTo>
                      <a:pt x="192" y="1206"/>
                    </a:lnTo>
                    <a:lnTo>
                      <a:pt x="190" y="1206"/>
                    </a:lnTo>
                    <a:lnTo>
                      <a:pt x="190" y="1204"/>
                    </a:lnTo>
                    <a:lnTo>
                      <a:pt x="188" y="1202"/>
                    </a:lnTo>
                    <a:lnTo>
                      <a:pt x="188" y="1200"/>
                    </a:lnTo>
                    <a:lnTo>
                      <a:pt x="186" y="1200"/>
                    </a:lnTo>
                    <a:lnTo>
                      <a:pt x="184" y="1200"/>
                    </a:lnTo>
                    <a:lnTo>
                      <a:pt x="182" y="1200"/>
                    </a:lnTo>
                    <a:lnTo>
                      <a:pt x="180" y="1200"/>
                    </a:lnTo>
                    <a:lnTo>
                      <a:pt x="178" y="1198"/>
                    </a:lnTo>
                    <a:lnTo>
                      <a:pt x="177" y="1196"/>
                    </a:lnTo>
                    <a:lnTo>
                      <a:pt x="175" y="1194"/>
                    </a:lnTo>
                    <a:lnTo>
                      <a:pt x="175" y="1192"/>
                    </a:lnTo>
                    <a:lnTo>
                      <a:pt x="173" y="1192"/>
                    </a:lnTo>
                    <a:lnTo>
                      <a:pt x="173" y="1190"/>
                    </a:lnTo>
                    <a:lnTo>
                      <a:pt x="171" y="1190"/>
                    </a:lnTo>
                    <a:lnTo>
                      <a:pt x="169" y="1190"/>
                    </a:lnTo>
                    <a:lnTo>
                      <a:pt x="167" y="1190"/>
                    </a:lnTo>
                    <a:lnTo>
                      <a:pt x="165" y="1190"/>
                    </a:lnTo>
                    <a:lnTo>
                      <a:pt x="163" y="1192"/>
                    </a:lnTo>
                    <a:lnTo>
                      <a:pt x="161" y="1192"/>
                    </a:lnTo>
                    <a:lnTo>
                      <a:pt x="161" y="1194"/>
                    </a:lnTo>
                    <a:lnTo>
                      <a:pt x="161" y="1196"/>
                    </a:lnTo>
                    <a:lnTo>
                      <a:pt x="163" y="1196"/>
                    </a:lnTo>
                    <a:lnTo>
                      <a:pt x="163" y="1198"/>
                    </a:lnTo>
                    <a:lnTo>
                      <a:pt x="165" y="1198"/>
                    </a:lnTo>
                    <a:lnTo>
                      <a:pt x="167" y="1200"/>
                    </a:lnTo>
                    <a:lnTo>
                      <a:pt x="167" y="1202"/>
                    </a:lnTo>
                    <a:lnTo>
                      <a:pt x="167" y="1204"/>
                    </a:lnTo>
                    <a:lnTo>
                      <a:pt x="167" y="1206"/>
                    </a:lnTo>
                    <a:lnTo>
                      <a:pt x="165" y="1206"/>
                    </a:lnTo>
                    <a:lnTo>
                      <a:pt x="163" y="1208"/>
                    </a:lnTo>
                    <a:lnTo>
                      <a:pt x="161" y="1208"/>
                    </a:lnTo>
                    <a:lnTo>
                      <a:pt x="159" y="1208"/>
                    </a:lnTo>
                    <a:lnTo>
                      <a:pt x="157" y="1208"/>
                    </a:lnTo>
                    <a:lnTo>
                      <a:pt x="155" y="1208"/>
                    </a:lnTo>
                    <a:lnTo>
                      <a:pt x="154" y="1208"/>
                    </a:lnTo>
                    <a:lnTo>
                      <a:pt x="152" y="1208"/>
                    </a:lnTo>
                    <a:lnTo>
                      <a:pt x="152" y="1210"/>
                    </a:lnTo>
                    <a:lnTo>
                      <a:pt x="150" y="1210"/>
                    </a:lnTo>
                    <a:lnTo>
                      <a:pt x="150" y="1211"/>
                    </a:lnTo>
                    <a:lnTo>
                      <a:pt x="152" y="1213"/>
                    </a:lnTo>
                    <a:lnTo>
                      <a:pt x="152" y="1215"/>
                    </a:lnTo>
                    <a:lnTo>
                      <a:pt x="152" y="1217"/>
                    </a:lnTo>
                    <a:lnTo>
                      <a:pt x="154" y="1217"/>
                    </a:lnTo>
                    <a:lnTo>
                      <a:pt x="154" y="1219"/>
                    </a:lnTo>
                    <a:lnTo>
                      <a:pt x="155" y="1221"/>
                    </a:lnTo>
                    <a:lnTo>
                      <a:pt x="157" y="1223"/>
                    </a:lnTo>
                    <a:lnTo>
                      <a:pt x="159" y="1225"/>
                    </a:lnTo>
                    <a:lnTo>
                      <a:pt x="159" y="1227"/>
                    </a:lnTo>
                    <a:lnTo>
                      <a:pt x="161" y="1227"/>
                    </a:lnTo>
                    <a:lnTo>
                      <a:pt x="161" y="1229"/>
                    </a:lnTo>
                    <a:lnTo>
                      <a:pt x="159" y="1229"/>
                    </a:lnTo>
                    <a:lnTo>
                      <a:pt x="159" y="1231"/>
                    </a:lnTo>
                    <a:lnTo>
                      <a:pt x="157" y="1231"/>
                    </a:lnTo>
                    <a:lnTo>
                      <a:pt x="155" y="1231"/>
                    </a:lnTo>
                    <a:lnTo>
                      <a:pt x="154" y="1231"/>
                    </a:lnTo>
                    <a:lnTo>
                      <a:pt x="152" y="1231"/>
                    </a:lnTo>
                    <a:lnTo>
                      <a:pt x="150" y="1231"/>
                    </a:lnTo>
                    <a:lnTo>
                      <a:pt x="148" y="1231"/>
                    </a:lnTo>
                    <a:lnTo>
                      <a:pt x="146" y="1231"/>
                    </a:lnTo>
                    <a:lnTo>
                      <a:pt x="144" y="1233"/>
                    </a:lnTo>
                    <a:lnTo>
                      <a:pt x="142" y="1233"/>
                    </a:lnTo>
                    <a:lnTo>
                      <a:pt x="140" y="1233"/>
                    </a:lnTo>
                    <a:lnTo>
                      <a:pt x="138" y="1235"/>
                    </a:lnTo>
                    <a:lnTo>
                      <a:pt x="136" y="1235"/>
                    </a:lnTo>
                    <a:lnTo>
                      <a:pt x="134" y="1235"/>
                    </a:lnTo>
                    <a:lnTo>
                      <a:pt x="132" y="1233"/>
                    </a:lnTo>
                    <a:lnTo>
                      <a:pt x="130" y="1231"/>
                    </a:lnTo>
                    <a:lnTo>
                      <a:pt x="129" y="1231"/>
                    </a:lnTo>
                    <a:lnTo>
                      <a:pt x="127" y="1229"/>
                    </a:lnTo>
                    <a:lnTo>
                      <a:pt x="125" y="1229"/>
                    </a:lnTo>
                    <a:lnTo>
                      <a:pt x="125" y="1227"/>
                    </a:lnTo>
                    <a:lnTo>
                      <a:pt x="123" y="1227"/>
                    </a:lnTo>
                    <a:lnTo>
                      <a:pt x="121" y="1225"/>
                    </a:lnTo>
                    <a:lnTo>
                      <a:pt x="119" y="1225"/>
                    </a:lnTo>
                    <a:lnTo>
                      <a:pt x="117" y="1225"/>
                    </a:lnTo>
                    <a:lnTo>
                      <a:pt x="117" y="1223"/>
                    </a:lnTo>
                    <a:lnTo>
                      <a:pt x="115" y="1223"/>
                    </a:lnTo>
                    <a:lnTo>
                      <a:pt x="113" y="1223"/>
                    </a:lnTo>
                    <a:lnTo>
                      <a:pt x="111" y="1223"/>
                    </a:lnTo>
                    <a:lnTo>
                      <a:pt x="109" y="1223"/>
                    </a:lnTo>
                    <a:lnTo>
                      <a:pt x="107" y="1221"/>
                    </a:lnTo>
                    <a:lnTo>
                      <a:pt x="106" y="1221"/>
                    </a:lnTo>
                    <a:lnTo>
                      <a:pt x="104" y="1221"/>
                    </a:lnTo>
                    <a:lnTo>
                      <a:pt x="102" y="1221"/>
                    </a:lnTo>
                    <a:lnTo>
                      <a:pt x="100" y="1219"/>
                    </a:lnTo>
                    <a:lnTo>
                      <a:pt x="96" y="1219"/>
                    </a:lnTo>
                    <a:lnTo>
                      <a:pt x="94" y="1219"/>
                    </a:lnTo>
                    <a:lnTo>
                      <a:pt x="92" y="1217"/>
                    </a:lnTo>
                    <a:lnTo>
                      <a:pt x="90" y="1217"/>
                    </a:lnTo>
                    <a:lnTo>
                      <a:pt x="90" y="1215"/>
                    </a:lnTo>
                    <a:lnTo>
                      <a:pt x="88" y="1215"/>
                    </a:lnTo>
                    <a:lnTo>
                      <a:pt x="88" y="1213"/>
                    </a:lnTo>
                    <a:lnTo>
                      <a:pt x="86" y="1211"/>
                    </a:lnTo>
                    <a:lnTo>
                      <a:pt x="84" y="1211"/>
                    </a:lnTo>
                    <a:lnTo>
                      <a:pt x="82" y="1210"/>
                    </a:lnTo>
                    <a:lnTo>
                      <a:pt x="81" y="1210"/>
                    </a:lnTo>
                    <a:lnTo>
                      <a:pt x="79" y="1208"/>
                    </a:lnTo>
                    <a:lnTo>
                      <a:pt x="75" y="1206"/>
                    </a:lnTo>
                    <a:lnTo>
                      <a:pt x="73" y="1204"/>
                    </a:lnTo>
                    <a:lnTo>
                      <a:pt x="69" y="1202"/>
                    </a:lnTo>
                    <a:lnTo>
                      <a:pt x="67" y="1200"/>
                    </a:lnTo>
                    <a:lnTo>
                      <a:pt x="65" y="1198"/>
                    </a:lnTo>
                    <a:lnTo>
                      <a:pt x="63" y="1198"/>
                    </a:lnTo>
                    <a:lnTo>
                      <a:pt x="61" y="1196"/>
                    </a:lnTo>
                    <a:lnTo>
                      <a:pt x="58" y="1194"/>
                    </a:lnTo>
                    <a:lnTo>
                      <a:pt x="56" y="1194"/>
                    </a:lnTo>
                    <a:lnTo>
                      <a:pt x="56" y="1192"/>
                    </a:lnTo>
                    <a:lnTo>
                      <a:pt x="54" y="1192"/>
                    </a:lnTo>
                    <a:lnTo>
                      <a:pt x="52" y="1190"/>
                    </a:lnTo>
                    <a:lnTo>
                      <a:pt x="50" y="1190"/>
                    </a:lnTo>
                    <a:lnTo>
                      <a:pt x="48" y="1188"/>
                    </a:lnTo>
                    <a:lnTo>
                      <a:pt x="46" y="1188"/>
                    </a:lnTo>
                    <a:lnTo>
                      <a:pt x="44" y="1187"/>
                    </a:lnTo>
                    <a:lnTo>
                      <a:pt x="42" y="1187"/>
                    </a:lnTo>
                    <a:lnTo>
                      <a:pt x="42" y="1185"/>
                    </a:lnTo>
                    <a:lnTo>
                      <a:pt x="38" y="1183"/>
                    </a:lnTo>
                    <a:lnTo>
                      <a:pt x="36" y="1181"/>
                    </a:lnTo>
                    <a:lnTo>
                      <a:pt x="34" y="1181"/>
                    </a:lnTo>
                    <a:lnTo>
                      <a:pt x="33" y="1179"/>
                    </a:lnTo>
                    <a:lnTo>
                      <a:pt x="31" y="1177"/>
                    </a:lnTo>
                    <a:lnTo>
                      <a:pt x="29" y="1175"/>
                    </a:lnTo>
                    <a:lnTo>
                      <a:pt x="29" y="1171"/>
                    </a:lnTo>
                    <a:lnTo>
                      <a:pt x="29" y="1169"/>
                    </a:lnTo>
                    <a:lnTo>
                      <a:pt x="27" y="1167"/>
                    </a:lnTo>
                    <a:lnTo>
                      <a:pt x="25" y="1162"/>
                    </a:lnTo>
                    <a:lnTo>
                      <a:pt x="23" y="1156"/>
                    </a:lnTo>
                    <a:lnTo>
                      <a:pt x="23" y="1154"/>
                    </a:lnTo>
                    <a:lnTo>
                      <a:pt x="23" y="1152"/>
                    </a:lnTo>
                    <a:lnTo>
                      <a:pt x="21" y="1150"/>
                    </a:lnTo>
                    <a:lnTo>
                      <a:pt x="19" y="1148"/>
                    </a:lnTo>
                    <a:lnTo>
                      <a:pt x="19" y="1146"/>
                    </a:lnTo>
                    <a:lnTo>
                      <a:pt x="17" y="1144"/>
                    </a:lnTo>
                    <a:lnTo>
                      <a:pt x="17" y="1142"/>
                    </a:lnTo>
                    <a:lnTo>
                      <a:pt x="17" y="1140"/>
                    </a:lnTo>
                    <a:lnTo>
                      <a:pt x="19" y="1140"/>
                    </a:lnTo>
                    <a:lnTo>
                      <a:pt x="19" y="1139"/>
                    </a:lnTo>
                    <a:lnTo>
                      <a:pt x="19" y="1137"/>
                    </a:lnTo>
                    <a:lnTo>
                      <a:pt x="19" y="1135"/>
                    </a:lnTo>
                    <a:lnTo>
                      <a:pt x="21" y="1133"/>
                    </a:lnTo>
                    <a:lnTo>
                      <a:pt x="21" y="1131"/>
                    </a:lnTo>
                    <a:lnTo>
                      <a:pt x="21" y="1129"/>
                    </a:lnTo>
                    <a:lnTo>
                      <a:pt x="21" y="1127"/>
                    </a:lnTo>
                    <a:lnTo>
                      <a:pt x="19" y="1125"/>
                    </a:lnTo>
                    <a:lnTo>
                      <a:pt x="19" y="1123"/>
                    </a:lnTo>
                    <a:lnTo>
                      <a:pt x="17" y="1121"/>
                    </a:lnTo>
                    <a:lnTo>
                      <a:pt x="17" y="1119"/>
                    </a:lnTo>
                    <a:lnTo>
                      <a:pt x="15" y="1119"/>
                    </a:lnTo>
                    <a:lnTo>
                      <a:pt x="11" y="1117"/>
                    </a:lnTo>
                    <a:lnTo>
                      <a:pt x="9" y="1115"/>
                    </a:lnTo>
                    <a:lnTo>
                      <a:pt x="8" y="1114"/>
                    </a:lnTo>
                    <a:lnTo>
                      <a:pt x="6" y="1114"/>
                    </a:lnTo>
                    <a:lnTo>
                      <a:pt x="4" y="1114"/>
                    </a:lnTo>
                    <a:lnTo>
                      <a:pt x="2" y="1114"/>
                    </a:lnTo>
                    <a:lnTo>
                      <a:pt x="2" y="1112"/>
                    </a:lnTo>
                    <a:lnTo>
                      <a:pt x="0" y="1112"/>
                    </a:lnTo>
                    <a:lnTo>
                      <a:pt x="2" y="1112"/>
                    </a:lnTo>
                    <a:lnTo>
                      <a:pt x="2" y="1110"/>
                    </a:lnTo>
                    <a:lnTo>
                      <a:pt x="6" y="1108"/>
                    </a:lnTo>
                    <a:lnTo>
                      <a:pt x="8" y="1106"/>
                    </a:lnTo>
                    <a:lnTo>
                      <a:pt x="8" y="1102"/>
                    </a:lnTo>
                    <a:lnTo>
                      <a:pt x="11" y="1100"/>
                    </a:lnTo>
                    <a:lnTo>
                      <a:pt x="11" y="1098"/>
                    </a:lnTo>
                    <a:lnTo>
                      <a:pt x="13" y="1096"/>
                    </a:lnTo>
                    <a:lnTo>
                      <a:pt x="15" y="1096"/>
                    </a:lnTo>
                    <a:lnTo>
                      <a:pt x="17" y="1092"/>
                    </a:lnTo>
                    <a:lnTo>
                      <a:pt x="19" y="1092"/>
                    </a:lnTo>
                    <a:lnTo>
                      <a:pt x="23" y="1089"/>
                    </a:lnTo>
                    <a:lnTo>
                      <a:pt x="25" y="1089"/>
                    </a:lnTo>
                    <a:lnTo>
                      <a:pt x="25" y="1087"/>
                    </a:lnTo>
                    <a:lnTo>
                      <a:pt x="27" y="1087"/>
                    </a:lnTo>
                    <a:lnTo>
                      <a:pt x="29" y="1085"/>
                    </a:lnTo>
                    <a:lnTo>
                      <a:pt x="31" y="1085"/>
                    </a:lnTo>
                    <a:lnTo>
                      <a:pt x="33" y="1083"/>
                    </a:lnTo>
                    <a:lnTo>
                      <a:pt x="36" y="1085"/>
                    </a:lnTo>
                    <a:lnTo>
                      <a:pt x="38" y="1085"/>
                    </a:lnTo>
                    <a:lnTo>
                      <a:pt x="40" y="1087"/>
                    </a:lnTo>
                    <a:lnTo>
                      <a:pt x="42" y="1089"/>
                    </a:lnTo>
                    <a:lnTo>
                      <a:pt x="44" y="1089"/>
                    </a:lnTo>
                    <a:lnTo>
                      <a:pt x="46" y="1091"/>
                    </a:lnTo>
                    <a:lnTo>
                      <a:pt x="48" y="1092"/>
                    </a:lnTo>
                    <a:lnTo>
                      <a:pt x="50" y="1092"/>
                    </a:lnTo>
                    <a:lnTo>
                      <a:pt x="54" y="1094"/>
                    </a:lnTo>
                    <a:lnTo>
                      <a:pt x="56" y="1096"/>
                    </a:lnTo>
                    <a:lnTo>
                      <a:pt x="59" y="1098"/>
                    </a:lnTo>
                    <a:lnTo>
                      <a:pt x="61" y="1100"/>
                    </a:lnTo>
                    <a:lnTo>
                      <a:pt x="63" y="1100"/>
                    </a:lnTo>
                    <a:lnTo>
                      <a:pt x="65" y="1100"/>
                    </a:lnTo>
                    <a:lnTo>
                      <a:pt x="65" y="1098"/>
                    </a:lnTo>
                    <a:lnTo>
                      <a:pt x="67" y="1096"/>
                    </a:lnTo>
                    <a:lnTo>
                      <a:pt x="67" y="1094"/>
                    </a:lnTo>
                    <a:lnTo>
                      <a:pt x="67" y="1096"/>
                    </a:lnTo>
                    <a:lnTo>
                      <a:pt x="67" y="1098"/>
                    </a:lnTo>
                    <a:lnTo>
                      <a:pt x="67" y="1100"/>
                    </a:lnTo>
                    <a:lnTo>
                      <a:pt x="67" y="1102"/>
                    </a:lnTo>
                    <a:lnTo>
                      <a:pt x="67" y="1104"/>
                    </a:lnTo>
                    <a:lnTo>
                      <a:pt x="65" y="1104"/>
                    </a:lnTo>
                    <a:lnTo>
                      <a:pt x="65" y="1106"/>
                    </a:lnTo>
                    <a:lnTo>
                      <a:pt x="67" y="1106"/>
                    </a:lnTo>
                    <a:lnTo>
                      <a:pt x="65" y="1106"/>
                    </a:lnTo>
                    <a:lnTo>
                      <a:pt x="65" y="1108"/>
                    </a:lnTo>
                    <a:lnTo>
                      <a:pt x="65" y="1110"/>
                    </a:lnTo>
                    <a:lnTo>
                      <a:pt x="65" y="1112"/>
                    </a:lnTo>
                    <a:lnTo>
                      <a:pt x="65" y="1114"/>
                    </a:lnTo>
                    <a:lnTo>
                      <a:pt x="67" y="1114"/>
                    </a:lnTo>
                    <a:lnTo>
                      <a:pt x="69" y="1114"/>
                    </a:lnTo>
                    <a:lnTo>
                      <a:pt x="71" y="1112"/>
                    </a:lnTo>
                    <a:lnTo>
                      <a:pt x="73" y="1112"/>
                    </a:lnTo>
                    <a:lnTo>
                      <a:pt x="75" y="1112"/>
                    </a:lnTo>
                    <a:lnTo>
                      <a:pt x="79" y="1112"/>
                    </a:lnTo>
                    <a:lnTo>
                      <a:pt x="81" y="1112"/>
                    </a:lnTo>
                    <a:lnTo>
                      <a:pt x="84" y="1112"/>
                    </a:lnTo>
                    <a:lnTo>
                      <a:pt x="86" y="1112"/>
                    </a:lnTo>
                    <a:lnTo>
                      <a:pt x="92" y="1110"/>
                    </a:lnTo>
                    <a:lnTo>
                      <a:pt x="92" y="1108"/>
                    </a:lnTo>
                    <a:lnTo>
                      <a:pt x="92" y="1106"/>
                    </a:lnTo>
                    <a:lnTo>
                      <a:pt x="90" y="1096"/>
                    </a:lnTo>
                    <a:lnTo>
                      <a:pt x="90" y="1094"/>
                    </a:lnTo>
                    <a:lnTo>
                      <a:pt x="90" y="1091"/>
                    </a:lnTo>
                    <a:lnTo>
                      <a:pt x="90" y="1087"/>
                    </a:lnTo>
                    <a:lnTo>
                      <a:pt x="90" y="1085"/>
                    </a:lnTo>
                    <a:lnTo>
                      <a:pt x="90" y="1083"/>
                    </a:lnTo>
                    <a:lnTo>
                      <a:pt x="88" y="1079"/>
                    </a:lnTo>
                    <a:lnTo>
                      <a:pt x="90" y="1079"/>
                    </a:lnTo>
                    <a:lnTo>
                      <a:pt x="92" y="1079"/>
                    </a:lnTo>
                    <a:lnTo>
                      <a:pt x="98" y="1079"/>
                    </a:lnTo>
                    <a:lnTo>
                      <a:pt x="102" y="1079"/>
                    </a:lnTo>
                    <a:lnTo>
                      <a:pt x="106" y="1077"/>
                    </a:lnTo>
                    <a:lnTo>
                      <a:pt x="104" y="1067"/>
                    </a:lnTo>
                    <a:lnTo>
                      <a:pt x="104" y="1064"/>
                    </a:lnTo>
                    <a:lnTo>
                      <a:pt x="104" y="1060"/>
                    </a:lnTo>
                    <a:lnTo>
                      <a:pt x="104" y="1058"/>
                    </a:lnTo>
                    <a:lnTo>
                      <a:pt x="104" y="1054"/>
                    </a:lnTo>
                    <a:lnTo>
                      <a:pt x="104" y="1052"/>
                    </a:lnTo>
                    <a:lnTo>
                      <a:pt x="102" y="1050"/>
                    </a:lnTo>
                    <a:lnTo>
                      <a:pt x="102" y="1046"/>
                    </a:lnTo>
                    <a:lnTo>
                      <a:pt x="102" y="1044"/>
                    </a:lnTo>
                    <a:lnTo>
                      <a:pt x="102" y="1041"/>
                    </a:lnTo>
                    <a:lnTo>
                      <a:pt x="100" y="1041"/>
                    </a:lnTo>
                    <a:lnTo>
                      <a:pt x="98" y="1041"/>
                    </a:lnTo>
                    <a:lnTo>
                      <a:pt x="96" y="1041"/>
                    </a:lnTo>
                    <a:lnTo>
                      <a:pt x="94" y="1043"/>
                    </a:lnTo>
                    <a:lnTo>
                      <a:pt x="92" y="1043"/>
                    </a:lnTo>
                    <a:lnTo>
                      <a:pt x="92" y="1041"/>
                    </a:lnTo>
                    <a:lnTo>
                      <a:pt x="92" y="1039"/>
                    </a:lnTo>
                    <a:lnTo>
                      <a:pt x="92" y="1037"/>
                    </a:lnTo>
                    <a:lnTo>
                      <a:pt x="92" y="1035"/>
                    </a:lnTo>
                    <a:lnTo>
                      <a:pt x="92" y="1033"/>
                    </a:lnTo>
                    <a:lnTo>
                      <a:pt x="92" y="1031"/>
                    </a:lnTo>
                    <a:lnTo>
                      <a:pt x="94" y="1031"/>
                    </a:lnTo>
                    <a:lnTo>
                      <a:pt x="96" y="1031"/>
                    </a:lnTo>
                    <a:lnTo>
                      <a:pt x="96" y="1029"/>
                    </a:lnTo>
                    <a:lnTo>
                      <a:pt x="98" y="1029"/>
                    </a:lnTo>
                    <a:lnTo>
                      <a:pt x="98" y="1027"/>
                    </a:lnTo>
                    <a:lnTo>
                      <a:pt x="100" y="1025"/>
                    </a:lnTo>
                    <a:lnTo>
                      <a:pt x="102" y="1023"/>
                    </a:lnTo>
                    <a:lnTo>
                      <a:pt x="102" y="1021"/>
                    </a:lnTo>
                    <a:lnTo>
                      <a:pt x="104" y="1019"/>
                    </a:lnTo>
                    <a:lnTo>
                      <a:pt x="104" y="1018"/>
                    </a:lnTo>
                    <a:lnTo>
                      <a:pt x="104" y="1016"/>
                    </a:lnTo>
                    <a:lnTo>
                      <a:pt x="106" y="1014"/>
                    </a:lnTo>
                    <a:lnTo>
                      <a:pt x="106" y="1012"/>
                    </a:lnTo>
                    <a:lnTo>
                      <a:pt x="107" y="1010"/>
                    </a:lnTo>
                    <a:lnTo>
                      <a:pt x="109" y="1012"/>
                    </a:lnTo>
                    <a:lnTo>
                      <a:pt x="111" y="1014"/>
                    </a:lnTo>
                    <a:lnTo>
                      <a:pt x="113" y="1012"/>
                    </a:lnTo>
                    <a:lnTo>
                      <a:pt x="115" y="1012"/>
                    </a:lnTo>
                    <a:lnTo>
                      <a:pt x="117" y="1012"/>
                    </a:lnTo>
                    <a:lnTo>
                      <a:pt x="119" y="1014"/>
                    </a:lnTo>
                    <a:lnTo>
                      <a:pt x="119" y="1016"/>
                    </a:lnTo>
                    <a:lnTo>
                      <a:pt x="119" y="1018"/>
                    </a:lnTo>
                    <a:lnTo>
                      <a:pt x="121" y="1018"/>
                    </a:lnTo>
                    <a:lnTo>
                      <a:pt x="125" y="1018"/>
                    </a:lnTo>
                    <a:lnTo>
                      <a:pt x="127" y="1018"/>
                    </a:lnTo>
                    <a:lnTo>
                      <a:pt x="127" y="1016"/>
                    </a:lnTo>
                    <a:lnTo>
                      <a:pt x="129" y="1016"/>
                    </a:lnTo>
                    <a:lnTo>
                      <a:pt x="129" y="1014"/>
                    </a:lnTo>
                    <a:lnTo>
                      <a:pt x="129" y="1012"/>
                    </a:lnTo>
                    <a:lnTo>
                      <a:pt x="129" y="1010"/>
                    </a:lnTo>
                    <a:lnTo>
                      <a:pt x="129" y="1008"/>
                    </a:lnTo>
                    <a:lnTo>
                      <a:pt x="129" y="1006"/>
                    </a:lnTo>
                    <a:lnTo>
                      <a:pt x="129" y="1004"/>
                    </a:lnTo>
                    <a:lnTo>
                      <a:pt x="129" y="1002"/>
                    </a:lnTo>
                    <a:lnTo>
                      <a:pt x="127" y="1002"/>
                    </a:lnTo>
                    <a:lnTo>
                      <a:pt x="127" y="1000"/>
                    </a:lnTo>
                    <a:lnTo>
                      <a:pt x="129" y="998"/>
                    </a:lnTo>
                    <a:lnTo>
                      <a:pt x="130" y="998"/>
                    </a:lnTo>
                    <a:lnTo>
                      <a:pt x="132" y="1000"/>
                    </a:lnTo>
                    <a:lnTo>
                      <a:pt x="134" y="1000"/>
                    </a:lnTo>
                    <a:lnTo>
                      <a:pt x="136" y="1002"/>
                    </a:lnTo>
                    <a:lnTo>
                      <a:pt x="138" y="1002"/>
                    </a:lnTo>
                    <a:lnTo>
                      <a:pt x="140" y="1002"/>
                    </a:lnTo>
                    <a:lnTo>
                      <a:pt x="146" y="1002"/>
                    </a:lnTo>
                    <a:lnTo>
                      <a:pt x="148" y="1002"/>
                    </a:lnTo>
                    <a:lnTo>
                      <a:pt x="154" y="1002"/>
                    </a:lnTo>
                    <a:lnTo>
                      <a:pt x="157" y="1000"/>
                    </a:lnTo>
                    <a:lnTo>
                      <a:pt x="159" y="1000"/>
                    </a:lnTo>
                    <a:lnTo>
                      <a:pt x="163" y="1000"/>
                    </a:lnTo>
                    <a:lnTo>
                      <a:pt x="165" y="1000"/>
                    </a:lnTo>
                    <a:lnTo>
                      <a:pt x="165" y="996"/>
                    </a:lnTo>
                    <a:lnTo>
                      <a:pt x="165" y="995"/>
                    </a:lnTo>
                    <a:lnTo>
                      <a:pt x="163" y="991"/>
                    </a:lnTo>
                    <a:lnTo>
                      <a:pt x="163" y="983"/>
                    </a:lnTo>
                    <a:lnTo>
                      <a:pt x="165" y="983"/>
                    </a:lnTo>
                    <a:lnTo>
                      <a:pt x="171" y="983"/>
                    </a:lnTo>
                    <a:lnTo>
                      <a:pt x="175" y="983"/>
                    </a:lnTo>
                    <a:lnTo>
                      <a:pt x="180" y="983"/>
                    </a:lnTo>
                    <a:lnTo>
                      <a:pt x="186" y="981"/>
                    </a:lnTo>
                    <a:lnTo>
                      <a:pt x="190" y="981"/>
                    </a:lnTo>
                    <a:lnTo>
                      <a:pt x="190" y="975"/>
                    </a:lnTo>
                    <a:lnTo>
                      <a:pt x="190" y="971"/>
                    </a:lnTo>
                    <a:lnTo>
                      <a:pt x="188" y="970"/>
                    </a:lnTo>
                    <a:lnTo>
                      <a:pt x="188" y="968"/>
                    </a:lnTo>
                    <a:lnTo>
                      <a:pt x="188" y="964"/>
                    </a:lnTo>
                    <a:lnTo>
                      <a:pt x="188" y="960"/>
                    </a:lnTo>
                    <a:lnTo>
                      <a:pt x="188" y="954"/>
                    </a:lnTo>
                    <a:lnTo>
                      <a:pt x="188" y="950"/>
                    </a:lnTo>
                    <a:lnTo>
                      <a:pt x="186" y="941"/>
                    </a:lnTo>
                    <a:lnTo>
                      <a:pt x="188" y="941"/>
                    </a:lnTo>
                    <a:lnTo>
                      <a:pt x="188" y="939"/>
                    </a:lnTo>
                    <a:lnTo>
                      <a:pt x="190" y="937"/>
                    </a:lnTo>
                    <a:lnTo>
                      <a:pt x="188" y="933"/>
                    </a:lnTo>
                    <a:lnTo>
                      <a:pt x="188" y="927"/>
                    </a:lnTo>
                    <a:lnTo>
                      <a:pt x="192" y="927"/>
                    </a:lnTo>
                    <a:lnTo>
                      <a:pt x="196" y="927"/>
                    </a:lnTo>
                    <a:lnTo>
                      <a:pt x="196" y="923"/>
                    </a:lnTo>
                    <a:lnTo>
                      <a:pt x="202" y="922"/>
                    </a:lnTo>
                    <a:lnTo>
                      <a:pt x="209" y="922"/>
                    </a:lnTo>
                    <a:lnTo>
                      <a:pt x="213" y="922"/>
                    </a:lnTo>
                    <a:lnTo>
                      <a:pt x="219" y="920"/>
                    </a:lnTo>
                    <a:lnTo>
                      <a:pt x="225" y="920"/>
                    </a:lnTo>
                    <a:lnTo>
                      <a:pt x="226" y="920"/>
                    </a:lnTo>
                    <a:lnTo>
                      <a:pt x="230" y="920"/>
                    </a:lnTo>
                    <a:lnTo>
                      <a:pt x="236" y="920"/>
                    </a:lnTo>
                    <a:lnTo>
                      <a:pt x="242" y="918"/>
                    </a:lnTo>
                    <a:lnTo>
                      <a:pt x="246" y="918"/>
                    </a:lnTo>
                    <a:lnTo>
                      <a:pt x="248" y="918"/>
                    </a:lnTo>
                    <a:lnTo>
                      <a:pt x="251" y="918"/>
                    </a:lnTo>
                    <a:lnTo>
                      <a:pt x="253" y="916"/>
                    </a:lnTo>
                    <a:lnTo>
                      <a:pt x="255" y="916"/>
                    </a:lnTo>
                    <a:lnTo>
                      <a:pt x="257" y="914"/>
                    </a:lnTo>
                    <a:lnTo>
                      <a:pt x="259" y="910"/>
                    </a:lnTo>
                    <a:lnTo>
                      <a:pt x="261" y="906"/>
                    </a:lnTo>
                    <a:lnTo>
                      <a:pt x="263" y="902"/>
                    </a:lnTo>
                    <a:lnTo>
                      <a:pt x="265" y="900"/>
                    </a:lnTo>
                    <a:lnTo>
                      <a:pt x="267" y="899"/>
                    </a:lnTo>
                    <a:lnTo>
                      <a:pt x="265" y="899"/>
                    </a:lnTo>
                    <a:lnTo>
                      <a:pt x="263" y="893"/>
                    </a:lnTo>
                    <a:lnTo>
                      <a:pt x="259" y="889"/>
                    </a:lnTo>
                    <a:lnTo>
                      <a:pt x="257" y="883"/>
                    </a:lnTo>
                    <a:lnTo>
                      <a:pt x="253" y="877"/>
                    </a:lnTo>
                    <a:lnTo>
                      <a:pt x="257" y="872"/>
                    </a:lnTo>
                    <a:lnTo>
                      <a:pt x="261" y="868"/>
                    </a:lnTo>
                    <a:lnTo>
                      <a:pt x="265" y="866"/>
                    </a:lnTo>
                    <a:lnTo>
                      <a:pt x="265" y="864"/>
                    </a:lnTo>
                    <a:lnTo>
                      <a:pt x="269" y="862"/>
                    </a:lnTo>
                    <a:lnTo>
                      <a:pt x="271" y="858"/>
                    </a:lnTo>
                    <a:lnTo>
                      <a:pt x="273" y="858"/>
                    </a:lnTo>
                    <a:lnTo>
                      <a:pt x="275" y="856"/>
                    </a:lnTo>
                    <a:lnTo>
                      <a:pt x="276" y="854"/>
                    </a:lnTo>
                    <a:lnTo>
                      <a:pt x="278" y="852"/>
                    </a:lnTo>
                    <a:lnTo>
                      <a:pt x="280" y="852"/>
                    </a:lnTo>
                    <a:lnTo>
                      <a:pt x="280" y="851"/>
                    </a:lnTo>
                    <a:lnTo>
                      <a:pt x="282" y="849"/>
                    </a:lnTo>
                    <a:lnTo>
                      <a:pt x="286" y="845"/>
                    </a:lnTo>
                    <a:lnTo>
                      <a:pt x="288" y="843"/>
                    </a:lnTo>
                    <a:lnTo>
                      <a:pt x="292" y="839"/>
                    </a:lnTo>
                    <a:lnTo>
                      <a:pt x="290" y="837"/>
                    </a:lnTo>
                    <a:lnTo>
                      <a:pt x="288" y="833"/>
                    </a:lnTo>
                    <a:lnTo>
                      <a:pt x="284" y="831"/>
                    </a:lnTo>
                    <a:lnTo>
                      <a:pt x="280" y="828"/>
                    </a:lnTo>
                    <a:lnTo>
                      <a:pt x="273" y="820"/>
                    </a:lnTo>
                    <a:lnTo>
                      <a:pt x="269" y="816"/>
                    </a:lnTo>
                    <a:lnTo>
                      <a:pt x="265" y="810"/>
                    </a:lnTo>
                    <a:lnTo>
                      <a:pt x="263" y="810"/>
                    </a:lnTo>
                    <a:lnTo>
                      <a:pt x="261" y="808"/>
                    </a:lnTo>
                    <a:lnTo>
                      <a:pt x="263" y="804"/>
                    </a:lnTo>
                    <a:lnTo>
                      <a:pt x="265" y="803"/>
                    </a:lnTo>
                    <a:lnTo>
                      <a:pt x="267" y="797"/>
                    </a:lnTo>
                    <a:lnTo>
                      <a:pt x="269" y="793"/>
                    </a:lnTo>
                    <a:lnTo>
                      <a:pt x="271" y="791"/>
                    </a:lnTo>
                    <a:lnTo>
                      <a:pt x="273" y="787"/>
                    </a:lnTo>
                    <a:lnTo>
                      <a:pt x="275" y="785"/>
                    </a:lnTo>
                    <a:lnTo>
                      <a:pt x="278" y="780"/>
                    </a:lnTo>
                    <a:lnTo>
                      <a:pt x="276" y="778"/>
                    </a:lnTo>
                    <a:lnTo>
                      <a:pt x="276" y="776"/>
                    </a:lnTo>
                    <a:lnTo>
                      <a:pt x="276" y="774"/>
                    </a:lnTo>
                    <a:lnTo>
                      <a:pt x="275" y="770"/>
                    </a:lnTo>
                    <a:lnTo>
                      <a:pt x="275" y="768"/>
                    </a:lnTo>
                    <a:lnTo>
                      <a:pt x="275" y="766"/>
                    </a:lnTo>
                    <a:lnTo>
                      <a:pt x="273" y="762"/>
                    </a:lnTo>
                    <a:lnTo>
                      <a:pt x="273" y="760"/>
                    </a:lnTo>
                    <a:lnTo>
                      <a:pt x="273" y="758"/>
                    </a:lnTo>
                    <a:lnTo>
                      <a:pt x="271" y="755"/>
                    </a:lnTo>
                    <a:lnTo>
                      <a:pt x="271" y="751"/>
                    </a:lnTo>
                    <a:lnTo>
                      <a:pt x="271" y="749"/>
                    </a:lnTo>
                    <a:lnTo>
                      <a:pt x="271" y="747"/>
                    </a:lnTo>
                    <a:lnTo>
                      <a:pt x="269" y="743"/>
                    </a:lnTo>
                    <a:lnTo>
                      <a:pt x="269" y="741"/>
                    </a:lnTo>
                    <a:lnTo>
                      <a:pt x="269" y="737"/>
                    </a:lnTo>
                    <a:lnTo>
                      <a:pt x="269" y="735"/>
                    </a:lnTo>
                    <a:lnTo>
                      <a:pt x="269" y="730"/>
                    </a:lnTo>
                    <a:lnTo>
                      <a:pt x="269" y="728"/>
                    </a:lnTo>
                    <a:lnTo>
                      <a:pt x="267" y="726"/>
                    </a:lnTo>
                    <a:lnTo>
                      <a:pt x="267" y="724"/>
                    </a:lnTo>
                    <a:lnTo>
                      <a:pt x="271" y="724"/>
                    </a:lnTo>
                    <a:lnTo>
                      <a:pt x="276" y="726"/>
                    </a:lnTo>
                    <a:lnTo>
                      <a:pt x="282" y="726"/>
                    </a:lnTo>
                    <a:lnTo>
                      <a:pt x="286" y="726"/>
                    </a:lnTo>
                    <a:lnTo>
                      <a:pt x="288" y="726"/>
                    </a:lnTo>
                    <a:lnTo>
                      <a:pt x="294" y="726"/>
                    </a:lnTo>
                    <a:lnTo>
                      <a:pt x="294" y="722"/>
                    </a:lnTo>
                    <a:lnTo>
                      <a:pt x="294" y="720"/>
                    </a:lnTo>
                    <a:lnTo>
                      <a:pt x="294" y="718"/>
                    </a:lnTo>
                    <a:lnTo>
                      <a:pt x="290" y="718"/>
                    </a:lnTo>
                    <a:lnTo>
                      <a:pt x="286" y="718"/>
                    </a:lnTo>
                    <a:lnTo>
                      <a:pt x="284" y="718"/>
                    </a:lnTo>
                    <a:lnTo>
                      <a:pt x="284" y="716"/>
                    </a:lnTo>
                    <a:lnTo>
                      <a:pt x="284" y="714"/>
                    </a:lnTo>
                    <a:lnTo>
                      <a:pt x="284" y="712"/>
                    </a:lnTo>
                    <a:lnTo>
                      <a:pt x="288" y="714"/>
                    </a:lnTo>
                    <a:lnTo>
                      <a:pt x="290" y="714"/>
                    </a:lnTo>
                    <a:lnTo>
                      <a:pt x="292" y="714"/>
                    </a:lnTo>
                    <a:lnTo>
                      <a:pt x="294" y="714"/>
                    </a:lnTo>
                    <a:lnTo>
                      <a:pt x="296" y="714"/>
                    </a:lnTo>
                    <a:lnTo>
                      <a:pt x="298" y="714"/>
                    </a:lnTo>
                    <a:lnTo>
                      <a:pt x="298" y="712"/>
                    </a:lnTo>
                    <a:lnTo>
                      <a:pt x="299" y="712"/>
                    </a:lnTo>
                    <a:lnTo>
                      <a:pt x="299" y="710"/>
                    </a:lnTo>
                    <a:lnTo>
                      <a:pt x="299" y="708"/>
                    </a:lnTo>
                    <a:lnTo>
                      <a:pt x="301" y="708"/>
                    </a:lnTo>
                    <a:lnTo>
                      <a:pt x="307" y="708"/>
                    </a:lnTo>
                    <a:lnTo>
                      <a:pt x="307" y="707"/>
                    </a:lnTo>
                    <a:lnTo>
                      <a:pt x="309" y="707"/>
                    </a:lnTo>
                    <a:lnTo>
                      <a:pt x="311" y="707"/>
                    </a:lnTo>
                    <a:lnTo>
                      <a:pt x="313" y="707"/>
                    </a:lnTo>
                    <a:lnTo>
                      <a:pt x="317" y="707"/>
                    </a:lnTo>
                    <a:lnTo>
                      <a:pt x="319" y="707"/>
                    </a:lnTo>
                    <a:lnTo>
                      <a:pt x="324" y="708"/>
                    </a:lnTo>
                    <a:lnTo>
                      <a:pt x="326" y="708"/>
                    </a:lnTo>
                    <a:lnTo>
                      <a:pt x="328" y="708"/>
                    </a:lnTo>
                    <a:lnTo>
                      <a:pt x="332" y="708"/>
                    </a:lnTo>
                    <a:lnTo>
                      <a:pt x="336" y="708"/>
                    </a:lnTo>
                    <a:lnTo>
                      <a:pt x="338" y="708"/>
                    </a:lnTo>
                    <a:lnTo>
                      <a:pt x="338" y="707"/>
                    </a:lnTo>
                    <a:lnTo>
                      <a:pt x="338" y="705"/>
                    </a:lnTo>
                    <a:lnTo>
                      <a:pt x="338" y="703"/>
                    </a:lnTo>
                    <a:lnTo>
                      <a:pt x="338" y="701"/>
                    </a:lnTo>
                    <a:lnTo>
                      <a:pt x="338" y="697"/>
                    </a:lnTo>
                    <a:lnTo>
                      <a:pt x="347" y="695"/>
                    </a:lnTo>
                    <a:lnTo>
                      <a:pt x="349" y="695"/>
                    </a:lnTo>
                    <a:lnTo>
                      <a:pt x="359" y="693"/>
                    </a:lnTo>
                    <a:lnTo>
                      <a:pt x="361" y="693"/>
                    </a:lnTo>
                    <a:lnTo>
                      <a:pt x="359" y="693"/>
                    </a:lnTo>
                    <a:lnTo>
                      <a:pt x="359" y="695"/>
                    </a:lnTo>
                    <a:lnTo>
                      <a:pt x="359" y="697"/>
                    </a:lnTo>
                    <a:lnTo>
                      <a:pt x="359" y="699"/>
                    </a:lnTo>
                    <a:lnTo>
                      <a:pt x="359" y="703"/>
                    </a:lnTo>
                    <a:lnTo>
                      <a:pt x="359" y="707"/>
                    </a:lnTo>
                    <a:lnTo>
                      <a:pt x="359" y="708"/>
                    </a:lnTo>
                    <a:lnTo>
                      <a:pt x="359" y="712"/>
                    </a:lnTo>
                    <a:lnTo>
                      <a:pt x="359" y="714"/>
                    </a:lnTo>
                    <a:lnTo>
                      <a:pt x="359" y="716"/>
                    </a:lnTo>
                    <a:lnTo>
                      <a:pt x="359" y="718"/>
                    </a:lnTo>
                    <a:lnTo>
                      <a:pt x="361" y="718"/>
                    </a:lnTo>
                    <a:lnTo>
                      <a:pt x="361" y="720"/>
                    </a:lnTo>
                    <a:lnTo>
                      <a:pt x="363" y="724"/>
                    </a:lnTo>
                    <a:lnTo>
                      <a:pt x="359" y="726"/>
                    </a:lnTo>
                    <a:lnTo>
                      <a:pt x="359" y="728"/>
                    </a:lnTo>
                    <a:lnTo>
                      <a:pt x="355" y="728"/>
                    </a:lnTo>
                    <a:lnTo>
                      <a:pt x="351" y="732"/>
                    </a:lnTo>
                    <a:lnTo>
                      <a:pt x="351" y="733"/>
                    </a:lnTo>
                    <a:lnTo>
                      <a:pt x="353" y="735"/>
                    </a:lnTo>
                    <a:lnTo>
                      <a:pt x="353" y="739"/>
                    </a:lnTo>
                    <a:lnTo>
                      <a:pt x="353" y="741"/>
                    </a:lnTo>
                    <a:lnTo>
                      <a:pt x="351" y="743"/>
                    </a:lnTo>
                    <a:lnTo>
                      <a:pt x="351" y="745"/>
                    </a:lnTo>
                    <a:lnTo>
                      <a:pt x="353" y="747"/>
                    </a:lnTo>
                    <a:lnTo>
                      <a:pt x="353" y="749"/>
                    </a:lnTo>
                    <a:lnTo>
                      <a:pt x="355" y="751"/>
                    </a:lnTo>
                    <a:lnTo>
                      <a:pt x="355" y="753"/>
                    </a:lnTo>
                    <a:lnTo>
                      <a:pt x="355" y="755"/>
                    </a:lnTo>
                    <a:lnTo>
                      <a:pt x="353" y="755"/>
                    </a:lnTo>
                    <a:lnTo>
                      <a:pt x="351" y="756"/>
                    </a:lnTo>
                    <a:lnTo>
                      <a:pt x="349" y="758"/>
                    </a:lnTo>
                    <a:lnTo>
                      <a:pt x="346" y="762"/>
                    </a:lnTo>
                    <a:lnTo>
                      <a:pt x="344" y="762"/>
                    </a:lnTo>
                    <a:lnTo>
                      <a:pt x="342" y="764"/>
                    </a:lnTo>
                    <a:lnTo>
                      <a:pt x="344" y="764"/>
                    </a:lnTo>
                    <a:lnTo>
                      <a:pt x="346" y="766"/>
                    </a:lnTo>
                    <a:lnTo>
                      <a:pt x="349" y="768"/>
                    </a:lnTo>
                    <a:lnTo>
                      <a:pt x="351" y="770"/>
                    </a:lnTo>
                    <a:lnTo>
                      <a:pt x="353" y="770"/>
                    </a:lnTo>
                    <a:lnTo>
                      <a:pt x="355" y="768"/>
                    </a:lnTo>
                    <a:lnTo>
                      <a:pt x="357" y="766"/>
                    </a:lnTo>
                    <a:lnTo>
                      <a:pt x="359" y="764"/>
                    </a:lnTo>
                    <a:lnTo>
                      <a:pt x="361" y="764"/>
                    </a:lnTo>
                    <a:lnTo>
                      <a:pt x="361" y="762"/>
                    </a:lnTo>
                    <a:lnTo>
                      <a:pt x="361" y="760"/>
                    </a:lnTo>
                    <a:lnTo>
                      <a:pt x="359" y="758"/>
                    </a:lnTo>
                    <a:lnTo>
                      <a:pt x="361" y="758"/>
                    </a:lnTo>
                    <a:lnTo>
                      <a:pt x="363" y="756"/>
                    </a:lnTo>
                    <a:lnTo>
                      <a:pt x="365" y="756"/>
                    </a:lnTo>
                    <a:lnTo>
                      <a:pt x="371" y="755"/>
                    </a:lnTo>
                    <a:lnTo>
                      <a:pt x="372" y="758"/>
                    </a:lnTo>
                    <a:lnTo>
                      <a:pt x="378" y="756"/>
                    </a:lnTo>
                    <a:lnTo>
                      <a:pt x="378" y="753"/>
                    </a:lnTo>
                    <a:lnTo>
                      <a:pt x="376" y="753"/>
                    </a:lnTo>
                    <a:lnTo>
                      <a:pt x="376" y="749"/>
                    </a:lnTo>
                    <a:lnTo>
                      <a:pt x="376" y="747"/>
                    </a:lnTo>
                    <a:lnTo>
                      <a:pt x="374" y="745"/>
                    </a:lnTo>
                    <a:lnTo>
                      <a:pt x="374" y="743"/>
                    </a:lnTo>
                    <a:lnTo>
                      <a:pt x="378" y="743"/>
                    </a:lnTo>
                    <a:lnTo>
                      <a:pt x="378" y="739"/>
                    </a:lnTo>
                    <a:lnTo>
                      <a:pt x="376" y="739"/>
                    </a:lnTo>
                    <a:lnTo>
                      <a:pt x="376" y="737"/>
                    </a:lnTo>
                    <a:lnTo>
                      <a:pt x="376" y="735"/>
                    </a:lnTo>
                    <a:lnTo>
                      <a:pt x="378" y="733"/>
                    </a:lnTo>
                    <a:lnTo>
                      <a:pt x="384" y="732"/>
                    </a:lnTo>
                    <a:lnTo>
                      <a:pt x="384" y="730"/>
                    </a:lnTo>
                    <a:lnTo>
                      <a:pt x="386" y="730"/>
                    </a:lnTo>
                    <a:lnTo>
                      <a:pt x="386" y="726"/>
                    </a:lnTo>
                    <a:lnTo>
                      <a:pt x="384" y="722"/>
                    </a:lnTo>
                    <a:lnTo>
                      <a:pt x="386" y="722"/>
                    </a:lnTo>
                    <a:lnTo>
                      <a:pt x="388" y="720"/>
                    </a:lnTo>
                    <a:lnTo>
                      <a:pt x="390" y="720"/>
                    </a:lnTo>
                    <a:lnTo>
                      <a:pt x="392" y="720"/>
                    </a:lnTo>
                    <a:lnTo>
                      <a:pt x="392" y="722"/>
                    </a:lnTo>
                    <a:lnTo>
                      <a:pt x="392" y="724"/>
                    </a:lnTo>
                    <a:lnTo>
                      <a:pt x="394" y="728"/>
                    </a:lnTo>
                    <a:lnTo>
                      <a:pt x="394" y="730"/>
                    </a:lnTo>
                    <a:lnTo>
                      <a:pt x="395" y="733"/>
                    </a:lnTo>
                    <a:lnTo>
                      <a:pt x="395" y="735"/>
                    </a:lnTo>
                    <a:lnTo>
                      <a:pt x="395" y="737"/>
                    </a:lnTo>
                    <a:lnTo>
                      <a:pt x="395" y="739"/>
                    </a:lnTo>
                    <a:lnTo>
                      <a:pt x="395" y="741"/>
                    </a:lnTo>
                    <a:lnTo>
                      <a:pt x="397" y="745"/>
                    </a:lnTo>
                    <a:lnTo>
                      <a:pt x="397" y="747"/>
                    </a:lnTo>
                    <a:lnTo>
                      <a:pt x="399" y="751"/>
                    </a:lnTo>
                    <a:lnTo>
                      <a:pt x="399" y="755"/>
                    </a:lnTo>
                    <a:lnTo>
                      <a:pt x="401" y="755"/>
                    </a:lnTo>
                    <a:lnTo>
                      <a:pt x="399" y="751"/>
                    </a:lnTo>
                    <a:lnTo>
                      <a:pt x="397" y="745"/>
                    </a:lnTo>
                    <a:lnTo>
                      <a:pt x="399" y="745"/>
                    </a:lnTo>
                    <a:lnTo>
                      <a:pt x="401" y="743"/>
                    </a:lnTo>
                    <a:lnTo>
                      <a:pt x="403" y="741"/>
                    </a:lnTo>
                    <a:lnTo>
                      <a:pt x="405" y="739"/>
                    </a:lnTo>
                    <a:lnTo>
                      <a:pt x="407" y="737"/>
                    </a:lnTo>
                    <a:lnTo>
                      <a:pt x="413" y="732"/>
                    </a:lnTo>
                    <a:lnTo>
                      <a:pt x="417" y="728"/>
                    </a:lnTo>
                    <a:lnTo>
                      <a:pt x="419" y="726"/>
                    </a:lnTo>
                    <a:lnTo>
                      <a:pt x="422" y="732"/>
                    </a:lnTo>
                    <a:lnTo>
                      <a:pt x="426" y="735"/>
                    </a:lnTo>
                    <a:lnTo>
                      <a:pt x="428" y="737"/>
                    </a:lnTo>
                    <a:lnTo>
                      <a:pt x="432" y="743"/>
                    </a:lnTo>
                    <a:lnTo>
                      <a:pt x="432" y="745"/>
                    </a:lnTo>
                    <a:lnTo>
                      <a:pt x="430" y="747"/>
                    </a:lnTo>
                    <a:lnTo>
                      <a:pt x="424" y="751"/>
                    </a:lnTo>
                    <a:lnTo>
                      <a:pt x="426" y="753"/>
                    </a:lnTo>
                    <a:lnTo>
                      <a:pt x="428" y="755"/>
                    </a:lnTo>
                    <a:lnTo>
                      <a:pt x="430" y="758"/>
                    </a:lnTo>
                    <a:lnTo>
                      <a:pt x="432" y="758"/>
                    </a:lnTo>
                    <a:lnTo>
                      <a:pt x="432" y="760"/>
                    </a:lnTo>
                    <a:lnTo>
                      <a:pt x="434" y="760"/>
                    </a:lnTo>
                    <a:lnTo>
                      <a:pt x="438" y="762"/>
                    </a:lnTo>
                    <a:lnTo>
                      <a:pt x="442" y="762"/>
                    </a:lnTo>
                    <a:lnTo>
                      <a:pt x="445" y="764"/>
                    </a:lnTo>
                    <a:lnTo>
                      <a:pt x="449" y="764"/>
                    </a:lnTo>
                    <a:lnTo>
                      <a:pt x="449" y="766"/>
                    </a:lnTo>
                    <a:lnTo>
                      <a:pt x="449" y="768"/>
                    </a:lnTo>
                    <a:lnTo>
                      <a:pt x="449" y="772"/>
                    </a:lnTo>
                    <a:lnTo>
                      <a:pt x="449" y="774"/>
                    </a:lnTo>
                    <a:lnTo>
                      <a:pt x="449" y="776"/>
                    </a:lnTo>
                    <a:lnTo>
                      <a:pt x="449" y="778"/>
                    </a:lnTo>
                    <a:lnTo>
                      <a:pt x="449" y="780"/>
                    </a:lnTo>
                    <a:lnTo>
                      <a:pt x="449" y="783"/>
                    </a:lnTo>
                    <a:lnTo>
                      <a:pt x="449" y="789"/>
                    </a:lnTo>
                    <a:lnTo>
                      <a:pt x="455" y="787"/>
                    </a:lnTo>
                    <a:lnTo>
                      <a:pt x="457" y="793"/>
                    </a:lnTo>
                    <a:lnTo>
                      <a:pt x="459" y="793"/>
                    </a:lnTo>
                    <a:lnTo>
                      <a:pt x="461" y="793"/>
                    </a:lnTo>
                    <a:lnTo>
                      <a:pt x="463" y="793"/>
                    </a:lnTo>
                    <a:lnTo>
                      <a:pt x="468" y="791"/>
                    </a:lnTo>
                    <a:lnTo>
                      <a:pt x="474" y="791"/>
                    </a:lnTo>
                    <a:lnTo>
                      <a:pt x="478" y="791"/>
                    </a:lnTo>
                    <a:lnTo>
                      <a:pt x="478" y="789"/>
                    </a:lnTo>
                    <a:lnTo>
                      <a:pt x="478" y="787"/>
                    </a:lnTo>
                    <a:lnTo>
                      <a:pt x="478" y="785"/>
                    </a:lnTo>
                    <a:lnTo>
                      <a:pt x="478" y="783"/>
                    </a:lnTo>
                    <a:lnTo>
                      <a:pt x="478" y="781"/>
                    </a:lnTo>
                    <a:lnTo>
                      <a:pt x="478" y="778"/>
                    </a:lnTo>
                    <a:lnTo>
                      <a:pt x="478" y="776"/>
                    </a:lnTo>
                    <a:lnTo>
                      <a:pt x="478" y="774"/>
                    </a:lnTo>
                    <a:lnTo>
                      <a:pt x="478" y="772"/>
                    </a:lnTo>
                    <a:lnTo>
                      <a:pt x="478" y="770"/>
                    </a:lnTo>
                    <a:lnTo>
                      <a:pt x="478" y="764"/>
                    </a:lnTo>
                    <a:lnTo>
                      <a:pt x="476" y="760"/>
                    </a:lnTo>
                    <a:lnTo>
                      <a:pt x="482" y="758"/>
                    </a:lnTo>
                    <a:lnTo>
                      <a:pt x="482" y="762"/>
                    </a:lnTo>
                    <a:lnTo>
                      <a:pt x="484" y="762"/>
                    </a:lnTo>
                    <a:lnTo>
                      <a:pt x="484" y="764"/>
                    </a:lnTo>
                    <a:lnTo>
                      <a:pt x="486" y="764"/>
                    </a:lnTo>
                    <a:lnTo>
                      <a:pt x="488" y="764"/>
                    </a:lnTo>
                    <a:lnTo>
                      <a:pt x="490" y="764"/>
                    </a:lnTo>
                    <a:lnTo>
                      <a:pt x="491" y="764"/>
                    </a:lnTo>
                    <a:lnTo>
                      <a:pt x="493" y="762"/>
                    </a:lnTo>
                    <a:lnTo>
                      <a:pt x="499" y="762"/>
                    </a:lnTo>
                    <a:lnTo>
                      <a:pt x="497" y="760"/>
                    </a:lnTo>
                    <a:lnTo>
                      <a:pt x="501" y="758"/>
                    </a:lnTo>
                    <a:lnTo>
                      <a:pt x="499" y="753"/>
                    </a:lnTo>
                    <a:lnTo>
                      <a:pt x="497" y="751"/>
                    </a:lnTo>
                    <a:lnTo>
                      <a:pt x="497" y="749"/>
                    </a:lnTo>
                    <a:lnTo>
                      <a:pt x="501" y="747"/>
                    </a:lnTo>
                    <a:lnTo>
                      <a:pt x="503" y="747"/>
                    </a:lnTo>
                    <a:lnTo>
                      <a:pt x="505" y="749"/>
                    </a:lnTo>
                    <a:lnTo>
                      <a:pt x="507" y="753"/>
                    </a:lnTo>
                    <a:lnTo>
                      <a:pt x="509" y="756"/>
                    </a:lnTo>
                    <a:lnTo>
                      <a:pt x="511" y="756"/>
                    </a:lnTo>
                    <a:lnTo>
                      <a:pt x="513" y="760"/>
                    </a:lnTo>
                    <a:lnTo>
                      <a:pt x="513" y="764"/>
                    </a:lnTo>
                    <a:lnTo>
                      <a:pt x="515" y="770"/>
                    </a:lnTo>
                    <a:lnTo>
                      <a:pt x="513" y="770"/>
                    </a:lnTo>
                    <a:lnTo>
                      <a:pt x="515" y="774"/>
                    </a:lnTo>
                    <a:lnTo>
                      <a:pt x="516" y="772"/>
                    </a:lnTo>
                    <a:lnTo>
                      <a:pt x="518" y="776"/>
                    </a:lnTo>
                    <a:lnTo>
                      <a:pt x="522" y="781"/>
                    </a:lnTo>
                    <a:lnTo>
                      <a:pt x="518" y="783"/>
                    </a:lnTo>
                    <a:lnTo>
                      <a:pt x="516" y="785"/>
                    </a:lnTo>
                    <a:lnTo>
                      <a:pt x="518" y="787"/>
                    </a:lnTo>
                    <a:lnTo>
                      <a:pt x="524" y="791"/>
                    </a:lnTo>
                    <a:lnTo>
                      <a:pt x="534" y="799"/>
                    </a:lnTo>
                    <a:lnTo>
                      <a:pt x="536" y="801"/>
                    </a:lnTo>
                    <a:lnTo>
                      <a:pt x="538" y="801"/>
                    </a:lnTo>
                    <a:lnTo>
                      <a:pt x="540" y="803"/>
                    </a:lnTo>
                    <a:lnTo>
                      <a:pt x="540" y="801"/>
                    </a:lnTo>
                    <a:lnTo>
                      <a:pt x="540" y="795"/>
                    </a:lnTo>
                    <a:lnTo>
                      <a:pt x="543" y="791"/>
                    </a:lnTo>
                    <a:lnTo>
                      <a:pt x="551" y="787"/>
                    </a:lnTo>
                    <a:lnTo>
                      <a:pt x="555" y="783"/>
                    </a:lnTo>
                    <a:lnTo>
                      <a:pt x="557" y="785"/>
                    </a:lnTo>
                    <a:lnTo>
                      <a:pt x="559" y="787"/>
                    </a:lnTo>
                    <a:lnTo>
                      <a:pt x="564" y="789"/>
                    </a:lnTo>
                    <a:lnTo>
                      <a:pt x="568" y="791"/>
                    </a:lnTo>
                    <a:lnTo>
                      <a:pt x="570" y="793"/>
                    </a:lnTo>
                    <a:lnTo>
                      <a:pt x="572" y="791"/>
                    </a:lnTo>
                    <a:lnTo>
                      <a:pt x="578" y="793"/>
                    </a:lnTo>
                    <a:lnTo>
                      <a:pt x="580" y="795"/>
                    </a:lnTo>
                    <a:lnTo>
                      <a:pt x="588" y="791"/>
                    </a:lnTo>
                    <a:lnTo>
                      <a:pt x="591" y="789"/>
                    </a:lnTo>
                    <a:lnTo>
                      <a:pt x="595" y="789"/>
                    </a:lnTo>
                    <a:lnTo>
                      <a:pt x="595" y="791"/>
                    </a:lnTo>
                    <a:lnTo>
                      <a:pt x="597" y="793"/>
                    </a:lnTo>
                    <a:lnTo>
                      <a:pt x="599" y="797"/>
                    </a:lnTo>
                    <a:lnTo>
                      <a:pt x="601" y="795"/>
                    </a:lnTo>
                    <a:lnTo>
                      <a:pt x="603" y="795"/>
                    </a:lnTo>
                    <a:lnTo>
                      <a:pt x="605" y="793"/>
                    </a:lnTo>
                    <a:lnTo>
                      <a:pt x="609" y="791"/>
                    </a:lnTo>
                    <a:lnTo>
                      <a:pt x="616" y="789"/>
                    </a:lnTo>
                    <a:lnTo>
                      <a:pt x="618" y="787"/>
                    </a:lnTo>
                    <a:lnTo>
                      <a:pt x="622" y="785"/>
                    </a:lnTo>
                    <a:lnTo>
                      <a:pt x="622" y="783"/>
                    </a:lnTo>
                    <a:lnTo>
                      <a:pt x="622" y="781"/>
                    </a:lnTo>
                    <a:lnTo>
                      <a:pt x="622" y="780"/>
                    </a:lnTo>
                    <a:lnTo>
                      <a:pt x="620" y="780"/>
                    </a:lnTo>
                    <a:lnTo>
                      <a:pt x="618" y="780"/>
                    </a:lnTo>
                    <a:lnTo>
                      <a:pt x="618" y="781"/>
                    </a:lnTo>
                    <a:lnTo>
                      <a:pt x="618" y="783"/>
                    </a:lnTo>
                    <a:lnTo>
                      <a:pt x="618" y="785"/>
                    </a:lnTo>
                    <a:lnTo>
                      <a:pt x="616" y="785"/>
                    </a:lnTo>
                    <a:lnTo>
                      <a:pt x="614" y="785"/>
                    </a:lnTo>
                    <a:lnTo>
                      <a:pt x="612" y="785"/>
                    </a:lnTo>
                    <a:lnTo>
                      <a:pt x="614" y="785"/>
                    </a:lnTo>
                    <a:lnTo>
                      <a:pt x="614" y="783"/>
                    </a:lnTo>
                    <a:lnTo>
                      <a:pt x="612" y="783"/>
                    </a:lnTo>
                    <a:lnTo>
                      <a:pt x="612" y="781"/>
                    </a:lnTo>
                    <a:lnTo>
                      <a:pt x="612" y="780"/>
                    </a:lnTo>
                    <a:lnTo>
                      <a:pt x="611" y="780"/>
                    </a:lnTo>
                    <a:lnTo>
                      <a:pt x="611" y="778"/>
                    </a:lnTo>
                    <a:lnTo>
                      <a:pt x="609" y="778"/>
                    </a:lnTo>
                    <a:lnTo>
                      <a:pt x="607" y="778"/>
                    </a:lnTo>
                    <a:lnTo>
                      <a:pt x="605" y="778"/>
                    </a:lnTo>
                    <a:lnTo>
                      <a:pt x="605" y="776"/>
                    </a:lnTo>
                    <a:lnTo>
                      <a:pt x="605" y="774"/>
                    </a:lnTo>
                    <a:lnTo>
                      <a:pt x="603" y="774"/>
                    </a:lnTo>
                    <a:lnTo>
                      <a:pt x="603" y="772"/>
                    </a:lnTo>
                    <a:lnTo>
                      <a:pt x="601" y="774"/>
                    </a:lnTo>
                    <a:lnTo>
                      <a:pt x="603" y="774"/>
                    </a:lnTo>
                    <a:lnTo>
                      <a:pt x="603" y="776"/>
                    </a:lnTo>
                    <a:lnTo>
                      <a:pt x="605" y="778"/>
                    </a:lnTo>
                    <a:lnTo>
                      <a:pt x="603" y="778"/>
                    </a:lnTo>
                    <a:lnTo>
                      <a:pt x="603" y="780"/>
                    </a:lnTo>
                    <a:lnTo>
                      <a:pt x="603" y="778"/>
                    </a:lnTo>
                    <a:lnTo>
                      <a:pt x="601" y="778"/>
                    </a:lnTo>
                    <a:lnTo>
                      <a:pt x="601" y="776"/>
                    </a:lnTo>
                    <a:lnTo>
                      <a:pt x="601" y="774"/>
                    </a:lnTo>
                    <a:lnTo>
                      <a:pt x="599" y="774"/>
                    </a:lnTo>
                    <a:lnTo>
                      <a:pt x="599" y="776"/>
                    </a:lnTo>
                    <a:lnTo>
                      <a:pt x="599" y="778"/>
                    </a:lnTo>
                    <a:lnTo>
                      <a:pt x="597" y="780"/>
                    </a:lnTo>
                    <a:lnTo>
                      <a:pt x="597" y="778"/>
                    </a:lnTo>
                    <a:lnTo>
                      <a:pt x="595" y="778"/>
                    </a:lnTo>
                    <a:lnTo>
                      <a:pt x="593" y="778"/>
                    </a:lnTo>
                    <a:lnTo>
                      <a:pt x="591" y="778"/>
                    </a:lnTo>
                    <a:lnTo>
                      <a:pt x="591" y="776"/>
                    </a:lnTo>
                    <a:lnTo>
                      <a:pt x="591" y="774"/>
                    </a:lnTo>
                    <a:lnTo>
                      <a:pt x="591" y="772"/>
                    </a:lnTo>
                    <a:lnTo>
                      <a:pt x="593" y="772"/>
                    </a:lnTo>
                    <a:lnTo>
                      <a:pt x="595" y="772"/>
                    </a:lnTo>
                    <a:lnTo>
                      <a:pt x="595" y="770"/>
                    </a:lnTo>
                    <a:lnTo>
                      <a:pt x="593" y="770"/>
                    </a:lnTo>
                    <a:lnTo>
                      <a:pt x="591" y="770"/>
                    </a:lnTo>
                    <a:lnTo>
                      <a:pt x="589" y="770"/>
                    </a:lnTo>
                    <a:lnTo>
                      <a:pt x="588" y="770"/>
                    </a:lnTo>
                    <a:lnTo>
                      <a:pt x="586" y="770"/>
                    </a:lnTo>
                    <a:lnTo>
                      <a:pt x="584" y="770"/>
                    </a:lnTo>
                    <a:lnTo>
                      <a:pt x="582" y="770"/>
                    </a:lnTo>
                    <a:lnTo>
                      <a:pt x="582" y="768"/>
                    </a:lnTo>
                    <a:lnTo>
                      <a:pt x="584" y="766"/>
                    </a:lnTo>
                    <a:lnTo>
                      <a:pt x="584" y="764"/>
                    </a:lnTo>
                    <a:lnTo>
                      <a:pt x="582" y="764"/>
                    </a:lnTo>
                    <a:lnTo>
                      <a:pt x="580" y="764"/>
                    </a:lnTo>
                    <a:lnTo>
                      <a:pt x="578" y="764"/>
                    </a:lnTo>
                    <a:lnTo>
                      <a:pt x="578" y="762"/>
                    </a:lnTo>
                    <a:lnTo>
                      <a:pt x="576" y="762"/>
                    </a:lnTo>
                    <a:lnTo>
                      <a:pt x="576" y="760"/>
                    </a:lnTo>
                    <a:lnTo>
                      <a:pt x="574" y="760"/>
                    </a:lnTo>
                    <a:lnTo>
                      <a:pt x="576" y="758"/>
                    </a:lnTo>
                    <a:lnTo>
                      <a:pt x="578" y="758"/>
                    </a:lnTo>
                    <a:lnTo>
                      <a:pt x="580" y="758"/>
                    </a:lnTo>
                    <a:lnTo>
                      <a:pt x="582" y="760"/>
                    </a:lnTo>
                    <a:lnTo>
                      <a:pt x="584" y="760"/>
                    </a:lnTo>
                    <a:lnTo>
                      <a:pt x="584" y="758"/>
                    </a:lnTo>
                    <a:lnTo>
                      <a:pt x="584" y="756"/>
                    </a:lnTo>
                    <a:lnTo>
                      <a:pt x="582" y="756"/>
                    </a:lnTo>
                    <a:lnTo>
                      <a:pt x="580" y="756"/>
                    </a:lnTo>
                    <a:lnTo>
                      <a:pt x="578" y="756"/>
                    </a:lnTo>
                    <a:lnTo>
                      <a:pt x="576" y="756"/>
                    </a:lnTo>
                    <a:lnTo>
                      <a:pt x="576" y="755"/>
                    </a:lnTo>
                    <a:lnTo>
                      <a:pt x="578" y="755"/>
                    </a:lnTo>
                    <a:lnTo>
                      <a:pt x="580" y="755"/>
                    </a:lnTo>
                    <a:lnTo>
                      <a:pt x="582" y="755"/>
                    </a:lnTo>
                    <a:lnTo>
                      <a:pt x="582" y="753"/>
                    </a:lnTo>
                    <a:lnTo>
                      <a:pt x="582" y="751"/>
                    </a:lnTo>
                    <a:lnTo>
                      <a:pt x="580" y="751"/>
                    </a:lnTo>
                    <a:lnTo>
                      <a:pt x="578" y="751"/>
                    </a:lnTo>
                    <a:lnTo>
                      <a:pt x="578" y="753"/>
                    </a:lnTo>
                    <a:lnTo>
                      <a:pt x="576" y="755"/>
                    </a:lnTo>
                    <a:lnTo>
                      <a:pt x="576" y="753"/>
                    </a:lnTo>
                    <a:lnTo>
                      <a:pt x="574" y="753"/>
                    </a:lnTo>
                    <a:lnTo>
                      <a:pt x="574" y="751"/>
                    </a:lnTo>
                    <a:lnTo>
                      <a:pt x="574" y="749"/>
                    </a:lnTo>
                    <a:lnTo>
                      <a:pt x="576" y="749"/>
                    </a:lnTo>
                    <a:lnTo>
                      <a:pt x="576" y="747"/>
                    </a:lnTo>
                    <a:lnTo>
                      <a:pt x="578" y="747"/>
                    </a:lnTo>
                    <a:lnTo>
                      <a:pt x="578" y="745"/>
                    </a:lnTo>
                    <a:lnTo>
                      <a:pt x="576" y="747"/>
                    </a:lnTo>
                    <a:lnTo>
                      <a:pt x="574" y="747"/>
                    </a:lnTo>
                    <a:lnTo>
                      <a:pt x="574" y="745"/>
                    </a:lnTo>
                    <a:lnTo>
                      <a:pt x="576" y="745"/>
                    </a:lnTo>
                    <a:lnTo>
                      <a:pt x="576" y="743"/>
                    </a:lnTo>
                    <a:lnTo>
                      <a:pt x="576" y="741"/>
                    </a:lnTo>
                    <a:lnTo>
                      <a:pt x="576" y="739"/>
                    </a:lnTo>
                    <a:lnTo>
                      <a:pt x="574" y="739"/>
                    </a:lnTo>
                    <a:lnTo>
                      <a:pt x="574" y="741"/>
                    </a:lnTo>
                    <a:lnTo>
                      <a:pt x="574" y="743"/>
                    </a:lnTo>
                    <a:lnTo>
                      <a:pt x="574" y="745"/>
                    </a:lnTo>
                    <a:lnTo>
                      <a:pt x="572" y="743"/>
                    </a:lnTo>
                    <a:lnTo>
                      <a:pt x="570" y="743"/>
                    </a:lnTo>
                    <a:lnTo>
                      <a:pt x="570" y="745"/>
                    </a:lnTo>
                    <a:lnTo>
                      <a:pt x="568" y="745"/>
                    </a:lnTo>
                    <a:lnTo>
                      <a:pt x="568" y="747"/>
                    </a:lnTo>
                    <a:lnTo>
                      <a:pt x="566" y="747"/>
                    </a:lnTo>
                    <a:lnTo>
                      <a:pt x="564" y="747"/>
                    </a:lnTo>
                    <a:lnTo>
                      <a:pt x="564" y="745"/>
                    </a:lnTo>
                    <a:lnTo>
                      <a:pt x="566" y="745"/>
                    </a:lnTo>
                    <a:lnTo>
                      <a:pt x="566" y="743"/>
                    </a:lnTo>
                    <a:lnTo>
                      <a:pt x="568" y="741"/>
                    </a:lnTo>
                    <a:lnTo>
                      <a:pt x="568" y="739"/>
                    </a:lnTo>
                    <a:lnTo>
                      <a:pt x="566" y="739"/>
                    </a:lnTo>
                    <a:lnTo>
                      <a:pt x="566" y="741"/>
                    </a:lnTo>
                    <a:lnTo>
                      <a:pt x="566" y="743"/>
                    </a:lnTo>
                    <a:lnTo>
                      <a:pt x="564" y="743"/>
                    </a:lnTo>
                    <a:lnTo>
                      <a:pt x="563" y="745"/>
                    </a:lnTo>
                    <a:lnTo>
                      <a:pt x="561" y="745"/>
                    </a:lnTo>
                    <a:lnTo>
                      <a:pt x="559" y="745"/>
                    </a:lnTo>
                    <a:lnTo>
                      <a:pt x="559" y="743"/>
                    </a:lnTo>
                    <a:lnTo>
                      <a:pt x="561" y="743"/>
                    </a:lnTo>
                    <a:lnTo>
                      <a:pt x="563" y="743"/>
                    </a:lnTo>
                    <a:lnTo>
                      <a:pt x="563" y="741"/>
                    </a:lnTo>
                    <a:lnTo>
                      <a:pt x="561" y="741"/>
                    </a:lnTo>
                    <a:lnTo>
                      <a:pt x="559" y="741"/>
                    </a:lnTo>
                    <a:lnTo>
                      <a:pt x="557" y="741"/>
                    </a:lnTo>
                    <a:lnTo>
                      <a:pt x="557" y="739"/>
                    </a:lnTo>
                    <a:lnTo>
                      <a:pt x="557" y="737"/>
                    </a:lnTo>
                    <a:lnTo>
                      <a:pt x="559" y="737"/>
                    </a:lnTo>
                    <a:lnTo>
                      <a:pt x="559" y="735"/>
                    </a:lnTo>
                    <a:lnTo>
                      <a:pt x="557" y="735"/>
                    </a:lnTo>
                    <a:lnTo>
                      <a:pt x="555" y="735"/>
                    </a:lnTo>
                    <a:lnTo>
                      <a:pt x="553" y="735"/>
                    </a:lnTo>
                    <a:lnTo>
                      <a:pt x="551" y="735"/>
                    </a:lnTo>
                    <a:lnTo>
                      <a:pt x="551" y="733"/>
                    </a:lnTo>
                    <a:lnTo>
                      <a:pt x="553" y="733"/>
                    </a:lnTo>
                    <a:lnTo>
                      <a:pt x="555" y="733"/>
                    </a:lnTo>
                    <a:lnTo>
                      <a:pt x="555" y="732"/>
                    </a:lnTo>
                    <a:lnTo>
                      <a:pt x="553" y="732"/>
                    </a:lnTo>
                    <a:lnTo>
                      <a:pt x="551" y="730"/>
                    </a:lnTo>
                    <a:lnTo>
                      <a:pt x="549" y="730"/>
                    </a:lnTo>
                    <a:lnTo>
                      <a:pt x="549" y="728"/>
                    </a:lnTo>
                    <a:lnTo>
                      <a:pt x="551" y="728"/>
                    </a:lnTo>
                    <a:lnTo>
                      <a:pt x="551" y="726"/>
                    </a:lnTo>
                    <a:lnTo>
                      <a:pt x="549" y="724"/>
                    </a:lnTo>
                    <a:lnTo>
                      <a:pt x="549" y="722"/>
                    </a:lnTo>
                    <a:lnTo>
                      <a:pt x="549" y="720"/>
                    </a:lnTo>
                    <a:lnTo>
                      <a:pt x="547" y="720"/>
                    </a:lnTo>
                    <a:lnTo>
                      <a:pt x="547" y="722"/>
                    </a:lnTo>
                    <a:lnTo>
                      <a:pt x="545" y="722"/>
                    </a:lnTo>
                    <a:lnTo>
                      <a:pt x="545" y="720"/>
                    </a:lnTo>
                    <a:lnTo>
                      <a:pt x="547" y="720"/>
                    </a:lnTo>
                    <a:lnTo>
                      <a:pt x="551" y="720"/>
                    </a:lnTo>
                    <a:lnTo>
                      <a:pt x="557" y="720"/>
                    </a:lnTo>
                    <a:lnTo>
                      <a:pt x="561" y="720"/>
                    </a:lnTo>
                    <a:lnTo>
                      <a:pt x="563" y="720"/>
                    </a:lnTo>
                    <a:lnTo>
                      <a:pt x="564" y="720"/>
                    </a:lnTo>
                    <a:lnTo>
                      <a:pt x="566" y="718"/>
                    </a:lnTo>
                    <a:lnTo>
                      <a:pt x="566" y="716"/>
                    </a:lnTo>
                    <a:lnTo>
                      <a:pt x="566" y="718"/>
                    </a:lnTo>
                    <a:lnTo>
                      <a:pt x="564" y="718"/>
                    </a:lnTo>
                    <a:lnTo>
                      <a:pt x="564" y="716"/>
                    </a:lnTo>
                    <a:lnTo>
                      <a:pt x="564" y="714"/>
                    </a:lnTo>
                    <a:lnTo>
                      <a:pt x="566" y="714"/>
                    </a:lnTo>
                    <a:lnTo>
                      <a:pt x="564" y="714"/>
                    </a:lnTo>
                    <a:lnTo>
                      <a:pt x="564" y="712"/>
                    </a:lnTo>
                    <a:lnTo>
                      <a:pt x="564" y="710"/>
                    </a:lnTo>
                    <a:lnTo>
                      <a:pt x="564" y="708"/>
                    </a:lnTo>
                    <a:lnTo>
                      <a:pt x="563" y="708"/>
                    </a:lnTo>
                    <a:lnTo>
                      <a:pt x="564" y="707"/>
                    </a:lnTo>
                    <a:lnTo>
                      <a:pt x="564" y="705"/>
                    </a:lnTo>
                    <a:lnTo>
                      <a:pt x="566" y="705"/>
                    </a:lnTo>
                    <a:lnTo>
                      <a:pt x="568" y="705"/>
                    </a:lnTo>
                    <a:lnTo>
                      <a:pt x="568" y="703"/>
                    </a:lnTo>
                    <a:lnTo>
                      <a:pt x="570" y="701"/>
                    </a:lnTo>
                    <a:lnTo>
                      <a:pt x="572" y="697"/>
                    </a:lnTo>
                    <a:lnTo>
                      <a:pt x="572" y="695"/>
                    </a:lnTo>
                    <a:lnTo>
                      <a:pt x="572" y="693"/>
                    </a:lnTo>
                    <a:lnTo>
                      <a:pt x="572" y="691"/>
                    </a:lnTo>
                    <a:lnTo>
                      <a:pt x="572" y="689"/>
                    </a:lnTo>
                    <a:lnTo>
                      <a:pt x="572" y="687"/>
                    </a:lnTo>
                    <a:lnTo>
                      <a:pt x="572" y="685"/>
                    </a:lnTo>
                    <a:lnTo>
                      <a:pt x="570" y="684"/>
                    </a:lnTo>
                    <a:lnTo>
                      <a:pt x="570" y="682"/>
                    </a:lnTo>
                    <a:lnTo>
                      <a:pt x="570" y="680"/>
                    </a:lnTo>
                    <a:lnTo>
                      <a:pt x="570" y="678"/>
                    </a:lnTo>
                    <a:lnTo>
                      <a:pt x="572" y="678"/>
                    </a:lnTo>
                    <a:lnTo>
                      <a:pt x="572" y="676"/>
                    </a:lnTo>
                    <a:lnTo>
                      <a:pt x="574" y="676"/>
                    </a:lnTo>
                    <a:lnTo>
                      <a:pt x="574" y="672"/>
                    </a:lnTo>
                    <a:lnTo>
                      <a:pt x="576" y="668"/>
                    </a:lnTo>
                    <a:lnTo>
                      <a:pt x="578" y="666"/>
                    </a:lnTo>
                    <a:lnTo>
                      <a:pt x="580" y="666"/>
                    </a:lnTo>
                    <a:lnTo>
                      <a:pt x="580" y="664"/>
                    </a:lnTo>
                    <a:lnTo>
                      <a:pt x="580" y="662"/>
                    </a:lnTo>
                    <a:lnTo>
                      <a:pt x="580" y="660"/>
                    </a:lnTo>
                    <a:lnTo>
                      <a:pt x="580" y="659"/>
                    </a:lnTo>
                    <a:lnTo>
                      <a:pt x="580" y="657"/>
                    </a:lnTo>
                    <a:lnTo>
                      <a:pt x="580" y="655"/>
                    </a:lnTo>
                    <a:lnTo>
                      <a:pt x="582" y="653"/>
                    </a:lnTo>
                    <a:lnTo>
                      <a:pt x="580" y="653"/>
                    </a:lnTo>
                    <a:lnTo>
                      <a:pt x="580" y="651"/>
                    </a:lnTo>
                    <a:lnTo>
                      <a:pt x="582" y="645"/>
                    </a:lnTo>
                    <a:lnTo>
                      <a:pt x="582" y="643"/>
                    </a:lnTo>
                    <a:lnTo>
                      <a:pt x="584" y="641"/>
                    </a:lnTo>
                    <a:lnTo>
                      <a:pt x="584" y="639"/>
                    </a:lnTo>
                    <a:lnTo>
                      <a:pt x="584" y="637"/>
                    </a:lnTo>
                    <a:lnTo>
                      <a:pt x="584" y="636"/>
                    </a:lnTo>
                    <a:lnTo>
                      <a:pt x="582" y="636"/>
                    </a:lnTo>
                    <a:lnTo>
                      <a:pt x="582" y="634"/>
                    </a:lnTo>
                    <a:lnTo>
                      <a:pt x="582" y="632"/>
                    </a:lnTo>
                    <a:lnTo>
                      <a:pt x="582" y="628"/>
                    </a:lnTo>
                    <a:lnTo>
                      <a:pt x="582" y="626"/>
                    </a:lnTo>
                    <a:lnTo>
                      <a:pt x="580" y="626"/>
                    </a:lnTo>
                    <a:lnTo>
                      <a:pt x="580" y="624"/>
                    </a:lnTo>
                    <a:lnTo>
                      <a:pt x="578" y="622"/>
                    </a:lnTo>
                    <a:lnTo>
                      <a:pt x="578" y="620"/>
                    </a:lnTo>
                    <a:lnTo>
                      <a:pt x="576" y="620"/>
                    </a:lnTo>
                    <a:lnTo>
                      <a:pt x="576" y="618"/>
                    </a:lnTo>
                    <a:lnTo>
                      <a:pt x="576" y="616"/>
                    </a:lnTo>
                    <a:lnTo>
                      <a:pt x="576" y="614"/>
                    </a:lnTo>
                    <a:lnTo>
                      <a:pt x="574" y="614"/>
                    </a:lnTo>
                    <a:lnTo>
                      <a:pt x="582" y="611"/>
                    </a:lnTo>
                    <a:lnTo>
                      <a:pt x="584" y="609"/>
                    </a:lnTo>
                    <a:lnTo>
                      <a:pt x="588" y="611"/>
                    </a:lnTo>
                    <a:lnTo>
                      <a:pt x="588" y="609"/>
                    </a:lnTo>
                    <a:lnTo>
                      <a:pt x="586" y="607"/>
                    </a:lnTo>
                    <a:lnTo>
                      <a:pt x="586" y="605"/>
                    </a:lnTo>
                    <a:lnTo>
                      <a:pt x="586" y="603"/>
                    </a:lnTo>
                    <a:lnTo>
                      <a:pt x="584" y="603"/>
                    </a:lnTo>
                    <a:lnTo>
                      <a:pt x="584" y="601"/>
                    </a:lnTo>
                    <a:lnTo>
                      <a:pt x="582" y="599"/>
                    </a:lnTo>
                    <a:lnTo>
                      <a:pt x="580" y="599"/>
                    </a:lnTo>
                    <a:lnTo>
                      <a:pt x="574" y="601"/>
                    </a:lnTo>
                    <a:lnTo>
                      <a:pt x="574" y="603"/>
                    </a:lnTo>
                    <a:lnTo>
                      <a:pt x="574" y="605"/>
                    </a:lnTo>
                    <a:lnTo>
                      <a:pt x="572" y="605"/>
                    </a:lnTo>
                    <a:lnTo>
                      <a:pt x="566" y="607"/>
                    </a:lnTo>
                    <a:lnTo>
                      <a:pt x="566" y="603"/>
                    </a:lnTo>
                    <a:lnTo>
                      <a:pt x="564" y="601"/>
                    </a:lnTo>
                    <a:lnTo>
                      <a:pt x="564" y="599"/>
                    </a:lnTo>
                    <a:lnTo>
                      <a:pt x="564" y="597"/>
                    </a:lnTo>
                    <a:lnTo>
                      <a:pt x="563" y="595"/>
                    </a:lnTo>
                    <a:lnTo>
                      <a:pt x="563" y="593"/>
                    </a:lnTo>
                    <a:lnTo>
                      <a:pt x="564" y="591"/>
                    </a:lnTo>
                    <a:lnTo>
                      <a:pt x="564" y="589"/>
                    </a:lnTo>
                    <a:lnTo>
                      <a:pt x="564" y="584"/>
                    </a:lnTo>
                    <a:lnTo>
                      <a:pt x="564" y="582"/>
                    </a:lnTo>
                    <a:lnTo>
                      <a:pt x="564" y="580"/>
                    </a:lnTo>
                    <a:lnTo>
                      <a:pt x="564" y="578"/>
                    </a:lnTo>
                    <a:lnTo>
                      <a:pt x="563" y="578"/>
                    </a:lnTo>
                    <a:lnTo>
                      <a:pt x="553" y="578"/>
                    </a:lnTo>
                    <a:lnTo>
                      <a:pt x="553" y="580"/>
                    </a:lnTo>
                    <a:lnTo>
                      <a:pt x="553" y="582"/>
                    </a:lnTo>
                    <a:lnTo>
                      <a:pt x="547" y="582"/>
                    </a:lnTo>
                    <a:lnTo>
                      <a:pt x="541" y="582"/>
                    </a:lnTo>
                    <a:lnTo>
                      <a:pt x="536" y="584"/>
                    </a:lnTo>
                    <a:lnTo>
                      <a:pt x="524" y="584"/>
                    </a:lnTo>
                    <a:lnTo>
                      <a:pt x="522" y="578"/>
                    </a:lnTo>
                    <a:lnTo>
                      <a:pt x="522" y="572"/>
                    </a:lnTo>
                    <a:lnTo>
                      <a:pt x="522" y="568"/>
                    </a:lnTo>
                    <a:lnTo>
                      <a:pt x="522" y="566"/>
                    </a:lnTo>
                    <a:lnTo>
                      <a:pt x="522" y="564"/>
                    </a:lnTo>
                    <a:lnTo>
                      <a:pt x="522" y="563"/>
                    </a:lnTo>
                    <a:lnTo>
                      <a:pt x="522" y="559"/>
                    </a:lnTo>
                    <a:lnTo>
                      <a:pt x="518" y="559"/>
                    </a:lnTo>
                    <a:lnTo>
                      <a:pt x="518" y="553"/>
                    </a:lnTo>
                    <a:lnTo>
                      <a:pt x="516" y="555"/>
                    </a:lnTo>
                    <a:lnTo>
                      <a:pt x="516" y="557"/>
                    </a:lnTo>
                    <a:lnTo>
                      <a:pt x="513" y="557"/>
                    </a:lnTo>
                    <a:lnTo>
                      <a:pt x="513" y="555"/>
                    </a:lnTo>
                    <a:lnTo>
                      <a:pt x="509" y="555"/>
                    </a:lnTo>
                    <a:lnTo>
                      <a:pt x="501" y="557"/>
                    </a:lnTo>
                    <a:lnTo>
                      <a:pt x="497" y="557"/>
                    </a:lnTo>
                    <a:lnTo>
                      <a:pt x="497" y="553"/>
                    </a:lnTo>
                    <a:lnTo>
                      <a:pt x="497" y="549"/>
                    </a:lnTo>
                    <a:lnTo>
                      <a:pt x="497" y="543"/>
                    </a:lnTo>
                    <a:lnTo>
                      <a:pt x="497" y="541"/>
                    </a:lnTo>
                    <a:lnTo>
                      <a:pt x="490" y="541"/>
                    </a:lnTo>
                    <a:lnTo>
                      <a:pt x="476" y="545"/>
                    </a:lnTo>
                    <a:lnTo>
                      <a:pt x="472" y="538"/>
                    </a:lnTo>
                    <a:lnTo>
                      <a:pt x="476" y="536"/>
                    </a:lnTo>
                    <a:lnTo>
                      <a:pt x="486" y="536"/>
                    </a:lnTo>
                    <a:lnTo>
                      <a:pt x="486" y="534"/>
                    </a:lnTo>
                    <a:lnTo>
                      <a:pt x="488" y="522"/>
                    </a:lnTo>
                    <a:lnTo>
                      <a:pt x="488" y="516"/>
                    </a:lnTo>
                    <a:lnTo>
                      <a:pt x="488" y="515"/>
                    </a:lnTo>
                    <a:lnTo>
                      <a:pt x="490" y="515"/>
                    </a:lnTo>
                    <a:lnTo>
                      <a:pt x="490" y="513"/>
                    </a:lnTo>
                    <a:lnTo>
                      <a:pt x="490" y="511"/>
                    </a:lnTo>
                    <a:lnTo>
                      <a:pt x="490" y="507"/>
                    </a:lnTo>
                    <a:lnTo>
                      <a:pt x="490" y="505"/>
                    </a:lnTo>
                    <a:lnTo>
                      <a:pt x="491" y="503"/>
                    </a:lnTo>
                    <a:lnTo>
                      <a:pt x="493" y="503"/>
                    </a:lnTo>
                    <a:lnTo>
                      <a:pt x="495" y="503"/>
                    </a:lnTo>
                    <a:lnTo>
                      <a:pt x="499" y="503"/>
                    </a:lnTo>
                    <a:lnTo>
                      <a:pt x="497" y="497"/>
                    </a:lnTo>
                    <a:lnTo>
                      <a:pt x="497" y="486"/>
                    </a:lnTo>
                    <a:lnTo>
                      <a:pt x="497" y="480"/>
                    </a:lnTo>
                    <a:lnTo>
                      <a:pt x="493" y="480"/>
                    </a:lnTo>
                    <a:lnTo>
                      <a:pt x="488" y="480"/>
                    </a:lnTo>
                    <a:lnTo>
                      <a:pt x="478" y="480"/>
                    </a:lnTo>
                    <a:lnTo>
                      <a:pt x="478" y="486"/>
                    </a:lnTo>
                    <a:lnTo>
                      <a:pt x="478" y="488"/>
                    </a:lnTo>
                    <a:lnTo>
                      <a:pt x="474" y="486"/>
                    </a:lnTo>
                    <a:lnTo>
                      <a:pt x="472" y="486"/>
                    </a:lnTo>
                    <a:lnTo>
                      <a:pt x="472" y="484"/>
                    </a:lnTo>
                    <a:lnTo>
                      <a:pt x="472" y="482"/>
                    </a:lnTo>
                    <a:lnTo>
                      <a:pt x="470" y="476"/>
                    </a:lnTo>
                    <a:lnTo>
                      <a:pt x="470" y="474"/>
                    </a:lnTo>
                    <a:lnTo>
                      <a:pt x="470" y="472"/>
                    </a:lnTo>
                    <a:lnTo>
                      <a:pt x="470" y="470"/>
                    </a:lnTo>
                    <a:lnTo>
                      <a:pt x="465" y="472"/>
                    </a:lnTo>
                    <a:lnTo>
                      <a:pt x="465" y="470"/>
                    </a:lnTo>
                    <a:lnTo>
                      <a:pt x="465" y="465"/>
                    </a:lnTo>
                    <a:lnTo>
                      <a:pt x="465" y="463"/>
                    </a:lnTo>
                    <a:lnTo>
                      <a:pt x="467" y="463"/>
                    </a:lnTo>
                    <a:lnTo>
                      <a:pt x="470" y="463"/>
                    </a:lnTo>
                    <a:lnTo>
                      <a:pt x="482" y="463"/>
                    </a:lnTo>
                    <a:lnTo>
                      <a:pt x="490" y="463"/>
                    </a:lnTo>
                    <a:lnTo>
                      <a:pt x="490" y="455"/>
                    </a:lnTo>
                    <a:lnTo>
                      <a:pt x="488" y="447"/>
                    </a:lnTo>
                    <a:lnTo>
                      <a:pt x="488" y="442"/>
                    </a:lnTo>
                    <a:lnTo>
                      <a:pt x="488" y="440"/>
                    </a:lnTo>
                    <a:lnTo>
                      <a:pt x="488" y="436"/>
                    </a:lnTo>
                    <a:lnTo>
                      <a:pt x="488" y="434"/>
                    </a:lnTo>
                    <a:lnTo>
                      <a:pt x="488" y="432"/>
                    </a:lnTo>
                    <a:lnTo>
                      <a:pt x="488" y="430"/>
                    </a:lnTo>
                    <a:lnTo>
                      <a:pt x="488" y="428"/>
                    </a:lnTo>
                    <a:lnTo>
                      <a:pt x="488" y="422"/>
                    </a:lnTo>
                    <a:lnTo>
                      <a:pt x="488" y="419"/>
                    </a:lnTo>
                    <a:lnTo>
                      <a:pt x="488" y="417"/>
                    </a:lnTo>
                    <a:lnTo>
                      <a:pt x="488" y="415"/>
                    </a:lnTo>
                    <a:lnTo>
                      <a:pt x="488" y="413"/>
                    </a:lnTo>
                    <a:lnTo>
                      <a:pt x="493" y="413"/>
                    </a:lnTo>
                    <a:lnTo>
                      <a:pt x="501" y="413"/>
                    </a:lnTo>
                    <a:lnTo>
                      <a:pt x="501" y="403"/>
                    </a:lnTo>
                    <a:lnTo>
                      <a:pt x="501" y="399"/>
                    </a:lnTo>
                    <a:lnTo>
                      <a:pt x="501" y="397"/>
                    </a:lnTo>
                    <a:lnTo>
                      <a:pt x="501" y="394"/>
                    </a:lnTo>
                    <a:lnTo>
                      <a:pt x="501" y="390"/>
                    </a:lnTo>
                    <a:lnTo>
                      <a:pt x="501" y="388"/>
                    </a:lnTo>
                    <a:lnTo>
                      <a:pt x="501" y="386"/>
                    </a:lnTo>
                    <a:lnTo>
                      <a:pt x="501" y="384"/>
                    </a:lnTo>
                    <a:lnTo>
                      <a:pt x="499" y="380"/>
                    </a:lnTo>
                    <a:lnTo>
                      <a:pt x="499" y="376"/>
                    </a:lnTo>
                    <a:lnTo>
                      <a:pt x="499" y="374"/>
                    </a:lnTo>
                    <a:lnTo>
                      <a:pt x="499" y="373"/>
                    </a:lnTo>
                    <a:lnTo>
                      <a:pt x="499" y="371"/>
                    </a:lnTo>
                    <a:lnTo>
                      <a:pt x="499" y="369"/>
                    </a:lnTo>
                    <a:lnTo>
                      <a:pt x="499" y="365"/>
                    </a:lnTo>
                    <a:lnTo>
                      <a:pt x="495" y="365"/>
                    </a:lnTo>
                    <a:lnTo>
                      <a:pt x="493" y="365"/>
                    </a:lnTo>
                    <a:lnTo>
                      <a:pt x="490" y="365"/>
                    </a:lnTo>
                    <a:lnTo>
                      <a:pt x="488" y="365"/>
                    </a:lnTo>
                    <a:lnTo>
                      <a:pt x="486" y="365"/>
                    </a:lnTo>
                    <a:lnTo>
                      <a:pt x="484" y="365"/>
                    </a:lnTo>
                    <a:lnTo>
                      <a:pt x="482" y="365"/>
                    </a:lnTo>
                    <a:lnTo>
                      <a:pt x="480" y="365"/>
                    </a:lnTo>
                    <a:lnTo>
                      <a:pt x="478" y="367"/>
                    </a:lnTo>
                    <a:lnTo>
                      <a:pt x="476" y="367"/>
                    </a:lnTo>
                    <a:lnTo>
                      <a:pt x="474" y="367"/>
                    </a:lnTo>
                    <a:lnTo>
                      <a:pt x="474" y="369"/>
                    </a:lnTo>
                    <a:lnTo>
                      <a:pt x="474" y="371"/>
                    </a:lnTo>
                    <a:lnTo>
                      <a:pt x="474" y="373"/>
                    </a:lnTo>
                    <a:lnTo>
                      <a:pt x="472" y="374"/>
                    </a:lnTo>
                    <a:lnTo>
                      <a:pt x="476" y="374"/>
                    </a:lnTo>
                    <a:lnTo>
                      <a:pt x="474" y="376"/>
                    </a:lnTo>
                    <a:lnTo>
                      <a:pt x="472" y="376"/>
                    </a:lnTo>
                    <a:lnTo>
                      <a:pt x="470" y="380"/>
                    </a:lnTo>
                    <a:lnTo>
                      <a:pt x="472" y="380"/>
                    </a:lnTo>
                    <a:lnTo>
                      <a:pt x="472" y="382"/>
                    </a:lnTo>
                    <a:lnTo>
                      <a:pt x="470" y="382"/>
                    </a:lnTo>
                    <a:lnTo>
                      <a:pt x="470" y="386"/>
                    </a:lnTo>
                    <a:lnTo>
                      <a:pt x="470" y="388"/>
                    </a:lnTo>
                    <a:lnTo>
                      <a:pt x="468" y="388"/>
                    </a:lnTo>
                    <a:lnTo>
                      <a:pt x="459" y="390"/>
                    </a:lnTo>
                    <a:lnTo>
                      <a:pt x="459" y="392"/>
                    </a:lnTo>
                    <a:lnTo>
                      <a:pt x="453" y="392"/>
                    </a:lnTo>
                    <a:lnTo>
                      <a:pt x="453" y="386"/>
                    </a:lnTo>
                    <a:lnTo>
                      <a:pt x="445" y="388"/>
                    </a:lnTo>
                    <a:lnTo>
                      <a:pt x="445" y="382"/>
                    </a:lnTo>
                    <a:lnTo>
                      <a:pt x="445" y="380"/>
                    </a:lnTo>
                    <a:lnTo>
                      <a:pt x="443" y="374"/>
                    </a:lnTo>
                    <a:lnTo>
                      <a:pt x="443" y="373"/>
                    </a:lnTo>
                    <a:lnTo>
                      <a:pt x="443" y="369"/>
                    </a:lnTo>
                    <a:lnTo>
                      <a:pt x="445" y="367"/>
                    </a:lnTo>
                    <a:lnTo>
                      <a:pt x="447" y="365"/>
                    </a:lnTo>
                    <a:lnTo>
                      <a:pt x="447" y="363"/>
                    </a:lnTo>
                    <a:lnTo>
                      <a:pt x="447" y="361"/>
                    </a:lnTo>
                    <a:lnTo>
                      <a:pt x="447" y="357"/>
                    </a:lnTo>
                    <a:lnTo>
                      <a:pt x="447" y="353"/>
                    </a:lnTo>
                    <a:lnTo>
                      <a:pt x="443" y="355"/>
                    </a:lnTo>
                    <a:lnTo>
                      <a:pt x="440" y="355"/>
                    </a:lnTo>
                    <a:lnTo>
                      <a:pt x="438" y="355"/>
                    </a:lnTo>
                    <a:lnTo>
                      <a:pt x="436" y="355"/>
                    </a:lnTo>
                    <a:lnTo>
                      <a:pt x="434" y="355"/>
                    </a:lnTo>
                    <a:lnTo>
                      <a:pt x="432" y="355"/>
                    </a:lnTo>
                    <a:lnTo>
                      <a:pt x="432" y="353"/>
                    </a:lnTo>
                    <a:lnTo>
                      <a:pt x="432" y="349"/>
                    </a:lnTo>
                    <a:lnTo>
                      <a:pt x="432" y="348"/>
                    </a:lnTo>
                    <a:lnTo>
                      <a:pt x="432" y="344"/>
                    </a:lnTo>
                    <a:lnTo>
                      <a:pt x="432" y="342"/>
                    </a:lnTo>
                    <a:lnTo>
                      <a:pt x="432" y="340"/>
                    </a:lnTo>
                    <a:lnTo>
                      <a:pt x="432" y="336"/>
                    </a:lnTo>
                    <a:lnTo>
                      <a:pt x="432" y="334"/>
                    </a:lnTo>
                    <a:lnTo>
                      <a:pt x="430" y="332"/>
                    </a:lnTo>
                    <a:lnTo>
                      <a:pt x="430" y="328"/>
                    </a:lnTo>
                    <a:lnTo>
                      <a:pt x="430" y="326"/>
                    </a:lnTo>
                    <a:lnTo>
                      <a:pt x="430" y="325"/>
                    </a:lnTo>
                    <a:lnTo>
                      <a:pt x="430" y="323"/>
                    </a:lnTo>
                    <a:lnTo>
                      <a:pt x="428" y="323"/>
                    </a:lnTo>
                    <a:lnTo>
                      <a:pt x="428" y="325"/>
                    </a:lnTo>
                    <a:lnTo>
                      <a:pt x="426" y="325"/>
                    </a:lnTo>
                    <a:lnTo>
                      <a:pt x="424" y="325"/>
                    </a:lnTo>
                    <a:lnTo>
                      <a:pt x="422" y="325"/>
                    </a:lnTo>
                    <a:lnTo>
                      <a:pt x="422" y="326"/>
                    </a:lnTo>
                    <a:lnTo>
                      <a:pt x="420" y="326"/>
                    </a:lnTo>
                    <a:lnTo>
                      <a:pt x="419" y="326"/>
                    </a:lnTo>
                    <a:lnTo>
                      <a:pt x="417" y="326"/>
                    </a:lnTo>
                    <a:lnTo>
                      <a:pt x="417" y="328"/>
                    </a:lnTo>
                    <a:lnTo>
                      <a:pt x="415" y="328"/>
                    </a:lnTo>
                    <a:lnTo>
                      <a:pt x="413" y="328"/>
                    </a:lnTo>
                    <a:lnTo>
                      <a:pt x="413" y="330"/>
                    </a:lnTo>
                    <a:lnTo>
                      <a:pt x="411" y="330"/>
                    </a:lnTo>
                    <a:lnTo>
                      <a:pt x="411" y="332"/>
                    </a:lnTo>
                    <a:lnTo>
                      <a:pt x="411" y="334"/>
                    </a:lnTo>
                    <a:lnTo>
                      <a:pt x="409" y="334"/>
                    </a:lnTo>
                    <a:lnTo>
                      <a:pt x="407" y="334"/>
                    </a:lnTo>
                    <a:lnTo>
                      <a:pt x="409" y="328"/>
                    </a:lnTo>
                    <a:lnTo>
                      <a:pt x="409" y="325"/>
                    </a:lnTo>
                    <a:lnTo>
                      <a:pt x="409" y="317"/>
                    </a:lnTo>
                    <a:lnTo>
                      <a:pt x="409" y="315"/>
                    </a:lnTo>
                    <a:lnTo>
                      <a:pt x="403" y="319"/>
                    </a:lnTo>
                    <a:lnTo>
                      <a:pt x="401" y="321"/>
                    </a:lnTo>
                    <a:lnTo>
                      <a:pt x="399" y="323"/>
                    </a:lnTo>
                    <a:lnTo>
                      <a:pt x="395" y="325"/>
                    </a:lnTo>
                    <a:lnTo>
                      <a:pt x="394" y="326"/>
                    </a:lnTo>
                    <a:lnTo>
                      <a:pt x="394" y="328"/>
                    </a:lnTo>
                    <a:lnTo>
                      <a:pt x="392" y="326"/>
                    </a:lnTo>
                    <a:lnTo>
                      <a:pt x="392" y="325"/>
                    </a:lnTo>
                    <a:lnTo>
                      <a:pt x="392" y="323"/>
                    </a:lnTo>
                    <a:lnTo>
                      <a:pt x="394" y="323"/>
                    </a:lnTo>
                    <a:lnTo>
                      <a:pt x="394" y="321"/>
                    </a:lnTo>
                    <a:lnTo>
                      <a:pt x="392" y="317"/>
                    </a:lnTo>
                    <a:lnTo>
                      <a:pt x="394" y="315"/>
                    </a:lnTo>
                    <a:lnTo>
                      <a:pt x="395" y="313"/>
                    </a:lnTo>
                    <a:lnTo>
                      <a:pt x="395" y="311"/>
                    </a:lnTo>
                    <a:lnTo>
                      <a:pt x="395" y="309"/>
                    </a:lnTo>
                    <a:lnTo>
                      <a:pt x="394" y="311"/>
                    </a:lnTo>
                    <a:lnTo>
                      <a:pt x="392" y="311"/>
                    </a:lnTo>
                    <a:lnTo>
                      <a:pt x="390" y="313"/>
                    </a:lnTo>
                    <a:lnTo>
                      <a:pt x="388" y="313"/>
                    </a:lnTo>
                    <a:lnTo>
                      <a:pt x="388" y="315"/>
                    </a:lnTo>
                    <a:lnTo>
                      <a:pt x="386" y="315"/>
                    </a:lnTo>
                    <a:lnTo>
                      <a:pt x="386" y="313"/>
                    </a:lnTo>
                    <a:lnTo>
                      <a:pt x="386" y="311"/>
                    </a:lnTo>
                    <a:lnTo>
                      <a:pt x="388" y="311"/>
                    </a:lnTo>
                    <a:lnTo>
                      <a:pt x="388" y="309"/>
                    </a:lnTo>
                    <a:lnTo>
                      <a:pt x="392" y="307"/>
                    </a:lnTo>
                    <a:lnTo>
                      <a:pt x="394" y="307"/>
                    </a:lnTo>
                    <a:lnTo>
                      <a:pt x="395" y="307"/>
                    </a:lnTo>
                    <a:lnTo>
                      <a:pt x="394" y="305"/>
                    </a:lnTo>
                    <a:lnTo>
                      <a:pt x="394" y="303"/>
                    </a:lnTo>
                    <a:lnTo>
                      <a:pt x="395" y="303"/>
                    </a:lnTo>
                    <a:lnTo>
                      <a:pt x="397" y="303"/>
                    </a:lnTo>
                    <a:lnTo>
                      <a:pt x="397" y="301"/>
                    </a:lnTo>
                    <a:lnTo>
                      <a:pt x="395" y="301"/>
                    </a:lnTo>
                    <a:lnTo>
                      <a:pt x="395" y="300"/>
                    </a:lnTo>
                    <a:lnTo>
                      <a:pt x="394" y="298"/>
                    </a:lnTo>
                    <a:lnTo>
                      <a:pt x="395" y="298"/>
                    </a:lnTo>
                    <a:lnTo>
                      <a:pt x="395" y="296"/>
                    </a:lnTo>
                    <a:lnTo>
                      <a:pt x="395" y="294"/>
                    </a:lnTo>
                    <a:lnTo>
                      <a:pt x="395" y="292"/>
                    </a:lnTo>
                    <a:lnTo>
                      <a:pt x="395" y="290"/>
                    </a:lnTo>
                    <a:lnTo>
                      <a:pt x="397" y="290"/>
                    </a:lnTo>
                    <a:lnTo>
                      <a:pt x="397" y="288"/>
                    </a:lnTo>
                    <a:lnTo>
                      <a:pt x="395" y="288"/>
                    </a:lnTo>
                    <a:lnTo>
                      <a:pt x="394" y="290"/>
                    </a:lnTo>
                    <a:lnTo>
                      <a:pt x="392" y="290"/>
                    </a:lnTo>
                    <a:lnTo>
                      <a:pt x="390" y="290"/>
                    </a:lnTo>
                    <a:lnTo>
                      <a:pt x="390" y="292"/>
                    </a:lnTo>
                    <a:lnTo>
                      <a:pt x="386" y="292"/>
                    </a:lnTo>
                    <a:lnTo>
                      <a:pt x="386" y="290"/>
                    </a:lnTo>
                    <a:lnTo>
                      <a:pt x="384" y="286"/>
                    </a:lnTo>
                    <a:lnTo>
                      <a:pt x="382" y="282"/>
                    </a:lnTo>
                    <a:lnTo>
                      <a:pt x="382" y="280"/>
                    </a:lnTo>
                    <a:lnTo>
                      <a:pt x="382" y="278"/>
                    </a:lnTo>
                    <a:lnTo>
                      <a:pt x="380" y="277"/>
                    </a:lnTo>
                    <a:lnTo>
                      <a:pt x="380" y="275"/>
                    </a:lnTo>
                    <a:lnTo>
                      <a:pt x="380" y="273"/>
                    </a:lnTo>
                    <a:lnTo>
                      <a:pt x="378" y="271"/>
                    </a:lnTo>
                    <a:lnTo>
                      <a:pt x="380" y="271"/>
                    </a:lnTo>
                    <a:lnTo>
                      <a:pt x="384" y="269"/>
                    </a:lnTo>
                    <a:lnTo>
                      <a:pt x="388" y="267"/>
                    </a:lnTo>
                    <a:lnTo>
                      <a:pt x="392" y="267"/>
                    </a:lnTo>
                    <a:lnTo>
                      <a:pt x="394" y="265"/>
                    </a:lnTo>
                    <a:lnTo>
                      <a:pt x="395" y="267"/>
                    </a:lnTo>
                    <a:lnTo>
                      <a:pt x="397" y="267"/>
                    </a:lnTo>
                    <a:lnTo>
                      <a:pt x="399" y="267"/>
                    </a:lnTo>
                    <a:lnTo>
                      <a:pt x="399" y="265"/>
                    </a:lnTo>
                    <a:lnTo>
                      <a:pt x="399" y="263"/>
                    </a:lnTo>
                    <a:lnTo>
                      <a:pt x="399" y="261"/>
                    </a:lnTo>
                    <a:lnTo>
                      <a:pt x="401" y="259"/>
                    </a:lnTo>
                    <a:lnTo>
                      <a:pt x="403" y="259"/>
                    </a:lnTo>
                    <a:lnTo>
                      <a:pt x="403" y="257"/>
                    </a:lnTo>
                    <a:lnTo>
                      <a:pt x="403" y="259"/>
                    </a:lnTo>
                    <a:lnTo>
                      <a:pt x="403" y="257"/>
                    </a:lnTo>
                    <a:lnTo>
                      <a:pt x="405" y="257"/>
                    </a:lnTo>
                    <a:lnTo>
                      <a:pt x="405" y="255"/>
                    </a:lnTo>
                    <a:lnTo>
                      <a:pt x="407" y="253"/>
                    </a:lnTo>
                    <a:lnTo>
                      <a:pt x="407" y="252"/>
                    </a:lnTo>
                    <a:lnTo>
                      <a:pt x="409" y="252"/>
                    </a:lnTo>
                    <a:lnTo>
                      <a:pt x="411" y="250"/>
                    </a:lnTo>
                    <a:lnTo>
                      <a:pt x="411" y="248"/>
                    </a:lnTo>
                    <a:lnTo>
                      <a:pt x="409" y="246"/>
                    </a:lnTo>
                    <a:lnTo>
                      <a:pt x="409" y="244"/>
                    </a:lnTo>
                    <a:lnTo>
                      <a:pt x="409" y="242"/>
                    </a:lnTo>
                    <a:lnTo>
                      <a:pt x="409" y="244"/>
                    </a:lnTo>
                    <a:lnTo>
                      <a:pt x="411" y="244"/>
                    </a:lnTo>
                    <a:lnTo>
                      <a:pt x="413" y="244"/>
                    </a:lnTo>
                    <a:lnTo>
                      <a:pt x="413" y="242"/>
                    </a:lnTo>
                    <a:lnTo>
                      <a:pt x="413" y="240"/>
                    </a:lnTo>
                    <a:lnTo>
                      <a:pt x="415" y="240"/>
                    </a:lnTo>
                    <a:lnTo>
                      <a:pt x="417" y="238"/>
                    </a:lnTo>
                    <a:lnTo>
                      <a:pt x="413" y="238"/>
                    </a:lnTo>
                    <a:lnTo>
                      <a:pt x="411" y="238"/>
                    </a:lnTo>
                    <a:lnTo>
                      <a:pt x="409" y="238"/>
                    </a:lnTo>
                    <a:lnTo>
                      <a:pt x="409" y="236"/>
                    </a:lnTo>
                    <a:lnTo>
                      <a:pt x="411" y="234"/>
                    </a:lnTo>
                    <a:lnTo>
                      <a:pt x="411" y="230"/>
                    </a:lnTo>
                    <a:lnTo>
                      <a:pt x="415" y="230"/>
                    </a:lnTo>
                    <a:lnTo>
                      <a:pt x="415" y="229"/>
                    </a:lnTo>
                    <a:lnTo>
                      <a:pt x="415" y="223"/>
                    </a:lnTo>
                    <a:lnTo>
                      <a:pt x="415" y="221"/>
                    </a:lnTo>
                    <a:lnTo>
                      <a:pt x="419" y="221"/>
                    </a:lnTo>
                    <a:lnTo>
                      <a:pt x="417" y="215"/>
                    </a:lnTo>
                    <a:lnTo>
                      <a:pt x="417" y="213"/>
                    </a:lnTo>
                    <a:lnTo>
                      <a:pt x="415" y="211"/>
                    </a:lnTo>
                    <a:lnTo>
                      <a:pt x="415" y="209"/>
                    </a:lnTo>
                    <a:lnTo>
                      <a:pt x="413" y="205"/>
                    </a:lnTo>
                    <a:lnTo>
                      <a:pt x="415" y="200"/>
                    </a:lnTo>
                    <a:lnTo>
                      <a:pt x="417" y="198"/>
                    </a:lnTo>
                    <a:lnTo>
                      <a:pt x="419" y="196"/>
                    </a:lnTo>
                    <a:lnTo>
                      <a:pt x="426" y="194"/>
                    </a:lnTo>
                    <a:lnTo>
                      <a:pt x="426" y="192"/>
                    </a:lnTo>
                    <a:lnTo>
                      <a:pt x="428" y="192"/>
                    </a:lnTo>
                    <a:lnTo>
                      <a:pt x="428" y="190"/>
                    </a:lnTo>
                    <a:lnTo>
                      <a:pt x="430" y="188"/>
                    </a:lnTo>
                    <a:lnTo>
                      <a:pt x="430" y="186"/>
                    </a:lnTo>
                    <a:lnTo>
                      <a:pt x="432" y="184"/>
                    </a:lnTo>
                    <a:lnTo>
                      <a:pt x="432" y="182"/>
                    </a:lnTo>
                    <a:lnTo>
                      <a:pt x="434" y="181"/>
                    </a:lnTo>
                    <a:lnTo>
                      <a:pt x="434" y="179"/>
                    </a:lnTo>
                    <a:lnTo>
                      <a:pt x="436" y="179"/>
                    </a:lnTo>
                    <a:lnTo>
                      <a:pt x="436" y="177"/>
                    </a:lnTo>
                    <a:lnTo>
                      <a:pt x="436" y="175"/>
                    </a:lnTo>
                    <a:lnTo>
                      <a:pt x="438" y="175"/>
                    </a:lnTo>
                    <a:lnTo>
                      <a:pt x="438" y="173"/>
                    </a:lnTo>
                    <a:lnTo>
                      <a:pt x="438" y="171"/>
                    </a:lnTo>
                    <a:lnTo>
                      <a:pt x="436" y="171"/>
                    </a:lnTo>
                    <a:lnTo>
                      <a:pt x="434" y="169"/>
                    </a:lnTo>
                    <a:lnTo>
                      <a:pt x="432" y="169"/>
                    </a:lnTo>
                    <a:lnTo>
                      <a:pt x="430" y="169"/>
                    </a:lnTo>
                    <a:lnTo>
                      <a:pt x="430" y="167"/>
                    </a:lnTo>
                    <a:lnTo>
                      <a:pt x="428" y="169"/>
                    </a:lnTo>
                    <a:lnTo>
                      <a:pt x="428" y="171"/>
                    </a:lnTo>
                    <a:lnTo>
                      <a:pt x="424" y="173"/>
                    </a:lnTo>
                    <a:lnTo>
                      <a:pt x="422" y="173"/>
                    </a:lnTo>
                    <a:lnTo>
                      <a:pt x="420" y="173"/>
                    </a:lnTo>
                    <a:lnTo>
                      <a:pt x="420" y="171"/>
                    </a:lnTo>
                    <a:lnTo>
                      <a:pt x="419" y="169"/>
                    </a:lnTo>
                    <a:lnTo>
                      <a:pt x="419" y="165"/>
                    </a:lnTo>
                    <a:lnTo>
                      <a:pt x="417" y="165"/>
                    </a:lnTo>
                    <a:lnTo>
                      <a:pt x="417" y="163"/>
                    </a:lnTo>
                    <a:lnTo>
                      <a:pt x="417" y="161"/>
                    </a:lnTo>
                    <a:lnTo>
                      <a:pt x="417" y="159"/>
                    </a:lnTo>
                    <a:lnTo>
                      <a:pt x="419" y="159"/>
                    </a:lnTo>
                    <a:lnTo>
                      <a:pt x="419" y="157"/>
                    </a:lnTo>
                    <a:lnTo>
                      <a:pt x="419" y="156"/>
                    </a:lnTo>
                    <a:lnTo>
                      <a:pt x="420" y="156"/>
                    </a:lnTo>
                    <a:lnTo>
                      <a:pt x="422" y="154"/>
                    </a:lnTo>
                    <a:lnTo>
                      <a:pt x="422" y="152"/>
                    </a:lnTo>
                    <a:lnTo>
                      <a:pt x="424" y="152"/>
                    </a:lnTo>
                    <a:lnTo>
                      <a:pt x="424" y="150"/>
                    </a:lnTo>
                    <a:lnTo>
                      <a:pt x="426" y="150"/>
                    </a:lnTo>
                    <a:lnTo>
                      <a:pt x="426" y="148"/>
                    </a:lnTo>
                    <a:lnTo>
                      <a:pt x="428" y="148"/>
                    </a:lnTo>
                    <a:lnTo>
                      <a:pt x="430" y="146"/>
                    </a:lnTo>
                    <a:lnTo>
                      <a:pt x="432" y="144"/>
                    </a:lnTo>
                    <a:lnTo>
                      <a:pt x="434" y="144"/>
                    </a:lnTo>
                    <a:lnTo>
                      <a:pt x="436" y="142"/>
                    </a:lnTo>
                    <a:lnTo>
                      <a:pt x="438" y="142"/>
                    </a:lnTo>
                    <a:lnTo>
                      <a:pt x="440" y="142"/>
                    </a:lnTo>
                    <a:lnTo>
                      <a:pt x="440" y="140"/>
                    </a:lnTo>
                    <a:lnTo>
                      <a:pt x="442" y="140"/>
                    </a:lnTo>
                    <a:lnTo>
                      <a:pt x="442" y="138"/>
                    </a:lnTo>
                    <a:lnTo>
                      <a:pt x="442" y="136"/>
                    </a:lnTo>
                    <a:lnTo>
                      <a:pt x="443" y="136"/>
                    </a:lnTo>
                    <a:lnTo>
                      <a:pt x="442" y="136"/>
                    </a:lnTo>
                    <a:lnTo>
                      <a:pt x="442" y="134"/>
                    </a:lnTo>
                    <a:lnTo>
                      <a:pt x="440" y="136"/>
                    </a:lnTo>
                    <a:lnTo>
                      <a:pt x="440" y="134"/>
                    </a:lnTo>
                    <a:lnTo>
                      <a:pt x="438" y="134"/>
                    </a:lnTo>
                    <a:lnTo>
                      <a:pt x="436" y="134"/>
                    </a:lnTo>
                    <a:lnTo>
                      <a:pt x="434" y="134"/>
                    </a:lnTo>
                    <a:lnTo>
                      <a:pt x="432" y="134"/>
                    </a:lnTo>
                    <a:lnTo>
                      <a:pt x="430" y="134"/>
                    </a:lnTo>
                    <a:lnTo>
                      <a:pt x="428" y="134"/>
                    </a:lnTo>
                    <a:lnTo>
                      <a:pt x="426" y="134"/>
                    </a:lnTo>
                    <a:lnTo>
                      <a:pt x="424" y="134"/>
                    </a:lnTo>
                    <a:lnTo>
                      <a:pt x="426" y="134"/>
                    </a:lnTo>
                    <a:lnTo>
                      <a:pt x="428" y="133"/>
                    </a:lnTo>
                    <a:lnTo>
                      <a:pt x="426" y="133"/>
                    </a:lnTo>
                    <a:lnTo>
                      <a:pt x="426" y="131"/>
                    </a:lnTo>
                    <a:lnTo>
                      <a:pt x="424" y="131"/>
                    </a:lnTo>
                    <a:lnTo>
                      <a:pt x="424" y="134"/>
                    </a:lnTo>
                    <a:lnTo>
                      <a:pt x="420" y="134"/>
                    </a:lnTo>
                    <a:lnTo>
                      <a:pt x="420" y="133"/>
                    </a:lnTo>
                    <a:lnTo>
                      <a:pt x="420" y="131"/>
                    </a:lnTo>
                    <a:lnTo>
                      <a:pt x="420" y="129"/>
                    </a:lnTo>
                    <a:lnTo>
                      <a:pt x="420" y="127"/>
                    </a:lnTo>
                    <a:lnTo>
                      <a:pt x="420" y="125"/>
                    </a:lnTo>
                    <a:lnTo>
                      <a:pt x="420" y="123"/>
                    </a:lnTo>
                    <a:lnTo>
                      <a:pt x="420" y="121"/>
                    </a:lnTo>
                    <a:lnTo>
                      <a:pt x="420" y="119"/>
                    </a:lnTo>
                    <a:lnTo>
                      <a:pt x="420" y="117"/>
                    </a:lnTo>
                    <a:lnTo>
                      <a:pt x="420" y="115"/>
                    </a:lnTo>
                    <a:lnTo>
                      <a:pt x="420" y="113"/>
                    </a:lnTo>
                    <a:lnTo>
                      <a:pt x="420" y="111"/>
                    </a:lnTo>
                    <a:lnTo>
                      <a:pt x="420" y="108"/>
                    </a:lnTo>
                    <a:lnTo>
                      <a:pt x="420" y="104"/>
                    </a:lnTo>
                    <a:lnTo>
                      <a:pt x="420" y="102"/>
                    </a:lnTo>
                    <a:lnTo>
                      <a:pt x="419" y="102"/>
                    </a:lnTo>
                    <a:lnTo>
                      <a:pt x="419" y="100"/>
                    </a:lnTo>
                    <a:lnTo>
                      <a:pt x="419" y="96"/>
                    </a:lnTo>
                    <a:lnTo>
                      <a:pt x="419" y="94"/>
                    </a:lnTo>
                    <a:lnTo>
                      <a:pt x="419" y="92"/>
                    </a:lnTo>
                    <a:lnTo>
                      <a:pt x="419" y="90"/>
                    </a:lnTo>
                    <a:lnTo>
                      <a:pt x="419" y="88"/>
                    </a:lnTo>
                    <a:lnTo>
                      <a:pt x="417" y="88"/>
                    </a:lnTo>
                    <a:lnTo>
                      <a:pt x="415" y="88"/>
                    </a:lnTo>
                    <a:lnTo>
                      <a:pt x="411" y="88"/>
                    </a:lnTo>
                    <a:lnTo>
                      <a:pt x="409" y="88"/>
                    </a:lnTo>
                    <a:lnTo>
                      <a:pt x="407" y="86"/>
                    </a:lnTo>
                    <a:lnTo>
                      <a:pt x="405" y="86"/>
                    </a:lnTo>
                    <a:lnTo>
                      <a:pt x="405" y="88"/>
                    </a:lnTo>
                    <a:lnTo>
                      <a:pt x="405" y="90"/>
                    </a:lnTo>
                    <a:lnTo>
                      <a:pt x="407" y="90"/>
                    </a:lnTo>
                    <a:lnTo>
                      <a:pt x="407" y="92"/>
                    </a:lnTo>
                    <a:lnTo>
                      <a:pt x="405" y="92"/>
                    </a:lnTo>
                    <a:lnTo>
                      <a:pt x="403" y="90"/>
                    </a:lnTo>
                    <a:lnTo>
                      <a:pt x="401" y="90"/>
                    </a:lnTo>
                    <a:lnTo>
                      <a:pt x="399" y="90"/>
                    </a:lnTo>
                    <a:lnTo>
                      <a:pt x="397" y="90"/>
                    </a:lnTo>
                    <a:lnTo>
                      <a:pt x="395" y="90"/>
                    </a:lnTo>
                    <a:lnTo>
                      <a:pt x="394" y="90"/>
                    </a:lnTo>
                    <a:lnTo>
                      <a:pt x="394" y="92"/>
                    </a:lnTo>
                    <a:lnTo>
                      <a:pt x="392" y="92"/>
                    </a:lnTo>
                    <a:lnTo>
                      <a:pt x="394" y="92"/>
                    </a:lnTo>
                    <a:lnTo>
                      <a:pt x="394" y="94"/>
                    </a:lnTo>
                    <a:lnTo>
                      <a:pt x="395" y="94"/>
                    </a:lnTo>
                    <a:lnTo>
                      <a:pt x="395" y="96"/>
                    </a:lnTo>
                    <a:lnTo>
                      <a:pt x="395" y="98"/>
                    </a:lnTo>
                    <a:lnTo>
                      <a:pt x="395" y="100"/>
                    </a:lnTo>
                    <a:lnTo>
                      <a:pt x="395" y="98"/>
                    </a:lnTo>
                    <a:lnTo>
                      <a:pt x="394" y="98"/>
                    </a:lnTo>
                    <a:lnTo>
                      <a:pt x="394" y="96"/>
                    </a:lnTo>
                    <a:lnTo>
                      <a:pt x="392" y="96"/>
                    </a:lnTo>
                    <a:lnTo>
                      <a:pt x="392" y="94"/>
                    </a:lnTo>
                    <a:lnTo>
                      <a:pt x="390" y="94"/>
                    </a:lnTo>
                    <a:lnTo>
                      <a:pt x="390" y="96"/>
                    </a:lnTo>
                    <a:lnTo>
                      <a:pt x="392" y="96"/>
                    </a:lnTo>
                    <a:lnTo>
                      <a:pt x="392" y="98"/>
                    </a:lnTo>
                    <a:lnTo>
                      <a:pt x="392" y="100"/>
                    </a:lnTo>
                    <a:lnTo>
                      <a:pt x="392" y="104"/>
                    </a:lnTo>
                    <a:lnTo>
                      <a:pt x="392" y="106"/>
                    </a:lnTo>
                    <a:lnTo>
                      <a:pt x="390" y="106"/>
                    </a:lnTo>
                    <a:lnTo>
                      <a:pt x="388" y="106"/>
                    </a:lnTo>
                    <a:lnTo>
                      <a:pt x="386" y="106"/>
                    </a:lnTo>
                    <a:lnTo>
                      <a:pt x="384" y="106"/>
                    </a:lnTo>
                    <a:lnTo>
                      <a:pt x="382" y="106"/>
                    </a:lnTo>
                    <a:lnTo>
                      <a:pt x="380" y="106"/>
                    </a:lnTo>
                    <a:lnTo>
                      <a:pt x="380" y="104"/>
                    </a:lnTo>
                    <a:lnTo>
                      <a:pt x="378" y="104"/>
                    </a:lnTo>
                    <a:lnTo>
                      <a:pt x="376" y="104"/>
                    </a:lnTo>
                    <a:lnTo>
                      <a:pt x="376" y="106"/>
                    </a:lnTo>
                    <a:lnTo>
                      <a:pt x="374" y="104"/>
                    </a:lnTo>
                    <a:lnTo>
                      <a:pt x="374" y="102"/>
                    </a:lnTo>
                    <a:lnTo>
                      <a:pt x="372" y="102"/>
                    </a:lnTo>
                    <a:lnTo>
                      <a:pt x="372" y="100"/>
                    </a:lnTo>
                    <a:lnTo>
                      <a:pt x="371" y="98"/>
                    </a:lnTo>
                    <a:lnTo>
                      <a:pt x="369" y="98"/>
                    </a:lnTo>
                    <a:lnTo>
                      <a:pt x="369" y="96"/>
                    </a:lnTo>
                    <a:lnTo>
                      <a:pt x="369" y="94"/>
                    </a:lnTo>
                    <a:lnTo>
                      <a:pt x="367" y="96"/>
                    </a:lnTo>
                    <a:lnTo>
                      <a:pt x="367" y="94"/>
                    </a:lnTo>
                    <a:lnTo>
                      <a:pt x="365" y="94"/>
                    </a:lnTo>
                    <a:lnTo>
                      <a:pt x="363" y="92"/>
                    </a:lnTo>
                    <a:lnTo>
                      <a:pt x="363" y="90"/>
                    </a:lnTo>
                    <a:lnTo>
                      <a:pt x="361" y="88"/>
                    </a:lnTo>
                    <a:lnTo>
                      <a:pt x="359" y="88"/>
                    </a:lnTo>
                    <a:lnTo>
                      <a:pt x="359" y="86"/>
                    </a:lnTo>
                    <a:lnTo>
                      <a:pt x="357" y="86"/>
                    </a:lnTo>
                    <a:lnTo>
                      <a:pt x="357" y="88"/>
                    </a:lnTo>
                    <a:lnTo>
                      <a:pt x="355" y="88"/>
                    </a:lnTo>
                    <a:lnTo>
                      <a:pt x="355" y="90"/>
                    </a:lnTo>
                    <a:lnTo>
                      <a:pt x="353" y="90"/>
                    </a:lnTo>
                    <a:lnTo>
                      <a:pt x="347" y="92"/>
                    </a:lnTo>
                    <a:lnTo>
                      <a:pt x="346" y="90"/>
                    </a:lnTo>
                    <a:lnTo>
                      <a:pt x="344" y="88"/>
                    </a:lnTo>
                    <a:lnTo>
                      <a:pt x="340" y="83"/>
                    </a:lnTo>
                    <a:lnTo>
                      <a:pt x="340" y="81"/>
                    </a:lnTo>
                    <a:lnTo>
                      <a:pt x="338" y="77"/>
                    </a:lnTo>
                    <a:lnTo>
                      <a:pt x="336" y="77"/>
                    </a:lnTo>
                    <a:lnTo>
                      <a:pt x="336" y="75"/>
                    </a:lnTo>
                    <a:lnTo>
                      <a:pt x="336" y="73"/>
                    </a:lnTo>
                    <a:lnTo>
                      <a:pt x="338" y="71"/>
                    </a:lnTo>
                    <a:lnTo>
                      <a:pt x="336" y="69"/>
                    </a:lnTo>
                    <a:lnTo>
                      <a:pt x="334" y="67"/>
                    </a:lnTo>
                    <a:lnTo>
                      <a:pt x="334" y="65"/>
                    </a:lnTo>
                    <a:lnTo>
                      <a:pt x="332" y="65"/>
                    </a:lnTo>
                    <a:lnTo>
                      <a:pt x="330" y="65"/>
                    </a:lnTo>
                    <a:lnTo>
                      <a:pt x="330" y="63"/>
                    </a:lnTo>
                    <a:lnTo>
                      <a:pt x="330" y="61"/>
                    </a:lnTo>
                    <a:lnTo>
                      <a:pt x="328" y="61"/>
                    </a:lnTo>
                    <a:lnTo>
                      <a:pt x="326" y="60"/>
                    </a:lnTo>
                    <a:lnTo>
                      <a:pt x="326" y="58"/>
                    </a:lnTo>
                    <a:lnTo>
                      <a:pt x="328" y="58"/>
                    </a:lnTo>
                    <a:lnTo>
                      <a:pt x="328" y="56"/>
                    </a:lnTo>
                    <a:lnTo>
                      <a:pt x="330" y="54"/>
                    </a:lnTo>
                    <a:lnTo>
                      <a:pt x="330" y="52"/>
                    </a:lnTo>
                    <a:lnTo>
                      <a:pt x="330" y="50"/>
                    </a:lnTo>
                    <a:lnTo>
                      <a:pt x="332" y="50"/>
                    </a:lnTo>
                    <a:lnTo>
                      <a:pt x="332" y="48"/>
                    </a:lnTo>
                    <a:lnTo>
                      <a:pt x="330" y="46"/>
                    </a:lnTo>
                    <a:lnTo>
                      <a:pt x="332" y="44"/>
                    </a:lnTo>
                    <a:lnTo>
                      <a:pt x="330" y="42"/>
                    </a:lnTo>
                    <a:lnTo>
                      <a:pt x="328" y="44"/>
                    </a:lnTo>
                    <a:lnTo>
                      <a:pt x="328" y="42"/>
                    </a:lnTo>
                    <a:lnTo>
                      <a:pt x="328" y="40"/>
                    </a:lnTo>
                    <a:lnTo>
                      <a:pt x="330" y="40"/>
                    </a:lnTo>
                    <a:lnTo>
                      <a:pt x="332" y="40"/>
                    </a:lnTo>
                    <a:lnTo>
                      <a:pt x="334" y="40"/>
                    </a:lnTo>
                    <a:lnTo>
                      <a:pt x="334" y="42"/>
                    </a:lnTo>
                    <a:lnTo>
                      <a:pt x="336" y="44"/>
                    </a:lnTo>
                    <a:lnTo>
                      <a:pt x="336" y="46"/>
                    </a:lnTo>
                    <a:lnTo>
                      <a:pt x="338" y="46"/>
                    </a:lnTo>
                    <a:lnTo>
                      <a:pt x="338" y="44"/>
                    </a:lnTo>
                    <a:lnTo>
                      <a:pt x="340" y="44"/>
                    </a:lnTo>
                    <a:lnTo>
                      <a:pt x="340" y="42"/>
                    </a:lnTo>
                    <a:lnTo>
                      <a:pt x="338" y="42"/>
                    </a:lnTo>
                    <a:lnTo>
                      <a:pt x="338" y="40"/>
                    </a:lnTo>
                    <a:lnTo>
                      <a:pt x="340" y="40"/>
                    </a:lnTo>
                    <a:lnTo>
                      <a:pt x="344" y="38"/>
                    </a:lnTo>
                    <a:lnTo>
                      <a:pt x="351" y="38"/>
                    </a:lnTo>
                    <a:lnTo>
                      <a:pt x="353" y="38"/>
                    </a:lnTo>
                    <a:lnTo>
                      <a:pt x="353" y="37"/>
                    </a:lnTo>
                    <a:lnTo>
                      <a:pt x="355" y="37"/>
                    </a:lnTo>
                    <a:lnTo>
                      <a:pt x="355" y="35"/>
                    </a:lnTo>
                    <a:lnTo>
                      <a:pt x="357" y="33"/>
                    </a:lnTo>
                    <a:lnTo>
                      <a:pt x="357" y="31"/>
                    </a:lnTo>
                    <a:lnTo>
                      <a:pt x="357" y="27"/>
                    </a:lnTo>
                    <a:lnTo>
                      <a:pt x="359" y="23"/>
                    </a:lnTo>
                    <a:lnTo>
                      <a:pt x="361" y="19"/>
                    </a:lnTo>
                    <a:lnTo>
                      <a:pt x="361" y="17"/>
                    </a:lnTo>
                    <a:lnTo>
                      <a:pt x="361" y="15"/>
                    </a:lnTo>
                    <a:lnTo>
                      <a:pt x="363" y="13"/>
                    </a:lnTo>
                    <a:lnTo>
                      <a:pt x="363" y="12"/>
                    </a:lnTo>
                    <a:lnTo>
                      <a:pt x="365" y="12"/>
                    </a:lnTo>
                    <a:lnTo>
                      <a:pt x="367" y="13"/>
                    </a:lnTo>
                    <a:lnTo>
                      <a:pt x="369" y="13"/>
                    </a:lnTo>
                    <a:lnTo>
                      <a:pt x="371" y="13"/>
                    </a:lnTo>
                    <a:lnTo>
                      <a:pt x="372" y="15"/>
                    </a:lnTo>
                    <a:lnTo>
                      <a:pt x="372" y="17"/>
                    </a:lnTo>
                    <a:lnTo>
                      <a:pt x="374" y="17"/>
                    </a:lnTo>
                    <a:lnTo>
                      <a:pt x="376" y="17"/>
                    </a:lnTo>
                    <a:lnTo>
                      <a:pt x="376" y="15"/>
                    </a:lnTo>
                    <a:lnTo>
                      <a:pt x="378" y="15"/>
                    </a:lnTo>
                    <a:lnTo>
                      <a:pt x="378" y="17"/>
                    </a:lnTo>
                    <a:lnTo>
                      <a:pt x="380" y="17"/>
                    </a:lnTo>
                    <a:lnTo>
                      <a:pt x="382" y="17"/>
                    </a:lnTo>
                    <a:lnTo>
                      <a:pt x="382" y="19"/>
                    </a:lnTo>
                    <a:lnTo>
                      <a:pt x="382" y="21"/>
                    </a:lnTo>
                    <a:lnTo>
                      <a:pt x="382" y="23"/>
                    </a:lnTo>
                    <a:lnTo>
                      <a:pt x="382" y="25"/>
                    </a:lnTo>
                    <a:lnTo>
                      <a:pt x="384" y="25"/>
                    </a:lnTo>
                    <a:lnTo>
                      <a:pt x="384" y="27"/>
                    </a:lnTo>
                    <a:lnTo>
                      <a:pt x="386" y="29"/>
                    </a:lnTo>
                    <a:lnTo>
                      <a:pt x="386" y="27"/>
                    </a:lnTo>
                    <a:lnTo>
                      <a:pt x="388" y="27"/>
                    </a:lnTo>
                    <a:lnTo>
                      <a:pt x="388" y="25"/>
                    </a:lnTo>
                    <a:lnTo>
                      <a:pt x="388" y="23"/>
                    </a:lnTo>
                    <a:lnTo>
                      <a:pt x="390" y="23"/>
                    </a:lnTo>
                    <a:lnTo>
                      <a:pt x="390" y="21"/>
                    </a:lnTo>
                    <a:lnTo>
                      <a:pt x="392" y="19"/>
                    </a:lnTo>
                    <a:lnTo>
                      <a:pt x="392" y="17"/>
                    </a:lnTo>
                    <a:lnTo>
                      <a:pt x="392" y="15"/>
                    </a:lnTo>
                    <a:lnTo>
                      <a:pt x="392" y="13"/>
                    </a:lnTo>
                    <a:lnTo>
                      <a:pt x="392" y="12"/>
                    </a:lnTo>
                    <a:lnTo>
                      <a:pt x="392" y="10"/>
                    </a:lnTo>
                    <a:lnTo>
                      <a:pt x="394" y="8"/>
                    </a:lnTo>
                    <a:lnTo>
                      <a:pt x="394" y="6"/>
                    </a:lnTo>
                    <a:lnTo>
                      <a:pt x="395" y="6"/>
                    </a:lnTo>
                    <a:lnTo>
                      <a:pt x="397" y="6"/>
                    </a:lnTo>
                    <a:lnTo>
                      <a:pt x="397" y="4"/>
                    </a:lnTo>
                    <a:lnTo>
                      <a:pt x="397" y="2"/>
                    </a:lnTo>
                    <a:lnTo>
                      <a:pt x="397" y="0"/>
                    </a:lnTo>
                    <a:lnTo>
                      <a:pt x="397" y="2"/>
                    </a:lnTo>
                    <a:lnTo>
                      <a:pt x="399" y="0"/>
                    </a:lnTo>
                    <a:lnTo>
                      <a:pt x="401" y="0"/>
                    </a:lnTo>
                    <a:lnTo>
                      <a:pt x="403" y="0"/>
                    </a:lnTo>
                    <a:lnTo>
                      <a:pt x="403" y="2"/>
                    </a:lnTo>
                    <a:lnTo>
                      <a:pt x="403" y="4"/>
                    </a:lnTo>
                    <a:lnTo>
                      <a:pt x="405" y="4"/>
                    </a:lnTo>
                    <a:lnTo>
                      <a:pt x="405" y="6"/>
                    </a:lnTo>
                    <a:lnTo>
                      <a:pt x="407" y="6"/>
                    </a:lnTo>
                    <a:lnTo>
                      <a:pt x="407" y="8"/>
                    </a:lnTo>
                    <a:lnTo>
                      <a:pt x="409" y="10"/>
                    </a:lnTo>
                    <a:lnTo>
                      <a:pt x="411" y="12"/>
                    </a:lnTo>
                    <a:lnTo>
                      <a:pt x="411" y="13"/>
                    </a:lnTo>
                    <a:lnTo>
                      <a:pt x="413" y="15"/>
                    </a:lnTo>
                    <a:lnTo>
                      <a:pt x="413" y="17"/>
                    </a:lnTo>
                    <a:lnTo>
                      <a:pt x="415" y="17"/>
                    </a:lnTo>
                    <a:lnTo>
                      <a:pt x="415" y="19"/>
                    </a:lnTo>
                    <a:lnTo>
                      <a:pt x="417" y="19"/>
                    </a:lnTo>
                    <a:lnTo>
                      <a:pt x="417" y="21"/>
                    </a:lnTo>
                    <a:lnTo>
                      <a:pt x="419" y="19"/>
                    </a:lnTo>
                    <a:lnTo>
                      <a:pt x="420" y="19"/>
                    </a:lnTo>
                    <a:lnTo>
                      <a:pt x="420" y="21"/>
                    </a:lnTo>
                    <a:lnTo>
                      <a:pt x="422" y="23"/>
                    </a:lnTo>
                    <a:lnTo>
                      <a:pt x="420" y="25"/>
                    </a:lnTo>
                    <a:lnTo>
                      <a:pt x="419" y="25"/>
                    </a:lnTo>
                    <a:lnTo>
                      <a:pt x="420" y="25"/>
                    </a:lnTo>
                    <a:lnTo>
                      <a:pt x="420" y="27"/>
                    </a:lnTo>
                    <a:lnTo>
                      <a:pt x="422" y="27"/>
                    </a:lnTo>
                    <a:lnTo>
                      <a:pt x="424" y="27"/>
                    </a:lnTo>
                    <a:lnTo>
                      <a:pt x="426" y="27"/>
                    </a:lnTo>
                    <a:lnTo>
                      <a:pt x="428" y="27"/>
                    </a:lnTo>
                    <a:lnTo>
                      <a:pt x="430" y="27"/>
                    </a:lnTo>
                    <a:lnTo>
                      <a:pt x="432" y="29"/>
                    </a:lnTo>
                    <a:lnTo>
                      <a:pt x="432" y="31"/>
                    </a:lnTo>
                    <a:lnTo>
                      <a:pt x="434" y="31"/>
                    </a:lnTo>
                    <a:lnTo>
                      <a:pt x="436" y="31"/>
                    </a:lnTo>
                    <a:lnTo>
                      <a:pt x="436" y="29"/>
                    </a:lnTo>
                    <a:lnTo>
                      <a:pt x="438" y="29"/>
                    </a:lnTo>
                    <a:lnTo>
                      <a:pt x="438" y="27"/>
                    </a:lnTo>
                    <a:lnTo>
                      <a:pt x="440" y="27"/>
                    </a:lnTo>
                    <a:lnTo>
                      <a:pt x="442" y="29"/>
                    </a:lnTo>
                    <a:lnTo>
                      <a:pt x="442" y="27"/>
                    </a:lnTo>
                    <a:lnTo>
                      <a:pt x="442" y="29"/>
                    </a:lnTo>
                    <a:lnTo>
                      <a:pt x="443" y="29"/>
                    </a:lnTo>
                    <a:lnTo>
                      <a:pt x="445" y="29"/>
                    </a:lnTo>
                    <a:lnTo>
                      <a:pt x="447" y="27"/>
                    </a:lnTo>
                    <a:lnTo>
                      <a:pt x="449" y="25"/>
                    </a:lnTo>
                    <a:lnTo>
                      <a:pt x="449" y="27"/>
                    </a:lnTo>
                    <a:lnTo>
                      <a:pt x="449" y="29"/>
                    </a:lnTo>
                    <a:lnTo>
                      <a:pt x="449" y="31"/>
                    </a:lnTo>
                    <a:lnTo>
                      <a:pt x="449" y="33"/>
                    </a:lnTo>
                    <a:lnTo>
                      <a:pt x="451" y="33"/>
                    </a:lnTo>
                    <a:lnTo>
                      <a:pt x="451" y="35"/>
                    </a:lnTo>
                    <a:lnTo>
                      <a:pt x="449" y="35"/>
                    </a:lnTo>
                    <a:lnTo>
                      <a:pt x="447" y="35"/>
                    </a:lnTo>
                    <a:lnTo>
                      <a:pt x="445" y="35"/>
                    </a:lnTo>
                    <a:lnTo>
                      <a:pt x="443" y="37"/>
                    </a:lnTo>
                    <a:lnTo>
                      <a:pt x="443" y="38"/>
                    </a:lnTo>
                    <a:lnTo>
                      <a:pt x="442" y="37"/>
                    </a:lnTo>
                    <a:lnTo>
                      <a:pt x="440" y="37"/>
                    </a:lnTo>
                    <a:lnTo>
                      <a:pt x="440" y="35"/>
                    </a:lnTo>
                    <a:lnTo>
                      <a:pt x="438" y="35"/>
                    </a:lnTo>
                    <a:lnTo>
                      <a:pt x="436" y="37"/>
                    </a:lnTo>
                    <a:lnTo>
                      <a:pt x="434" y="37"/>
                    </a:lnTo>
                    <a:lnTo>
                      <a:pt x="434" y="38"/>
                    </a:lnTo>
                    <a:lnTo>
                      <a:pt x="436" y="38"/>
                    </a:lnTo>
                    <a:lnTo>
                      <a:pt x="438" y="40"/>
                    </a:lnTo>
                    <a:lnTo>
                      <a:pt x="438" y="42"/>
                    </a:lnTo>
                    <a:lnTo>
                      <a:pt x="438" y="44"/>
                    </a:lnTo>
                    <a:lnTo>
                      <a:pt x="440" y="44"/>
                    </a:lnTo>
                    <a:lnTo>
                      <a:pt x="442" y="44"/>
                    </a:lnTo>
                    <a:lnTo>
                      <a:pt x="442" y="42"/>
                    </a:lnTo>
                    <a:lnTo>
                      <a:pt x="443" y="42"/>
                    </a:lnTo>
                    <a:lnTo>
                      <a:pt x="443" y="44"/>
                    </a:lnTo>
                    <a:lnTo>
                      <a:pt x="443" y="42"/>
                    </a:lnTo>
                    <a:lnTo>
                      <a:pt x="445" y="42"/>
                    </a:lnTo>
                    <a:lnTo>
                      <a:pt x="447" y="42"/>
                    </a:lnTo>
                    <a:lnTo>
                      <a:pt x="449" y="42"/>
                    </a:lnTo>
                    <a:lnTo>
                      <a:pt x="449" y="44"/>
                    </a:lnTo>
                    <a:lnTo>
                      <a:pt x="451" y="44"/>
                    </a:lnTo>
                    <a:lnTo>
                      <a:pt x="451" y="46"/>
                    </a:lnTo>
                    <a:lnTo>
                      <a:pt x="449" y="48"/>
                    </a:lnTo>
                    <a:lnTo>
                      <a:pt x="449" y="50"/>
                    </a:lnTo>
                    <a:lnTo>
                      <a:pt x="451" y="50"/>
                    </a:lnTo>
                    <a:lnTo>
                      <a:pt x="453" y="52"/>
                    </a:lnTo>
                    <a:lnTo>
                      <a:pt x="455" y="50"/>
                    </a:lnTo>
                    <a:lnTo>
                      <a:pt x="457" y="50"/>
                    </a:lnTo>
                    <a:lnTo>
                      <a:pt x="457" y="52"/>
                    </a:lnTo>
                    <a:lnTo>
                      <a:pt x="459" y="52"/>
                    </a:lnTo>
                    <a:lnTo>
                      <a:pt x="461" y="52"/>
                    </a:lnTo>
                    <a:lnTo>
                      <a:pt x="461" y="54"/>
                    </a:lnTo>
                    <a:lnTo>
                      <a:pt x="463" y="54"/>
                    </a:lnTo>
                    <a:lnTo>
                      <a:pt x="468" y="52"/>
                    </a:lnTo>
                    <a:lnTo>
                      <a:pt x="470" y="52"/>
                    </a:lnTo>
                    <a:lnTo>
                      <a:pt x="472" y="54"/>
                    </a:lnTo>
                    <a:lnTo>
                      <a:pt x="472" y="52"/>
                    </a:lnTo>
                    <a:lnTo>
                      <a:pt x="474" y="52"/>
                    </a:lnTo>
                    <a:lnTo>
                      <a:pt x="474" y="54"/>
                    </a:lnTo>
                    <a:lnTo>
                      <a:pt x="476" y="54"/>
                    </a:lnTo>
                    <a:lnTo>
                      <a:pt x="478" y="54"/>
                    </a:lnTo>
                    <a:lnTo>
                      <a:pt x="480" y="54"/>
                    </a:lnTo>
                    <a:lnTo>
                      <a:pt x="480" y="56"/>
                    </a:lnTo>
                    <a:lnTo>
                      <a:pt x="484" y="54"/>
                    </a:lnTo>
                    <a:lnTo>
                      <a:pt x="484" y="50"/>
                    </a:lnTo>
                    <a:lnTo>
                      <a:pt x="486" y="46"/>
                    </a:lnTo>
                    <a:lnTo>
                      <a:pt x="488" y="46"/>
                    </a:lnTo>
                    <a:lnTo>
                      <a:pt x="491" y="46"/>
                    </a:lnTo>
                    <a:lnTo>
                      <a:pt x="493" y="46"/>
                    </a:lnTo>
                    <a:lnTo>
                      <a:pt x="495" y="44"/>
                    </a:lnTo>
                    <a:lnTo>
                      <a:pt x="497" y="44"/>
                    </a:lnTo>
                    <a:lnTo>
                      <a:pt x="499" y="44"/>
                    </a:lnTo>
                    <a:lnTo>
                      <a:pt x="501" y="44"/>
                    </a:lnTo>
                    <a:lnTo>
                      <a:pt x="505" y="44"/>
                    </a:lnTo>
                    <a:lnTo>
                      <a:pt x="509" y="44"/>
                    </a:lnTo>
                    <a:lnTo>
                      <a:pt x="509" y="46"/>
                    </a:lnTo>
                    <a:lnTo>
                      <a:pt x="511" y="46"/>
                    </a:lnTo>
                    <a:lnTo>
                      <a:pt x="511" y="48"/>
                    </a:lnTo>
                    <a:lnTo>
                      <a:pt x="511" y="50"/>
                    </a:lnTo>
                    <a:lnTo>
                      <a:pt x="511" y="52"/>
                    </a:lnTo>
                    <a:lnTo>
                      <a:pt x="513" y="52"/>
                    </a:lnTo>
                    <a:lnTo>
                      <a:pt x="515" y="54"/>
                    </a:lnTo>
                    <a:lnTo>
                      <a:pt x="516" y="54"/>
                    </a:lnTo>
                    <a:lnTo>
                      <a:pt x="518" y="56"/>
                    </a:lnTo>
                    <a:lnTo>
                      <a:pt x="520" y="56"/>
                    </a:lnTo>
                    <a:lnTo>
                      <a:pt x="522" y="56"/>
                    </a:lnTo>
                    <a:lnTo>
                      <a:pt x="524" y="58"/>
                    </a:lnTo>
                    <a:lnTo>
                      <a:pt x="526" y="58"/>
                    </a:lnTo>
                    <a:lnTo>
                      <a:pt x="526" y="56"/>
                    </a:lnTo>
                    <a:lnTo>
                      <a:pt x="528" y="56"/>
                    </a:lnTo>
                    <a:lnTo>
                      <a:pt x="530" y="56"/>
                    </a:lnTo>
                    <a:lnTo>
                      <a:pt x="530" y="58"/>
                    </a:lnTo>
                    <a:lnTo>
                      <a:pt x="532" y="58"/>
                    </a:lnTo>
                    <a:lnTo>
                      <a:pt x="534" y="58"/>
                    </a:lnTo>
                    <a:lnTo>
                      <a:pt x="536" y="58"/>
                    </a:lnTo>
                    <a:lnTo>
                      <a:pt x="538" y="56"/>
                    </a:lnTo>
                    <a:lnTo>
                      <a:pt x="538" y="58"/>
                    </a:lnTo>
                    <a:lnTo>
                      <a:pt x="540" y="58"/>
                    </a:lnTo>
                    <a:lnTo>
                      <a:pt x="541" y="58"/>
                    </a:lnTo>
                    <a:lnTo>
                      <a:pt x="541" y="56"/>
                    </a:lnTo>
                    <a:lnTo>
                      <a:pt x="541" y="54"/>
                    </a:lnTo>
                    <a:lnTo>
                      <a:pt x="540" y="54"/>
                    </a:lnTo>
                    <a:lnTo>
                      <a:pt x="541" y="52"/>
                    </a:lnTo>
                    <a:lnTo>
                      <a:pt x="543" y="52"/>
                    </a:lnTo>
                    <a:lnTo>
                      <a:pt x="545" y="50"/>
                    </a:lnTo>
                    <a:lnTo>
                      <a:pt x="545" y="48"/>
                    </a:lnTo>
                    <a:lnTo>
                      <a:pt x="547" y="46"/>
                    </a:lnTo>
                    <a:lnTo>
                      <a:pt x="553" y="48"/>
                    </a:lnTo>
                    <a:lnTo>
                      <a:pt x="555" y="50"/>
                    </a:lnTo>
                    <a:lnTo>
                      <a:pt x="557" y="50"/>
                    </a:lnTo>
                    <a:lnTo>
                      <a:pt x="557" y="52"/>
                    </a:lnTo>
                    <a:lnTo>
                      <a:pt x="557" y="54"/>
                    </a:lnTo>
                    <a:lnTo>
                      <a:pt x="555" y="54"/>
                    </a:lnTo>
                    <a:lnTo>
                      <a:pt x="555" y="56"/>
                    </a:lnTo>
                    <a:lnTo>
                      <a:pt x="557" y="56"/>
                    </a:lnTo>
                    <a:lnTo>
                      <a:pt x="559" y="56"/>
                    </a:lnTo>
                    <a:lnTo>
                      <a:pt x="561" y="56"/>
                    </a:lnTo>
                    <a:lnTo>
                      <a:pt x="563" y="58"/>
                    </a:lnTo>
                    <a:lnTo>
                      <a:pt x="563" y="56"/>
                    </a:lnTo>
                    <a:lnTo>
                      <a:pt x="564" y="56"/>
                    </a:lnTo>
                    <a:lnTo>
                      <a:pt x="564" y="54"/>
                    </a:lnTo>
                    <a:lnTo>
                      <a:pt x="563" y="54"/>
                    </a:lnTo>
                    <a:lnTo>
                      <a:pt x="561" y="54"/>
                    </a:lnTo>
                    <a:lnTo>
                      <a:pt x="561" y="52"/>
                    </a:lnTo>
                    <a:lnTo>
                      <a:pt x="563" y="52"/>
                    </a:lnTo>
                    <a:lnTo>
                      <a:pt x="563" y="54"/>
                    </a:lnTo>
                    <a:lnTo>
                      <a:pt x="564" y="52"/>
                    </a:lnTo>
                    <a:lnTo>
                      <a:pt x="566" y="52"/>
                    </a:lnTo>
                    <a:lnTo>
                      <a:pt x="566" y="50"/>
                    </a:lnTo>
                    <a:lnTo>
                      <a:pt x="566" y="48"/>
                    </a:lnTo>
                    <a:lnTo>
                      <a:pt x="566" y="46"/>
                    </a:lnTo>
                    <a:lnTo>
                      <a:pt x="566" y="44"/>
                    </a:lnTo>
                    <a:lnTo>
                      <a:pt x="568" y="40"/>
                    </a:lnTo>
                    <a:lnTo>
                      <a:pt x="568" y="38"/>
                    </a:lnTo>
                    <a:lnTo>
                      <a:pt x="568" y="37"/>
                    </a:lnTo>
                    <a:lnTo>
                      <a:pt x="568" y="35"/>
                    </a:lnTo>
                    <a:lnTo>
                      <a:pt x="568" y="33"/>
                    </a:lnTo>
                    <a:lnTo>
                      <a:pt x="568" y="31"/>
                    </a:lnTo>
                    <a:lnTo>
                      <a:pt x="566" y="27"/>
                    </a:lnTo>
                    <a:lnTo>
                      <a:pt x="566" y="25"/>
                    </a:lnTo>
                    <a:lnTo>
                      <a:pt x="564" y="23"/>
                    </a:lnTo>
                    <a:lnTo>
                      <a:pt x="564" y="21"/>
                    </a:lnTo>
                    <a:lnTo>
                      <a:pt x="566" y="21"/>
                    </a:lnTo>
                    <a:lnTo>
                      <a:pt x="568" y="21"/>
                    </a:lnTo>
                    <a:lnTo>
                      <a:pt x="568" y="23"/>
                    </a:lnTo>
                    <a:lnTo>
                      <a:pt x="570" y="23"/>
                    </a:lnTo>
                    <a:lnTo>
                      <a:pt x="572" y="25"/>
                    </a:lnTo>
                    <a:lnTo>
                      <a:pt x="574" y="23"/>
                    </a:lnTo>
                    <a:lnTo>
                      <a:pt x="576" y="23"/>
                    </a:lnTo>
                    <a:lnTo>
                      <a:pt x="578" y="23"/>
                    </a:lnTo>
                    <a:lnTo>
                      <a:pt x="578" y="21"/>
                    </a:lnTo>
                    <a:lnTo>
                      <a:pt x="580" y="21"/>
                    </a:lnTo>
                    <a:lnTo>
                      <a:pt x="582" y="21"/>
                    </a:lnTo>
                    <a:lnTo>
                      <a:pt x="584" y="21"/>
                    </a:lnTo>
                    <a:lnTo>
                      <a:pt x="586" y="21"/>
                    </a:lnTo>
                    <a:lnTo>
                      <a:pt x="588" y="21"/>
                    </a:lnTo>
                    <a:lnTo>
                      <a:pt x="589" y="21"/>
                    </a:lnTo>
                    <a:lnTo>
                      <a:pt x="591" y="21"/>
                    </a:lnTo>
                    <a:lnTo>
                      <a:pt x="593" y="21"/>
                    </a:lnTo>
                    <a:lnTo>
                      <a:pt x="595" y="23"/>
                    </a:lnTo>
                    <a:lnTo>
                      <a:pt x="597" y="21"/>
                    </a:lnTo>
                    <a:lnTo>
                      <a:pt x="599" y="21"/>
                    </a:lnTo>
                    <a:lnTo>
                      <a:pt x="601" y="21"/>
                    </a:lnTo>
                    <a:lnTo>
                      <a:pt x="601" y="19"/>
                    </a:lnTo>
                    <a:lnTo>
                      <a:pt x="601" y="21"/>
                    </a:lnTo>
                    <a:lnTo>
                      <a:pt x="603" y="21"/>
                    </a:lnTo>
                    <a:lnTo>
                      <a:pt x="601" y="21"/>
                    </a:lnTo>
                    <a:lnTo>
                      <a:pt x="603" y="21"/>
                    </a:lnTo>
                    <a:lnTo>
                      <a:pt x="603" y="23"/>
                    </a:lnTo>
                    <a:lnTo>
                      <a:pt x="605" y="23"/>
                    </a:lnTo>
                    <a:lnTo>
                      <a:pt x="607" y="23"/>
                    </a:lnTo>
                    <a:lnTo>
                      <a:pt x="607" y="21"/>
                    </a:lnTo>
                    <a:lnTo>
                      <a:pt x="609" y="21"/>
                    </a:lnTo>
                    <a:lnTo>
                      <a:pt x="611" y="21"/>
                    </a:lnTo>
                    <a:lnTo>
                      <a:pt x="612" y="21"/>
                    </a:lnTo>
                    <a:lnTo>
                      <a:pt x="614" y="21"/>
                    </a:lnTo>
                    <a:lnTo>
                      <a:pt x="614" y="19"/>
                    </a:lnTo>
                    <a:lnTo>
                      <a:pt x="616" y="19"/>
                    </a:lnTo>
                    <a:lnTo>
                      <a:pt x="618" y="19"/>
                    </a:lnTo>
                    <a:lnTo>
                      <a:pt x="618" y="21"/>
                    </a:lnTo>
                    <a:lnTo>
                      <a:pt x="620" y="21"/>
                    </a:lnTo>
                    <a:lnTo>
                      <a:pt x="622" y="23"/>
                    </a:lnTo>
                    <a:lnTo>
                      <a:pt x="622" y="25"/>
                    </a:lnTo>
                    <a:lnTo>
                      <a:pt x="624" y="25"/>
                    </a:lnTo>
                    <a:lnTo>
                      <a:pt x="624" y="27"/>
                    </a:lnTo>
                    <a:lnTo>
                      <a:pt x="626" y="29"/>
                    </a:lnTo>
                    <a:lnTo>
                      <a:pt x="626" y="31"/>
                    </a:lnTo>
                    <a:lnTo>
                      <a:pt x="628" y="33"/>
                    </a:lnTo>
                    <a:lnTo>
                      <a:pt x="630" y="33"/>
                    </a:lnTo>
                    <a:lnTo>
                      <a:pt x="632" y="33"/>
                    </a:lnTo>
                    <a:lnTo>
                      <a:pt x="632" y="31"/>
                    </a:lnTo>
                    <a:lnTo>
                      <a:pt x="634" y="29"/>
                    </a:lnTo>
                    <a:lnTo>
                      <a:pt x="636" y="27"/>
                    </a:lnTo>
                    <a:lnTo>
                      <a:pt x="636" y="25"/>
                    </a:lnTo>
                    <a:lnTo>
                      <a:pt x="637" y="23"/>
                    </a:lnTo>
                    <a:lnTo>
                      <a:pt x="639" y="21"/>
                    </a:lnTo>
                    <a:lnTo>
                      <a:pt x="639" y="19"/>
                    </a:lnTo>
                    <a:lnTo>
                      <a:pt x="641" y="17"/>
                    </a:lnTo>
                    <a:lnTo>
                      <a:pt x="643" y="15"/>
                    </a:lnTo>
                    <a:lnTo>
                      <a:pt x="643" y="13"/>
                    </a:lnTo>
                    <a:lnTo>
                      <a:pt x="645" y="15"/>
                    </a:lnTo>
                    <a:lnTo>
                      <a:pt x="647" y="15"/>
                    </a:lnTo>
                    <a:lnTo>
                      <a:pt x="649" y="17"/>
                    </a:lnTo>
                    <a:lnTo>
                      <a:pt x="653" y="19"/>
                    </a:lnTo>
                    <a:lnTo>
                      <a:pt x="655" y="21"/>
                    </a:lnTo>
                    <a:lnTo>
                      <a:pt x="655" y="23"/>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68" name="Freeform 178">
                <a:extLst>
                  <a:ext uri="{FF2B5EF4-FFF2-40B4-BE49-F238E27FC236}">
                    <a16:creationId xmlns:a16="http://schemas.microsoft.com/office/drawing/2014/main" id="{6743DD4A-CD80-456F-98EA-BC32AEA30F3A}"/>
                  </a:ext>
                </a:extLst>
              </p:cNvPr>
              <p:cNvSpPr>
                <a:spLocks/>
              </p:cNvSpPr>
              <p:nvPr/>
            </p:nvSpPr>
            <p:spPr bwMode="auto">
              <a:xfrm>
                <a:off x="6725776" y="2634076"/>
                <a:ext cx="1338582" cy="1170888"/>
              </a:xfrm>
              <a:custGeom>
                <a:avLst/>
                <a:gdLst>
                  <a:gd name="T0" fmla="*/ 382 w 902"/>
                  <a:gd name="T1" fmla="*/ 35 h 789"/>
                  <a:gd name="T2" fmla="*/ 436 w 902"/>
                  <a:gd name="T3" fmla="*/ 43 h 789"/>
                  <a:gd name="T4" fmla="*/ 474 w 902"/>
                  <a:gd name="T5" fmla="*/ 27 h 789"/>
                  <a:gd name="T6" fmla="*/ 532 w 902"/>
                  <a:gd name="T7" fmla="*/ 37 h 789"/>
                  <a:gd name="T8" fmla="*/ 570 w 902"/>
                  <a:gd name="T9" fmla="*/ 29 h 789"/>
                  <a:gd name="T10" fmla="*/ 610 w 902"/>
                  <a:gd name="T11" fmla="*/ 89 h 789"/>
                  <a:gd name="T12" fmla="*/ 655 w 902"/>
                  <a:gd name="T13" fmla="*/ 144 h 789"/>
                  <a:gd name="T14" fmla="*/ 664 w 902"/>
                  <a:gd name="T15" fmla="*/ 169 h 789"/>
                  <a:gd name="T16" fmla="*/ 687 w 902"/>
                  <a:gd name="T17" fmla="*/ 212 h 789"/>
                  <a:gd name="T18" fmla="*/ 701 w 902"/>
                  <a:gd name="T19" fmla="*/ 202 h 789"/>
                  <a:gd name="T20" fmla="*/ 764 w 902"/>
                  <a:gd name="T21" fmla="*/ 198 h 789"/>
                  <a:gd name="T22" fmla="*/ 741 w 902"/>
                  <a:gd name="T23" fmla="*/ 271 h 789"/>
                  <a:gd name="T24" fmla="*/ 774 w 902"/>
                  <a:gd name="T25" fmla="*/ 311 h 789"/>
                  <a:gd name="T26" fmla="*/ 829 w 902"/>
                  <a:gd name="T27" fmla="*/ 334 h 789"/>
                  <a:gd name="T28" fmla="*/ 831 w 902"/>
                  <a:gd name="T29" fmla="*/ 375 h 789"/>
                  <a:gd name="T30" fmla="*/ 862 w 902"/>
                  <a:gd name="T31" fmla="*/ 402 h 789"/>
                  <a:gd name="T32" fmla="*/ 900 w 902"/>
                  <a:gd name="T33" fmla="*/ 446 h 789"/>
                  <a:gd name="T34" fmla="*/ 897 w 902"/>
                  <a:gd name="T35" fmla="*/ 486 h 789"/>
                  <a:gd name="T36" fmla="*/ 862 w 902"/>
                  <a:gd name="T37" fmla="*/ 519 h 789"/>
                  <a:gd name="T38" fmla="*/ 827 w 902"/>
                  <a:gd name="T39" fmla="*/ 563 h 789"/>
                  <a:gd name="T40" fmla="*/ 768 w 902"/>
                  <a:gd name="T41" fmla="*/ 553 h 789"/>
                  <a:gd name="T42" fmla="*/ 760 w 902"/>
                  <a:gd name="T43" fmla="*/ 615 h 789"/>
                  <a:gd name="T44" fmla="*/ 733 w 902"/>
                  <a:gd name="T45" fmla="*/ 619 h 789"/>
                  <a:gd name="T46" fmla="*/ 710 w 902"/>
                  <a:gd name="T47" fmla="*/ 607 h 789"/>
                  <a:gd name="T48" fmla="*/ 693 w 902"/>
                  <a:gd name="T49" fmla="*/ 613 h 789"/>
                  <a:gd name="T50" fmla="*/ 662 w 902"/>
                  <a:gd name="T51" fmla="*/ 624 h 789"/>
                  <a:gd name="T52" fmla="*/ 639 w 902"/>
                  <a:gd name="T53" fmla="*/ 644 h 789"/>
                  <a:gd name="T54" fmla="*/ 595 w 902"/>
                  <a:gd name="T55" fmla="*/ 642 h 789"/>
                  <a:gd name="T56" fmla="*/ 574 w 902"/>
                  <a:gd name="T57" fmla="*/ 678 h 789"/>
                  <a:gd name="T58" fmla="*/ 570 w 902"/>
                  <a:gd name="T59" fmla="*/ 734 h 789"/>
                  <a:gd name="T60" fmla="*/ 564 w 902"/>
                  <a:gd name="T61" fmla="*/ 761 h 789"/>
                  <a:gd name="T62" fmla="*/ 547 w 902"/>
                  <a:gd name="T63" fmla="*/ 780 h 789"/>
                  <a:gd name="T64" fmla="*/ 503 w 902"/>
                  <a:gd name="T65" fmla="*/ 743 h 789"/>
                  <a:gd name="T66" fmla="*/ 451 w 902"/>
                  <a:gd name="T67" fmla="*/ 711 h 789"/>
                  <a:gd name="T68" fmla="*/ 395 w 902"/>
                  <a:gd name="T69" fmla="*/ 686 h 789"/>
                  <a:gd name="T70" fmla="*/ 359 w 902"/>
                  <a:gd name="T71" fmla="*/ 695 h 789"/>
                  <a:gd name="T72" fmla="*/ 313 w 902"/>
                  <a:gd name="T73" fmla="*/ 674 h 789"/>
                  <a:gd name="T74" fmla="*/ 296 w 902"/>
                  <a:gd name="T75" fmla="*/ 640 h 789"/>
                  <a:gd name="T76" fmla="*/ 282 w 902"/>
                  <a:gd name="T77" fmla="*/ 594 h 789"/>
                  <a:gd name="T78" fmla="*/ 259 w 902"/>
                  <a:gd name="T79" fmla="*/ 619 h 789"/>
                  <a:gd name="T80" fmla="*/ 228 w 902"/>
                  <a:gd name="T81" fmla="*/ 571 h 789"/>
                  <a:gd name="T82" fmla="*/ 175 w 902"/>
                  <a:gd name="T83" fmla="*/ 542 h 789"/>
                  <a:gd name="T84" fmla="*/ 130 w 902"/>
                  <a:gd name="T85" fmla="*/ 532 h 789"/>
                  <a:gd name="T86" fmla="*/ 82 w 902"/>
                  <a:gd name="T87" fmla="*/ 509 h 789"/>
                  <a:gd name="T88" fmla="*/ 86 w 902"/>
                  <a:gd name="T89" fmla="*/ 467 h 789"/>
                  <a:gd name="T90" fmla="*/ 127 w 902"/>
                  <a:gd name="T91" fmla="*/ 492 h 789"/>
                  <a:gd name="T92" fmla="*/ 130 w 902"/>
                  <a:gd name="T93" fmla="*/ 467 h 789"/>
                  <a:gd name="T94" fmla="*/ 142 w 902"/>
                  <a:gd name="T95" fmla="*/ 430 h 789"/>
                  <a:gd name="T96" fmla="*/ 148 w 902"/>
                  <a:gd name="T97" fmla="*/ 390 h 789"/>
                  <a:gd name="T98" fmla="*/ 146 w 902"/>
                  <a:gd name="T99" fmla="*/ 369 h 789"/>
                  <a:gd name="T100" fmla="*/ 104 w 902"/>
                  <a:gd name="T101" fmla="*/ 311 h 789"/>
                  <a:gd name="T102" fmla="*/ 73 w 902"/>
                  <a:gd name="T103" fmla="*/ 265 h 789"/>
                  <a:gd name="T104" fmla="*/ 67 w 902"/>
                  <a:gd name="T105" fmla="*/ 212 h 789"/>
                  <a:gd name="T106" fmla="*/ 40 w 902"/>
                  <a:gd name="T107" fmla="*/ 177 h 789"/>
                  <a:gd name="T108" fmla="*/ 15 w 902"/>
                  <a:gd name="T109" fmla="*/ 129 h 789"/>
                  <a:gd name="T110" fmla="*/ 19 w 902"/>
                  <a:gd name="T111" fmla="*/ 64 h 789"/>
                  <a:gd name="T112" fmla="*/ 59 w 902"/>
                  <a:gd name="T113" fmla="*/ 50 h 789"/>
                  <a:gd name="T114" fmla="*/ 115 w 902"/>
                  <a:gd name="T115" fmla="*/ 52 h 789"/>
                  <a:gd name="T116" fmla="*/ 155 w 902"/>
                  <a:gd name="T117" fmla="*/ 66 h 789"/>
                  <a:gd name="T118" fmla="*/ 192 w 902"/>
                  <a:gd name="T119" fmla="*/ 69 h 789"/>
                  <a:gd name="T120" fmla="*/ 244 w 902"/>
                  <a:gd name="T121" fmla="*/ 39 h 789"/>
                  <a:gd name="T122" fmla="*/ 274 w 902"/>
                  <a:gd name="T123" fmla="*/ 10 h 789"/>
                  <a:gd name="T124" fmla="*/ 321 w 902"/>
                  <a:gd name="T125" fmla="*/ 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2" h="789">
                    <a:moveTo>
                      <a:pt x="332" y="2"/>
                    </a:moveTo>
                    <a:lnTo>
                      <a:pt x="332" y="4"/>
                    </a:lnTo>
                    <a:lnTo>
                      <a:pt x="334" y="4"/>
                    </a:lnTo>
                    <a:lnTo>
                      <a:pt x="334" y="6"/>
                    </a:lnTo>
                    <a:lnTo>
                      <a:pt x="336" y="8"/>
                    </a:lnTo>
                    <a:lnTo>
                      <a:pt x="340" y="10"/>
                    </a:lnTo>
                    <a:lnTo>
                      <a:pt x="340" y="14"/>
                    </a:lnTo>
                    <a:lnTo>
                      <a:pt x="340" y="16"/>
                    </a:lnTo>
                    <a:lnTo>
                      <a:pt x="342" y="16"/>
                    </a:lnTo>
                    <a:lnTo>
                      <a:pt x="345" y="16"/>
                    </a:lnTo>
                    <a:lnTo>
                      <a:pt x="349" y="16"/>
                    </a:lnTo>
                    <a:lnTo>
                      <a:pt x="355" y="16"/>
                    </a:lnTo>
                    <a:lnTo>
                      <a:pt x="355" y="21"/>
                    </a:lnTo>
                    <a:lnTo>
                      <a:pt x="355" y="25"/>
                    </a:lnTo>
                    <a:lnTo>
                      <a:pt x="357" y="25"/>
                    </a:lnTo>
                    <a:lnTo>
                      <a:pt x="357" y="27"/>
                    </a:lnTo>
                    <a:lnTo>
                      <a:pt x="359" y="25"/>
                    </a:lnTo>
                    <a:lnTo>
                      <a:pt x="363" y="25"/>
                    </a:lnTo>
                    <a:lnTo>
                      <a:pt x="365" y="25"/>
                    </a:lnTo>
                    <a:lnTo>
                      <a:pt x="365" y="27"/>
                    </a:lnTo>
                    <a:lnTo>
                      <a:pt x="365" y="29"/>
                    </a:lnTo>
                    <a:lnTo>
                      <a:pt x="367" y="29"/>
                    </a:lnTo>
                    <a:lnTo>
                      <a:pt x="367" y="33"/>
                    </a:lnTo>
                    <a:lnTo>
                      <a:pt x="367" y="35"/>
                    </a:lnTo>
                    <a:lnTo>
                      <a:pt x="369" y="35"/>
                    </a:lnTo>
                    <a:lnTo>
                      <a:pt x="370" y="37"/>
                    </a:lnTo>
                    <a:lnTo>
                      <a:pt x="370" y="35"/>
                    </a:lnTo>
                    <a:lnTo>
                      <a:pt x="370" y="33"/>
                    </a:lnTo>
                    <a:lnTo>
                      <a:pt x="374" y="31"/>
                    </a:lnTo>
                    <a:lnTo>
                      <a:pt x="376" y="31"/>
                    </a:lnTo>
                    <a:lnTo>
                      <a:pt x="378" y="29"/>
                    </a:lnTo>
                    <a:lnTo>
                      <a:pt x="380" y="31"/>
                    </a:lnTo>
                    <a:lnTo>
                      <a:pt x="382" y="31"/>
                    </a:lnTo>
                    <a:lnTo>
                      <a:pt x="382" y="35"/>
                    </a:lnTo>
                    <a:lnTo>
                      <a:pt x="384" y="35"/>
                    </a:lnTo>
                    <a:lnTo>
                      <a:pt x="386" y="35"/>
                    </a:lnTo>
                    <a:lnTo>
                      <a:pt x="386" y="33"/>
                    </a:lnTo>
                    <a:lnTo>
                      <a:pt x="386" y="31"/>
                    </a:lnTo>
                    <a:lnTo>
                      <a:pt x="388" y="31"/>
                    </a:lnTo>
                    <a:lnTo>
                      <a:pt x="388" y="29"/>
                    </a:lnTo>
                    <a:lnTo>
                      <a:pt x="390" y="29"/>
                    </a:lnTo>
                    <a:lnTo>
                      <a:pt x="390" y="31"/>
                    </a:lnTo>
                    <a:lnTo>
                      <a:pt x="390" y="33"/>
                    </a:lnTo>
                    <a:lnTo>
                      <a:pt x="392" y="33"/>
                    </a:lnTo>
                    <a:lnTo>
                      <a:pt x="392" y="35"/>
                    </a:lnTo>
                    <a:lnTo>
                      <a:pt x="393" y="35"/>
                    </a:lnTo>
                    <a:lnTo>
                      <a:pt x="393" y="37"/>
                    </a:lnTo>
                    <a:lnTo>
                      <a:pt x="395" y="37"/>
                    </a:lnTo>
                    <a:lnTo>
                      <a:pt x="395" y="35"/>
                    </a:lnTo>
                    <a:lnTo>
                      <a:pt x="397" y="35"/>
                    </a:lnTo>
                    <a:lnTo>
                      <a:pt x="397" y="33"/>
                    </a:lnTo>
                    <a:lnTo>
                      <a:pt x="401" y="33"/>
                    </a:lnTo>
                    <a:lnTo>
                      <a:pt x="405" y="33"/>
                    </a:lnTo>
                    <a:lnTo>
                      <a:pt x="405" y="31"/>
                    </a:lnTo>
                    <a:lnTo>
                      <a:pt x="407" y="31"/>
                    </a:lnTo>
                    <a:lnTo>
                      <a:pt x="409" y="33"/>
                    </a:lnTo>
                    <a:lnTo>
                      <a:pt x="411" y="33"/>
                    </a:lnTo>
                    <a:lnTo>
                      <a:pt x="413" y="33"/>
                    </a:lnTo>
                    <a:lnTo>
                      <a:pt x="415" y="33"/>
                    </a:lnTo>
                    <a:lnTo>
                      <a:pt x="417" y="35"/>
                    </a:lnTo>
                    <a:lnTo>
                      <a:pt x="418" y="35"/>
                    </a:lnTo>
                    <a:lnTo>
                      <a:pt x="418" y="37"/>
                    </a:lnTo>
                    <a:lnTo>
                      <a:pt x="420" y="37"/>
                    </a:lnTo>
                    <a:lnTo>
                      <a:pt x="422" y="39"/>
                    </a:lnTo>
                    <a:lnTo>
                      <a:pt x="426" y="39"/>
                    </a:lnTo>
                    <a:lnTo>
                      <a:pt x="428" y="41"/>
                    </a:lnTo>
                    <a:lnTo>
                      <a:pt x="434" y="43"/>
                    </a:lnTo>
                    <a:lnTo>
                      <a:pt x="436" y="43"/>
                    </a:lnTo>
                    <a:lnTo>
                      <a:pt x="438" y="43"/>
                    </a:lnTo>
                    <a:lnTo>
                      <a:pt x="441" y="45"/>
                    </a:lnTo>
                    <a:lnTo>
                      <a:pt x="443" y="45"/>
                    </a:lnTo>
                    <a:lnTo>
                      <a:pt x="445" y="45"/>
                    </a:lnTo>
                    <a:lnTo>
                      <a:pt x="445" y="46"/>
                    </a:lnTo>
                    <a:lnTo>
                      <a:pt x="449" y="50"/>
                    </a:lnTo>
                    <a:lnTo>
                      <a:pt x="451" y="50"/>
                    </a:lnTo>
                    <a:lnTo>
                      <a:pt x="457" y="50"/>
                    </a:lnTo>
                    <a:lnTo>
                      <a:pt x="465" y="50"/>
                    </a:lnTo>
                    <a:lnTo>
                      <a:pt x="463" y="48"/>
                    </a:lnTo>
                    <a:lnTo>
                      <a:pt x="465" y="48"/>
                    </a:lnTo>
                    <a:lnTo>
                      <a:pt x="465" y="46"/>
                    </a:lnTo>
                    <a:lnTo>
                      <a:pt x="465" y="45"/>
                    </a:lnTo>
                    <a:lnTo>
                      <a:pt x="465" y="43"/>
                    </a:lnTo>
                    <a:lnTo>
                      <a:pt x="466" y="43"/>
                    </a:lnTo>
                    <a:lnTo>
                      <a:pt x="468" y="43"/>
                    </a:lnTo>
                    <a:lnTo>
                      <a:pt x="470" y="43"/>
                    </a:lnTo>
                    <a:lnTo>
                      <a:pt x="474" y="43"/>
                    </a:lnTo>
                    <a:lnTo>
                      <a:pt x="476" y="41"/>
                    </a:lnTo>
                    <a:lnTo>
                      <a:pt x="474" y="39"/>
                    </a:lnTo>
                    <a:lnTo>
                      <a:pt x="476" y="39"/>
                    </a:lnTo>
                    <a:lnTo>
                      <a:pt x="478" y="37"/>
                    </a:lnTo>
                    <a:lnTo>
                      <a:pt x="480" y="37"/>
                    </a:lnTo>
                    <a:lnTo>
                      <a:pt x="480" y="39"/>
                    </a:lnTo>
                    <a:lnTo>
                      <a:pt x="482" y="35"/>
                    </a:lnTo>
                    <a:lnTo>
                      <a:pt x="482" y="33"/>
                    </a:lnTo>
                    <a:lnTo>
                      <a:pt x="480" y="33"/>
                    </a:lnTo>
                    <a:lnTo>
                      <a:pt x="480" y="31"/>
                    </a:lnTo>
                    <a:lnTo>
                      <a:pt x="476" y="31"/>
                    </a:lnTo>
                    <a:lnTo>
                      <a:pt x="474" y="31"/>
                    </a:lnTo>
                    <a:lnTo>
                      <a:pt x="472" y="31"/>
                    </a:lnTo>
                    <a:lnTo>
                      <a:pt x="472" y="29"/>
                    </a:lnTo>
                    <a:lnTo>
                      <a:pt x="472" y="27"/>
                    </a:lnTo>
                    <a:lnTo>
                      <a:pt x="474" y="27"/>
                    </a:lnTo>
                    <a:lnTo>
                      <a:pt x="476" y="27"/>
                    </a:lnTo>
                    <a:lnTo>
                      <a:pt x="478" y="25"/>
                    </a:lnTo>
                    <a:lnTo>
                      <a:pt x="480" y="25"/>
                    </a:lnTo>
                    <a:lnTo>
                      <a:pt x="482" y="23"/>
                    </a:lnTo>
                    <a:lnTo>
                      <a:pt x="484" y="23"/>
                    </a:lnTo>
                    <a:lnTo>
                      <a:pt x="488" y="21"/>
                    </a:lnTo>
                    <a:lnTo>
                      <a:pt x="490" y="21"/>
                    </a:lnTo>
                    <a:lnTo>
                      <a:pt x="491" y="21"/>
                    </a:lnTo>
                    <a:lnTo>
                      <a:pt x="493" y="21"/>
                    </a:lnTo>
                    <a:lnTo>
                      <a:pt x="495" y="23"/>
                    </a:lnTo>
                    <a:lnTo>
                      <a:pt x="495" y="25"/>
                    </a:lnTo>
                    <a:lnTo>
                      <a:pt x="497" y="27"/>
                    </a:lnTo>
                    <a:lnTo>
                      <a:pt x="497" y="29"/>
                    </a:lnTo>
                    <a:lnTo>
                      <a:pt x="499" y="29"/>
                    </a:lnTo>
                    <a:lnTo>
                      <a:pt x="501" y="29"/>
                    </a:lnTo>
                    <a:lnTo>
                      <a:pt x="501" y="27"/>
                    </a:lnTo>
                    <a:lnTo>
                      <a:pt x="503" y="27"/>
                    </a:lnTo>
                    <a:lnTo>
                      <a:pt x="503" y="25"/>
                    </a:lnTo>
                    <a:lnTo>
                      <a:pt x="507" y="21"/>
                    </a:lnTo>
                    <a:lnTo>
                      <a:pt x="511" y="16"/>
                    </a:lnTo>
                    <a:lnTo>
                      <a:pt x="516" y="20"/>
                    </a:lnTo>
                    <a:lnTo>
                      <a:pt x="520" y="23"/>
                    </a:lnTo>
                    <a:lnTo>
                      <a:pt x="520" y="25"/>
                    </a:lnTo>
                    <a:lnTo>
                      <a:pt x="524" y="29"/>
                    </a:lnTo>
                    <a:lnTo>
                      <a:pt x="526" y="31"/>
                    </a:lnTo>
                    <a:lnTo>
                      <a:pt x="528" y="31"/>
                    </a:lnTo>
                    <a:lnTo>
                      <a:pt x="528" y="33"/>
                    </a:lnTo>
                    <a:lnTo>
                      <a:pt x="530" y="33"/>
                    </a:lnTo>
                    <a:lnTo>
                      <a:pt x="532" y="33"/>
                    </a:lnTo>
                    <a:lnTo>
                      <a:pt x="530" y="35"/>
                    </a:lnTo>
                    <a:lnTo>
                      <a:pt x="530" y="37"/>
                    </a:lnTo>
                    <a:lnTo>
                      <a:pt x="530" y="39"/>
                    </a:lnTo>
                    <a:lnTo>
                      <a:pt x="530" y="37"/>
                    </a:lnTo>
                    <a:lnTo>
                      <a:pt x="532" y="37"/>
                    </a:lnTo>
                    <a:lnTo>
                      <a:pt x="532" y="35"/>
                    </a:lnTo>
                    <a:lnTo>
                      <a:pt x="534" y="35"/>
                    </a:lnTo>
                    <a:lnTo>
                      <a:pt x="536" y="35"/>
                    </a:lnTo>
                    <a:lnTo>
                      <a:pt x="538" y="35"/>
                    </a:lnTo>
                    <a:lnTo>
                      <a:pt x="538" y="33"/>
                    </a:lnTo>
                    <a:lnTo>
                      <a:pt x="538" y="31"/>
                    </a:lnTo>
                    <a:lnTo>
                      <a:pt x="539" y="31"/>
                    </a:lnTo>
                    <a:lnTo>
                      <a:pt x="541" y="31"/>
                    </a:lnTo>
                    <a:lnTo>
                      <a:pt x="541" y="33"/>
                    </a:lnTo>
                    <a:lnTo>
                      <a:pt x="543" y="33"/>
                    </a:lnTo>
                    <a:lnTo>
                      <a:pt x="545" y="33"/>
                    </a:lnTo>
                    <a:lnTo>
                      <a:pt x="545" y="35"/>
                    </a:lnTo>
                    <a:lnTo>
                      <a:pt x="547" y="35"/>
                    </a:lnTo>
                    <a:lnTo>
                      <a:pt x="549" y="37"/>
                    </a:lnTo>
                    <a:lnTo>
                      <a:pt x="551" y="37"/>
                    </a:lnTo>
                    <a:lnTo>
                      <a:pt x="547" y="41"/>
                    </a:lnTo>
                    <a:lnTo>
                      <a:pt x="547" y="43"/>
                    </a:lnTo>
                    <a:lnTo>
                      <a:pt x="545" y="43"/>
                    </a:lnTo>
                    <a:lnTo>
                      <a:pt x="543" y="43"/>
                    </a:lnTo>
                    <a:lnTo>
                      <a:pt x="545" y="45"/>
                    </a:lnTo>
                    <a:lnTo>
                      <a:pt x="547" y="46"/>
                    </a:lnTo>
                    <a:lnTo>
                      <a:pt x="549" y="46"/>
                    </a:lnTo>
                    <a:lnTo>
                      <a:pt x="551" y="46"/>
                    </a:lnTo>
                    <a:lnTo>
                      <a:pt x="551" y="45"/>
                    </a:lnTo>
                    <a:lnTo>
                      <a:pt x="553" y="43"/>
                    </a:lnTo>
                    <a:lnTo>
                      <a:pt x="553" y="41"/>
                    </a:lnTo>
                    <a:lnTo>
                      <a:pt x="553" y="39"/>
                    </a:lnTo>
                    <a:lnTo>
                      <a:pt x="555" y="37"/>
                    </a:lnTo>
                    <a:lnTo>
                      <a:pt x="555" y="35"/>
                    </a:lnTo>
                    <a:lnTo>
                      <a:pt x="561" y="33"/>
                    </a:lnTo>
                    <a:lnTo>
                      <a:pt x="562" y="33"/>
                    </a:lnTo>
                    <a:lnTo>
                      <a:pt x="562" y="31"/>
                    </a:lnTo>
                    <a:lnTo>
                      <a:pt x="564" y="31"/>
                    </a:lnTo>
                    <a:lnTo>
                      <a:pt x="570" y="29"/>
                    </a:lnTo>
                    <a:lnTo>
                      <a:pt x="574" y="29"/>
                    </a:lnTo>
                    <a:lnTo>
                      <a:pt x="574" y="31"/>
                    </a:lnTo>
                    <a:lnTo>
                      <a:pt x="578" y="31"/>
                    </a:lnTo>
                    <a:lnTo>
                      <a:pt x="578" y="29"/>
                    </a:lnTo>
                    <a:lnTo>
                      <a:pt x="582" y="27"/>
                    </a:lnTo>
                    <a:lnTo>
                      <a:pt x="584" y="31"/>
                    </a:lnTo>
                    <a:lnTo>
                      <a:pt x="584" y="29"/>
                    </a:lnTo>
                    <a:lnTo>
                      <a:pt x="587" y="31"/>
                    </a:lnTo>
                    <a:lnTo>
                      <a:pt x="589" y="31"/>
                    </a:lnTo>
                    <a:lnTo>
                      <a:pt x="589" y="33"/>
                    </a:lnTo>
                    <a:lnTo>
                      <a:pt x="589" y="35"/>
                    </a:lnTo>
                    <a:lnTo>
                      <a:pt x="589" y="37"/>
                    </a:lnTo>
                    <a:lnTo>
                      <a:pt x="589" y="43"/>
                    </a:lnTo>
                    <a:lnTo>
                      <a:pt x="589" y="46"/>
                    </a:lnTo>
                    <a:lnTo>
                      <a:pt x="589" y="48"/>
                    </a:lnTo>
                    <a:lnTo>
                      <a:pt x="589" y="54"/>
                    </a:lnTo>
                    <a:lnTo>
                      <a:pt x="587" y="58"/>
                    </a:lnTo>
                    <a:lnTo>
                      <a:pt x="587" y="60"/>
                    </a:lnTo>
                    <a:lnTo>
                      <a:pt x="587" y="62"/>
                    </a:lnTo>
                    <a:lnTo>
                      <a:pt x="587" y="64"/>
                    </a:lnTo>
                    <a:lnTo>
                      <a:pt x="587" y="66"/>
                    </a:lnTo>
                    <a:lnTo>
                      <a:pt x="589" y="68"/>
                    </a:lnTo>
                    <a:lnTo>
                      <a:pt x="589" y="69"/>
                    </a:lnTo>
                    <a:lnTo>
                      <a:pt x="591" y="69"/>
                    </a:lnTo>
                    <a:lnTo>
                      <a:pt x="593" y="69"/>
                    </a:lnTo>
                    <a:lnTo>
                      <a:pt x="593" y="71"/>
                    </a:lnTo>
                    <a:lnTo>
                      <a:pt x="593" y="73"/>
                    </a:lnTo>
                    <a:lnTo>
                      <a:pt x="595" y="75"/>
                    </a:lnTo>
                    <a:lnTo>
                      <a:pt x="595" y="77"/>
                    </a:lnTo>
                    <a:lnTo>
                      <a:pt x="597" y="79"/>
                    </a:lnTo>
                    <a:lnTo>
                      <a:pt x="603" y="83"/>
                    </a:lnTo>
                    <a:lnTo>
                      <a:pt x="607" y="87"/>
                    </a:lnTo>
                    <a:lnTo>
                      <a:pt x="609" y="89"/>
                    </a:lnTo>
                    <a:lnTo>
                      <a:pt x="610" y="89"/>
                    </a:lnTo>
                    <a:lnTo>
                      <a:pt x="612" y="89"/>
                    </a:lnTo>
                    <a:lnTo>
                      <a:pt x="614" y="93"/>
                    </a:lnTo>
                    <a:lnTo>
                      <a:pt x="616" y="94"/>
                    </a:lnTo>
                    <a:lnTo>
                      <a:pt x="618" y="94"/>
                    </a:lnTo>
                    <a:lnTo>
                      <a:pt x="618" y="96"/>
                    </a:lnTo>
                    <a:lnTo>
                      <a:pt x="618" y="98"/>
                    </a:lnTo>
                    <a:lnTo>
                      <a:pt x="622" y="98"/>
                    </a:lnTo>
                    <a:lnTo>
                      <a:pt x="624" y="100"/>
                    </a:lnTo>
                    <a:lnTo>
                      <a:pt x="620" y="102"/>
                    </a:lnTo>
                    <a:lnTo>
                      <a:pt x="620" y="104"/>
                    </a:lnTo>
                    <a:lnTo>
                      <a:pt x="622" y="104"/>
                    </a:lnTo>
                    <a:lnTo>
                      <a:pt x="622" y="106"/>
                    </a:lnTo>
                    <a:lnTo>
                      <a:pt x="622" y="110"/>
                    </a:lnTo>
                    <a:lnTo>
                      <a:pt x="628" y="112"/>
                    </a:lnTo>
                    <a:lnTo>
                      <a:pt x="628" y="114"/>
                    </a:lnTo>
                    <a:lnTo>
                      <a:pt x="628" y="116"/>
                    </a:lnTo>
                    <a:lnTo>
                      <a:pt x="626" y="117"/>
                    </a:lnTo>
                    <a:lnTo>
                      <a:pt x="624" y="119"/>
                    </a:lnTo>
                    <a:lnTo>
                      <a:pt x="624" y="121"/>
                    </a:lnTo>
                    <a:lnTo>
                      <a:pt x="628" y="123"/>
                    </a:lnTo>
                    <a:lnTo>
                      <a:pt x="635" y="131"/>
                    </a:lnTo>
                    <a:lnTo>
                      <a:pt x="637" y="133"/>
                    </a:lnTo>
                    <a:lnTo>
                      <a:pt x="639" y="135"/>
                    </a:lnTo>
                    <a:lnTo>
                      <a:pt x="641" y="135"/>
                    </a:lnTo>
                    <a:lnTo>
                      <a:pt x="643" y="135"/>
                    </a:lnTo>
                    <a:lnTo>
                      <a:pt x="653" y="137"/>
                    </a:lnTo>
                    <a:lnTo>
                      <a:pt x="655" y="139"/>
                    </a:lnTo>
                    <a:lnTo>
                      <a:pt x="657" y="139"/>
                    </a:lnTo>
                    <a:lnTo>
                      <a:pt x="655" y="139"/>
                    </a:lnTo>
                    <a:lnTo>
                      <a:pt x="655" y="141"/>
                    </a:lnTo>
                    <a:lnTo>
                      <a:pt x="653" y="141"/>
                    </a:lnTo>
                    <a:lnTo>
                      <a:pt x="655" y="141"/>
                    </a:lnTo>
                    <a:lnTo>
                      <a:pt x="655" y="142"/>
                    </a:lnTo>
                    <a:lnTo>
                      <a:pt x="655" y="144"/>
                    </a:lnTo>
                    <a:lnTo>
                      <a:pt x="655" y="146"/>
                    </a:lnTo>
                    <a:lnTo>
                      <a:pt x="657" y="146"/>
                    </a:lnTo>
                    <a:lnTo>
                      <a:pt x="655" y="146"/>
                    </a:lnTo>
                    <a:lnTo>
                      <a:pt x="655" y="148"/>
                    </a:lnTo>
                    <a:lnTo>
                      <a:pt x="657" y="148"/>
                    </a:lnTo>
                    <a:lnTo>
                      <a:pt x="655" y="148"/>
                    </a:lnTo>
                    <a:lnTo>
                      <a:pt x="655" y="150"/>
                    </a:lnTo>
                    <a:lnTo>
                      <a:pt x="655" y="148"/>
                    </a:lnTo>
                    <a:lnTo>
                      <a:pt x="653" y="148"/>
                    </a:lnTo>
                    <a:lnTo>
                      <a:pt x="653" y="150"/>
                    </a:lnTo>
                    <a:lnTo>
                      <a:pt x="653" y="152"/>
                    </a:lnTo>
                    <a:lnTo>
                      <a:pt x="655" y="152"/>
                    </a:lnTo>
                    <a:lnTo>
                      <a:pt x="655" y="154"/>
                    </a:lnTo>
                    <a:lnTo>
                      <a:pt x="657" y="154"/>
                    </a:lnTo>
                    <a:lnTo>
                      <a:pt x="657" y="156"/>
                    </a:lnTo>
                    <a:lnTo>
                      <a:pt x="658" y="156"/>
                    </a:lnTo>
                    <a:lnTo>
                      <a:pt x="658" y="154"/>
                    </a:lnTo>
                    <a:lnTo>
                      <a:pt x="658" y="152"/>
                    </a:lnTo>
                    <a:lnTo>
                      <a:pt x="657" y="152"/>
                    </a:lnTo>
                    <a:lnTo>
                      <a:pt x="658" y="152"/>
                    </a:lnTo>
                    <a:lnTo>
                      <a:pt x="658" y="150"/>
                    </a:lnTo>
                    <a:lnTo>
                      <a:pt x="658" y="152"/>
                    </a:lnTo>
                    <a:lnTo>
                      <a:pt x="660" y="152"/>
                    </a:lnTo>
                    <a:lnTo>
                      <a:pt x="662" y="154"/>
                    </a:lnTo>
                    <a:lnTo>
                      <a:pt x="664" y="154"/>
                    </a:lnTo>
                    <a:lnTo>
                      <a:pt x="664" y="156"/>
                    </a:lnTo>
                    <a:lnTo>
                      <a:pt x="664" y="158"/>
                    </a:lnTo>
                    <a:lnTo>
                      <a:pt x="666" y="160"/>
                    </a:lnTo>
                    <a:lnTo>
                      <a:pt x="666" y="158"/>
                    </a:lnTo>
                    <a:lnTo>
                      <a:pt x="664" y="158"/>
                    </a:lnTo>
                    <a:lnTo>
                      <a:pt x="666" y="158"/>
                    </a:lnTo>
                    <a:lnTo>
                      <a:pt x="668" y="162"/>
                    </a:lnTo>
                    <a:lnTo>
                      <a:pt x="666" y="169"/>
                    </a:lnTo>
                    <a:lnTo>
                      <a:pt x="664" y="169"/>
                    </a:lnTo>
                    <a:lnTo>
                      <a:pt x="662" y="169"/>
                    </a:lnTo>
                    <a:lnTo>
                      <a:pt x="660" y="175"/>
                    </a:lnTo>
                    <a:lnTo>
                      <a:pt x="658" y="177"/>
                    </a:lnTo>
                    <a:lnTo>
                      <a:pt x="655" y="181"/>
                    </a:lnTo>
                    <a:lnTo>
                      <a:pt x="655" y="185"/>
                    </a:lnTo>
                    <a:lnTo>
                      <a:pt x="657" y="185"/>
                    </a:lnTo>
                    <a:lnTo>
                      <a:pt x="655" y="190"/>
                    </a:lnTo>
                    <a:lnTo>
                      <a:pt x="657" y="192"/>
                    </a:lnTo>
                    <a:lnTo>
                      <a:pt x="658" y="196"/>
                    </a:lnTo>
                    <a:lnTo>
                      <a:pt x="660" y="198"/>
                    </a:lnTo>
                    <a:lnTo>
                      <a:pt x="658" y="200"/>
                    </a:lnTo>
                    <a:lnTo>
                      <a:pt x="660" y="200"/>
                    </a:lnTo>
                    <a:lnTo>
                      <a:pt x="664" y="204"/>
                    </a:lnTo>
                    <a:lnTo>
                      <a:pt x="666" y="204"/>
                    </a:lnTo>
                    <a:lnTo>
                      <a:pt x="664" y="206"/>
                    </a:lnTo>
                    <a:lnTo>
                      <a:pt x="666" y="206"/>
                    </a:lnTo>
                    <a:lnTo>
                      <a:pt x="668" y="206"/>
                    </a:lnTo>
                    <a:lnTo>
                      <a:pt x="668" y="204"/>
                    </a:lnTo>
                    <a:lnTo>
                      <a:pt x="670" y="204"/>
                    </a:lnTo>
                    <a:lnTo>
                      <a:pt x="672" y="204"/>
                    </a:lnTo>
                    <a:lnTo>
                      <a:pt x="672" y="206"/>
                    </a:lnTo>
                    <a:lnTo>
                      <a:pt x="674" y="206"/>
                    </a:lnTo>
                    <a:lnTo>
                      <a:pt x="676" y="208"/>
                    </a:lnTo>
                    <a:lnTo>
                      <a:pt x="676" y="206"/>
                    </a:lnTo>
                    <a:lnTo>
                      <a:pt x="676" y="208"/>
                    </a:lnTo>
                    <a:lnTo>
                      <a:pt x="678" y="208"/>
                    </a:lnTo>
                    <a:lnTo>
                      <a:pt x="680" y="208"/>
                    </a:lnTo>
                    <a:lnTo>
                      <a:pt x="680" y="210"/>
                    </a:lnTo>
                    <a:lnTo>
                      <a:pt x="682" y="210"/>
                    </a:lnTo>
                    <a:lnTo>
                      <a:pt x="682" y="212"/>
                    </a:lnTo>
                    <a:lnTo>
                      <a:pt x="683" y="212"/>
                    </a:lnTo>
                    <a:lnTo>
                      <a:pt x="683" y="210"/>
                    </a:lnTo>
                    <a:lnTo>
                      <a:pt x="685" y="210"/>
                    </a:lnTo>
                    <a:lnTo>
                      <a:pt x="687" y="212"/>
                    </a:lnTo>
                    <a:lnTo>
                      <a:pt x="687" y="210"/>
                    </a:lnTo>
                    <a:lnTo>
                      <a:pt x="689" y="210"/>
                    </a:lnTo>
                    <a:lnTo>
                      <a:pt x="687" y="212"/>
                    </a:lnTo>
                    <a:lnTo>
                      <a:pt x="689" y="212"/>
                    </a:lnTo>
                    <a:lnTo>
                      <a:pt x="691" y="212"/>
                    </a:lnTo>
                    <a:lnTo>
                      <a:pt x="689" y="212"/>
                    </a:lnTo>
                    <a:lnTo>
                      <a:pt x="691" y="210"/>
                    </a:lnTo>
                    <a:lnTo>
                      <a:pt x="691" y="208"/>
                    </a:lnTo>
                    <a:lnTo>
                      <a:pt x="693" y="208"/>
                    </a:lnTo>
                    <a:lnTo>
                      <a:pt x="693" y="206"/>
                    </a:lnTo>
                    <a:lnTo>
                      <a:pt x="693" y="204"/>
                    </a:lnTo>
                    <a:lnTo>
                      <a:pt x="695" y="204"/>
                    </a:lnTo>
                    <a:lnTo>
                      <a:pt x="693" y="204"/>
                    </a:lnTo>
                    <a:lnTo>
                      <a:pt x="693" y="202"/>
                    </a:lnTo>
                    <a:lnTo>
                      <a:pt x="695" y="202"/>
                    </a:lnTo>
                    <a:lnTo>
                      <a:pt x="695" y="204"/>
                    </a:lnTo>
                    <a:lnTo>
                      <a:pt x="695" y="206"/>
                    </a:lnTo>
                    <a:lnTo>
                      <a:pt x="693" y="206"/>
                    </a:lnTo>
                    <a:lnTo>
                      <a:pt x="693" y="208"/>
                    </a:lnTo>
                    <a:lnTo>
                      <a:pt x="693" y="210"/>
                    </a:lnTo>
                    <a:lnTo>
                      <a:pt x="695" y="210"/>
                    </a:lnTo>
                    <a:lnTo>
                      <a:pt x="695" y="212"/>
                    </a:lnTo>
                    <a:lnTo>
                      <a:pt x="697" y="212"/>
                    </a:lnTo>
                    <a:lnTo>
                      <a:pt x="697" y="213"/>
                    </a:lnTo>
                    <a:lnTo>
                      <a:pt x="699" y="213"/>
                    </a:lnTo>
                    <a:lnTo>
                      <a:pt x="699" y="212"/>
                    </a:lnTo>
                    <a:lnTo>
                      <a:pt x="701" y="212"/>
                    </a:lnTo>
                    <a:lnTo>
                      <a:pt x="699" y="212"/>
                    </a:lnTo>
                    <a:lnTo>
                      <a:pt x="699" y="210"/>
                    </a:lnTo>
                    <a:lnTo>
                      <a:pt x="701" y="210"/>
                    </a:lnTo>
                    <a:lnTo>
                      <a:pt x="701" y="208"/>
                    </a:lnTo>
                    <a:lnTo>
                      <a:pt x="699" y="206"/>
                    </a:lnTo>
                    <a:lnTo>
                      <a:pt x="701" y="204"/>
                    </a:lnTo>
                    <a:lnTo>
                      <a:pt x="701" y="202"/>
                    </a:lnTo>
                    <a:lnTo>
                      <a:pt x="703" y="202"/>
                    </a:lnTo>
                    <a:lnTo>
                      <a:pt x="701" y="202"/>
                    </a:lnTo>
                    <a:lnTo>
                      <a:pt x="701" y="198"/>
                    </a:lnTo>
                    <a:lnTo>
                      <a:pt x="701" y="196"/>
                    </a:lnTo>
                    <a:lnTo>
                      <a:pt x="703" y="196"/>
                    </a:lnTo>
                    <a:lnTo>
                      <a:pt x="703" y="194"/>
                    </a:lnTo>
                    <a:lnTo>
                      <a:pt x="705" y="196"/>
                    </a:lnTo>
                    <a:lnTo>
                      <a:pt x="707" y="196"/>
                    </a:lnTo>
                    <a:lnTo>
                      <a:pt x="707" y="194"/>
                    </a:lnTo>
                    <a:lnTo>
                      <a:pt x="708" y="194"/>
                    </a:lnTo>
                    <a:lnTo>
                      <a:pt x="708" y="192"/>
                    </a:lnTo>
                    <a:lnTo>
                      <a:pt x="710" y="192"/>
                    </a:lnTo>
                    <a:lnTo>
                      <a:pt x="714" y="192"/>
                    </a:lnTo>
                    <a:lnTo>
                      <a:pt x="714" y="194"/>
                    </a:lnTo>
                    <a:lnTo>
                      <a:pt x="714" y="196"/>
                    </a:lnTo>
                    <a:lnTo>
                      <a:pt x="712" y="196"/>
                    </a:lnTo>
                    <a:lnTo>
                      <a:pt x="712" y="198"/>
                    </a:lnTo>
                    <a:lnTo>
                      <a:pt x="714" y="198"/>
                    </a:lnTo>
                    <a:lnTo>
                      <a:pt x="716" y="198"/>
                    </a:lnTo>
                    <a:lnTo>
                      <a:pt x="718" y="198"/>
                    </a:lnTo>
                    <a:lnTo>
                      <a:pt x="720" y="196"/>
                    </a:lnTo>
                    <a:lnTo>
                      <a:pt x="724" y="196"/>
                    </a:lnTo>
                    <a:lnTo>
                      <a:pt x="728" y="196"/>
                    </a:lnTo>
                    <a:lnTo>
                      <a:pt x="728" y="194"/>
                    </a:lnTo>
                    <a:lnTo>
                      <a:pt x="730" y="192"/>
                    </a:lnTo>
                    <a:lnTo>
                      <a:pt x="735" y="194"/>
                    </a:lnTo>
                    <a:lnTo>
                      <a:pt x="737" y="196"/>
                    </a:lnTo>
                    <a:lnTo>
                      <a:pt x="739" y="194"/>
                    </a:lnTo>
                    <a:lnTo>
                      <a:pt x="741" y="192"/>
                    </a:lnTo>
                    <a:lnTo>
                      <a:pt x="743" y="192"/>
                    </a:lnTo>
                    <a:lnTo>
                      <a:pt x="745" y="194"/>
                    </a:lnTo>
                    <a:lnTo>
                      <a:pt x="756" y="194"/>
                    </a:lnTo>
                    <a:lnTo>
                      <a:pt x="762" y="196"/>
                    </a:lnTo>
                    <a:lnTo>
                      <a:pt x="764" y="198"/>
                    </a:lnTo>
                    <a:lnTo>
                      <a:pt x="766" y="198"/>
                    </a:lnTo>
                    <a:lnTo>
                      <a:pt x="764" y="204"/>
                    </a:lnTo>
                    <a:lnTo>
                      <a:pt x="764" y="206"/>
                    </a:lnTo>
                    <a:lnTo>
                      <a:pt x="764" y="208"/>
                    </a:lnTo>
                    <a:lnTo>
                      <a:pt x="764" y="210"/>
                    </a:lnTo>
                    <a:lnTo>
                      <a:pt x="764" y="212"/>
                    </a:lnTo>
                    <a:lnTo>
                      <a:pt x="764" y="215"/>
                    </a:lnTo>
                    <a:lnTo>
                      <a:pt x="764" y="217"/>
                    </a:lnTo>
                    <a:lnTo>
                      <a:pt x="764" y="221"/>
                    </a:lnTo>
                    <a:lnTo>
                      <a:pt x="764" y="223"/>
                    </a:lnTo>
                    <a:lnTo>
                      <a:pt x="766" y="223"/>
                    </a:lnTo>
                    <a:lnTo>
                      <a:pt x="768" y="223"/>
                    </a:lnTo>
                    <a:lnTo>
                      <a:pt x="770" y="223"/>
                    </a:lnTo>
                    <a:lnTo>
                      <a:pt x="770" y="225"/>
                    </a:lnTo>
                    <a:lnTo>
                      <a:pt x="770" y="227"/>
                    </a:lnTo>
                    <a:lnTo>
                      <a:pt x="770" y="229"/>
                    </a:lnTo>
                    <a:lnTo>
                      <a:pt x="770" y="231"/>
                    </a:lnTo>
                    <a:lnTo>
                      <a:pt x="770" y="233"/>
                    </a:lnTo>
                    <a:lnTo>
                      <a:pt x="766" y="235"/>
                    </a:lnTo>
                    <a:lnTo>
                      <a:pt x="764" y="236"/>
                    </a:lnTo>
                    <a:lnTo>
                      <a:pt x="762" y="238"/>
                    </a:lnTo>
                    <a:lnTo>
                      <a:pt x="762" y="240"/>
                    </a:lnTo>
                    <a:lnTo>
                      <a:pt x="756" y="244"/>
                    </a:lnTo>
                    <a:lnTo>
                      <a:pt x="755" y="246"/>
                    </a:lnTo>
                    <a:lnTo>
                      <a:pt x="753" y="248"/>
                    </a:lnTo>
                    <a:lnTo>
                      <a:pt x="751" y="252"/>
                    </a:lnTo>
                    <a:lnTo>
                      <a:pt x="751" y="254"/>
                    </a:lnTo>
                    <a:lnTo>
                      <a:pt x="747" y="260"/>
                    </a:lnTo>
                    <a:lnTo>
                      <a:pt x="745" y="261"/>
                    </a:lnTo>
                    <a:lnTo>
                      <a:pt x="743" y="265"/>
                    </a:lnTo>
                    <a:lnTo>
                      <a:pt x="741" y="265"/>
                    </a:lnTo>
                    <a:lnTo>
                      <a:pt x="739" y="267"/>
                    </a:lnTo>
                    <a:lnTo>
                      <a:pt x="739" y="269"/>
                    </a:lnTo>
                    <a:lnTo>
                      <a:pt x="741" y="271"/>
                    </a:lnTo>
                    <a:lnTo>
                      <a:pt x="741" y="273"/>
                    </a:lnTo>
                    <a:lnTo>
                      <a:pt x="741" y="275"/>
                    </a:lnTo>
                    <a:lnTo>
                      <a:pt x="741" y="277"/>
                    </a:lnTo>
                    <a:lnTo>
                      <a:pt x="743" y="279"/>
                    </a:lnTo>
                    <a:lnTo>
                      <a:pt x="743" y="281"/>
                    </a:lnTo>
                    <a:lnTo>
                      <a:pt x="741" y="281"/>
                    </a:lnTo>
                    <a:lnTo>
                      <a:pt x="741" y="283"/>
                    </a:lnTo>
                    <a:lnTo>
                      <a:pt x="739" y="283"/>
                    </a:lnTo>
                    <a:lnTo>
                      <a:pt x="741" y="283"/>
                    </a:lnTo>
                    <a:lnTo>
                      <a:pt x="743" y="283"/>
                    </a:lnTo>
                    <a:lnTo>
                      <a:pt x="743" y="284"/>
                    </a:lnTo>
                    <a:lnTo>
                      <a:pt x="745" y="284"/>
                    </a:lnTo>
                    <a:lnTo>
                      <a:pt x="745" y="286"/>
                    </a:lnTo>
                    <a:lnTo>
                      <a:pt x="747" y="288"/>
                    </a:lnTo>
                    <a:lnTo>
                      <a:pt x="747" y="290"/>
                    </a:lnTo>
                    <a:lnTo>
                      <a:pt x="749" y="290"/>
                    </a:lnTo>
                    <a:lnTo>
                      <a:pt x="753" y="290"/>
                    </a:lnTo>
                    <a:lnTo>
                      <a:pt x="755" y="290"/>
                    </a:lnTo>
                    <a:lnTo>
                      <a:pt x="755" y="292"/>
                    </a:lnTo>
                    <a:lnTo>
                      <a:pt x="756" y="294"/>
                    </a:lnTo>
                    <a:lnTo>
                      <a:pt x="756" y="296"/>
                    </a:lnTo>
                    <a:lnTo>
                      <a:pt x="758" y="298"/>
                    </a:lnTo>
                    <a:lnTo>
                      <a:pt x="758" y="302"/>
                    </a:lnTo>
                    <a:lnTo>
                      <a:pt x="760" y="302"/>
                    </a:lnTo>
                    <a:lnTo>
                      <a:pt x="760" y="304"/>
                    </a:lnTo>
                    <a:lnTo>
                      <a:pt x="762" y="306"/>
                    </a:lnTo>
                    <a:lnTo>
                      <a:pt x="762" y="308"/>
                    </a:lnTo>
                    <a:lnTo>
                      <a:pt x="764" y="308"/>
                    </a:lnTo>
                    <a:lnTo>
                      <a:pt x="766" y="309"/>
                    </a:lnTo>
                    <a:lnTo>
                      <a:pt x="768" y="311"/>
                    </a:lnTo>
                    <a:lnTo>
                      <a:pt x="770" y="311"/>
                    </a:lnTo>
                    <a:lnTo>
                      <a:pt x="772" y="309"/>
                    </a:lnTo>
                    <a:lnTo>
                      <a:pt x="772" y="311"/>
                    </a:lnTo>
                    <a:lnTo>
                      <a:pt x="774" y="311"/>
                    </a:lnTo>
                    <a:lnTo>
                      <a:pt x="776" y="313"/>
                    </a:lnTo>
                    <a:lnTo>
                      <a:pt x="779" y="315"/>
                    </a:lnTo>
                    <a:lnTo>
                      <a:pt x="781" y="315"/>
                    </a:lnTo>
                    <a:lnTo>
                      <a:pt x="783" y="313"/>
                    </a:lnTo>
                    <a:lnTo>
                      <a:pt x="783" y="311"/>
                    </a:lnTo>
                    <a:lnTo>
                      <a:pt x="785" y="311"/>
                    </a:lnTo>
                    <a:lnTo>
                      <a:pt x="789" y="311"/>
                    </a:lnTo>
                    <a:lnTo>
                      <a:pt x="793" y="311"/>
                    </a:lnTo>
                    <a:lnTo>
                      <a:pt x="793" y="313"/>
                    </a:lnTo>
                    <a:lnTo>
                      <a:pt x="791" y="315"/>
                    </a:lnTo>
                    <a:lnTo>
                      <a:pt x="791" y="317"/>
                    </a:lnTo>
                    <a:lnTo>
                      <a:pt x="789" y="317"/>
                    </a:lnTo>
                    <a:lnTo>
                      <a:pt x="789" y="319"/>
                    </a:lnTo>
                    <a:lnTo>
                      <a:pt x="791" y="319"/>
                    </a:lnTo>
                    <a:lnTo>
                      <a:pt x="791" y="321"/>
                    </a:lnTo>
                    <a:lnTo>
                      <a:pt x="793" y="321"/>
                    </a:lnTo>
                    <a:lnTo>
                      <a:pt x="793" y="323"/>
                    </a:lnTo>
                    <a:lnTo>
                      <a:pt x="795" y="325"/>
                    </a:lnTo>
                    <a:lnTo>
                      <a:pt x="797" y="325"/>
                    </a:lnTo>
                    <a:lnTo>
                      <a:pt x="799" y="323"/>
                    </a:lnTo>
                    <a:lnTo>
                      <a:pt x="801" y="323"/>
                    </a:lnTo>
                    <a:lnTo>
                      <a:pt x="803" y="325"/>
                    </a:lnTo>
                    <a:lnTo>
                      <a:pt x="804" y="325"/>
                    </a:lnTo>
                    <a:lnTo>
                      <a:pt x="806" y="327"/>
                    </a:lnTo>
                    <a:lnTo>
                      <a:pt x="808" y="327"/>
                    </a:lnTo>
                    <a:lnTo>
                      <a:pt x="810" y="327"/>
                    </a:lnTo>
                    <a:lnTo>
                      <a:pt x="812" y="327"/>
                    </a:lnTo>
                    <a:lnTo>
                      <a:pt x="814" y="325"/>
                    </a:lnTo>
                    <a:lnTo>
                      <a:pt x="816" y="325"/>
                    </a:lnTo>
                    <a:lnTo>
                      <a:pt x="820" y="327"/>
                    </a:lnTo>
                    <a:lnTo>
                      <a:pt x="822" y="331"/>
                    </a:lnTo>
                    <a:lnTo>
                      <a:pt x="826" y="332"/>
                    </a:lnTo>
                    <a:lnTo>
                      <a:pt x="829" y="332"/>
                    </a:lnTo>
                    <a:lnTo>
                      <a:pt x="829" y="334"/>
                    </a:lnTo>
                    <a:lnTo>
                      <a:pt x="829" y="336"/>
                    </a:lnTo>
                    <a:lnTo>
                      <a:pt x="831" y="336"/>
                    </a:lnTo>
                    <a:lnTo>
                      <a:pt x="833" y="336"/>
                    </a:lnTo>
                    <a:lnTo>
                      <a:pt x="833" y="338"/>
                    </a:lnTo>
                    <a:lnTo>
                      <a:pt x="835" y="338"/>
                    </a:lnTo>
                    <a:lnTo>
                      <a:pt x="835" y="340"/>
                    </a:lnTo>
                    <a:lnTo>
                      <a:pt x="833" y="342"/>
                    </a:lnTo>
                    <a:lnTo>
                      <a:pt x="833" y="344"/>
                    </a:lnTo>
                    <a:lnTo>
                      <a:pt x="833" y="346"/>
                    </a:lnTo>
                    <a:lnTo>
                      <a:pt x="835" y="348"/>
                    </a:lnTo>
                    <a:lnTo>
                      <a:pt x="833" y="350"/>
                    </a:lnTo>
                    <a:lnTo>
                      <a:pt x="831" y="348"/>
                    </a:lnTo>
                    <a:lnTo>
                      <a:pt x="831" y="350"/>
                    </a:lnTo>
                    <a:lnTo>
                      <a:pt x="829" y="350"/>
                    </a:lnTo>
                    <a:lnTo>
                      <a:pt x="829" y="352"/>
                    </a:lnTo>
                    <a:lnTo>
                      <a:pt x="829" y="354"/>
                    </a:lnTo>
                    <a:lnTo>
                      <a:pt x="831" y="354"/>
                    </a:lnTo>
                    <a:lnTo>
                      <a:pt x="831" y="356"/>
                    </a:lnTo>
                    <a:lnTo>
                      <a:pt x="829" y="357"/>
                    </a:lnTo>
                    <a:lnTo>
                      <a:pt x="831" y="359"/>
                    </a:lnTo>
                    <a:lnTo>
                      <a:pt x="831" y="361"/>
                    </a:lnTo>
                    <a:lnTo>
                      <a:pt x="831" y="363"/>
                    </a:lnTo>
                    <a:lnTo>
                      <a:pt x="831" y="365"/>
                    </a:lnTo>
                    <a:lnTo>
                      <a:pt x="829" y="365"/>
                    </a:lnTo>
                    <a:lnTo>
                      <a:pt x="829" y="367"/>
                    </a:lnTo>
                    <a:lnTo>
                      <a:pt x="829" y="369"/>
                    </a:lnTo>
                    <a:lnTo>
                      <a:pt x="831" y="369"/>
                    </a:lnTo>
                    <a:lnTo>
                      <a:pt x="831" y="371"/>
                    </a:lnTo>
                    <a:lnTo>
                      <a:pt x="829" y="371"/>
                    </a:lnTo>
                    <a:lnTo>
                      <a:pt x="831" y="371"/>
                    </a:lnTo>
                    <a:lnTo>
                      <a:pt x="831" y="373"/>
                    </a:lnTo>
                    <a:lnTo>
                      <a:pt x="829" y="373"/>
                    </a:lnTo>
                    <a:lnTo>
                      <a:pt x="831" y="373"/>
                    </a:lnTo>
                    <a:lnTo>
                      <a:pt x="831" y="375"/>
                    </a:lnTo>
                    <a:lnTo>
                      <a:pt x="833" y="377"/>
                    </a:lnTo>
                    <a:lnTo>
                      <a:pt x="835" y="377"/>
                    </a:lnTo>
                    <a:lnTo>
                      <a:pt x="837" y="377"/>
                    </a:lnTo>
                    <a:lnTo>
                      <a:pt x="837" y="379"/>
                    </a:lnTo>
                    <a:lnTo>
                      <a:pt x="839" y="379"/>
                    </a:lnTo>
                    <a:lnTo>
                      <a:pt x="841" y="379"/>
                    </a:lnTo>
                    <a:lnTo>
                      <a:pt x="843" y="379"/>
                    </a:lnTo>
                    <a:lnTo>
                      <a:pt x="845" y="382"/>
                    </a:lnTo>
                    <a:lnTo>
                      <a:pt x="845" y="384"/>
                    </a:lnTo>
                    <a:lnTo>
                      <a:pt x="845" y="388"/>
                    </a:lnTo>
                    <a:lnTo>
                      <a:pt x="843" y="388"/>
                    </a:lnTo>
                    <a:lnTo>
                      <a:pt x="841" y="388"/>
                    </a:lnTo>
                    <a:lnTo>
                      <a:pt x="841" y="386"/>
                    </a:lnTo>
                    <a:lnTo>
                      <a:pt x="839" y="388"/>
                    </a:lnTo>
                    <a:lnTo>
                      <a:pt x="841" y="388"/>
                    </a:lnTo>
                    <a:lnTo>
                      <a:pt x="843" y="388"/>
                    </a:lnTo>
                    <a:lnTo>
                      <a:pt x="843" y="390"/>
                    </a:lnTo>
                    <a:lnTo>
                      <a:pt x="841" y="392"/>
                    </a:lnTo>
                    <a:lnTo>
                      <a:pt x="839" y="396"/>
                    </a:lnTo>
                    <a:lnTo>
                      <a:pt x="841" y="396"/>
                    </a:lnTo>
                    <a:lnTo>
                      <a:pt x="841" y="398"/>
                    </a:lnTo>
                    <a:lnTo>
                      <a:pt x="843" y="398"/>
                    </a:lnTo>
                    <a:lnTo>
                      <a:pt x="843" y="400"/>
                    </a:lnTo>
                    <a:lnTo>
                      <a:pt x="845" y="400"/>
                    </a:lnTo>
                    <a:lnTo>
                      <a:pt x="847" y="400"/>
                    </a:lnTo>
                    <a:lnTo>
                      <a:pt x="849" y="400"/>
                    </a:lnTo>
                    <a:lnTo>
                      <a:pt x="851" y="400"/>
                    </a:lnTo>
                    <a:lnTo>
                      <a:pt x="852" y="400"/>
                    </a:lnTo>
                    <a:lnTo>
                      <a:pt x="854" y="400"/>
                    </a:lnTo>
                    <a:lnTo>
                      <a:pt x="856" y="400"/>
                    </a:lnTo>
                    <a:lnTo>
                      <a:pt x="858" y="400"/>
                    </a:lnTo>
                    <a:lnTo>
                      <a:pt x="858" y="402"/>
                    </a:lnTo>
                    <a:lnTo>
                      <a:pt x="860" y="402"/>
                    </a:lnTo>
                    <a:lnTo>
                      <a:pt x="862" y="402"/>
                    </a:lnTo>
                    <a:lnTo>
                      <a:pt x="862" y="404"/>
                    </a:lnTo>
                    <a:lnTo>
                      <a:pt x="864" y="405"/>
                    </a:lnTo>
                    <a:lnTo>
                      <a:pt x="866" y="409"/>
                    </a:lnTo>
                    <a:lnTo>
                      <a:pt x="872" y="409"/>
                    </a:lnTo>
                    <a:lnTo>
                      <a:pt x="877" y="409"/>
                    </a:lnTo>
                    <a:lnTo>
                      <a:pt x="877" y="407"/>
                    </a:lnTo>
                    <a:lnTo>
                      <a:pt x="883" y="407"/>
                    </a:lnTo>
                    <a:lnTo>
                      <a:pt x="885" y="407"/>
                    </a:lnTo>
                    <a:lnTo>
                      <a:pt x="887" y="407"/>
                    </a:lnTo>
                    <a:lnTo>
                      <a:pt x="889" y="407"/>
                    </a:lnTo>
                    <a:lnTo>
                      <a:pt x="889" y="409"/>
                    </a:lnTo>
                    <a:lnTo>
                      <a:pt x="887" y="411"/>
                    </a:lnTo>
                    <a:lnTo>
                      <a:pt x="887" y="413"/>
                    </a:lnTo>
                    <a:lnTo>
                      <a:pt x="887" y="415"/>
                    </a:lnTo>
                    <a:lnTo>
                      <a:pt x="889" y="415"/>
                    </a:lnTo>
                    <a:lnTo>
                      <a:pt x="889" y="417"/>
                    </a:lnTo>
                    <a:lnTo>
                      <a:pt x="891" y="417"/>
                    </a:lnTo>
                    <a:lnTo>
                      <a:pt x="891" y="419"/>
                    </a:lnTo>
                    <a:lnTo>
                      <a:pt x="891" y="421"/>
                    </a:lnTo>
                    <a:lnTo>
                      <a:pt x="893" y="421"/>
                    </a:lnTo>
                    <a:lnTo>
                      <a:pt x="893" y="423"/>
                    </a:lnTo>
                    <a:lnTo>
                      <a:pt x="893" y="425"/>
                    </a:lnTo>
                    <a:lnTo>
                      <a:pt x="895" y="425"/>
                    </a:lnTo>
                    <a:lnTo>
                      <a:pt x="895" y="427"/>
                    </a:lnTo>
                    <a:lnTo>
                      <a:pt x="895" y="428"/>
                    </a:lnTo>
                    <a:lnTo>
                      <a:pt x="895" y="430"/>
                    </a:lnTo>
                    <a:lnTo>
                      <a:pt x="897" y="432"/>
                    </a:lnTo>
                    <a:lnTo>
                      <a:pt x="897" y="436"/>
                    </a:lnTo>
                    <a:lnTo>
                      <a:pt x="897" y="438"/>
                    </a:lnTo>
                    <a:lnTo>
                      <a:pt x="899" y="440"/>
                    </a:lnTo>
                    <a:lnTo>
                      <a:pt x="899" y="442"/>
                    </a:lnTo>
                    <a:lnTo>
                      <a:pt x="899" y="444"/>
                    </a:lnTo>
                    <a:lnTo>
                      <a:pt x="900" y="444"/>
                    </a:lnTo>
                    <a:lnTo>
                      <a:pt x="900" y="446"/>
                    </a:lnTo>
                    <a:lnTo>
                      <a:pt x="900" y="448"/>
                    </a:lnTo>
                    <a:lnTo>
                      <a:pt x="902" y="450"/>
                    </a:lnTo>
                    <a:lnTo>
                      <a:pt x="900" y="452"/>
                    </a:lnTo>
                    <a:lnTo>
                      <a:pt x="899" y="452"/>
                    </a:lnTo>
                    <a:lnTo>
                      <a:pt x="899" y="453"/>
                    </a:lnTo>
                    <a:lnTo>
                      <a:pt x="897" y="453"/>
                    </a:lnTo>
                    <a:lnTo>
                      <a:pt x="895" y="453"/>
                    </a:lnTo>
                    <a:lnTo>
                      <a:pt x="893" y="453"/>
                    </a:lnTo>
                    <a:lnTo>
                      <a:pt x="891" y="453"/>
                    </a:lnTo>
                    <a:lnTo>
                      <a:pt x="889" y="453"/>
                    </a:lnTo>
                    <a:lnTo>
                      <a:pt x="887" y="453"/>
                    </a:lnTo>
                    <a:lnTo>
                      <a:pt x="885" y="453"/>
                    </a:lnTo>
                    <a:lnTo>
                      <a:pt x="883" y="453"/>
                    </a:lnTo>
                    <a:lnTo>
                      <a:pt x="879" y="453"/>
                    </a:lnTo>
                    <a:lnTo>
                      <a:pt x="879" y="455"/>
                    </a:lnTo>
                    <a:lnTo>
                      <a:pt x="879" y="457"/>
                    </a:lnTo>
                    <a:lnTo>
                      <a:pt x="881" y="457"/>
                    </a:lnTo>
                    <a:lnTo>
                      <a:pt x="885" y="459"/>
                    </a:lnTo>
                    <a:lnTo>
                      <a:pt x="885" y="461"/>
                    </a:lnTo>
                    <a:lnTo>
                      <a:pt x="885" y="463"/>
                    </a:lnTo>
                    <a:lnTo>
                      <a:pt x="887" y="463"/>
                    </a:lnTo>
                    <a:lnTo>
                      <a:pt x="885" y="465"/>
                    </a:lnTo>
                    <a:lnTo>
                      <a:pt x="885" y="469"/>
                    </a:lnTo>
                    <a:lnTo>
                      <a:pt x="889" y="469"/>
                    </a:lnTo>
                    <a:lnTo>
                      <a:pt x="891" y="471"/>
                    </a:lnTo>
                    <a:lnTo>
                      <a:pt x="893" y="471"/>
                    </a:lnTo>
                    <a:lnTo>
                      <a:pt x="897" y="473"/>
                    </a:lnTo>
                    <a:lnTo>
                      <a:pt x="900" y="473"/>
                    </a:lnTo>
                    <a:lnTo>
                      <a:pt x="900" y="475"/>
                    </a:lnTo>
                    <a:lnTo>
                      <a:pt x="902" y="476"/>
                    </a:lnTo>
                    <a:lnTo>
                      <a:pt x="902" y="478"/>
                    </a:lnTo>
                    <a:lnTo>
                      <a:pt x="900" y="480"/>
                    </a:lnTo>
                    <a:lnTo>
                      <a:pt x="899" y="486"/>
                    </a:lnTo>
                    <a:lnTo>
                      <a:pt x="897" y="486"/>
                    </a:lnTo>
                    <a:lnTo>
                      <a:pt x="895" y="486"/>
                    </a:lnTo>
                    <a:lnTo>
                      <a:pt x="893" y="486"/>
                    </a:lnTo>
                    <a:lnTo>
                      <a:pt x="891" y="486"/>
                    </a:lnTo>
                    <a:lnTo>
                      <a:pt x="889" y="486"/>
                    </a:lnTo>
                    <a:lnTo>
                      <a:pt x="889" y="484"/>
                    </a:lnTo>
                    <a:lnTo>
                      <a:pt x="887" y="484"/>
                    </a:lnTo>
                    <a:lnTo>
                      <a:pt x="883" y="484"/>
                    </a:lnTo>
                    <a:lnTo>
                      <a:pt x="881" y="482"/>
                    </a:lnTo>
                    <a:lnTo>
                      <a:pt x="875" y="480"/>
                    </a:lnTo>
                    <a:lnTo>
                      <a:pt x="872" y="480"/>
                    </a:lnTo>
                    <a:lnTo>
                      <a:pt x="870" y="480"/>
                    </a:lnTo>
                    <a:lnTo>
                      <a:pt x="868" y="478"/>
                    </a:lnTo>
                    <a:lnTo>
                      <a:pt x="866" y="478"/>
                    </a:lnTo>
                    <a:lnTo>
                      <a:pt x="864" y="478"/>
                    </a:lnTo>
                    <a:lnTo>
                      <a:pt x="862" y="478"/>
                    </a:lnTo>
                    <a:lnTo>
                      <a:pt x="860" y="476"/>
                    </a:lnTo>
                    <a:lnTo>
                      <a:pt x="858" y="476"/>
                    </a:lnTo>
                    <a:lnTo>
                      <a:pt x="858" y="480"/>
                    </a:lnTo>
                    <a:lnTo>
                      <a:pt x="858" y="482"/>
                    </a:lnTo>
                    <a:lnTo>
                      <a:pt x="856" y="482"/>
                    </a:lnTo>
                    <a:lnTo>
                      <a:pt x="856" y="486"/>
                    </a:lnTo>
                    <a:lnTo>
                      <a:pt x="854" y="490"/>
                    </a:lnTo>
                    <a:lnTo>
                      <a:pt x="854" y="492"/>
                    </a:lnTo>
                    <a:lnTo>
                      <a:pt x="854" y="496"/>
                    </a:lnTo>
                    <a:lnTo>
                      <a:pt x="852" y="498"/>
                    </a:lnTo>
                    <a:lnTo>
                      <a:pt x="854" y="498"/>
                    </a:lnTo>
                    <a:lnTo>
                      <a:pt x="858" y="498"/>
                    </a:lnTo>
                    <a:lnTo>
                      <a:pt x="862" y="500"/>
                    </a:lnTo>
                    <a:lnTo>
                      <a:pt x="864" y="501"/>
                    </a:lnTo>
                    <a:lnTo>
                      <a:pt x="866" y="501"/>
                    </a:lnTo>
                    <a:lnTo>
                      <a:pt x="866" y="503"/>
                    </a:lnTo>
                    <a:lnTo>
                      <a:pt x="862" y="513"/>
                    </a:lnTo>
                    <a:lnTo>
                      <a:pt x="862" y="515"/>
                    </a:lnTo>
                    <a:lnTo>
                      <a:pt x="862" y="519"/>
                    </a:lnTo>
                    <a:lnTo>
                      <a:pt x="868" y="521"/>
                    </a:lnTo>
                    <a:lnTo>
                      <a:pt x="870" y="523"/>
                    </a:lnTo>
                    <a:lnTo>
                      <a:pt x="868" y="523"/>
                    </a:lnTo>
                    <a:lnTo>
                      <a:pt x="868" y="524"/>
                    </a:lnTo>
                    <a:lnTo>
                      <a:pt x="866" y="526"/>
                    </a:lnTo>
                    <a:lnTo>
                      <a:pt x="862" y="528"/>
                    </a:lnTo>
                    <a:lnTo>
                      <a:pt x="862" y="530"/>
                    </a:lnTo>
                    <a:lnTo>
                      <a:pt x="860" y="532"/>
                    </a:lnTo>
                    <a:lnTo>
                      <a:pt x="860" y="534"/>
                    </a:lnTo>
                    <a:lnTo>
                      <a:pt x="858" y="534"/>
                    </a:lnTo>
                    <a:lnTo>
                      <a:pt x="858" y="536"/>
                    </a:lnTo>
                    <a:lnTo>
                      <a:pt x="856" y="536"/>
                    </a:lnTo>
                    <a:lnTo>
                      <a:pt x="851" y="542"/>
                    </a:lnTo>
                    <a:lnTo>
                      <a:pt x="851" y="544"/>
                    </a:lnTo>
                    <a:lnTo>
                      <a:pt x="849" y="546"/>
                    </a:lnTo>
                    <a:lnTo>
                      <a:pt x="847" y="548"/>
                    </a:lnTo>
                    <a:lnTo>
                      <a:pt x="845" y="549"/>
                    </a:lnTo>
                    <a:lnTo>
                      <a:pt x="841" y="553"/>
                    </a:lnTo>
                    <a:lnTo>
                      <a:pt x="843" y="565"/>
                    </a:lnTo>
                    <a:lnTo>
                      <a:pt x="841" y="565"/>
                    </a:lnTo>
                    <a:lnTo>
                      <a:pt x="839" y="565"/>
                    </a:lnTo>
                    <a:lnTo>
                      <a:pt x="841" y="565"/>
                    </a:lnTo>
                    <a:lnTo>
                      <a:pt x="841" y="567"/>
                    </a:lnTo>
                    <a:lnTo>
                      <a:pt x="839" y="567"/>
                    </a:lnTo>
                    <a:lnTo>
                      <a:pt x="839" y="569"/>
                    </a:lnTo>
                    <a:lnTo>
                      <a:pt x="839" y="571"/>
                    </a:lnTo>
                    <a:lnTo>
                      <a:pt x="837" y="571"/>
                    </a:lnTo>
                    <a:lnTo>
                      <a:pt x="835" y="571"/>
                    </a:lnTo>
                    <a:lnTo>
                      <a:pt x="833" y="569"/>
                    </a:lnTo>
                    <a:lnTo>
                      <a:pt x="835" y="567"/>
                    </a:lnTo>
                    <a:lnTo>
                      <a:pt x="833" y="565"/>
                    </a:lnTo>
                    <a:lnTo>
                      <a:pt x="831" y="563"/>
                    </a:lnTo>
                    <a:lnTo>
                      <a:pt x="829" y="563"/>
                    </a:lnTo>
                    <a:lnTo>
                      <a:pt x="827" y="563"/>
                    </a:lnTo>
                    <a:lnTo>
                      <a:pt x="824" y="561"/>
                    </a:lnTo>
                    <a:lnTo>
                      <a:pt x="822" y="561"/>
                    </a:lnTo>
                    <a:lnTo>
                      <a:pt x="822" y="563"/>
                    </a:lnTo>
                    <a:lnTo>
                      <a:pt x="816" y="563"/>
                    </a:lnTo>
                    <a:lnTo>
                      <a:pt x="814" y="563"/>
                    </a:lnTo>
                    <a:lnTo>
                      <a:pt x="812" y="563"/>
                    </a:lnTo>
                    <a:lnTo>
                      <a:pt x="810" y="561"/>
                    </a:lnTo>
                    <a:lnTo>
                      <a:pt x="808" y="561"/>
                    </a:lnTo>
                    <a:lnTo>
                      <a:pt x="806" y="561"/>
                    </a:lnTo>
                    <a:lnTo>
                      <a:pt x="803" y="559"/>
                    </a:lnTo>
                    <a:lnTo>
                      <a:pt x="801" y="559"/>
                    </a:lnTo>
                    <a:lnTo>
                      <a:pt x="799" y="559"/>
                    </a:lnTo>
                    <a:lnTo>
                      <a:pt x="797" y="559"/>
                    </a:lnTo>
                    <a:lnTo>
                      <a:pt x="795" y="559"/>
                    </a:lnTo>
                    <a:lnTo>
                      <a:pt x="793" y="559"/>
                    </a:lnTo>
                    <a:lnTo>
                      <a:pt x="791" y="559"/>
                    </a:lnTo>
                    <a:lnTo>
                      <a:pt x="789" y="559"/>
                    </a:lnTo>
                    <a:lnTo>
                      <a:pt x="787" y="559"/>
                    </a:lnTo>
                    <a:lnTo>
                      <a:pt x="787" y="557"/>
                    </a:lnTo>
                    <a:lnTo>
                      <a:pt x="785" y="557"/>
                    </a:lnTo>
                    <a:lnTo>
                      <a:pt x="785" y="555"/>
                    </a:lnTo>
                    <a:lnTo>
                      <a:pt x="785" y="553"/>
                    </a:lnTo>
                    <a:lnTo>
                      <a:pt x="785" y="551"/>
                    </a:lnTo>
                    <a:lnTo>
                      <a:pt x="783" y="549"/>
                    </a:lnTo>
                    <a:lnTo>
                      <a:pt x="779" y="548"/>
                    </a:lnTo>
                    <a:lnTo>
                      <a:pt x="778" y="548"/>
                    </a:lnTo>
                    <a:lnTo>
                      <a:pt x="774" y="546"/>
                    </a:lnTo>
                    <a:lnTo>
                      <a:pt x="772" y="548"/>
                    </a:lnTo>
                    <a:lnTo>
                      <a:pt x="770" y="548"/>
                    </a:lnTo>
                    <a:lnTo>
                      <a:pt x="770" y="549"/>
                    </a:lnTo>
                    <a:lnTo>
                      <a:pt x="768" y="549"/>
                    </a:lnTo>
                    <a:lnTo>
                      <a:pt x="770" y="551"/>
                    </a:lnTo>
                    <a:lnTo>
                      <a:pt x="770" y="553"/>
                    </a:lnTo>
                    <a:lnTo>
                      <a:pt x="768" y="553"/>
                    </a:lnTo>
                    <a:lnTo>
                      <a:pt x="768" y="555"/>
                    </a:lnTo>
                    <a:lnTo>
                      <a:pt x="766" y="557"/>
                    </a:lnTo>
                    <a:lnTo>
                      <a:pt x="764" y="557"/>
                    </a:lnTo>
                    <a:lnTo>
                      <a:pt x="764" y="559"/>
                    </a:lnTo>
                    <a:lnTo>
                      <a:pt x="764" y="561"/>
                    </a:lnTo>
                    <a:lnTo>
                      <a:pt x="762" y="563"/>
                    </a:lnTo>
                    <a:lnTo>
                      <a:pt x="762" y="565"/>
                    </a:lnTo>
                    <a:lnTo>
                      <a:pt x="760" y="569"/>
                    </a:lnTo>
                    <a:lnTo>
                      <a:pt x="760" y="571"/>
                    </a:lnTo>
                    <a:lnTo>
                      <a:pt x="758" y="572"/>
                    </a:lnTo>
                    <a:lnTo>
                      <a:pt x="758" y="574"/>
                    </a:lnTo>
                    <a:lnTo>
                      <a:pt x="756" y="576"/>
                    </a:lnTo>
                    <a:lnTo>
                      <a:pt x="756" y="578"/>
                    </a:lnTo>
                    <a:lnTo>
                      <a:pt x="756" y="582"/>
                    </a:lnTo>
                    <a:lnTo>
                      <a:pt x="758" y="584"/>
                    </a:lnTo>
                    <a:lnTo>
                      <a:pt x="758" y="586"/>
                    </a:lnTo>
                    <a:lnTo>
                      <a:pt x="758" y="588"/>
                    </a:lnTo>
                    <a:lnTo>
                      <a:pt x="758" y="590"/>
                    </a:lnTo>
                    <a:lnTo>
                      <a:pt x="760" y="594"/>
                    </a:lnTo>
                    <a:lnTo>
                      <a:pt x="760" y="596"/>
                    </a:lnTo>
                    <a:lnTo>
                      <a:pt x="760" y="599"/>
                    </a:lnTo>
                    <a:lnTo>
                      <a:pt x="762" y="603"/>
                    </a:lnTo>
                    <a:lnTo>
                      <a:pt x="762" y="607"/>
                    </a:lnTo>
                    <a:lnTo>
                      <a:pt x="762" y="611"/>
                    </a:lnTo>
                    <a:lnTo>
                      <a:pt x="764" y="615"/>
                    </a:lnTo>
                    <a:lnTo>
                      <a:pt x="764" y="617"/>
                    </a:lnTo>
                    <a:lnTo>
                      <a:pt x="764" y="619"/>
                    </a:lnTo>
                    <a:lnTo>
                      <a:pt x="764" y="620"/>
                    </a:lnTo>
                    <a:lnTo>
                      <a:pt x="762" y="620"/>
                    </a:lnTo>
                    <a:lnTo>
                      <a:pt x="764" y="620"/>
                    </a:lnTo>
                    <a:lnTo>
                      <a:pt x="764" y="619"/>
                    </a:lnTo>
                    <a:lnTo>
                      <a:pt x="762" y="619"/>
                    </a:lnTo>
                    <a:lnTo>
                      <a:pt x="762" y="617"/>
                    </a:lnTo>
                    <a:lnTo>
                      <a:pt x="760" y="615"/>
                    </a:lnTo>
                    <a:lnTo>
                      <a:pt x="760" y="617"/>
                    </a:lnTo>
                    <a:lnTo>
                      <a:pt x="758" y="615"/>
                    </a:lnTo>
                    <a:lnTo>
                      <a:pt x="758" y="613"/>
                    </a:lnTo>
                    <a:lnTo>
                      <a:pt x="756" y="613"/>
                    </a:lnTo>
                    <a:lnTo>
                      <a:pt x="755" y="609"/>
                    </a:lnTo>
                    <a:lnTo>
                      <a:pt x="755" y="607"/>
                    </a:lnTo>
                    <a:lnTo>
                      <a:pt x="753" y="607"/>
                    </a:lnTo>
                    <a:lnTo>
                      <a:pt x="751" y="607"/>
                    </a:lnTo>
                    <a:lnTo>
                      <a:pt x="751" y="605"/>
                    </a:lnTo>
                    <a:lnTo>
                      <a:pt x="751" y="603"/>
                    </a:lnTo>
                    <a:lnTo>
                      <a:pt x="751" y="605"/>
                    </a:lnTo>
                    <a:lnTo>
                      <a:pt x="749" y="605"/>
                    </a:lnTo>
                    <a:lnTo>
                      <a:pt x="749" y="603"/>
                    </a:lnTo>
                    <a:lnTo>
                      <a:pt x="749" y="601"/>
                    </a:lnTo>
                    <a:lnTo>
                      <a:pt x="749" y="603"/>
                    </a:lnTo>
                    <a:lnTo>
                      <a:pt x="747" y="603"/>
                    </a:lnTo>
                    <a:lnTo>
                      <a:pt x="747" y="601"/>
                    </a:lnTo>
                    <a:lnTo>
                      <a:pt x="747" y="603"/>
                    </a:lnTo>
                    <a:lnTo>
                      <a:pt x="747" y="601"/>
                    </a:lnTo>
                    <a:lnTo>
                      <a:pt x="745" y="605"/>
                    </a:lnTo>
                    <a:lnTo>
                      <a:pt x="743" y="607"/>
                    </a:lnTo>
                    <a:lnTo>
                      <a:pt x="741" y="605"/>
                    </a:lnTo>
                    <a:lnTo>
                      <a:pt x="739" y="605"/>
                    </a:lnTo>
                    <a:lnTo>
                      <a:pt x="739" y="607"/>
                    </a:lnTo>
                    <a:lnTo>
                      <a:pt x="739" y="609"/>
                    </a:lnTo>
                    <a:lnTo>
                      <a:pt x="739" y="611"/>
                    </a:lnTo>
                    <a:lnTo>
                      <a:pt x="739" y="613"/>
                    </a:lnTo>
                    <a:lnTo>
                      <a:pt x="737" y="615"/>
                    </a:lnTo>
                    <a:lnTo>
                      <a:pt x="737" y="617"/>
                    </a:lnTo>
                    <a:lnTo>
                      <a:pt x="735" y="617"/>
                    </a:lnTo>
                    <a:lnTo>
                      <a:pt x="735" y="619"/>
                    </a:lnTo>
                    <a:lnTo>
                      <a:pt x="735" y="617"/>
                    </a:lnTo>
                    <a:lnTo>
                      <a:pt x="733" y="617"/>
                    </a:lnTo>
                    <a:lnTo>
                      <a:pt x="733" y="619"/>
                    </a:lnTo>
                    <a:lnTo>
                      <a:pt x="731" y="619"/>
                    </a:lnTo>
                    <a:lnTo>
                      <a:pt x="730" y="619"/>
                    </a:lnTo>
                    <a:lnTo>
                      <a:pt x="730" y="617"/>
                    </a:lnTo>
                    <a:lnTo>
                      <a:pt x="726" y="615"/>
                    </a:lnTo>
                    <a:lnTo>
                      <a:pt x="724" y="615"/>
                    </a:lnTo>
                    <a:lnTo>
                      <a:pt x="724" y="613"/>
                    </a:lnTo>
                    <a:lnTo>
                      <a:pt x="724" y="611"/>
                    </a:lnTo>
                    <a:lnTo>
                      <a:pt x="726" y="611"/>
                    </a:lnTo>
                    <a:lnTo>
                      <a:pt x="728" y="611"/>
                    </a:lnTo>
                    <a:lnTo>
                      <a:pt x="730" y="611"/>
                    </a:lnTo>
                    <a:lnTo>
                      <a:pt x="731" y="611"/>
                    </a:lnTo>
                    <a:lnTo>
                      <a:pt x="733" y="611"/>
                    </a:lnTo>
                    <a:lnTo>
                      <a:pt x="733" y="609"/>
                    </a:lnTo>
                    <a:lnTo>
                      <a:pt x="733" y="607"/>
                    </a:lnTo>
                    <a:lnTo>
                      <a:pt x="731" y="607"/>
                    </a:lnTo>
                    <a:lnTo>
                      <a:pt x="730" y="607"/>
                    </a:lnTo>
                    <a:lnTo>
                      <a:pt x="728" y="607"/>
                    </a:lnTo>
                    <a:lnTo>
                      <a:pt x="726" y="605"/>
                    </a:lnTo>
                    <a:lnTo>
                      <a:pt x="724" y="605"/>
                    </a:lnTo>
                    <a:lnTo>
                      <a:pt x="722" y="605"/>
                    </a:lnTo>
                    <a:lnTo>
                      <a:pt x="722" y="603"/>
                    </a:lnTo>
                    <a:lnTo>
                      <a:pt x="722" y="601"/>
                    </a:lnTo>
                    <a:lnTo>
                      <a:pt x="720" y="601"/>
                    </a:lnTo>
                    <a:lnTo>
                      <a:pt x="718" y="601"/>
                    </a:lnTo>
                    <a:lnTo>
                      <a:pt x="716" y="601"/>
                    </a:lnTo>
                    <a:lnTo>
                      <a:pt x="714" y="601"/>
                    </a:lnTo>
                    <a:lnTo>
                      <a:pt x="712" y="601"/>
                    </a:lnTo>
                    <a:lnTo>
                      <a:pt x="712" y="603"/>
                    </a:lnTo>
                    <a:lnTo>
                      <a:pt x="712" y="601"/>
                    </a:lnTo>
                    <a:lnTo>
                      <a:pt x="710" y="603"/>
                    </a:lnTo>
                    <a:lnTo>
                      <a:pt x="710" y="605"/>
                    </a:lnTo>
                    <a:lnTo>
                      <a:pt x="712" y="605"/>
                    </a:lnTo>
                    <a:lnTo>
                      <a:pt x="712" y="607"/>
                    </a:lnTo>
                    <a:lnTo>
                      <a:pt x="710" y="607"/>
                    </a:lnTo>
                    <a:lnTo>
                      <a:pt x="712" y="607"/>
                    </a:lnTo>
                    <a:lnTo>
                      <a:pt x="712" y="609"/>
                    </a:lnTo>
                    <a:lnTo>
                      <a:pt x="710" y="609"/>
                    </a:lnTo>
                    <a:lnTo>
                      <a:pt x="708" y="609"/>
                    </a:lnTo>
                    <a:lnTo>
                      <a:pt x="710" y="609"/>
                    </a:lnTo>
                    <a:lnTo>
                      <a:pt x="708" y="609"/>
                    </a:lnTo>
                    <a:lnTo>
                      <a:pt x="708" y="611"/>
                    </a:lnTo>
                    <a:lnTo>
                      <a:pt x="707" y="611"/>
                    </a:lnTo>
                    <a:lnTo>
                      <a:pt x="707" y="609"/>
                    </a:lnTo>
                    <a:lnTo>
                      <a:pt x="707" y="607"/>
                    </a:lnTo>
                    <a:lnTo>
                      <a:pt x="708" y="607"/>
                    </a:lnTo>
                    <a:lnTo>
                      <a:pt x="707" y="607"/>
                    </a:lnTo>
                    <a:lnTo>
                      <a:pt x="707" y="609"/>
                    </a:lnTo>
                    <a:lnTo>
                      <a:pt x="707" y="607"/>
                    </a:lnTo>
                    <a:lnTo>
                      <a:pt x="707" y="605"/>
                    </a:lnTo>
                    <a:lnTo>
                      <a:pt x="705" y="605"/>
                    </a:lnTo>
                    <a:lnTo>
                      <a:pt x="705" y="607"/>
                    </a:lnTo>
                    <a:lnTo>
                      <a:pt x="705" y="605"/>
                    </a:lnTo>
                    <a:lnTo>
                      <a:pt x="705" y="607"/>
                    </a:lnTo>
                    <a:lnTo>
                      <a:pt x="703" y="607"/>
                    </a:lnTo>
                    <a:lnTo>
                      <a:pt x="701" y="607"/>
                    </a:lnTo>
                    <a:lnTo>
                      <a:pt x="701" y="605"/>
                    </a:lnTo>
                    <a:lnTo>
                      <a:pt x="701" y="607"/>
                    </a:lnTo>
                    <a:lnTo>
                      <a:pt x="699" y="607"/>
                    </a:lnTo>
                    <a:lnTo>
                      <a:pt x="699" y="609"/>
                    </a:lnTo>
                    <a:lnTo>
                      <a:pt x="697" y="609"/>
                    </a:lnTo>
                    <a:lnTo>
                      <a:pt x="697" y="607"/>
                    </a:lnTo>
                    <a:lnTo>
                      <a:pt x="697" y="609"/>
                    </a:lnTo>
                    <a:lnTo>
                      <a:pt x="699" y="609"/>
                    </a:lnTo>
                    <a:lnTo>
                      <a:pt x="697" y="609"/>
                    </a:lnTo>
                    <a:lnTo>
                      <a:pt x="695" y="609"/>
                    </a:lnTo>
                    <a:lnTo>
                      <a:pt x="693" y="609"/>
                    </a:lnTo>
                    <a:lnTo>
                      <a:pt x="693" y="611"/>
                    </a:lnTo>
                    <a:lnTo>
                      <a:pt x="693" y="613"/>
                    </a:lnTo>
                    <a:lnTo>
                      <a:pt x="695" y="613"/>
                    </a:lnTo>
                    <a:lnTo>
                      <a:pt x="695" y="615"/>
                    </a:lnTo>
                    <a:lnTo>
                      <a:pt x="695" y="617"/>
                    </a:lnTo>
                    <a:lnTo>
                      <a:pt x="695" y="619"/>
                    </a:lnTo>
                    <a:lnTo>
                      <a:pt x="695" y="620"/>
                    </a:lnTo>
                    <a:lnTo>
                      <a:pt x="693" y="620"/>
                    </a:lnTo>
                    <a:lnTo>
                      <a:pt x="691" y="619"/>
                    </a:lnTo>
                    <a:lnTo>
                      <a:pt x="691" y="620"/>
                    </a:lnTo>
                    <a:lnTo>
                      <a:pt x="689" y="620"/>
                    </a:lnTo>
                    <a:lnTo>
                      <a:pt x="689" y="619"/>
                    </a:lnTo>
                    <a:lnTo>
                      <a:pt x="687" y="619"/>
                    </a:lnTo>
                    <a:lnTo>
                      <a:pt x="687" y="620"/>
                    </a:lnTo>
                    <a:lnTo>
                      <a:pt x="685" y="620"/>
                    </a:lnTo>
                    <a:lnTo>
                      <a:pt x="685" y="622"/>
                    </a:lnTo>
                    <a:lnTo>
                      <a:pt x="683" y="622"/>
                    </a:lnTo>
                    <a:lnTo>
                      <a:pt x="682" y="622"/>
                    </a:lnTo>
                    <a:lnTo>
                      <a:pt x="682" y="624"/>
                    </a:lnTo>
                    <a:lnTo>
                      <a:pt x="680" y="624"/>
                    </a:lnTo>
                    <a:lnTo>
                      <a:pt x="678" y="624"/>
                    </a:lnTo>
                    <a:lnTo>
                      <a:pt x="676" y="624"/>
                    </a:lnTo>
                    <a:lnTo>
                      <a:pt x="676" y="622"/>
                    </a:lnTo>
                    <a:lnTo>
                      <a:pt x="674" y="622"/>
                    </a:lnTo>
                    <a:lnTo>
                      <a:pt x="672" y="624"/>
                    </a:lnTo>
                    <a:lnTo>
                      <a:pt x="672" y="626"/>
                    </a:lnTo>
                    <a:lnTo>
                      <a:pt x="672" y="628"/>
                    </a:lnTo>
                    <a:lnTo>
                      <a:pt x="666" y="628"/>
                    </a:lnTo>
                    <a:lnTo>
                      <a:pt x="666" y="626"/>
                    </a:lnTo>
                    <a:lnTo>
                      <a:pt x="664" y="626"/>
                    </a:lnTo>
                    <a:lnTo>
                      <a:pt x="662" y="626"/>
                    </a:lnTo>
                    <a:lnTo>
                      <a:pt x="662" y="624"/>
                    </a:lnTo>
                    <a:lnTo>
                      <a:pt x="662" y="622"/>
                    </a:lnTo>
                    <a:lnTo>
                      <a:pt x="662" y="624"/>
                    </a:lnTo>
                    <a:lnTo>
                      <a:pt x="660" y="624"/>
                    </a:lnTo>
                    <a:lnTo>
                      <a:pt x="662" y="624"/>
                    </a:lnTo>
                    <a:lnTo>
                      <a:pt x="660" y="624"/>
                    </a:lnTo>
                    <a:lnTo>
                      <a:pt x="658" y="624"/>
                    </a:lnTo>
                    <a:lnTo>
                      <a:pt x="658" y="626"/>
                    </a:lnTo>
                    <a:lnTo>
                      <a:pt x="658" y="624"/>
                    </a:lnTo>
                    <a:lnTo>
                      <a:pt x="657" y="624"/>
                    </a:lnTo>
                    <a:lnTo>
                      <a:pt x="658" y="626"/>
                    </a:lnTo>
                    <a:lnTo>
                      <a:pt x="657" y="626"/>
                    </a:lnTo>
                    <a:lnTo>
                      <a:pt x="655" y="626"/>
                    </a:lnTo>
                    <a:lnTo>
                      <a:pt x="655" y="628"/>
                    </a:lnTo>
                    <a:lnTo>
                      <a:pt x="653" y="628"/>
                    </a:lnTo>
                    <a:lnTo>
                      <a:pt x="651" y="630"/>
                    </a:lnTo>
                    <a:lnTo>
                      <a:pt x="649" y="630"/>
                    </a:lnTo>
                    <a:lnTo>
                      <a:pt x="649" y="632"/>
                    </a:lnTo>
                    <a:lnTo>
                      <a:pt x="647" y="632"/>
                    </a:lnTo>
                    <a:lnTo>
                      <a:pt x="649" y="630"/>
                    </a:lnTo>
                    <a:lnTo>
                      <a:pt x="647" y="630"/>
                    </a:lnTo>
                    <a:lnTo>
                      <a:pt x="645" y="630"/>
                    </a:lnTo>
                    <a:lnTo>
                      <a:pt x="645" y="632"/>
                    </a:lnTo>
                    <a:lnTo>
                      <a:pt x="647" y="634"/>
                    </a:lnTo>
                    <a:lnTo>
                      <a:pt x="645" y="634"/>
                    </a:lnTo>
                    <a:lnTo>
                      <a:pt x="645" y="636"/>
                    </a:lnTo>
                    <a:lnTo>
                      <a:pt x="645" y="638"/>
                    </a:lnTo>
                    <a:lnTo>
                      <a:pt x="647" y="638"/>
                    </a:lnTo>
                    <a:lnTo>
                      <a:pt x="645" y="638"/>
                    </a:lnTo>
                    <a:lnTo>
                      <a:pt x="643" y="638"/>
                    </a:lnTo>
                    <a:lnTo>
                      <a:pt x="641" y="638"/>
                    </a:lnTo>
                    <a:lnTo>
                      <a:pt x="641" y="636"/>
                    </a:lnTo>
                    <a:lnTo>
                      <a:pt x="641" y="638"/>
                    </a:lnTo>
                    <a:lnTo>
                      <a:pt x="641" y="640"/>
                    </a:lnTo>
                    <a:lnTo>
                      <a:pt x="639" y="640"/>
                    </a:lnTo>
                    <a:lnTo>
                      <a:pt x="639" y="642"/>
                    </a:lnTo>
                    <a:lnTo>
                      <a:pt x="641" y="642"/>
                    </a:lnTo>
                    <a:lnTo>
                      <a:pt x="639" y="642"/>
                    </a:lnTo>
                    <a:lnTo>
                      <a:pt x="639" y="644"/>
                    </a:lnTo>
                    <a:lnTo>
                      <a:pt x="637" y="645"/>
                    </a:lnTo>
                    <a:lnTo>
                      <a:pt x="639" y="647"/>
                    </a:lnTo>
                    <a:lnTo>
                      <a:pt x="639" y="649"/>
                    </a:lnTo>
                    <a:lnTo>
                      <a:pt x="639" y="651"/>
                    </a:lnTo>
                    <a:lnTo>
                      <a:pt x="637" y="653"/>
                    </a:lnTo>
                    <a:lnTo>
                      <a:pt x="635" y="653"/>
                    </a:lnTo>
                    <a:lnTo>
                      <a:pt x="634" y="653"/>
                    </a:lnTo>
                    <a:lnTo>
                      <a:pt x="632" y="653"/>
                    </a:lnTo>
                    <a:lnTo>
                      <a:pt x="630" y="653"/>
                    </a:lnTo>
                    <a:lnTo>
                      <a:pt x="630" y="651"/>
                    </a:lnTo>
                    <a:lnTo>
                      <a:pt x="628" y="651"/>
                    </a:lnTo>
                    <a:lnTo>
                      <a:pt x="628" y="649"/>
                    </a:lnTo>
                    <a:lnTo>
                      <a:pt x="626" y="647"/>
                    </a:lnTo>
                    <a:lnTo>
                      <a:pt x="624" y="645"/>
                    </a:lnTo>
                    <a:lnTo>
                      <a:pt x="622" y="647"/>
                    </a:lnTo>
                    <a:lnTo>
                      <a:pt x="622" y="649"/>
                    </a:lnTo>
                    <a:lnTo>
                      <a:pt x="620" y="649"/>
                    </a:lnTo>
                    <a:lnTo>
                      <a:pt x="618" y="649"/>
                    </a:lnTo>
                    <a:lnTo>
                      <a:pt x="616" y="647"/>
                    </a:lnTo>
                    <a:lnTo>
                      <a:pt x="612" y="645"/>
                    </a:lnTo>
                    <a:lnTo>
                      <a:pt x="612" y="647"/>
                    </a:lnTo>
                    <a:lnTo>
                      <a:pt x="610" y="647"/>
                    </a:lnTo>
                    <a:lnTo>
                      <a:pt x="610" y="649"/>
                    </a:lnTo>
                    <a:lnTo>
                      <a:pt x="610" y="647"/>
                    </a:lnTo>
                    <a:lnTo>
                      <a:pt x="609" y="647"/>
                    </a:lnTo>
                    <a:lnTo>
                      <a:pt x="607" y="645"/>
                    </a:lnTo>
                    <a:lnTo>
                      <a:pt x="603" y="644"/>
                    </a:lnTo>
                    <a:lnTo>
                      <a:pt x="601" y="640"/>
                    </a:lnTo>
                    <a:lnTo>
                      <a:pt x="599" y="638"/>
                    </a:lnTo>
                    <a:lnTo>
                      <a:pt x="597" y="636"/>
                    </a:lnTo>
                    <a:lnTo>
                      <a:pt x="595" y="636"/>
                    </a:lnTo>
                    <a:lnTo>
                      <a:pt x="593" y="636"/>
                    </a:lnTo>
                    <a:lnTo>
                      <a:pt x="595" y="640"/>
                    </a:lnTo>
                    <a:lnTo>
                      <a:pt x="595" y="642"/>
                    </a:lnTo>
                    <a:lnTo>
                      <a:pt x="593" y="644"/>
                    </a:lnTo>
                    <a:lnTo>
                      <a:pt x="595" y="645"/>
                    </a:lnTo>
                    <a:lnTo>
                      <a:pt x="595" y="647"/>
                    </a:lnTo>
                    <a:lnTo>
                      <a:pt x="595" y="649"/>
                    </a:lnTo>
                    <a:lnTo>
                      <a:pt x="597" y="651"/>
                    </a:lnTo>
                    <a:lnTo>
                      <a:pt x="595" y="651"/>
                    </a:lnTo>
                    <a:lnTo>
                      <a:pt x="593" y="651"/>
                    </a:lnTo>
                    <a:lnTo>
                      <a:pt x="591" y="653"/>
                    </a:lnTo>
                    <a:lnTo>
                      <a:pt x="589" y="653"/>
                    </a:lnTo>
                    <a:lnTo>
                      <a:pt x="589" y="655"/>
                    </a:lnTo>
                    <a:lnTo>
                      <a:pt x="591" y="657"/>
                    </a:lnTo>
                    <a:lnTo>
                      <a:pt x="589" y="657"/>
                    </a:lnTo>
                    <a:lnTo>
                      <a:pt x="586" y="657"/>
                    </a:lnTo>
                    <a:lnTo>
                      <a:pt x="584" y="659"/>
                    </a:lnTo>
                    <a:lnTo>
                      <a:pt x="582" y="659"/>
                    </a:lnTo>
                    <a:lnTo>
                      <a:pt x="580" y="659"/>
                    </a:lnTo>
                    <a:lnTo>
                      <a:pt x="580" y="661"/>
                    </a:lnTo>
                    <a:lnTo>
                      <a:pt x="582" y="661"/>
                    </a:lnTo>
                    <a:lnTo>
                      <a:pt x="582" y="663"/>
                    </a:lnTo>
                    <a:lnTo>
                      <a:pt x="580" y="663"/>
                    </a:lnTo>
                    <a:lnTo>
                      <a:pt x="578" y="665"/>
                    </a:lnTo>
                    <a:lnTo>
                      <a:pt x="578" y="667"/>
                    </a:lnTo>
                    <a:lnTo>
                      <a:pt x="576" y="667"/>
                    </a:lnTo>
                    <a:lnTo>
                      <a:pt x="574" y="667"/>
                    </a:lnTo>
                    <a:lnTo>
                      <a:pt x="574" y="668"/>
                    </a:lnTo>
                    <a:lnTo>
                      <a:pt x="572" y="668"/>
                    </a:lnTo>
                    <a:lnTo>
                      <a:pt x="572" y="670"/>
                    </a:lnTo>
                    <a:lnTo>
                      <a:pt x="570" y="672"/>
                    </a:lnTo>
                    <a:lnTo>
                      <a:pt x="570" y="674"/>
                    </a:lnTo>
                    <a:lnTo>
                      <a:pt x="572" y="674"/>
                    </a:lnTo>
                    <a:lnTo>
                      <a:pt x="574" y="674"/>
                    </a:lnTo>
                    <a:lnTo>
                      <a:pt x="574" y="676"/>
                    </a:lnTo>
                    <a:lnTo>
                      <a:pt x="576" y="676"/>
                    </a:lnTo>
                    <a:lnTo>
                      <a:pt x="574" y="678"/>
                    </a:lnTo>
                    <a:lnTo>
                      <a:pt x="576" y="680"/>
                    </a:lnTo>
                    <a:lnTo>
                      <a:pt x="578" y="680"/>
                    </a:lnTo>
                    <a:lnTo>
                      <a:pt x="576" y="682"/>
                    </a:lnTo>
                    <a:lnTo>
                      <a:pt x="574" y="684"/>
                    </a:lnTo>
                    <a:lnTo>
                      <a:pt x="574" y="686"/>
                    </a:lnTo>
                    <a:lnTo>
                      <a:pt x="572" y="686"/>
                    </a:lnTo>
                    <a:lnTo>
                      <a:pt x="572" y="688"/>
                    </a:lnTo>
                    <a:lnTo>
                      <a:pt x="570" y="690"/>
                    </a:lnTo>
                    <a:lnTo>
                      <a:pt x="570" y="692"/>
                    </a:lnTo>
                    <a:lnTo>
                      <a:pt x="568" y="692"/>
                    </a:lnTo>
                    <a:lnTo>
                      <a:pt x="566" y="695"/>
                    </a:lnTo>
                    <a:lnTo>
                      <a:pt x="564" y="697"/>
                    </a:lnTo>
                    <a:lnTo>
                      <a:pt x="564" y="701"/>
                    </a:lnTo>
                    <a:lnTo>
                      <a:pt x="564" y="703"/>
                    </a:lnTo>
                    <a:lnTo>
                      <a:pt x="562" y="705"/>
                    </a:lnTo>
                    <a:lnTo>
                      <a:pt x="562" y="707"/>
                    </a:lnTo>
                    <a:lnTo>
                      <a:pt x="562" y="709"/>
                    </a:lnTo>
                    <a:lnTo>
                      <a:pt x="562" y="711"/>
                    </a:lnTo>
                    <a:lnTo>
                      <a:pt x="561" y="711"/>
                    </a:lnTo>
                    <a:lnTo>
                      <a:pt x="561" y="713"/>
                    </a:lnTo>
                    <a:lnTo>
                      <a:pt x="561" y="715"/>
                    </a:lnTo>
                    <a:lnTo>
                      <a:pt x="561" y="716"/>
                    </a:lnTo>
                    <a:lnTo>
                      <a:pt x="562" y="718"/>
                    </a:lnTo>
                    <a:lnTo>
                      <a:pt x="562" y="720"/>
                    </a:lnTo>
                    <a:lnTo>
                      <a:pt x="562" y="722"/>
                    </a:lnTo>
                    <a:lnTo>
                      <a:pt x="564" y="722"/>
                    </a:lnTo>
                    <a:lnTo>
                      <a:pt x="564" y="724"/>
                    </a:lnTo>
                    <a:lnTo>
                      <a:pt x="566" y="724"/>
                    </a:lnTo>
                    <a:lnTo>
                      <a:pt x="568" y="726"/>
                    </a:lnTo>
                    <a:lnTo>
                      <a:pt x="570" y="728"/>
                    </a:lnTo>
                    <a:lnTo>
                      <a:pt x="570" y="730"/>
                    </a:lnTo>
                    <a:lnTo>
                      <a:pt x="568" y="732"/>
                    </a:lnTo>
                    <a:lnTo>
                      <a:pt x="568" y="734"/>
                    </a:lnTo>
                    <a:lnTo>
                      <a:pt x="570" y="734"/>
                    </a:lnTo>
                    <a:lnTo>
                      <a:pt x="572" y="734"/>
                    </a:lnTo>
                    <a:lnTo>
                      <a:pt x="574" y="734"/>
                    </a:lnTo>
                    <a:lnTo>
                      <a:pt x="574" y="736"/>
                    </a:lnTo>
                    <a:lnTo>
                      <a:pt x="572" y="736"/>
                    </a:lnTo>
                    <a:lnTo>
                      <a:pt x="572" y="738"/>
                    </a:lnTo>
                    <a:lnTo>
                      <a:pt x="572" y="739"/>
                    </a:lnTo>
                    <a:lnTo>
                      <a:pt x="570" y="739"/>
                    </a:lnTo>
                    <a:lnTo>
                      <a:pt x="568" y="739"/>
                    </a:lnTo>
                    <a:lnTo>
                      <a:pt x="568" y="738"/>
                    </a:lnTo>
                    <a:lnTo>
                      <a:pt x="566" y="738"/>
                    </a:lnTo>
                    <a:lnTo>
                      <a:pt x="566" y="739"/>
                    </a:lnTo>
                    <a:lnTo>
                      <a:pt x="566" y="741"/>
                    </a:lnTo>
                    <a:lnTo>
                      <a:pt x="564" y="741"/>
                    </a:lnTo>
                    <a:lnTo>
                      <a:pt x="564" y="743"/>
                    </a:lnTo>
                    <a:lnTo>
                      <a:pt x="564" y="745"/>
                    </a:lnTo>
                    <a:lnTo>
                      <a:pt x="566" y="745"/>
                    </a:lnTo>
                    <a:lnTo>
                      <a:pt x="568" y="745"/>
                    </a:lnTo>
                    <a:lnTo>
                      <a:pt x="568" y="747"/>
                    </a:lnTo>
                    <a:lnTo>
                      <a:pt x="570" y="747"/>
                    </a:lnTo>
                    <a:lnTo>
                      <a:pt x="568" y="747"/>
                    </a:lnTo>
                    <a:lnTo>
                      <a:pt x="568" y="749"/>
                    </a:lnTo>
                    <a:lnTo>
                      <a:pt x="566" y="749"/>
                    </a:lnTo>
                    <a:lnTo>
                      <a:pt x="566" y="747"/>
                    </a:lnTo>
                    <a:lnTo>
                      <a:pt x="561" y="747"/>
                    </a:lnTo>
                    <a:lnTo>
                      <a:pt x="557" y="747"/>
                    </a:lnTo>
                    <a:lnTo>
                      <a:pt x="557" y="751"/>
                    </a:lnTo>
                    <a:lnTo>
                      <a:pt x="557" y="753"/>
                    </a:lnTo>
                    <a:lnTo>
                      <a:pt x="557" y="755"/>
                    </a:lnTo>
                    <a:lnTo>
                      <a:pt x="557" y="759"/>
                    </a:lnTo>
                    <a:lnTo>
                      <a:pt x="557" y="763"/>
                    </a:lnTo>
                    <a:lnTo>
                      <a:pt x="561" y="763"/>
                    </a:lnTo>
                    <a:lnTo>
                      <a:pt x="562" y="763"/>
                    </a:lnTo>
                    <a:lnTo>
                      <a:pt x="562" y="761"/>
                    </a:lnTo>
                    <a:lnTo>
                      <a:pt x="564" y="761"/>
                    </a:lnTo>
                    <a:lnTo>
                      <a:pt x="566" y="763"/>
                    </a:lnTo>
                    <a:lnTo>
                      <a:pt x="568" y="763"/>
                    </a:lnTo>
                    <a:lnTo>
                      <a:pt x="568" y="764"/>
                    </a:lnTo>
                    <a:lnTo>
                      <a:pt x="568" y="766"/>
                    </a:lnTo>
                    <a:lnTo>
                      <a:pt x="566" y="766"/>
                    </a:lnTo>
                    <a:lnTo>
                      <a:pt x="564" y="766"/>
                    </a:lnTo>
                    <a:lnTo>
                      <a:pt x="564" y="768"/>
                    </a:lnTo>
                    <a:lnTo>
                      <a:pt x="562" y="768"/>
                    </a:lnTo>
                    <a:lnTo>
                      <a:pt x="562" y="770"/>
                    </a:lnTo>
                    <a:lnTo>
                      <a:pt x="561" y="770"/>
                    </a:lnTo>
                    <a:lnTo>
                      <a:pt x="559" y="770"/>
                    </a:lnTo>
                    <a:lnTo>
                      <a:pt x="559" y="772"/>
                    </a:lnTo>
                    <a:lnTo>
                      <a:pt x="559" y="774"/>
                    </a:lnTo>
                    <a:lnTo>
                      <a:pt x="561" y="774"/>
                    </a:lnTo>
                    <a:lnTo>
                      <a:pt x="561" y="776"/>
                    </a:lnTo>
                    <a:lnTo>
                      <a:pt x="561" y="778"/>
                    </a:lnTo>
                    <a:lnTo>
                      <a:pt x="561" y="780"/>
                    </a:lnTo>
                    <a:lnTo>
                      <a:pt x="559" y="780"/>
                    </a:lnTo>
                    <a:lnTo>
                      <a:pt x="559" y="782"/>
                    </a:lnTo>
                    <a:lnTo>
                      <a:pt x="559" y="784"/>
                    </a:lnTo>
                    <a:lnTo>
                      <a:pt x="557" y="784"/>
                    </a:lnTo>
                    <a:lnTo>
                      <a:pt x="557" y="786"/>
                    </a:lnTo>
                    <a:lnTo>
                      <a:pt x="559" y="787"/>
                    </a:lnTo>
                    <a:lnTo>
                      <a:pt x="557" y="787"/>
                    </a:lnTo>
                    <a:lnTo>
                      <a:pt x="555" y="789"/>
                    </a:lnTo>
                    <a:lnTo>
                      <a:pt x="553" y="789"/>
                    </a:lnTo>
                    <a:lnTo>
                      <a:pt x="555" y="787"/>
                    </a:lnTo>
                    <a:lnTo>
                      <a:pt x="555" y="786"/>
                    </a:lnTo>
                    <a:lnTo>
                      <a:pt x="555" y="784"/>
                    </a:lnTo>
                    <a:lnTo>
                      <a:pt x="555" y="782"/>
                    </a:lnTo>
                    <a:lnTo>
                      <a:pt x="553" y="780"/>
                    </a:lnTo>
                    <a:lnTo>
                      <a:pt x="551" y="780"/>
                    </a:lnTo>
                    <a:lnTo>
                      <a:pt x="549" y="780"/>
                    </a:lnTo>
                    <a:lnTo>
                      <a:pt x="547" y="780"/>
                    </a:lnTo>
                    <a:lnTo>
                      <a:pt x="545" y="780"/>
                    </a:lnTo>
                    <a:lnTo>
                      <a:pt x="543" y="780"/>
                    </a:lnTo>
                    <a:lnTo>
                      <a:pt x="541" y="778"/>
                    </a:lnTo>
                    <a:lnTo>
                      <a:pt x="538" y="774"/>
                    </a:lnTo>
                    <a:lnTo>
                      <a:pt x="536" y="772"/>
                    </a:lnTo>
                    <a:lnTo>
                      <a:pt x="534" y="772"/>
                    </a:lnTo>
                    <a:lnTo>
                      <a:pt x="532" y="772"/>
                    </a:lnTo>
                    <a:lnTo>
                      <a:pt x="530" y="772"/>
                    </a:lnTo>
                    <a:lnTo>
                      <a:pt x="528" y="770"/>
                    </a:lnTo>
                    <a:lnTo>
                      <a:pt x="526" y="768"/>
                    </a:lnTo>
                    <a:lnTo>
                      <a:pt x="526" y="766"/>
                    </a:lnTo>
                    <a:lnTo>
                      <a:pt x="524" y="766"/>
                    </a:lnTo>
                    <a:lnTo>
                      <a:pt x="524" y="764"/>
                    </a:lnTo>
                    <a:lnTo>
                      <a:pt x="522" y="764"/>
                    </a:lnTo>
                    <a:lnTo>
                      <a:pt x="520" y="764"/>
                    </a:lnTo>
                    <a:lnTo>
                      <a:pt x="518" y="764"/>
                    </a:lnTo>
                    <a:lnTo>
                      <a:pt x="518" y="766"/>
                    </a:lnTo>
                    <a:lnTo>
                      <a:pt x="516" y="766"/>
                    </a:lnTo>
                    <a:lnTo>
                      <a:pt x="513" y="764"/>
                    </a:lnTo>
                    <a:lnTo>
                      <a:pt x="511" y="763"/>
                    </a:lnTo>
                    <a:lnTo>
                      <a:pt x="509" y="763"/>
                    </a:lnTo>
                    <a:lnTo>
                      <a:pt x="507" y="761"/>
                    </a:lnTo>
                    <a:lnTo>
                      <a:pt x="507" y="759"/>
                    </a:lnTo>
                    <a:lnTo>
                      <a:pt x="507" y="757"/>
                    </a:lnTo>
                    <a:lnTo>
                      <a:pt x="507" y="755"/>
                    </a:lnTo>
                    <a:lnTo>
                      <a:pt x="507" y="753"/>
                    </a:lnTo>
                    <a:lnTo>
                      <a:pt x="509" y="751"/>
                    </a:lnTo>
                    <a:lnTo>
                      <a:pt x="511" y="749"/>
                    </a:lnTo>
                    <a:lnTo>
                      <a:pt x="511" y="747"/>
                    </a:lnTo>
                    <a:lnTo>
                      <a:pt x="509" y="747"/>
                    </a:lnTo>
                    <a:lnTo>
                      <a:pt x="509" y="745"/>
                    </a:lnTo>
                    <a:lnTo>
                      <a:pt x="507" y="743"/>
                    </a:lnTo>
                    <a:lnTo>
                      <a:pt x="505" y="743"/>
                    </a:lnTo>
                    <a:lnTo>
                      <a:pt x="503" y="743"/>
                    </a:lnTo>
                    <a:lnTo>
                      <a:pt x="501" y="743"/>
                    </a:lnTo>
                    <a:lnTo>
                      <a:pt x="499" y="743"/>
                    </a:lnTo>
                    <a:lnTo>
                      <a:pt x="497" y="743"/>
                    </a:lnTo>
                    <a:lnTo>
                      <a:pt x="495" y="743"/>
                    </a:lnTo>
                    <a:lnTo>
                      <a:pt x="495" y="741"/>
                    </a:lnTo>
                    <a:lnTo>
                      <a:pt x="493" y="741"/>
                    </a:lnTo>
                    <a:lnTo>
                      <a:pt x="491" y="739"/>
                    </a:lnTo>
                    <a:lnTo>
                      <a:pt x="491" y="738"/>
                    </a:lnTo>
                    <a:lnTo>
                      <a:pt x="490" y="738"/>
                    </a:lnTo>
                    <a:lnTo>
                      <a:pt x="488" y="736"/>
                    </a:lnTo>
                    <a:lnTo>
                      <a:pt x="486" y="736"/>
                    </a:lnTo>
                    <a:lnTo>
                      <a:pt x="486" y="734"/>
                    </a:lnTo>
                    <a:lnTo>
                      <a:pt x="484" y="734"/>
                    </a:lnTo>
                    <a:lnTo>
                      <a:pt x="484" y="732"/>
                    </a:lnTo>
                    <a:lnTo>
                      <a:pt x="484" y="730"/>
                    </a:lnTo>
                    <a:lnTo>
                      <a:pt x="484" y="728"/>
                    </a:lnTo>
                    <a:lnTo>
                      <a:pt x="484" y="726"/>
                    </a:lnTo>
                    <a:lnTo>
                      <a:pt x="482" y="726"/>
                    </a:lnTo>
                    <a:lnTo>
                      <a:pt x="482" y="724"/>
                    </a:lnTo>
                    <a:lnTo>
                      <a:pt x="476" y="724"/>
                    </a:lnTo>
                    <a:lnTo>
                      <a:pt x="472" y="724"/>
                    </a:lnTo>
                    <a:lnTo>
                      <a:pt x="470" y="724"/>
                    </a:lnTo>
                    <a:lnTo>
                      <a:pt x="470" y="722"/>
                    </a:lnTo>
                    <a:lnTo>
                      <a:pt x="468" y="722"/>
                    </a:lnTo>
                    <a:lnTo>
                      <a:pt x="466" y="720"/>
                    </a:lnTo>
                    <a:lnTo>
                      <a:pt x="463" y="718"/>
                    </a:lnTo>
                    <a:lnTo>
                      <a:pt x="463" y="716"/>
                    </a:lnTo>
                    <a:lnTo>
                      <a:pt x="461" y="716"/>
                    </a:lnTo>
                    <a:lnTo>
                      <a:pt x="459" y="716"/>
                    </a:lnTo>
                    <a:lnTo>
                      <a:pt x="457" y="716"/>
                    </a:lnTo>
                    <a:lnTo>
                      <a:pt x="455" y="715"/>
                    </a:lnTo>
                    <a:lnTo>
                      <a:pt x="453" y="715"/>
                    </a:lnTo>
                    <a:lnTo>
                      <a:pt x="453" y="713"/>
                    </a:lnTo>
                    <a:lnTo>
                      <a:pt x="451" y="711"/>
                    </a:lnTo>
                    <a:lnTo>
                      <a:pt x="451" y="709"/>
                    </a:lnTo>
                    <a:lnTo>
                      <a:pt x="449" y="709"/>
                    </a:lnTo>
                    <a:lnTo>
                      <a:pt x="447" y="707"/>
                    </a:lnTo>
                    <a:lnTo>
                      <a:pt x="447" y="705"/>
                    </a:lnTo>
                    <a:lnTo>
                      <a:pt x="445" y="705"/>
                    </a:lnTo>
                    <a:lnTo>
                      <a:pt x="443" y="703"/>
                    </a:lnTo>
                    <a:lnTo>
                      <a:pt x="441" y="703"/>
                    </a:lnTo>
                    <a:lnTo>
                      <a:pt x="440" y="701"/>
                    </a:lnTo>
                    <a:lnTo>
                      <a:pt x="438" y="699"/>
                    </a:lnTo>
                    <a:lnTo>
                      <a:pt x="436" y="695"/>
                    </a:lnTo>
                    <a:lnTo>
                      <a:pt x="434" y="695"/>
                    </a:lnTo>
                    <a:lnTo>
                      <a:pt x="434" y="693"/>
                    </a:lnTo>
                    <a:lnTo>
                      <a:pt x="432" y="693"/>
                    </a:lnTo>
                    <a:lnTo>
                      <a:pt x="432" y="692"/>
                    </a:lnTo>
                    <a:lnTo>
                      <a:pt x="430" y="692"/>
                    </a:lnTo>
                    <a:lnTo>
                      <a:pt x="428" y="692"/>
                    </a:lnTo>
                    <a:lnTo>
                      <a:pt x="428" y="690"/>
                    </a:lnTo>
                    <a:lnTo>
                      <a:pt x="426" y="690"/>
                    </a:lnTo>
                    <a:lnTo>
                      <a:pt x="424" y="690"/>
                    </a:lnTo>
                    <a:lnTo>
                      <a:pt x="422" y="690"/>
                    </a:lnTo>
                    <a:lnTo>
                      <a:pt x="420" y="690"/>
                    </a:lnTo>
                    <a:lnTo>
                      <a:pt x="418" y="690"/>
                    </a:lnTo>
                    <a:lnTo>
                      <a:pt x="418" y="688"/>
                    </a:lnTo>
                    <a:lnTo>
                      <a:pt x="417" y="688"/>
                    </a:lnTo>
                    <a:lnTo>
                      <a:pt x="415" y="688"/>
                    </a:lnTo>
                    <a:lnTo>
                      <a:pt x="413" y="686"/>
                    </a:lnTo>
                    <a:lnTo>
                      <a:pt x="411" y="686"/>
                    </a:lnTo>
                    <a:lnTo>
                      <a:pt x="409" y="686"/>
                    </a:lnTo>
                    <a:lnTo>
                      <a:pt x="405" y="688"/>
                    </a:lnTo>
                    <a:lnTo>
                      <a:pt x="403" y="688"/>
                    </a:lnTo>
                    <a:lnTo>
                      <a:pt x="401" y="688"/>
                    </a:lnTo>
                    <a:lnTo>
                      <a:pt x="399" y="688"/>
                    </a:lnTo>
                    <a:lnTo>
                      <a:pt x="397" y="686"/>
                    </a:lnTo>
                    <a:lnTo>
                      <a:pt x="395" y="686"/>
                    </a:lnTo>
                    <a:lnTo>
                      <a:pt x="395" y="684"/>
                    </a:lnTo>
                    <a:lnTo>
                      <a:pt x="393" y="684"/>
                    </a:lnTo>
                    <a:lnTo>
                      <a:pt x="393" y="682"/>
                    </a:lnTo>
                    <a:lnTo>
                      <a:pt x="393" y="680"/>
                    </a:lnTo>
                    <a:lnTo>
                      <a:pt x="392" y="680"/>
                    </a:lnTo>
                    <a:lnTo>
                      <a:pt x="390" y="680"/>
                    </a:lnTo>
                    <a:lnTo>
                      <a:pt x="390" y="678"/>
                    </a:lnTo>
                    <a:lnTo>
                      <a:pt x="390" y="676"/>
                    </a:lnTo>
                    <a:lnTo>
                      <a:pt x="388" y="674"/>
                    </a:lnTo>
                    <a:lnTo>
                      <a:pt x="388" y="672"/>
                    </a:lnTo>
                    <a:lnTo>
                      <a:pt x="388" y="670"/>
                    </a:lnTo>
                    <a:lnTo>
                      <a:pt x="386" y="670"/>
                    </a:lnTo>
                    <a:lnTo>
                      <a:pt x="384" y="670"/>
                    </a:lnTo>
                    <a:lnTo>
                      <a:pt x="382" y="670"/>
                    </a:lnTo>
                    <a:lnTo>
                      <a:pt x="380" y="670"/>
                    </a:lnTo>
                    <a:lnTo>
                      <a:pt x="380" y="672"/>
                    </a:lnTo>
                    <a:lnTo>
                      <a:pt x="378" y="672"/>
                    </a:lnTo>
                    <a:lnTo>
                      <a:pt x="378" y="674"/>
                    </a:lnTo>
                    <a:lnTo>
                      <a:pt x="378" y="676"/>
                    </a:lnTo>
                    <a:lnTo>
                      <a:pt x="374" y="678"/>
                    </a:lnTo>
                    <a:lnTo>
                      <a:pt x="374" y="680"/>
                    </a:lnTo>
                    <a:lnTo>
                      <a:pt x="372" y="682"/>
                    </a:lnTo>
                    <a:lnTo>
                      <a:pt x="370" y="682"/>
                    </a:lnTo>
                    <a:lnTo>
                      <a:pt x="369" y="682"/>
                    </a:lnTo>
                    <a:lnTo>
                      <a:pt x="369" y="684"/>
                    </a:lnTo>
                    <a:lnTo>
                      <a:pt x="369" y="686"/>
                    </a:lnTo>
                    <a:lnTo>
                      <a:pt x="370" y="686"/>
                    </a:lnTo>
                    <a:lnTo>
                      <a:pt x="369" y="688"/>
                    </a:lnTo>
                    <a:lnTo>
                      <a:pt x="367" y="692"/>
                    </a:lnTo>
                    <a:lnTo>
                      <a:pt x="365" y="695"/>
                    </a:lnTo>
                    <a:lnTo>
                      <a:pt x="363" y="695"/>
                    </a:lnTo>
                    <a:lnTo>
                      <a:pt x="361" y="693"/>
                    </a:lnTo>
                    <a:lnTo>
                      <a:pt x="359" y="693"/>
                    </a:lnTo>
                    <a:lnTo>
                      <a:pt x="359" y="695"/>
                    </a:lnTo>
                    <a:lnTo>
                      <a:pt x="359" y="697"/>
                    </a:lnTo>
                    <a:lnTo>
                      <a:pt x="357" y="695"/>
                    </a:lnTo>
                    <a:lnTo>
                      <a:pt x="355" y="695"/>
                    </a:lnTo>
                    <a:lnTo>
                      <a:pt x="353" y="695"/>
                    </a:lnTo>
                    <a:lnTo>
                      <a:pt x="351" y="693"/>
                    </a:lnTo>
                    <a:lnTo>
                      <a:pt x="351" y="692"/>
                    </a:lnTo>
                    <a:lnTo>
                      <a:pt x="349" y="688"/>
                    </a:lnTo>
                    <a:lnTo>
                      <a:pt x="344" y="688"/>
                    </a:lnTo>
                    <a:lnTo>
                      <a:pt x="338" y="688"/>
                    </a:lnTo>
                    <a:lnTo>
                      <a:pt x="340" y="690"/>
                    </a:lnTo>
                    <a:lnTo>
                      <a:pt x="338" y="690"/>
                    </a:lnTo>
                    <a:lnTo>
                      <a:pt x="336" y="690"/>
                    </a:lnTo>
                    <a:lnTo>
                      <a:pt x="336" y="692"/>
                    </a:lnTo>
                    <a:lnTo>
                      <a:pt x="336" y="693"/>
                    </a:lnTo>
                    <a:lnTo>
                      <a:pt x="334" y="693"/>
                    </a:lnTo>
                    <a:lnTo>
                      <a:pt x="332" y="693"/>
                    </a:lnTo>
                    <a:lnTo>
                      <a:pt x="334" y="686"/>
                    </a:lnTo>
                    <a:lnTo>
                      <a:pt x="332" y="684"/>
                    </a:lnTo>
                    <a:lnTo>
                      <a:pt x="334" y="678"/>
                    </a:lnTo>
                    <a:lnTo>
                      <a:pt x="332" y="678"/>
                    </a:lnTo>
                    <a:lnTo>
                      <a:pt x="328" y="676"/>
                    </a:lnTo>
                    <a:lnTo>
                      <a:pt x="326" y="676"/>
                    </a:lnTo>
                    <a:lnTo>
                      <a:pt x="322" y="674"/>
                    </a:lnTo>
                    <a:lnTo>
                      <a:pt x="321" y="676"/>
                    </a:lnTo>
                    <a:lnTo>
                      <a:pt x="319" y="678"/>
                    </a:lnTo>
                    <a:lnTo>
                      <a:pt x="317" y="676"/>
                    </a:lnTo>
                    <a:lnTo>
                      <a:pt x="319" y="676"/>
                    </a:lnTo>
                    <a:lnTo>
                      <a:pt x="321" y="674"/>
                    </a:lnTo>
                    <a:lnTo>
                      <a:pt x="319" y="674"/>
                    </a:lnTo>
                    <a:lnTo>
                      <a:pt x="317" y="674"/>
                    </a:lnTo>
                    <a:lnTo>
                      <a:pt x="315" y="672"/>
                    </a:lnTo>
                    <a:lnTo>
                      <a:pt x="313" y="672"/>
                    </a:lnTo>
                    <a:lnTo>
                      <a:pt x="315" y="674"/>
                    </a:lnTo>
                    <a:lnTo>
                      <a:pt x="313" y="674"/>
                    </a:lnTo>
                    <a:lnTo>
                      <a:pt x="313" y="676"/>
                    </a:lnTo>
                    <a:lnTo>
                      <a:pt x="313" y="678"/>
                    </a:lnTo>
                    <a:lnTo>
                      <a:pt x="313" y="684"/>
                    </a:lnTo>
                    <a:lnTo>
                      <a:pt x="313" y="686"/>
                    </a:lnTo>
                    <a:lnTo>
                      <a:pt x="311" y="686"/>
                    </a:lnTo>
                    <a:lnTo>
                      <a:pt x="305" y="682"/>
                    </a:lnTo>
                    <a:lnTo>
                      <a:pt x="299" y="676"/>
                    </a:lnTo>
                    <a:lnTo>
                      <a:pt x="299" y="674"/>
                    </a:lnTo>
                    <a:lnTo>
                      <a:pt x="297" y="674"/>
                    </a:lnTo>
                    <a:lnTo>
                      <a:pt x="294" y="676"/>
                    </a:lnTo>
                    <a:lnTo>
                      <a:pt x="294" y="674"/>
                    </a:lnTo>
                    <a:lnTo>
                      <a:pt x="290" y="676"/>
                    </a:lnTo>
                    <a:lnTo>
                      <a:pt x="290" y="672"/>
                    </a:lnTo>
                    <a:lnTo>
                      <a:pt x="292" y="670"/>
                    </a:lnTo>
                    <a:lnTo>
                      <a:pt x="292" y="667"/>
                    </a:lnTo>
                    <a:lnTo>
                      <a:pt x="290" y="665"/>
                    </a:lnTo>
                    <a:lnTo>
                      <a:pt x="290" y="663"/>
                    </a:lnTo>
                    <a:lnTo>
                      <a:pt x="290" y="661"/>
                    </a:lnTo>
                    <a:lnTo>
                      <a:pt x="288" y="659"/>
                    </a:lnTo>
                    <a:lnTo>
                      <a:pt x="288" y="655"/>
                    </a:lnTo>
                    <a:lnTo>
                      <a:pt x="286" y="653"/>
                    </a:lnTo>
                    <a:lnTo>
                      <a:pt x="286" y="651"/>
                    </a:lnTo>
                    <a:lnTo>
                      <a:pt x="286" y="649"/>
                    </a:lnTo>
                    <a:lnTo>
                      <a:pt x="286" y="651"/>
                    </a:lnTo>
                    <a:lnTo>
                      <a:pt x="286" y="649"/>
                    </a:lnTo>
                    <a:lnTo>
                      <a:pt x="288" y="649"/>
                    </a:lnTo>
                    <a:lnTo>
                      <a:pt x="290" y="647"/>
                    </a:lnTo>
                    <a:lnTo>
                      <a:pt x="290" y="645"/>
                    </a:lnTo>
                    <a:lnTo>
                      <a:pt x="292" y="645"/>
                    </a:lnTo>
                    <a:lnTo>
                      <a:pt x="294" y="645"/>
                    </a:lnTo>
                    <a:lnTo>
                      <a:pt x="296" y="644"/>
                    </a:lnTo>
                    <a:lnTo>
                      <a:pt x="297" y="644"/>
                    </a:lnTo>
                    <a:lnTo>
                      <a:pt x="296" y="642"/>
                    </a:lnTo>
                    <a:lnTo>
                      <a:pt x="296" y="640"/>
                    </a:lnTo>
                    <a:lnTo>
                      <a:pt x="294" y="638"/>
                    </a:lnTo>
                    <a:lnTo>
                      <a:pt x="294" y="636"/>
                    </a:lnTo>
                    <a:lnTo>
                      <a:pt x="292" y="636"/>
                    </a:lnTo>
                    <a:lnTo>
                      <a:pt x="292" y="634"/>
                    </a:lnTo>
                    <a:lnTo>
                      <a:pt x="292" y="632"/>
                    </a:lnTo>
                    <a:lnTo>
                      <a:pt x="290" y="628"/>
                    </a:lnTo>
                    <a:lnTo>
                      <a:pt x="288" y="626"/>
                    </a:lnTo>
                    <a:lnTo>
                      <a:pt x="288" y="624"/>
                    </a:lnTo>
                    <a:lnTo>
                      <a:pt x="290" y="624"/>
                    </a:lnTo>
                    <a:lnTo>
                      <a:pt x="292" y="620"/>
                    </a:lnTo>
                    <a:lnTo>
                      <a:pt x="290" y="619"/>
                    </a:lnTo>
                    <a:lnTo>
                      <a:pt x="288" y="619"/>
                    </a:lnTo>
                    <a:lnTo>
                      <a:pt x="286" y="619"/>
                    </a:lnTo>
                    <a:lnTo>
                      <a:pt x="282" y="619"/>
                    </a:lnTo>
                    <a:lnTo>
                      <a:pt x="284" y="619"/>
                    </a:lnTo>
                    <a:lnTo>
                      <a:pt x="284" y="617"/>
                    </a:lnTo>
                    <a:lnTo>
                      <a:pt x="282" y="617"/>
                    </a:lnTo>
                    <a:lnTo>
                      <a:pt x="280" y="615"/>
                    </a:lnTo>
                    <a:lnTo>
                      <a:pt x="282" y="615"/>
                    </a:lnTo>
                    <a:lnTo>
                      <a:pt x="280" y="615"/>
                    </a:lnTo>
                    <a:lnTo>
                      <a:pt x="278" y="615"/>
                    </a:lnTo>
                    <a:lnTo>
                      <a:pt x="280" y="613"/>
                    </a:lnTo>
                    <a:lnTo>
                      <a:pt x="282" y="613"/>
                    </a:lnTo>
                    <a:lnTo>
                      <a:pt x="284" y="613"/>
                    </a:lnTo>
                    <a:lnTo>
                      <a:pt x="286" y="613"/>
                    </a:lnTo>
                    <a:lnTo>
                      <a:pt x="290" y="607"/>
                    </a:lnTo>
                    <a:lnTo>
                      <a:pt x="292" y="603"/>
                    </a:lnTo>
                    <a:lnTo>
                      <a:pt x="290" y="603"/>
                    </a:lnTo>
                    <a:lnTo>
                      <a:pt x="288" y="603"/>
                    </a:lnTo>
                    <a:lnTo>
                      <a:pt x="286" y="601"/>
                    </a:lnTo>
                    <a:lnTo>
                      <a:pt x="286" y="599"/>
                    </a:lnTo>
                    <a:lnTo>
                      <a:pt x="284" y="597"/>
                    </a:lnTo>
                    <a:lnTo>
                      <a:pt x="282" y="597"/>
                    </a:lnTo>
                    <a:lnTo>
                      <a:pt x="282" y="594"/>
                    </a:lnTo>
                    <a:lnTo>
                      <a:pt x="282" y="592"/>
                    </a:lnTo>
                    <a:lnTo>
                      <a:pt x="280" y="590"/>
                    </a:lnTo>
                    <a:lnTo>
                      <a:pt x="280" y="588"/>
                    </a:lnTo>
                    <a:lnTo>
                      <a:pt x="278" y="586"/>
                    </a:lnTo>
                    <a:lnTo>
                      <a:pt x="276" y="584"/>
                    </a:lnTo>
                    <a:lnTo>
                      <a:pt x="274" y="582"/>
                    </a:lnTo>
                    <a:lnTo>
                      <a:pt x="274" y="584"/>
                    </a:lnTo>
                    <a:lnTo>
                      <a:pt x="276" y="586"/>
                    </a:lnTo>
                    <a:lnTo>
                      <a:pt x="276" y="588"/>
                    </a:lnTo>
                    <a:lnTo>
                      <a:pt x="276" y="590"/>
                    </a:lnTo>
                    <a:lnTo>
                      <a:pt x="276" y="592"/>
                    </a:lnTo>
                    <a:lnTo>
                      <a:pt x="276" y="594"/>
                    </a:lnTo>
                    <a:lnTo>
                      <a:pt x="276" y="596"/>
                    </a:lnTo>
                    <a:lnTo>
                      <a:pt x="276" y="597"/>
                    </a:lnTo>
                    <a:lnTo>
                      <a:pt x="276" y="599"/>
                    </a:lnTo>
                    <a:lnTo>
                      <a:pt x="276" y="601"/>
                    </a:lnTo>
                    <a:lnTo>
                      <a:pt x="276" y="603"/>
                    </a:lnTo>
                    <a:lnTo>
                      <a:pt x="276" y="605"/>
                    </a:lnTo>
                    <a:lnTo>
                      <a:pt x="276" y="609"/>
                    </a:lnTo>
                    <a:lnTo>
                      <a:pt x="274" y="609"/>
                    </a:lnTo>
                    <a:lnTo>
                      <a:pt x="274" y="613"/>
                    </a:lnTo>
                    <a:lnTo>
                      <a:pt x="274" y="615"/>
                    </a:lnTo>
                    <a:lnTo>
                      <a:pt x="274" y="617"/>
                    </a:lnTo>
                    <a:lnTo>
                      <a:pt x="274" y="619"/>
                    </a:lnTo>
                    <a:lnTo>
                      <a:pt x="273" y="619"/>
                    </a:lnTo>
                    <a:lnTo>
                      <a:pt x="271" y="617"/>
                    </a:lnTo>
                    <a:lnTo>
                      <a:pt x="269" y="617"/>
                    </a:lnTo>
                    <a:lnTo>
                      <a:pt x="269" y="619"/>
                    </a:lnTo>
                    <a:lnTo>
                      <a:pt x="267" y="619"/>
                    </a:lnTo>
                    <a:lnTo>
                      <a:pt x="265" y="620"/>
                    </a:lnTo>
                    <a:lnTo>
                      <a:pt x="263" y="620"/>
                    </a:lnTo>
                    <a:lnTo>
                      <a:pt x="261" y="620"/>
                    </a:lnTo>
                    <a:lnTo>
                      <a:pt x="261" y="619"/>
                    </a:lnTo>
                    <a:lnTo>
                      <a:pt x="259" y="619"/>
                    </a:lnTo>
                    <a:lnTo>
                      <a:pt x="259" y="617"/>
                    </a:lnTo>
                    <a:lnTo>
                      <a:pt x="261" y="615"/>
                    </a:lnTo>
                    <a:lnTo>
                      <a:pt x="259" y="611"/>
                    </a:lnTo>
                    <a:lnTo>
                      <a:pt x="257" y="611"/>
                    </a:lnTo>
                    <a:lnTo>
                      <a:pt x="255" y="611"/>
                    </a:lnTo>
                    <a:lnTo>
                      <a:pt x="253" y="611"/>
                    </a:lnTo>
                    <a:lnTo>
                      <a:pt x="251" y="611"/>
                    </a:lnTo>
                    <a:lnTo>
                      <a:pt x="249" y="609"/>
                    </a:lnTo>
                    <a:lnTo>
                      <a:pt x="249" y="607"/>
                    </a:lnTo>
                    <a:lnTo>
                      <a:pt x="251" y="605"/>
                    </a:lnTo>
                    <a:lnTo>
                      <a:pt x="251" y="603"/>
                    </a:lnTo>
                    <a:lnTo>
                      <a:pt x="249" y="601"/>
                    </a:lnTo>
                    <a:lnTo>
                      <a:pt x="249" y="599"/>
                    </a:lnTo>
                    <a:lnTo>
                      <a:pt x="251" y="597"/>
                    </a:lnTo>
                    <a:lnTo>
                      <a:pt x="251" y="596"/>
                    </a:lnTo>
                    <a:lnTo>
                      <a:pt x="251" y="594"/>
                    </a:lnTo>
                    <a:lnTo>
                      <a:pt x="249" y="592"/>
                    </a:lnTo>
                    <a:lnTo>
                      <a:pt x="248" y="588"/>
                    </a:lnTo>
                    <a:lnTo>
                      <a:pt x="246" y="586"/>
                    </a:lnTo>
                    <a:lnTo>
                      <a:pt x="246" y="584"/>
                    </a:lnTo>
                    <a:lnTo>
                      <a:pt x="244" y="584"/>
                    </a:lnTo>
                    <a:lnTo>
                      <a:pt x="244" y="582"/>
                    </a:lnTo>
                    <a:lnTo>
                      <a:pt x="242" y="580"/>
                    </a:lnTo>
                    <a:lnTo>
                      <a:pt x="242" y="578"/>
                    </a:lnTo>
                    <a:lnTo>
                      <a:pt x="242" y="576"/>
                    </a:lnTo>
                    <a:lnTo>
                      <a:pt x="240" y="574"/>
                    </a:lnTo>
                    <a:lnTo>
                      <a:pt x="240" y="572"/>
                    </a:lnTo>
                    <a:lnTo>
                      <a:pt x="238" y="572"/>
                    </a:lnTo>
                    <a:lnTo>
                      <a:pt x="236" y="572"/>
                    </a:lnTo>
                    <a:lnTo>
                      <a:pt x="234" y="572"/>
                    </a:lnTo>
                    <a:lnTo>
                      <a:pt x="232" y="572"/>
                    </a:lnTo>
                    <a:lnTo>
                      <a:pt x="232" y="571"/>
                    </a:lnTo>
                    <a:lnTo>
                      <a:pt x="230" y="571"/>
                    </a:lnTo>
                    <a:lnTo>
                      <a:pt x="228" y="571"/>
                    </a:lnTo>
                    <a:lnTo>
                      <a:pt x="226" y="571"/>
                    </a:lnTo>
                    <a:lnTo>
                      <a:pt x="225" y="571"/>
                    </a:lnTo>
                    <a:lnTo>
                      <a:pt x="223" y="571"/>
                    </a:lnTo>
                    <a:lnTo>
                      <a:pt x="221" y="571"/>
                    </a:lnTo>
                    <a:lnTo>
                      <a:pt x="219" y="571"/>
                    </a:lnTo>
                    <a:lnTo>
                      <a:pt x="217" y="571"/>
                    </a:lnTo>
                    <a:lnTo>
                      <a:pt x="217" y="569"/>
                    </a:lnTo>
                    <a:lnTo>
                      <a:pt x="215" y="565"/>
                    </a:lnTo>
                    <a:lnTo>
                      <a:pt x="213" y="565"/>
                    </a:lnTo>
                    <a:lnTo>
                      <a:pt x="211" y="563"/>
                    </a:lnTo>
                    <a:lnTo>
                      <a:pt x="209" y="561"/>
                    </a:lnTo>
                    <a:lnTo>
                      <a:pt x="207" y="561"/>
                    </a:lnTo>
                    <a:lnTo>
                      <a:pt x="207" y="559"/>
                    </a:lnTo>
                    <a:lnTo>
                      <a:pt x="205" y="559"/>
                    </a:lnTo>
                    <a:lnTo>
                      <a:pt x="205" y="557"/>
                    </a:lnTo>
                    <a:lnTo>
                      <a:pt x="205" y="555"/>
                    </a:lnTo>
                    <a:lnTo>
                      <a:pt x="207" y="555"/>
                    </a:lnTo>
                    <a:lnTo>
                      <a:pt x="207" y="553"/>
                    </a:lnTo>
                    <a:lnTo>
                      <a:pt x="207" y="551"/>
                    </a:lnTo>
                    <a:lnTo>
                      <a:pt x="207" y="549"/>
                    </a:lnTo>
                    <a:lnTo>
                      <a:pt x="207" y="548"/>
                    </a:lnTo>
                    <a:lnTo>
                      <a:pt x="207" y="546"/>
                    </a:lnTo>
                    <a:lnTo>
                      <a:pt x="205" y="544"/>
                    </a:lnTo>
                    <a:lnTo>
                      <a:pt x="203" y="544"/>
                    </a:lnTo>
                    <a:lnTo>
                      <a:pt x="201" y="544"/>
                    </a:lnTo>
                    <a:lnTo>
                      <a:pt x="200" y="544"/>
                    </a:lnTo>
                    <a:lnTo>
                      <a:pt x="200" y="546"/>
                    </a:lnTo>
                    <a:lnTo>
                      <a:pt x="196" y="548"/>
                    </a:lnTo>
                    <a:lnTo>
                      <a:pt x="194" y="548"/>
                    </a:lnTo>
                    <a:lnTo>
                      <a:pt x="192" y="548"/>
                    </a:lnTo>
                    <a:lnTo>
                      <a:pt x="190" y="548"/>
                    </a:lnTo>
                    <a:lnTo>
                      <a:pt x="188" y="548"/>
                    </a:lnTo>
                    <a:lnTo>
                      <a:pt x="180" y="546"/>
                    </a:lnTo>
                    <a:lnTo>
                      <a:pt x="175" y="542"/>
                    </a:lnTo>
                    <a:lnTo>
                      <a:pt x="173" y="542"/>
                    </a:lnTo>
                    <a:lnTo>
                      <a:pt x="173" y="540"/>
                    </a:lnTo>
                    <a:lnTo>
                      <a:pt x="171" y="540"/>
                    </a:lnTo>
                    <a:lnTo>
                      <a:pt x="169" y="540"/>
                    </a:lnTo>
                    <a:lnTo>
                      <a:pt x="167" y="540"/>
                    </a:lnTo>
                    <a:lnTo>
                      <a:pt x="165" y="540"/>
                    </a:lnTo>
                    <a:lnTo>
                      <a:pt x="163" y="540"/>
                    </a:lnTo>
                    <a:lnTo>
                      <a:pt x="163" y="538"/>
                    </a:lnTo>
                    <a:lnTo>
                      <a:pt x="161" y="538"/>
                    </a:lnTo>
                    <a:lnTo>
                      <a:pt x="159" y="538"/>
                    </a:lnTo>
                    <a:lnTo>
                      <a:pt x="159" y="540"/>
                    </a:lnTo>
                    <a:lnTo>
                      <a:pt x="157" y="542"/>
                    </a:lnTo>
                    <a:lnTo>
                      <a:pt x="155" y="542"/>
                    </a:lnTo>
                    <a:lnTo>
                      <a:pt x="153" y="542"/>
                    </a:lnTo>
                    <a:lnTo>
                      <a:pt x="152" y="542"/>
                    </a:lnTo>
                    <a:lnTo>
                      <a:pt x="150" y="542"/>
                    </a:lnTo>
                    <a:lnTo>
                      <a:pt x="148" y="544"/>
                    </a:lnTo>
                    <a:lnTo>
                      <a:pt x="146" y="544"/>
                    </a:lnTo>
                    <a:lnTo>
                      <a:pt x="144" y="544"/>
                    </a:lnTo>
                    <a:lnTo>
                      <a:pt x="144" y="542"/>
                    </a:lnTo>
                    <a:lnTo>
                      <a:pt x="146" y="542"/>
                    </a:lnTo>
                    <a:lnTo>
                      <a:pt x="146" y="540"/>
                    </a:lnTo>
                    <a:lnTo>
                      <a:pt x="144" y="540"/>
                    </a:lnTo>
                    <a:lnTo>
                      <a:pt x="142" y="540"/>
                    </a:lnTo>
                    <a:lnTo>
                      <a:pt x="142" y="538"/>
                    </a:lnTo>
                    <a:lnTo>
                      <a:pt x="140" y="538"/>
                    </a:lnTo>
                    <a:lnTo>
                      <a:pt x="140" y="536"/>
                    </a:lnTo>
                    <a:lnTo>
                      <a:pt x="140" y="534"/>
                    </a:lnTo>
                    <a:lnTo>
                      <a:pt x="138" y="534"/>
                    </a:lnTo>
                    <a:lnTo>
                      <a:pt x="136" y="534"/>
                    </a:lnTo>
                    <a:lnTo>
                      <a:pt x="134" y="534"/>
                    </a:lnTo>
                    <a:lnTo>
                      <a:pt x="134" y="532"/>
                    </a:lnTo>
                    <a:lnTo>
                      <a:pt x="132" y="532"/>
                    </a:lnTo>
                    <a:lnTo>
                      <a:pt x="130" y="532"/>
                    </a:lnTo>
                    <a:lnTo>
                      <a:pt x="128" y="532"/>
                    </a:lnTo>
                    <a:lnTo>
                      <a:pt x="127" y="532"/>
                    </a:lnTo>
                    <a:lnTo>
                      <a:pt x="125" y="532"/>
                    </a:lnTo>
                    <a:lnTo>
                      <a:pt x="123" y="532"/>
                    </a:lnTo>
                    <a:lnTo>
                      <a:pt x="123" y="534"/>
                    </a:lnTo>
                    <a:lnTo>
                      <a:pt x="121" y="534"/>
                    </a:lnTo>
                    <a:lnTo>
                      <a:pt x="119" y="536"/>
                    </a:lnTo>
                    <a:lnTo>
                      <a:pt x="117" y="536"/>
                    </a:lnTo>
                    <a:lnTo>
                      <a:pt x="117" y="534"/>
                    </a:lnTo>
                    <a:lnTo>
                      <a:pt x="115" y="534"/>
                    </a:lnTo>
                    <a:lnTo>
                      <a:pt x="115" y="532"/>
                    </a:lnTo>
                    <a:lnTo>
                      <a:pt x="113" y="530"/>
                    </a:lnTo>
                    <a:lnTo>
                      <a:pt x="111" y="530"/>
                    </a:lnTo>
                    <a:lnTo>
                      <a:pt x="109" y="530"/>
                    </a:lnTo>
                    <a:lnTo>
                      <a:pt x="107" y="530"/>
                    </a:lnTo>
                    <a:lnTo>
                      <a:pt x="105" y="532"/>
                    </a:lnTo>
                    <a:lnTo>
                      <a:pt x="104" y="532"/>
                    </a:lnTo>
                    <a:lnTo>
                      <a:pt x="104" y="530"/>
                    </a:lnTo>
                    <a:lnTo>
                      <a:pt x="104" y="528"/>
                    </a:lnTo>
                    <a:lnTo>
                      <a:pt x="104" y="526"/>
                    </a:lnTo>
                    <a:lnTo>
                      <a:pt x="104" y="524"/>
                    </a:lnTo>
                    <a:lnTo>
                      <a:pt x="102" y="524"/>
                    </a:lnTo>
                    <a:lnTo>
                      <a:pt x="102" y="523"/>
                    </a:lnTo>
                    <a:lnTo>
                      <a:pt x="100" y="521"/>
                    </a:lnTo>
                    <a:lnTo>
                      <a:pt x="98" y="521"/>
                    </a:lnTo>
                    <a:lnTo>
                      <a:pt x="96" y="519"/>
                    </a:lnTo>
                    <a:lnTo>
                      <a:pt x="94" y="519"/>
                    </a:lnTo>
                    <a:lnTo>
                      <a:pt x="92" y="517"/>
                    </a:lnTo>
                    <a:lnTo>
                      <a:pt x="90" y="515"/>
                    </a:lnTo>
                    <a:lnTo>
                      <a:pt x="90" y="513"/>
                    </a:lnTo>
                    <a:lnTo>
                      <a:pt x="88" y="513"/>
                    </a:lnTo>
                    <a:lnTo>
                      <a:pt x="86" y="511"/>
                    </a:lnTo>
                    <a:lnTo>
                      <a:pt x="84" y="509"/>
                    </a:lnTo>
                    <a:lnTo>
                      <a:pt x="82" y="509"/>
                    </a:lnTo>
                    <a:lnTo>
                      <a:pt x="80" y="509"/>
                    </a:lnTo>
                    <a:lnTo>
                      <a:pt x="80" y="507"/>
                    </a:lnTo>
                    <a:lnTo>
                      <a:pt x="79" y="507"/>
                    </a:lnTo>
                    <a:lnTo>
                      <a:pt x="77" y="505"/>
                    </a:lnTo>
                    <a:lnTo>
                      <a:pt x="73" y="503"/>
                    </a:lnTo>
                    <a:lnTo>
                      <a:pt x="71" y="500"/>
                    </a:lnTo>
                    <a:lnTo>
                      <a:pt x="69" y="498"/>
                    </a:lnTo>
                    <a:lnTo>
                      <a:pt x="67" y="498"/>
                    </a:lnTo>
                    <a:lnTo>
                      <a:pt x="69" y="496"/>
                    </a:lnTo>
                    <a:lnTo>
                      <a:pt x="71" y="494"/>
                    </a:lnTo>
                    <a:lnTo>
                      <a:pt x="73" y="492"/>
                    </a:lnTo>
                    <a:lnTo>
                      <a:pt x="71" y="492"/>
                    </a:lnTo>
                    <a:lnTo>
                      <a:pt x="69" y="492"/>
                    </a:lnTo>
                    <a:lnTo>
                      <a:pt x="67" y="492"/>
                    </a:lnTo>
                    <a:lnTo>
                      <a:pt x="67" y="490"/>
                    </a:lnTo>
                    <a:lnTo>
                      <a:pt x="67" y="488"/>
                    </a:lnTo>
                    <a:lnTo>
                      <a:pt x="69" y="488"/>
                    </a:lnTo>
                    <a:lnTo>
                      <a:pt x="71" y="486"/>
                    </a:lnTo>
                    <a:lnTo>
                      <a:pt x="73" y="486"/>
                    </a:lnTo>
                    <a:lnTo>
                      <a:pt x="73" y="484"/>
                    </a:lnTo>
                    <a:lnTo>
                      <a:pt x="73" y="482"/>
                    </a:lnTo>
                    <a:lnTo>
                      <a:pt x="73" y="480"/>
                    </a:lnTo>
                    <a:lnTo>
                      <a:pt x="75" y="478"/>
                    </a:lnTo>
                    <a:lnTo>
                      <a:pt x="77" y="478"/>
                    </a:lnTo>
                    <a:lnTo>
                      <a:pt x="77" y="476"/>
                    </a:lnTo>
                    <a:lnTo>
                      <a:pt x="79" y="475"/>
                    </a:lnTo>
                    <a:lnTo>
                      <a:pt x="79" y="473"/>
                    </a:lnTo>
                    <a:lnTo>
                      <a:pt x="79" y="471"/>
                    </a:lnTo>
                    <a:lnTo>
                      <a:pt x="79" y="469"/>
                    </a:lnTo>
                    <a:lnTo>
                      <a:pt x="80" y="469"/>
                    </a:lnTo>
                    <a:lnTo>
                      <a:pt x="82" y="465"/>
                    </a:lnTo>
                    <a:lnTo>
                      <a:pt x="84" y="465"/>
                    </a:lnTo>
                    <a:lnTo>
                      <a:pt x="84" y="467"/>
                    </a:lnTo>
                    <a:lnTo>
                      <a:pt x="86" y="467"/>
                    </a:lnTo>
                    <a:lnTo>
                      <a:pt x="86" y="469"/>
                    </a:lnTo>
                    <a:lnTo>
                      <a:pt x="86" y="471"/>
                    </a:lnTo>
                    <a:lnTo>
                      <a:pt x="86" y="473"/>
                    </a:lnTo>
                    <a:lnTo>
                      <a:pt x="88" y="473"/>
                    </a:lnTo>
                    <a:lnTo>
                      <a:pt x="88" y="475"/>
                    </a:lnTo>
                    <a:lnTo>
                      <a:pt x="90" y="475"/>
                    </a:lnTo>
                    <a:lnTo>
                      <a:pt x="90" y="476"/>
                    </a:lnTo>
                    <a:lnTo>
                      <a:pt x="92" y="476"/>
                    </a:lnTo>
                    <a:lnTo>
                      <a:pt x="94" y="476"/>
                    </a:lnTo>
                    <a:lnTo>
                      <a:pt x="96" y="476"/>
                    </a:lnTo>
                    <a:lnTo>
                      <a:pt x="98" y="476"/>
                    </a:lnTo>
                    <a:lnTo>
                      <a:pt x="98" y="478"/>
                    </a:lnTo>
                    <a:lnTo>
                      <a:pt x="100" y="478"/>
                    </a:lnTo>
                    <a:lnTo>
                      <a:pt x="102" y="478"/>
                    </a:lnTo>
                    <a:lnTo>
                      <a:pt x="104" y="478"/>
                    </a:lnTo>
                    <a:lnTo>
                      <a:pt x="105" y="478"/>
                    </a:lnTo>
                    <a:lnTo>
                      <a:pt x="105" y="480"/>
                    </a:lnTo>
                    <a:lnTo>
                      <a:pt x="107" y="480"/>
                    </a:lnTo>
                    <a:lnTo>
                      <a:pt x="107" y="482"/>
                    </a:lnTo>
                    <a:lnTo>
                      <a:pt x="109" y="482"/>
                    </a:lnTo>
                    <a:lnTo>
                      <a:pt x="111" y="482"/>
                    </a:lnTo>
                    <a:lnTo>
                      <a:pt x="111" y="484"/>
                    </a:lnTo>
                    <a:lnTo>
                      <a:pt x="113" y="484"/>
                    </a:lnTo>
                    <a:lnTo>
                      <a:pt x="113" y="486"/>
                    </a:lnTo>
                    <a:lnTo>
                      <a:pt x="115" y="486"/>
                    </a:lnTo>
                    <a:lnTo>
                      <a:pt x="117" y="486"/>
                    </a:lnTo>
                    <a:lnTo>
                      <a:pt x="117" y="488"/>
                    </a:lnTo>
                    <a:lnTo>
                      <a:pt x="119" y="488"/>
                    </a:lnTo>
                    <a:lnTo>
                      <a:pt x="119" y="490"/>
                    </a:lnTo>
                    <a:lnTo>
                      <a:pt x="121" y="490"/>
                    </a:lnTo>
                    <a:lnTo>
                      <a:pt x="123" y="490"/>
                    </a:lnTo>
                    <a:lnTo>
                      <a:pt x="125" y="490"/>
                    </a:lnTo>
                    <a:lnTo>
                      <a:pt x="125" y="492"/>
                    </a:lnTo>
                    <a:lnTo>
                      <a:pt x="127" y="492"/>
                    </a:lnTo>
                    <a:lnTo>
                      <a:pt x="128" y="492"/>
                    </a:lnTo>
                    <a:lnTo>
                      <a:pt x="130" y="492"/>
                    </a:lnTo>
                    <a:lnTo>
                      <a:pt x="132" y="492"/>
                    </a:lnTo>
                    <a:lnTo>
                      <a:pt x="134" y="492"/>
                    </a:lnTo>
                    <a:lnTo>
                      <a:pt x="136" y="492"/>
                    </a:lnTo>
                    <a:lnTo>
                      <a:pt x="138" y="492"/>
                    </a:lnTo>
                    <a:lnTo>
                      <a:pt x="140" y="492"/>
                    </a:lnTo>
                    <a:lnTo>
                      <a:pt x="140" y="494"/>
                    </a:lnTo>
                    <a:lnTo>
                      <a:pt x="142" y="494"/>
                    </a:lnTo>
                    <a:lnTo>
                      <a:pt x="144" y="494"/>
                    </a:lnTo>
                    <a:lnTo>
                      <a:pt x="144" y="492"/>
                    </a:lnTo>
                    <a:lnTo>
                      <a:pt x="144" y="490"/>
                    </a:lnTo>
                    <a:lnTo>
                      <a:pt x="144" y="488"/>
                    </a:lnTo>
                    <a:lnTo>
                      <a:pt x="144" y="486"/>
                    </a:lnTo>
                    <a:lnTo>
                      <a:pt x="144" y="484"/>
                    </a:lnTo>
                    <a:lnTo>
                      <a:pt x="142" y="484"/>
                    </a:lnTo>
                    <a:lnTo>
                      <a:pt x="140" y="482"/>
                    </a:lnTo>
                    <a:lnTo>
                      <a:pt x="140" y="480"/>
                    </a:lnTo>
                    <a:lnTo>
                      <a:pt x="138" y="480"/>
                    </a:lnTo>
                    <a:lnTo>
                      <a:pt x="138" y="478"/>
                    </a:lnTo>
                    <a:lnTo>
                      <a:pt x="136" y="478"/>
                    </a:lnTo>
                    <a:lnTo>
                      <a:pt x="136" y="480"/>
                    </a:lnTo>
                    <a:lnTo>
                      <a:pt x="134" y="480"/>
                    </a:lnTo>
                    <a:lnTo>
                      <a:pt x="132" y="480"/>
                    </a:lnTo>
                    <a:lnTo>
                      <a:pt x="132" y="478"/>
                    </a:lnTo>
                    <a:lnTo>
                      <a:pt x="130" y="478"/>
                    </a:lnTo>
                    <a:lnTo>
                      <a:pt x="130" y="476"/>
                    </a:lnTo>
                    <a:lnTo>
                      <a:pt x="130" y="475"/>
                    </a:lnTo>
                    <a:lnTo>
                      <a:pt x="128" y="475"/>
                    </a:lnTo>
                    <a:lnTo>
                      <a:pt x="128" y="473"/>
                    </a:lnTo>
                    <a:lnTo>
                      <a:pt x="128" y="471"/>
                    </a:lnTo>
                    <a:lnTo>
                      <a:pt x="128" y="469"/>
                    </a:lnTo>
                    <a:lnTo>
                      <a:pt x="130" y="469"/>
                    </a:lnTo>
                    <a:lnTo>
                      <a:pt x="130" y="467"/>
                    </a:lnTo>
                    <a:lnTo>
                      <a:pt x="130" y="465"/>
                    </a:lnTo>
                    <a:lnTo>
                      <a:pt x="130" y="463"/>
                    </a:lnTo>
                    <a:lnTo>
                      <a:pt x="130" y="461"/>
                    </a:lnTo>
                    <a:lnTo>
                      <a:pt x="128" y="461"/>
                    </a:lnTo>
                    <a:lnTo>
                      <a:pt x="127" y="461"/>
                    </a:lnTo>
                    <a:lnTo>
                      <a:pt x="125" y="459"/>
                    </a:lnTo>
                    <a:lnTo>
                      <a:pt x="125" y="457"/>
                    </a:lnTo>
                    <a:lnTo>
                      <a:pt x="123" y="457"/>
                    </a:lnTo>
                    <a:lnTo>
                      <a:pt x="123" y="455"/>
                    </a:lnTo>
                    <a:lnTo>
                      <a:pt x="123" y="453"/>
                    </a:lnTo>
                    <a:lnTo>
                      <a:pt x="125" y="453"/>
                    </a:lnTo>
                    <a:lnTo>
                      <a:pt x="127" y="453"/>
                    </a:lnTo>
                    <a:lnTo>
                      <a:pt x="128" y="453"/>
                    </a:lnTo>
                    <a:lnTo>
                      <a:pt x="128" y="452"/>
                    </a:lnTo>
                    <a:lnTo>
                      <a:pt x="128" y="450"/>
                    </a:lnTo>
                    <a:lnTo>
                      <a:pt x="128" y="448"/>
                    </a:lnTo>
                    <a:lnTo>
                      <a:pt x="127" y="448"/>
                    </a:lnTo>
                    <a:lnTo>
                      <a:pt x="127" y="446"/>
                    </a:lnTo>
                    <a:lnTo>
                      <a:pt x="128" y="446"/>
                    </a:lnTo>
                    <a:lnTo>
                      <a:pt x="128" y="444"/>
                    </a:lnTo>
                    <a:lnTo>
                      <a:pt x="128" y="442"/>
                    </a:lnTo>
                    <a:lnTo>
                      <a:pt x="128" y="440"/>
                    </a:lnTo>
                    <a:lnTo>
                      <a:pt x="128" y="438"/>
                    </a:lnTo>
                    <a:lnTo>
                      <a:pt x="128" y="436"/>
                    </a:lnTo>
                    <a:lnTo>
                      <a:pt x="130" y="434"/>
                    </a:lnTo>
                    <a:lnTo>
                      <a:pt x="130" y="432"/>
                    </a:lnTo>
                    <a:lnTo>
                      <a:pt x="132" y="430"/>
                    </a:lnTo>
                    <a:lnTo>
                      <a:pt x="134" y="430"/>
                    </a:lnTo>
                    <a:lnTo>
                      <a:pt x="136" y="430"/>
                    </a:lnTo>
                    <a:lnTo>
                      <a:pt x="138" y="430"/>
                    </a:lnTo>
                    <a:lnTo>
                      <a:pt x="140" y="430"/>
                    </a:lnTo>
                    <a:lnTo>
                      <a:pt x="140" y="432"/>
                    </a:lnTo>
                    <a:lnTo>
                      <a:pt x="140" y="430"/>
                    </a:lnTo>
                    <a:lnTo>
                      <a:pt x="142" y="430"/>
                    </a:lnTo>
                    <a:lnTo>
                      <a:pt x="148" y="425"/>
                    </a:lnTo>
                    <a:lnTo>
                      <a:pt x="150" y="425"/>
                    </a:lnTo>
                    <a:lnTo>
                      <a:pt x="150" y="423"/>
                    </a:lnTo>
                    <a:lnTo>
                      <a:pt x="152" y="423"/>
                    </a:lnTo>
                    <a:lnTo>
                      <a:pt x="152" y="421"/>
                    </a:lnTo>
                    <a:lnTo>
                      <a:pt x="153" y="421"/>
                    </a:lnTo>
                    <a:lnTo>
                      <a:pt x="153" y="415"/>
                    </a:lnTo>
                    <a:lnTo>
                      <a:pt x="153" y="413"/>
                    </a:lnTo>
                    <a:lnTo>
                      <a:pt x="153" y="411"/>
                    </a:lnTo>
                    <a:lnTo>
                      <a:pt x="153" y="409"/>
                    </a:lnTo>
                    <a:lnTo>
                      <a:pt x="153" y="407"/>
                    </a:lnTo>
                    <a:lnTo>
                      <a:pt x="155" y="407"/>
                    </a:lnTo>
                    <a:lnTo>
                      <a:pt x="153" y="407"/>
                    </a:lnTo>
                    <a:lnTo>
                      <a:pt x="153" y="405"/>
                    </a:lnTo>
                    <a:lnTo>
                      <a:pt x="155" y="405"/>
                    </a:lnTo>
                    <a:lnTo>
                      <a:pt x="153" y="405"/>
                    </a:lnTo>
                    <a:lnTo>
                      <a:pt x="155" y="405"/>
                    </a:lnTo>
                    <a:lnTo>
                      <a:pt x="155" y="404"/>
                    </a:lnTo>
                    <a:lnTo>
                      <a:pt x="153" y="404"/>
                    </a:lnTo>
                    <a:lnTo>
                      <a:pt x="155" y="404"/>
                    </a:lnTo>
                    <a:lnTo>
                      <a:pt x="155" y="402"/>
                    </a:lnTo>
                    <a:lnTo>
                      <a:pt x="153" y="402"/>
                    </a:lnTo>
                    <a:lnTo>
                      <a:pt x="153" y="404"/>
                    </a:lnTo>
                    <a:lnTo>
                      <a:pt x="153" y="402"/>
                    </a:lnTo>
                    <a:lnTo>
                      <a:pt x="155" y="402"/>
                    </a:lnTo>
                    <a:lnTo>
                      <a:pt x="155" y="400"/>
                    </a:lnTo>
                    <a:lnTo>
                      <a:pt x="157" y="400"/>
                    </a:lnTo>
                    <a:lnTo>
                      <a:pt x="155" y="400"/>
                    </a:lnTo>
                    <a:lnTo>
                      <a:pt x="155" y="402"/>
                    </a:lnTo>
                    <a:lnTo>
                      <a:pt x="153" y="402"/>
                    </a:lnTo>
                    <a:lnTo>
                      <a:pt x="153" y="400"/>
                    </a:lnTo>
                    <a:lnTo>
                      <a:pt x="153" y="398"/>
                    </a:lnTo>
                    <a:lnTo>
                      <a:pt x="152" y="396"/>
                    </a:lnTo>
                    <a:lnTo>
                      <a:pt x="148" y="390"/>
                    </a:lnTo>
                    <a:lnTo>
                      <a:pt x="148" y="392"/>
                    </a:lnTo>
                    <a:lnTo>
                      <a:pt x="146" y="392"/>
                    </a:lnTo>
                    <a:lnTo>
                      <a:pt x="146" y="390"/>
                    </a:lnTo>
                    <a:lnTo>
                      <a:pt x="146" y="392"/>
                    </a:lnTo>
                    <a:lnTo>
                      <a:pt x="144" y="392"/>
                    </a:lnTo>
                    <a:lnTo>
                      <a:pt x="144" y="390"/>
                    </a:lnTo>
                    <a:lnTo>
                      <a:pt x="144" y="388"/>
                    </a:lnTo>
                    <a:lnTo>
                      <a:pt x="142" y="388"/>
                    </a:lnTo>
                    <a:lnTo>
                      <a:pt x="140" y="388"/>
                    </a:lnTo>
                    <a:lnTo>
                      <a:pt x="140" y="386"/>
                    </a:lnTo>
                    <a:lnTo>
                      <a:pt x="142" y="386"/>
                    </a:lnTo>
                    <a:lnTo>
                      <a:pt x="144" y="386"/>
                    </a:lnTo>
                    <a:lnTo>
                      <a:pt x="144" y="384"/>
                    </a:lnTo>
                    <a:lnTo>
                      <a:pt x="146" y="384"/>
                    </a:lnTo>
                    <a:lnTo>
                      <a:pt x="146" y="382"/>
                    </a:lnTo>
                    <a:lnTo>
                      <a:pt x="144" y="382"/>
                    </a:lnTo>
                    <a:lnTo>
                      <a:pt x="146" y="382"/>
                    </a:lnTo>
                    <a:lnTo>
                      <a:pt x="146" y="380"/>
                    </a:lnTo>
                    <a:lnTo>
                      <a:pt x="148" y="380"/>
                    </a:lnTo>
                    <a:lnTo>
                      <a:pt x="146" y="380"/>
                    </a:lnTo>
                    <a:lnTo>
                      <a:pt x="146" y="379"/>
                    </a:lnTo>
                    <a:lnTo>
                      <a:pt x="146" y="377"/>
                    </a:lnTo>
                    <a:lnTo>
                      <a:pt x="148" y="377"/>
                    </a:lnTo>
                    <a:lnTo>
                      <a:pt x="146" y="377"/>
                    </a:lnTo>
                    <a:lnTo>
                      <a:pt x="146" y="375"/>
                    </a:lnTo>
                    <a:lnTo>
                      <a:pt x="146" y="377"/>
                    </a:lnTo>
                    <a:lnTo>
                      <a:pt x="146" y="375"/>
                    </a:lnTo>
                    <a:lnTo>
                      <a:pt x="144" y="375"/>
                    </a:lnTo>
                    <a:lnTo>
                      <a:pt x="144" y="373"/>
                    </a:lnTo>
                    <a:lnTo>
                      <a:pt x="146" y="373"/>
                    </a:lnTo>
                    <a:lnTo>
                      <a:pt x="146" y="371"/>
                    </a:lnTo>
                    <a:lnTo>
                      <a:pt x="144" y="371"/>
                    </a:lnTo>
                    <a:lnTo>
                      <a:pt x="144" y="369"/>
                    </a:lnTo>
                    <a:lnTo>
                      <a:pt x="146" y="369"/>
                    </a:lnTo>
                    <a:lnTo>
                      <a:pt x="146" y="367"/>
                    </a:lnTo>
                    <a:lnTo>
                      <a:pt x="146" y="365"/>
                    </a:lnTo>
                    <a:lnTo>
                      <a:pt x="144" y="365"/>
                    </a:lnTo>
                    <a:lnTo>
                      <a:pt x="144" y="363"/>
                    </a:lnTo>
                    <a:lnTo>
                      <a:pt x="142" y="363"/>
                    </a:lnTo>
                    <a:lnTo>
                      <a:pt x="144" y="363"/>
                    </a:lnTo>
                    <a:lnTo>
                      <a:pt x="142" y="363"/>
                    </a:lnTo>
                    <a:lnTo>
                      <a:pt x="140" y="363"/>
                    </a:lnTo>
                    <a:lnTo>
                      <a:pt x="140" y="361"/>
                    </a:lnTo>
                    <a:lnTo>
                      <a:pt x="138" y="361"/>
                    </a:lnTo>
                    <a:lnTo>
                      <a:pt x="138" y="359"/>
                    </a:lnTo>
                    <a:lnTo>
                      <a:pt x="136" y="357"/>
                    </a:lnTo>
                    <a:lnTo>
                      <a:pt x="138" y="357"/>
                    </a:lnTo>
                    <a:lnTo>
                      <a:pt x="138" y="356"/>
                    </a:lnTo>
                    <a:lnTo>
                      <a:pt x="136" y="356"/>
                    </a:lnTo>
                    <a:lnTo>
                      <a:pt x="134" y="356"/>
                    </a:lnTo>
                    <a:lnTo>
                      <a:pt x="134" y="354"/>
                    </a:lnTo>
                    <a:lnTo>
                      <a:pt x="125" y="350"/>
                    </a:lnTo>
                    <a:lnTo>
                      <a:pt x="121" y="346"/>
                    </a:lnTo>
                    <a:lnTo>
                      <a:pt x="117" y="346"/>
                    </a:lnTo>
                    <a:lnTo>
                      <a:pt x="111" y="342"/>
                    </a:lnTo>
                    <a:lnTo>
                      <a:pt x="111" y="340"/>
                    </a:lnTo>
                    <a:lnTo>
                      <a:pt x="111" y="336"/>
                    </a:lnTo>
                    <a:lnTo>
                      <a:pt x="111" y="334"/>
                    </a:lnTo>
                    <a:lnTo>
                      <a:pt x="111" y="327"/>
                    </a:lnTo>
                    <a:lnTo>
                      <a:pt x="111" y="323"/>
                    </a:lnTo>
                    <a:lnTo>
                      <a:pt x="113" y="321"/>
                    </a:lnTo>
                    <a:lnTo>
                      <a:pt x="111" y="321"/>
                    </a:lnTo>
                    <a:lnTo>
                      <a:pt x="111" y="317"/>
                    </a:lnTo>
                    <a:lnTo>
                      <a:pt x="109" y="315"/>
                    </a:lnTo>
                    <a:lnTo>
                      <a:pt x="109" y="311"/>
                    </a:lnTo>
                    <a:lnTo>
                      <a:pt x="107" y="311"/>
                    </a:lnTo>
                    <a:lnTo>
                      <a:pt x="105" y="311"/>
                    </a:lnTo>
                    <a:lnTo>
                      <a:pt x="104" y="311"/>
                    </a:lnTo>
                    <a:lnTo>
                      <a:pt x="100" y="311"/>
                    </a:lnTo>
                    <a:lnTo>
                      <a:pt x="98" y="311"/>
                    </a:lnTo>
                    <a:lnTo>
                      <a:pt x="98" y="309"/>
                    </a:lnTo>
                    <a:lnTo>
                      <a:pt x="96" y="308"/>
                    </a:lnTo>
                    <a:lnTo>
                      <a:pt x="96" y="304"/>
                    </a:lnTo>
                    <a:lnTo>
                      <a:pt x="96" y="302"/>
                    </a:lnTo>
                    <a:lnTo>
                      <a:pt x="96" y="300"/>
                    </a:lnTo>
                    <a:lnTo>
                      <a:pt x="96" y="298"/>
                    </a:lnTo>
                    <a:lnTo>
                      <a:pt x="94" y="298"/>
                    </a:lnTo>
                    <a:lnTo>
                      <a:pt x="80" y="300"/>
                    </a:lnTo>
                    <a:lnTo>
                      <a:pt x="79" y="296"/>
                    </a:lnTo>
                    <a:lnTo>
                      <a:pt x="79" y="292"/>
                    </a:lnTo>
                    <a:lnTo>
                      <a:pt x="79" y="290"/>
                    </a:lnTo>
                    <a:lnTo>
                      <a:pt x="79" y="288"/>
                    </a:lnTo>
                    <a:lnTo>
                      <a:pt x="77" y="288"/>
                    </a:lnTo>
                    <a:lnTo>
                      <a:pt x="77" y="286"/>
                    </a:lnTo>
                    <a:lnTo>
                      <a:pt x="75" y="284"/>
                    </a:lnTo>
                    <a:lnTo>
                      <a:pt x="75" y="283"/>
                    </a:lnTo>
                    <a:lnTo>
                      <a:pt x="73" y="283"/>
                    </a:lnTo>
                    <a:lnTo>
                      <a:pt x="73" y="281"/>
                    </a:lnTo>
                    <a:lnTo>
                      <a:pt x="73" y="279"/>
                    </a:lnTo>
                    <a:lnTo>
                      <a:pt x="71" y="277"/>
                    </a:lnTo>
                    <a:lnTo>
                      <a:pt x="69" y="275"/>
                    </a:lnTo>
                    <a:lnTo>
                      <a:pt x="69" y="273"/>
                    </a:lnTo>
                    <a:lnTo>
                      <a:pt x="67" y="273"/>
                    </a:lnTo>
                    <a:lnTo>
                      <a:pt x="67" y="271"/>
                    </a:lnTo>
                    <a:lnTo>
                      <a:pt x="65" y="269"/>
                    </a:lnTo>
                    <a:lnTo>
                      <a:pt x="65" y="267"/>
                    </a:lnTo>
                    <a:lnTo>
                      <a:pt x="63" y="267"/>
                    </a:lnTo>
                    <a:lnTo>
                      <a:pt x="63" y="265"/>
                    </a:lnTo>
                    <a:lnTo>
                      <a:pt x="65" y="263"/>
                    </a:lnTo>
                    <a:lnTo>
                      <a:pt x="69" y="261"/>
                    </a:lnTo>
                    <a:lnTo>
                      <a:pt x="71" y="265"/>
                    </a:lnTo>
                    <a:lnTo>
                      <a:pt x="73" y="265"/>
                    </a:lnTo>
                    <a:lnTo>
                      <a:pt x="75" y="263"/>
                    </a:lnTo>
                    <a:lnTo>
                      <a:pt x="77" y="263"/>
                    </a:lnTo>
                    <a:lnTo>
                      <a:pt x="79" y="261"/>
                    </a:lnTo>
                    <a:lnTo>
                      <a:pt x="80" y="261"/>
                    </a:lnTo>
                    <a:lnTo>
                      <a:pt x="79" y="260"/>
                    </a:lnTo>
                    <a:lnTo>
                      <a:pt x="77" y="258"/>
                    </a:lnTo>
                    <a:lnTo>
                      <a:pt x="77" y="256"/>
                    </a:lnTo>
                    <a:lnTo>
                      <a:pt x="75" y="256"/>
                    </a:lnTo>
                    <a:lnTo>
                      <a:pt x="75" y="254"/>
                    </a:lnTo>
                    <a:lnTo>
                      <a:pt x="75" y="252"/>
                    </a:lnTo>
                    <a:lnTo>
                      <a:pt x="77" y="250"/>
                    </a:lnTo>
                    <a:lnTo>
                      <a:pt x="77" y="248"/>
                    </a:lnTo>
                    <a:lnTo>
                      <a:pt x="77" y="244"/>
                    </a:lnTo>
                    <a:lnTo>
                      <a:pt x="79" y="244"/>
                    </a:lnTo>
                    <a:lnTo>
                      <a:pt x="80" y="244"/>
                    </a:lnTo>
                    <a:lnTo>
                      <a:pt x="80" y="242"/>
                    </a:lnTo>
                    <a:lnTo>
                      <a:pt x="79" y="242"/>
                    </a:lnTo>
                    <a:lnTo>
                      <a:pt x="77" y="242"/>
                    </a:lnTo>
                    <a:lnTo>
                      <a:pt x="77" y="240"/>
                    </a:lnTo>
                    <a:lnTo>
                      <a:pt x="79" y="240"/>
                    </a:lnTo>
                    <a:lnTo>
                      <a:pt x="79" y="238"/>
                    </a:lnTo>
                    <a:lnTo>
                      <a:pt x="79" y="236"/>
                    </a:lnTo>
                    <a:lnTo>
                      <a:pt x="79" y="235"/>
                    </a:lnTo>
                    <a:lnTo>
                      <a:pt x="80" y="235"/>
                    </a:lnTo>
                    <a:lnTo>
                      <a:pt x="80" y="233"/>
                    </a:lnTo>
                    <a:lnTo>
                      <a:pt x="80" y="231"/>
                    </a:lnTo>
                    <a:lnTo>
                      <a:pt x="79" y="229"/>
                    </a:lnTo>
                    <a:lnTo>
                      <a:pt x="77" y="227"/>
                    </a:lnTo>
                    <a:lnTo>
                      <a:pt x="75" y="225"/>
                    </a:lnTo>
                    <a:lnTo>
                      <a:pt x="73" y="223"/>
                    </a:lnTo>
                    <a:lnTo>
                      <a:pt x="69" y="221"/>
                    </a:lnTo>
                    <a:lnTo>
                      <a:pt x="69" y="219"/>
                    </a:lnTo>
                    <a:lnTo>
                      <a:pt x="69" y="213"/>
                    </a:lnTo>
                    <a:lnTo>
                      <a:pt x="67" y="212"/>
                    </a:lnTo>
                    <a:lnTo>
                      <a:pt x="67" y="210"/>
                    </a:lnTo>
                    <a:lnTo>
                      <a:pt x="67" y="208"/>
                    </a:lnTo>
                    <a:lnTo>
                      <a:pt x="67" y="206"/>
                    </a:lnTo>
                    <a:lnTo>
                      <a:pt x="67" y="204"/>
                    </a:lnTo>
                    <a:lnTo>
                      <a:pt x="67" y="202"/>
                    </a:lnTo>
                    <a:lnTo>
                      <a:pt x="67" y="198"/>
                    </a:lnTo>
                    <a:lnTo>
                      <a:pt x="61" y="196"/>
                    </a:lnTo>
                    <a:lnTo>
                      <a:pt x="61" y="194"/>
                    </a:lnTo>
                    <a:lnTo>
                      <a:pt x="63" y="194"/>
                    </a:lnTo>
                    <a:lnTo>
                      <a:pt x="63" y="192"/>
                    </a:lnTo>
                    <a:lnTo>
                      <a:pt x="61" y="192"/>
                    </a:lnTo>
                    <a:lnTo>
                      <a:pt x="61" y="190"/>
                    </a:lnTo>
                    <a:lnTo>
                      <a:pt x="61" y="188"/>
                    </a:lnTo>
                    <a:lnTo>
                      <a:pt x="59" y="188"/>
                    </a:lnTo>
                    <a:lnTo>
                      <a:pt x="59" y="187"/>
                    </a:lnTo>
                    <a:lnTo>
                      <a:pt x="59" y="188"/>
                    </a:lnTo>
                    <a:lnTo>
                      <a:pt x="57" y="188"/>
                    </a:lnTo>
                    <a:lnTo>
                      <a:pt x="57" y="190"/>
                    </a:lnTo>
                    <a:lnTo>
                      <a:pt x="56" y="192"/>
                    </a:lnTo>
                    <a:lnTo>
                      <a:pt x="56" y="194"/>
                    </a:lnTo>
                    <a:lnTo>
                      <a:pt x="54" y="194"/>
                    </a:lnTo>
                    <a:lnTo>
                      <a:pt x="52" y="194"/>
                    </a:lnTo>
                    <a:lnTo>
                      <a:pt x="52" y="192"/>
                    </a:lnTo>
                    <a:lnTo>
                      <a:pt x="50" y="192"/>
                    </a:lnTo>
                    <a:lnTo>
                      <a:pt x="50" y="190"/>
                    </a:lnTo>
                    <a:lnTo>
                      <a:pt x="48" y="188"/>
                    </a:lnTo>
                    <a:lnTo>
                      <a:pt x="46" y="187"/>
                    </a:lnTo>
                    <a:lnTo>
                      <a:pt x="46" y="185"/>
                    </a:lnTo>
                    <a:lnTo>
                      <a:pt x="44" y="185"/>
                    </a:lnTo>
                    <a:lnTo>
                      <a:pt x="44" y="183"/>
                    </a:lnTo>
                    <a:lnTo>
                      <a:pt x="42" y="181"/>
                    </a:lnTo>
                    <a:lnTo>
                      <a:pt x="42" y="179"/>
                    </a:lnTo>
                    <a:lnTo>
                      <a:pt x="42" y="177"/>
                    </a:lnTo>
                    <a:lnTo>
                      <a:pt x="40" y="177"/>
                    </a:lnTo>
                    <a:lnTo>
                      <a:pt x="40" y="175"/>
                    </a:lnTo>
                    <a:lnTo>
                      <a:pt x="42" y="173"/>
                    </a:lnTo>
                    <a:lnTo>
                      <a:pt x="44" y="171"/>
                    </a:lnTo>
                    <a:lnTo>
                      <a:pt x="44" y="169"/>
                    </a:lnTo>
                    <a:lnTo>
                      <a:pt x="44" y="167"/>
                    </a:lnTo>
                    <a:lnTo>
                      <a:pt x="42" y="167"/>
                    </a:lnTo>
                    <a:lnTo>
                      <a:pt x="42" y="165"/>
                    </a:lnTo>
                    <a:lnTo>
                      <a:pt x="40" y="165"/>
                    </a:lnTo>
                    <a:lnTo>
                      <a:pt x="40" y="164"/>
                    </a:lnTo>
                    <a:lnTo>
                      <a:pt x="38" y="164"/>
                    </a:lnTo>
                    <a:lnTo>
                      <a:pt x="38" y="162"/>
                    </a:lnTo>
                    <a:lnTo>
                      <a:pt x="40" y="162"/>
                    </a:lnTo>
                    <a:lnTo>
                      <a:pt x="48" y="160"/>
                    </a:lnTo>
                    <a:lnTo>
                      <a:pt x="54" y="162"/>
                    </a:lnTo>
                    <a:lnTo>
                      <a:pt x="54" y="158"/>
                    </a:lnTo>
                    <a:lnTo>
                      <a:pt x="52" y="152"/>
                    </a:lnTo>
                    <a:lnTo>
                      <a:pt x="50" y="150"/>
                    </a:lnTo>
                    <a:lnTo>
                      <a:pt x="48" y="150"/>
                    </a:lnTo>
                    <a:lnTo>
                      <a:pt x="44" y="148"/>
                    </a:lnTo>
                    <a:lnTo>
                      <a:pt x="38" y="144"/>
                    </a:lnTo>
                    <a:lnTo>
                      <a:pt x="32" y="142"/>
                    </a:lnTo>
                    <a:lnTo>
                      <a:pt x="31" y="142"/>
                    </a:lnTo>
                    <a:lnTo>
                      <a:pt x="29" y="142"/>
                    </a:lnTo>
                    <a:lnTo>
                      <a:pt x="23" y="141"/>
                    </a:lnTo>
                    <a:lnTo>
                      <a:pt x="23" y="139"/>
                    </a:lnTo>
                    <a:lnTo>
                      <a:pt x="21" y="139"/>
                    </a:lnTo>
                    <a:lnTo>
                      <a:pt x="21" y="137"/>
                    </a:lnTo>
                    <a:lnTo>
                      <a:pt x="19" y="137"/>
                    </a:lnTo>
                    <a:lnTo>
                      <a:pt x="19" y="135"/>
                    </a:lnTo>
                    <a:lnTo>
                      <a:pt x="19" y="133"/>
                    </a:lnTo>
                    <a:lnTo>
                      <a:pt x="17" y="133"/>
                    </a:lnTo>
                    <a:lnTo>
                      <a:pt x="17" y="131"/>
                    </a:lnTo>
                    <a:lnTo>
                      <a:pt x="17" y="129"/>
                    </a:lnTo>
                    <a:lnTo>
                      <a:pt x="15" y="129"/>
                    </a:lnTo>
                    <a:lnTo>
                      <a:pt x="13" y="125"/>
                    </a:lnTo>
                    <a:lnTo>
                      <a:pt x="11" y="125"/>
                    </a:lnTo>
                    <a:lnTo>
                      <a:pt x="9" y="123"/>
                    </a:lnTo>
                    <a:lnTo>
                      <a:pt x="6" y="117"/>
                    </a:lnTo>
                    <a:lnTo>
                      <a:pt x="6" y="116"/>
                    </a:lnTo>
                    <a:lnTo>
                      <a:pt x="9" y="112"/>
                    </a:lnTo>
                    <a:lnTo>
                      <a:pt x="8" y="110"/>
                    </a:lnTo>
                    <a:lnTo>
                      <a:pt x="4" y="108"/>
                    </a:lnTo>
                    <a:lnTo>
                      <a:pt x="2" y="106"/>
                    </a:lnTo>
                    <a:lnTo>
                      <a:pt x="4" y="104"/>
                    </a:lnTo>
                    <a:lnTo>
                      <a:pt x="2" y="104"/>
                    </a:lnTo>
                    <a:lnTo>
                      <a:pt x="2" y="102"/>
                    </a:lnTo>
                    <a:lnTo>
                      <a:pt x="0" y="102"/>
                    </a:lnTo>
                    <a:lnTo>
                      <a:pt x="2" y="96"/>
                    </a:lnTo>
                    <a:lnTo>
                      <a:pt x="2" y="94"/>
                    </a:lnTo>
                    <a:lnTo>
                      <a:pt x="4" y="93"/>
                    </a:lnTo>
                    <a:lnTo>
                      <a:pt x="4" y="91"/>
                    </a:lnTo>
                    <a:lnTo>
                      <a:pt x="4" y="89"/>
                    </a:lnTo>
                    <a:lnTo>
                      <a:pt x="2" y="87"/>
                    </a:lnTo>
                    <a:lnTo>
                      <a:pt x="2" y="85"/>
                    </a:lnTo>
                    <a:lnTo>
                      <a:pt x="4" y="85"/>
                    </a:lnTo>
                    <a:lnTo>
                      <a:pt x="8" y="83"/>
                    </a:lnTo>
                    <a:lnTo>
                      <a:pt x="9" y="83"/>
                    </a:lnTo>
                    <a:lnTo>
                      <a:pt x="11" y="81"/>
                    </a:lnTo>
                    <a:lnTo>
                      <a:pt x="13" y="81"/>
                    </a:lnTo>
                    <a:lnTo>
                      <a:pt x="15" y="79"/>
                    </a:lnTo>
                    <a:lnTo>
                      <a:pt x="15" y="75"/>
                    </a:lnTo>
                    <a:lnTo>
                      <a:pt x="13" y="75"/>
                    </a:lnTo>
                    <a:lnTo>
                      <a:pt x="13" y="73"/>
                    </a:lnTo>
                    <a:lnTo>
                      <a:pt x="15" y="73"/>
                    </a:lnTo>
                    <a:lnTo>
                      <a:pt x="17" y="71"/>
                    </a:lnTo>
                    <a:lnTo>
                      <a:pt x="19" y="69"/>
                    </a:lnTo>
                    <a:lnTo>
                      <a:pt x="21" y="66"/>
                    </a:lnTo>
                    <a:lnTo>
                      <a:pt x="19" y="64"/>
                    </a:lnTo>
                    <a:lnTo>
                      <a:pt x="19" y="62"/>
                    </a:lnTo>
                    <a:lnTo>
                      <a:pt x="19" y="60"/>
                    </a:lnTo>
                    <a:lnTo>
                      <a:pt x="21" y="60"/>
                    </a:lnTo>
                    <a:lnTo>
                      <a:pt x="23" y="60"/>
                    </a:lnTo>
                    <a:lnTo>
                      <a:pt x="25" y="60"/>
                    </a:lnTo>
                    <a:lnTo>
                      <a:pt x="29" y="60"/>
                    </a:lnTo>
                    <a:lnTo>
                      <a:pt x="31" y="60"/>
                    </a:lnTo>
                    <a:lnTo>
                      <a:pt x="36" y="60"/>
                    </a:lnTo>
                    <a:lnTo>
                      <a:pt x="38" y="58"/>
                    </a:lnTo>
                    <a:lnTo>
                      <a:pt x="40" y="60"/>
                    </a:lnTo>
                    <a:lnTo>
                      <a:pt x="40" y="62"/>
                    </a:lnTo>
                    <a:lnTo>
                      <a:pt x="42" y="62"/>
                    </a:lnTo>
                    <a:lnTo>
                      <a:pt x="44" y="62"/>
                    </a:lnTo>
                    <a:lnTo>
                      <a:pt x="44" y="60"/>
                    </a:lnTo>
                    <a:lnTo>
                      <a:pt x="44" y="62"/>
                    </a:lnTo>
                    <a:lnTo>
                      <a:pt x="48" y="64"/>
                    </a:lnTo>
                    <a:lnTo>
                      <a:pt x="52" y="64"/>
                    </a:lnTo>
                    <a:lnTo>
                      <a:pt x="52" y="62"/>
                    </a:lnTo>
                    <a:lnTo>
                      <a:pt x="50" y="62"/>
                    </a:lnTo>
                    <a:lnTo>
                      <a:pt x="48" y="62"/>
                    </a:lnTo>
                    <a:lnTo>
                      <a:pt x="50" y="60"/>
                    </a:lnTo>
                    <a:lnTo>
                      <a:pt x="52" y="60"/>
                    </a:lnTo>
                    <a:lnTo>
                      <a:pt x="52" y="58"/>
                    </a:lnTo>
                    <a:lnTo>
                      <a:pt x="50" y="58"/>
                    </a:lnTo>
                    <a:lnTo>
                      <a:pt x="50" y="56"/>
                    </a:lnTo>
                    <a:lnTo>
                      <a:pt x="52" y="56"/>
                    </a:lnTo>
                    <a:lnTo>
                      <a:pt x="50" y="56"/>
                    </a:lnTo>
                    <a:lnTo>
                      <a:pt x="50" y="54"/>
                    </a:lnTo>
                    <a:lnTo>
                      <a:pt x="48" y="52"/>
                    </a:lnTo>
                    <a:lnTo>
                      <a:pt x="50" y="52"/>
                    </a:lnTo>
                    <a:lnTo>
                      <a:pt x="56" y="54"/>
                    </a:lnTo>
                    <a:lnTo>
                      <a:pt x="56" y="50"/>
                    </a:lnTo>
                    <a:lnTo>
                      <a:pt x="59" y="52"/>
                    </a:lnTo>
                    <a:lnTo>
                      <a:pt x="59" y="50"/>
                    </a:lnTo>
                    <a:lnTo>
                      <a:pt x="61" y="46"/>
                    </a:lnTo>
                    <a:lnTo>
                      <a:pt x="61" y="45"/>
                    </a:lnTo>
                    <a:lnTo>
                      <a:pt x="63" y="45"/>
                    </a:lnTo>
                    <a:lnTo>
                      <a:pt x="65" y="43"/>
                    </a:lnTo>
                    <a:lnTo>
                      <a:pt x="69" y="43"/>
                    </a:lnTo>
                    <a:lnTo>
                      <a:pt x="69" y="41"/>
                    </a:lnTo>
                    <a:lnTo>
                      <a:pt x="69" y="39"/>
                    </a:lnTo>
                    <a:lnTo>
                      <a:pt x="67" y="37"/>
                    </a:lnTo>
                    <a:lnTo>
                      <a:pt x="67" y="35"/>
                    </a:lnTo>
                    <a:lnTo>
                      <a:pt x="69" y="35"/>
                    </a:lnTo>
                    <a:lnTo>
                      <a:pt x="69" y="33"/>
                    </a:lnTo>
                    <a:lnTo>
                      <a:pt x="71" y="33"/>
                    </a:lnTo>
                    <a:lnTo>
                      <a:pt x="73" y="33"/>
                    </a:lnTo>
                    <a:lnTo>
                      <a:pt x="75" y="33"/>
                    </a:lnTo>
                    <a:lnTo>
                      <a:pt x="79" y="33"/>
                    </a:lnTo>
                    <a:lnTo>
                      <a:pt x="80" y="33"/>
                    </a:lnTo>
                    <a:lnTo>
                      <a:pt x="80" y="35"/>
                    </a:lnTo>
                    <a:lnTo>
                      <a:pt x="80" y="37"/>
                    </a:lnTo>
                    <a:lnTo>
                      <a:pt x="82" y="37"/>
                    </a:lnTo>
                    <a:lnTo>
                      <a:pt x="82" y="39"/>
                    </a:lnTo>
                    <a:lnTo>
                      <a:pt x="88" y="43"/>
                    </a:lnTo>
                    <a:lnTo>
                      <a:pt x="90" y="41"/>
                    </a:lnTo>
                    <a:lnTo>
                      <a:pt x="96" y="43"/>
                    </a:lnTo>
                    <a:lnTo>
                      <a:pt x="100" y="45"/>
                    </a:lnTo>
                    <a:lnTo>
                      <a:pt x="102" y="46"/>
                    </a:lnTo>
                    <a:lnTo>
                      <a:pt x="107" y="48"/>
                    </a:lnTo>
                    <a:lnTo>
                      <a:pt x="109" y="48"/>
                    </a:lnTo>
                    <a:lnTo>
                      <a:pt x="113" y="46"/>
                    </a:lnTo>
                    <a:lnTo>
                      <a:pt x="113" y="48"/>
                    </a:lnTo>
                    <a:lnTo>
                      <a:pt x="115" y="48"/>
                    </a:lnTo>
                    <a:lnTo>
                      <a:pt x="113" y="48"/>
                    </a:lnTo>
                    <a:lnTo>
                      <a:pt x="115" y="50"/>
                    </a:lnTo>
                    <a:lnTo>
                      <a:pt x="113" y="50"/>
                    </a:lnTo>
                    <a:lnTo>
                      <a:pt x="115" y="52"/>
                    </a:lnTo>
                    <a:lnTo>
                      <a:pt x="113" y="52"/>
                    </a:lnTo>
                    <a:lnTo>
                      <a:pt x="113" y="58"/>
                    </a:lnTo>
                    <a:lnTo>
                      <a:pt x="111" y="58"/>
                    </a:lnTo>
                    <a:lnTo>
                      <a:pt x="111" y="60"/>
                    </a:lnTo>
                    <a:lnTo>
                      <a:pt x="111" y="62"/>
                    </a:lnTo>
                    <a:lnTo>
                      <a:pt x="113" y="62"/>
                    </a:lnTo>
                    <a:lnTo>
                      <a:pt x="115" y="64"/>
                    </a:lnTo>
                    <a:lnTo>
                      <a:pt x="117" y="64"/>
                    </a:lnTo>
                    <a:lnTo>
                      <a:pt x="117" y="66"/>
                    </a:lnTo>
                    <a:lnTo>
                      <a:pt x="121" y="69"/>
                    </a:lnTo>
                    <a:lnTo>
                      <a:pt x="121" y="71"/>
                    </a:lnTo>
                    <a:lnTo>
                      <a:pt x="123" y="71"/>
                    </a:lnTo>
                    <a:lnTo>
                      <a:pt x="125" y="71"/>
                    </a:lnTo>
                    <a:lnTo>
                      <a:pt x="125" y="69"/>
                    </a:lnTo>
                    <a:lnTo>
                      <a:pt x="127" y="69"/>
                    </a:lnTo>
                    <a:lnTo>
                      <a:pt x="127" y="68"/>
                    </a:lnTo>
                    <a:lnTo>
                      <a:pt x="128" y="69"/>
                    </a:lnTo>
                    <a:lnTo>
                      <a:pt x="128" y="68"/>
                    </a:lnTo>
                    <a:lnTo>
                      <a:pt x="130" y="68"/>
                    </a:lnTo>
                    <a:lnTo>
                      <a:pt x="132" y="68"/>
                    </a:lnTo>
                    <a:lnTo>
                      <a:pt x="134" y="66"/>
                    </a:lnTo>
                    <a:lnTo>
                      <a:pt x="134" y="68"/>
                    </a:lnTo>
                    <a:lnTo>
                      <a:pt x="136" y="68"/>
                    </a:lnTo>
                    <a:lnTo>
                      <a:pt x="138" y="68"/>
                    </a:lnTo>
                    <a:lnTo>
                      <a:pt x="138" y="69"/>
                    </a:lnTo>
                    <a:lnTo>
                      <a:pt x="142" y="69"/>
                    </a:lnTo>
                    <a:lnTo>
                      <a:pt x="146" y="69"/>
                    </a:lnTo>
                    <a:lnTo>
                      <a:pt x="148" y="69"/>
                    </a:lnTo>
                    <a:lnTo>
                      <a:pt x="150" y="69"/>
                    </a:lnTo>
                    <a:lnTo>
                      <a:pt x="152" y="69"/>
                    </a:lnTo>
                    <a:lnTo>
                      <a:pt x="152" y="68"/>
                    </a:lnTo>
                    <a:lnTo>
                      <a:pt x="152" y="66"/>
                    </a:lnTo>
                    <a:lnTo>
                      <a:pt x="153" y="66"/>
                    </a:lnTo>
                    <a:lnTo>
                      <a:pt x="155" y="66"/>
                    </a:lnTo>
                    <a:lnTo>
                      <a:pt x="159" y="66"/>
                    </a:lnTo>
                    <a:lnTo>
                      <a:pt x="161" y="66"/>
                    </a:lnTo>
                    <a:lnTo>
                      <a:pt x="161" y="64"/>
                    </a:lnTo>
                    <a:lnTo>
                      <a:pt x="161" y="66"/>
                    </a:lnTo>
                    <a:lnTo>
                      <a:pt x="161" y="69"/>
                    </a:lnTo>
                    <a:lnTo>
                      <a:pt x="163" y="69"/>
                    </a:lnTo>
                    <a:lnTo>
                      <a:pt x="165" y="69"/>
                    </a:lnTo>
                    <a:lnTo>
                      <a:pt x="169" y="71"/>
                    </a:lnTo>
                    <a:lnTo>
                      <a:pt x="171" y="71"/>
                    </a:lnTo>
                    <a:lnTo>
                      <a:pt x="173" y="71"/>
                    </a:lnTo>
                    <a:lnTo>
                      <a:pt x="175" y="71"/>
                    </a:lnTo>
                    <a:lnTo>
                      <a:pt x="176" y="71"/>
                    </a:lnTo>
                    <a:lnTo>
                      <a:pt x="178" y="71"/>
                    </a:lnTo>
                    <a:lnTo>
                      <a:pt x="180" y="71"/>
                    </a:lnTo>
                    <a:lnTo>
                      <a:pt x="178" y="73"/>
                    </a:lnTo>
                    <a:lnTo>
                      <a:pt x="180" y="73"/>
                    </a:lnTo>
                    <a:lnTo>
                      <a:pt x="180" y="71"/>
                    </a:lnTo>
                    <a:lnTo>
                      <a:pt x="182" y="71"/>
                    </a:lnTo>
                    <a:lnTo>
                      <a:pt x="182" y="73"/>
                    </a:lnTo>
                    <a:lnTo>
                      <a:pt x="184" y="73"/>
                    </a:lnTo>
                    <a:lnTo>
                      <a:pt x="184" y="75"/>
                    </a:lnTo>
                    <a:lnTo>
                      <a:pt x="186" y="75"/>
                    </a:lnTo>
                    <a:lnTo>
                      <a:pt x="186" y="73"/>
                    </a:lnTo>
                    <a:lnTo>
                      <a:pt x="188" y="73"/>
                    </a:lnTo>
                    <a:lnTo>
                      <a:pt x="194" y="77"/>
                    </a:lnTo>
                    <a:lnTo>
                      <a:pt x="194" y="75"/>
                    </a:lnTo>
                    <a:lnTo>
                      <a:pt x="196" y="75"/>
                    </a:lnTo>
                    <a:lnTo>
                      <a:pt x="196" y="73"/>
                    </a:lnTo>
                    <a:lnTo>
                      <a:pt x="194" y="73"/>
                    </a:lnTo>
                    <a:lnTo>
                      <a:pt x="194" y="71"/>
                    </a:lnTo>
                    <a:lnTo>
                      <a:pt x="192" y="71"/>
                    </a:lnTo>
                    <a:lnTo>
                      <a:pt x="192" y="69"/>
                    </a:lnTo>
                    <a:lnTo>
                      <a:pt x="194" y="69"/>
                    </a:lnTo>
                    <a:lnTo>
                      <a:pt x="192" y="69"/>
                    </a:lnTo>
                    <a:lnTo>
                      <a:pt x="192" y="68"/>
                    </a:lnTo>
                    <a:lnTo>
                      <a:pt x="194" y="68"/>
                    </a:lnTo>
                    <a:lnTo>
                      <a:pt x="196" y="68"/>
                    </a:lnTo>
                    <a:lnTo>
                      <a:pt x="196" y="66"/>
                    </a:lnTo>
                    <a:lnTo>
                      <a:pt x="198" y="66"/>
                    </a:lnTo>
                    <a:lnTo>
                      <a:pt x="200" y="66"/>
                    </a:lnTo>
                    <a:lnTo>
                      <a:pt x="203" y="66"/>
                    </a:lnTo>
                    <a:lnTo>
                      <a:pt x="205" y="66"/>
                    </a:lnTo>
                    <a:lnTo>
                      <a:pt x="209" y="64"/>
                    </a:lnTo>
                    <a:lnTo>
                      <a:pt x="213" y="62"/>
                    </a:lnTo>
                    <a:lnTo>
                      <a:pt x="217" y="60"/>
                    </a:lnTo>
                    <a:lnTo>
                      <a:pt x="221" y="56"/>
                    </a:lnTo>
                    <a:lnTo>
                      <a:pt x="223" y="54"/>
                    </a:lnTo>
                    <a:lnTo>
                      <a:pt x="225" y="54"/>
                    </a:lnTo>
                    <a:lnTo>
                      <a:pt x="226" y="54"/>
                    </a:lnTo>
                    <a:lnTo>
                      <a:pt x="228" y="54"/>
                    </a:lnTo>
                    <a:lnTo>
                      <a:pt x="228" y="52"/>
                    </a:lnTo>
                    <a:lnTo>
                      <a:pt x="228" y="50"/>
                    </a:lnTo>
                    <a:lnTo>
                      <a:pt x="228" y="48"/>
                    </a:lnTo>
                    <a:lnTo>
                      <a:pt x="228" y="46"/>
                    </a:lnTo>
                    <a:lnTo>
                      <a:pt x="230" y="46"/>
                    </a:lnTo>
                    <a:lnTo>
                      <a:pt x="230" y="45"/>
                    </a:lnTo>
                    <a:lnTo>
                      <a:pt x="232" y="45"/>
                    </a:lnTo>
                    <a:lnTo>
                      <a:pt x="234" y="46"/>
                    </a:lnTo>
                    <a:lnTo>
                      <a:pt x="234" y="45"/>
                    </a:lnTo>
                    <a:lnTo>
                      <a:pt x="236" y="46"/>
                    </a:lnTo>
                    <a:lnTo>
                      <a:pt x="236" y="45"/>
                    </a:lnTo>
                    <a:lnTo>
                      <a:pt x="234" y="45"/>
                    </a:lnTo>
                    <a:lnTo>
                      <a:pt x="234" y="43"/>
                    </a:lnTo>
                    <a:lnTo>
                      <a:pt x="236" y="41"/>
                    </a:lnTo>
                    <a:lnTo>
                      <a:pt x="238" y="39"/>
                    </a:lnTo>
                    <a:lnTo>
                      <a:pt x="240" y="39"/>
                    </a:lnTo>
                    <a:lnTo>
                      <a:pt x="242" y="41"/>
                    </a:lnTo>
                    <a:lnTo>
                      <a:pt x="244" y="39"/>
                    </a:lnTo>
                    <a:lnTo>
                      <a:pt x="244" y="37"/>
                    </a:lnTo>
                    <a:lnTo>
                      <a:pt x="244" y="35"/>
                    </a:lnTo>
                    <a:lnTo>
                      <a:pt x="244" y="33"/>
                    </a:lnTo>
                    <a:lnTo>
                      <a:pt x="246" y="33"/>
                    </a:lnTo>
                    <a:lnTo>
                      <a:pt x="248" y="33"/>
                    </a:lnTo>
                    <a:lnTo>
                      <a:pt x="248" y="31"/>
                    </a:lnTo>
                    <a:lnTo>
                      <a:pt x="246" y="29"/>
                    </a:lnTo>
                    <a:lnTo>
                      <a:pt x="246" y="27"/>
                    </a:lnTo>
                    <a:lnTo>
                      <a:pt x="248" y="27"/>
                    </a:lnTo>
                    <a:lnTo>
                      <a:pt x="249" y="27"/>
                    </a:lnTo>
                    <a:lnTo>
                      <a:pt x="251" y="27"/>
                    </a:lnTo>
                    <a:lnTo>
                      <a:pt x="253" y="27"/>
                    </a:lnTo>
                    <a:lnTo>
                      <a:pt x="253" y="29"/>
                    </a:lnTo>
                    <a:lnTo>
                      <a:pt x="255" y="29"/>
                    </a:lnTo>
                    <a:lnTo>
                      <a:pt x="257" y="29"/>
                    </a:lnTo>
                    <a:lnTo>
                      <a:pt x="257" y="25"/>
                    </a:lnTo>
                    <a:lnTo>
                      <a:pt x="259" y="23"/>
                    </a:lnTo>
                    <a:lnTo>
                      <a:pt x="261" y="21"/>
                    </a:lnTo>
                    <a:lnTo>
                      <a:pt x="261" y="20"/>
                    </a:lnTo>
                    <a:lnTo>
                      <a:pt x="259" y="20"/>
                    </a:lnTo>
                    <a:lnTo>
                      <a:pt x="261" y="20"/>
                    </a:lnTo>
                    <a:lnTo>
                      <a:pt x="261" y="18"/>
                    </a:lnTo>
                    <a:lnTo>
                      <a:pt x="261" y="16"/>
                    </a:lnTo>
                    <a:lnTo>
                      <a:pt x="263" y="16"/>
                    </a:lnTo>
                    <a:lnTo>
                      <a:pt x="263" y="18"/>
                    </a:lnTo>
                    <a:lnTo>
                      <a:pt x="265" y="18"/>
                    </a:lnTo>
                    <a:lnTo>
                      <a:pt x="267" y="16"/>
                    </a:lnTo>
                    <a:lnTo>
                      <a:pt x="269" y="14"/>
                    </a:lnTo>
                    <a:lnTo>
                      <a:pt x="271" y="12"/>
                    </a:lnTo>
                    <a:lnTo>
                      <a:pt x="271" y="10"/>
                    </a:lnTo>
                    <a:lnTo>
                      <a:pt x="273" y="10"/>
                    </a:lnTo>
                    <a:lnTo>
                      <a:pt x="273" y="12"/>
                    </a:lnTo>
                    <a:lnTo>
                      <a:pt x="274" y="12"/>
                    </a:lnTo>
                    <a:lnTo>
                      <a:pt x="274" y="10"/>
                    </a:lnTo>
                    <a:lnTo>
                      <a:pt x="274" y="12"/>
                    </a:lnTo>
                    <a:lnTo>
                      <a:pt x="276" y="12"/>
                    </a:lnTo>
                    <a:lnTo>
                      <a:pt x="278" y="12"/>
                    </a:lnTo>
                    <a:lnTo>
                      <a:pt x="282" y="12"/>
                    </a:lnTo>
                    <a:lnTo>
                      <a:pt x="284" y="14"/>
                    </a:lnTo>
                    <a:lnTo>
                      <a:pt x="286" y="18"/>
                    </a:lnTo>
                    <a:lnTo>
                      <a:pt x="288" y="16"/>
                    </a:lnTo>
                    <a:lnTo>
                      <a:pt x="290" y="16"/>
                    </a:lnTo>
                    <a:lnTo>
                      <a:pt x="294" y="16"/>
                    </a:lnTo>
                    <a:lnTo>
                      <a:pt x="296" y="12"/>
                    </a:lnTo>
                    <a:lnTo>
                      <a:pt x="297" y="12"/>
                    </a:lnTo>
                    <a:lnTo>
                      <a:pt x="299" y="12"/>
                    </a:lnTo>
                    <a:lnTo>
                      <a:pt x="301" y="12"/>
                    </a:lnTo>
                    <a:lnTo>
                      <a:pt x="303" y="12"/>
                    </a:lnTo>
                    <a:lnTo>
                      <a:pt x="303" y="14"/>
                    </a:lnTo>
                    <a:lnTo>
                      <a:pt x="303" y="16"/>
                    </a:lnTo>
                    <a:lnTo>
                      <a:pt x="305" y="16"/>
                    </a:lnTo>
                    <a:lnTo>
                      <a:pt x="305" y="18"/>
                    </a:lnTo>
                    <a:lnTo>
                      <a:pt x="307" y="18"/>
                    </a:lnTo>
                    <a:lnTo>
                      <a:pt x="309" y="18"/>
                    </a:lnTo>
                    <a:lnTo>
                      <a:pt x="311" y="18"/>
                    </a:lnTo>
                    <a:lnTo>
                      <a:pt x="311" y="20"/>
                    </a:lnTo>
                    <a:lnTo>
                      <a:pt x="313" y="20"/>
                    </a:lnTo>
                    <a:lnTo>
                      <a:pt x="315" y="18"/>
                    </a:lnTo>
                    <a:lnTo>
                      <a:pt x="317" y="18"/>
                    </a:lnTo>
                    <a:lnTo>
                      <a:pt x="319" y="18"/>
                    </a:lnTo>
                    <a:lnTo>
                      <a:pt x="317" y="16"/>
                    </a:lnTo>
                    <a:lnTo>
                      <a:pt x="319" y="16"/>
                    </a:lnTo>
                    <a:lnTo>
                      <a:pt x="319" y="14"/>
                    </a:lnTo>
                    <a:lnTo>
                      <a:pt x="319" y="12"/>
                    </a:lnTo>
                    <a:lnTo>
                      <a:pt x="321" y="12"/>
                    </a:lnTo>
                    <a:lnTo>
                      <a:pt x="321" y="10"/>
                    </a:lnTo>
                    <a:lnTo>
                      <a:pt x="321" y="8"/>
                    </a:lnTo>
                    <a:lnTo>
                      <a:pt x="321" y="6"/>
                    </a:lnTo>
                    <a:lnTo>
                      <a:pt x="322" y="6"/>
                    </a:lnTo>
                    <a:lnTo>
                      <a:pt x="322" y="4"/>
                    </a:lnTo>
                    <a:lnTo>
                      <a:pt x="324" y="4"/>
                    </a:lnTo>
                    <a:lnTo>
                      <a:pt x="324" y="2"/>
                    </a:lnTo>
                    <a:lnTo>
                      <a:pt x="326" y="2"/>
                    </a:lnTo>
                    <a:lnTo>
                      <a:pt x="326" y="4"/>
                    </a:lnTo>
                    <a:lnTo>
                      <a:pt x="326" y="2"/>
                    </a:lnTo>
                    <a:lnTo>
                      <a:pt x="328" y="0"/>
                    </a:lnTo>
                    <a:lnTo>
                      <a:pt x="330" y="0"/>
                    </a:lnTo>
                    <a:lnTo>
                      <a:pt x="332"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69" name="Freeform 182">
                <a:extLst>
                  <a:ext uri="{FF2B5EF4-FFF2-40B4-BE49-F238E27FC236}">
                    <a16:creationId xmlns:a16="http://schemas.microsoft.com/office/drawing/2014/main" id="{4C2CF3ED-2E72-4314-97C6-882DBF4616E3}"/>
                  </a:ext>
                </a:extLst>
              </p:cNvPr>
              <p:cNvSpPr>
                <a:spLocks/>
              </p:cNvSpPr>
              <p:nvPr/>
            </p:nvSpPr>
            <p:spPr bwMode="auto">
              <a:xfrm>
                <a:off x="3944730" y="1384536"/>
                <a:ext cx="1170888" cy="1175341"/>
              </a:xfrm>
              <a:custGeom>
                <a:avLst/>
                <a:gdLst>
                  <a:gd name="T0" fmla="*/ 347 w 789"/>
                  <a:gd name="T1" fmla="*/ 21 h 792"/>
                  <a:gd name="T2" fmla="*/ 393 w 789"/>
                  <a:gd name="T3" fmla="*/ 42 h 792"/>
                  <a:gd name="T4" fmla="*/ 439 w 789"/>
                  <a:gd name="T5" fmla="*/ 63 h 792"/>
                  <a:gd name="T6" fmla="*/ 497 w 789"/>
                  <a:gd name="T7" fmla="*/ 97 h 792"/>
                  <a:gd name="T8" fmla="*/ 549 w 789"/>
                  <a:gd name="T9" fmla="*/ 111 h 792"/>
                  <a:gd name="T10" fmla="*/ 568 w 789"/>
                  <a:gd name="T11" fmla="*/ 126 h 792"/>
                  <a:gd name="T12" fmla="*/ 643 w 789"/>
                  <a:gd name="T13" fmla="*/ 136 h 792"/>
                  <a:gd name="T14" fmla="*/ 664 w 789"/>
                  <a:gd name="T15" fmla="*/ 211 h 792"/>
                  <a:gd name="T16" fmla="*/ 714 w 789"/>
                  <a:gd name="T17" fmla="*/ 215 h 792"/>
                  <a:gd name="T18" fmla="*/ 745 w 789"/>
                  <a:gd name="T19" fmla="*/ 211 h 792"/>
                  <a:gd name="T20" fmla="*/ 779 w 789"/>
                  <a:gd name="T21" fmla="*/ 251 h 792"/>
                  <a:gd name="T22" fmla="*/ 739 w 789"/>
                  <a:gd name="T23" fmla="*/ 311 h 792"/>
                  <a:gd name="T24" fmla="*/ 718 w 789"/>
                  <a:gd name="T25" fmla="*/ 330 h 792"/>
                  <a:gd name="T26" fmla="*/ 693 w 789"/>
                  <a:gd name="T27" fmla="*/ 380 h 792"/>
                  <a:gd name="T28" fmla="*/ 645 w 789"/>
                  <a:gd name="T29" fmla="*/ 443 h 792"/>
                  <a:gd name="T30" fmla="*/ 616 w 789"/>
                  <a:gd name="T31" fmla="*/ 487 h 792"/>
                  <a:gd name="T32" fmla="*/ 608 w 789"/>
                  <a:gd name="T33" fmla="*/ 533 h 792"/>
                  <a:gd name="T34" fmla="*/ 612 w 789"/>
                  <a:gd name="T35" fmla="*/ 581 h 792"/>
                  <a:gd name="T36" fmla="*/ 587 w 789"/>
                  <a:gd name="T37" fmla="*/ 602 h 792"/>
                  <a:gd name="T38" fmla="*/ 587 w 789"/>
                  <a:gd name="T39" fmla="*/ 639 h 792"/>
                  <a:gd name="T40" fmla="*/ 555 w 789"/>
                  <a:gd name="T41" fmla="*/ 631 h 792"/>
                  <a:gd name="T42" fmla="*/ 518 w 789"/>
                  <a:gd name="T43" fmla="*/ 652 h 792"/>
                  <a:gd name="T44" fmla="*/ 476 w 789"/>
                  <a:gd name="T45" fmla="*/ 650 h 792"/>
                  <a:gd name="T46" fmla="*/ 459 w 789"/>
                  <a:gd name="T47" fmla="*/ 666 h 792"/>
                  <a:gd name="T48" fmla="*/ 436 w 789"/>
                  <a:gd name="T49" fmla="*/ 683 h 792"/>
                  <a:gd name="T50" fmla="*/ 391 w 789"/>
                  <a:gd name="T51" fmla="*/ 714 h 792"/>
                  <a:gd name="T52" fmla="*/ 364 w 789"/>
                  <a:gd name="T53" fmla="*/ 739 h 792"/>
                  <a:gd name="T54" fmla="*/ 336 w 789"/>
                  <a:gd name="T55" fmla="*/ 739 h 792"/>
                  <a:gd name="T56" fmla="*/ 303 w 789"/>
                  <a:gd name="T57" fmla="*/ 764 h 792"/>
                  <a:gd name="T58" fmla="*/ 297 w 789"/>
                  <a:gd name="T59" fmla="*/ 725 h 792"/>
                  <a:gd name="T60" fmla="*/ 238 w 789"/>
                  <a:gd name="T61" fmla="*/ 731 h 792"/>
                  <a:gd name="T62" fmla="*/ 190 w 789"/>
                  <a:gd name="T63" fmla="*/ 741 h 792"/>
                  <a:gd name="T64" fmla="*/ 134 w 789"/>
                  <a:gd name="T65" fmla="*/ 743 h 792"/>
                  <a:gd name="T66" fmla="*/ 92 w 789"/>
                  <a:gd name="T67" fmla="*/ 731 h 792"/>
                  <a:gd name="T68" fmla="*/ 65 w 789"/>
                  <a:gd name="T69" fmla="*/ 777 h 792"/>
                  <a:gd name="T70" fmla="*/ 23 w 789"/>
                  <a:gd name="T71" fmla="*/ 758 h 792"/>
                  <a:gd name="T72" fmla="*/ 11 w 789"/>
                  <a:gd name="T73" fmla="*/ 700 h 792"/>
                  <a:gd name="T74" fmla="*/ 9 w 789"/>
                  <a:gd name="T75" fmla="*/ 664 h 792"/>
                  <a:gd name="T76" fmla="*/ 21 w 789"/>
                  <a:gd name="T77" fmla="*/ 629 h 792"/>
                  <a:gd name="T78" fmla="*/ 26 w 789"/>
                  <a:gd name="T79" fmla="*/ 616 h 792"/>
                  <a:gd name="T80" fmla="*/ 13 w 789"/>
                  <a:gd name="T81" fmla="*/ 585 h 792"/>
                  <a:gd name="T82" fmla="*/ 25 w 789"/>
                  <a:gd name="T83" fmla="*/ 560 h 792"/>
                  <a:gd name="T84" fmla="*/ 69 w 789"/>
                  <a:gd name="T85" fmla="*/ 566 h 792"/>
                  <a:gd name="T86" fmla="*/ 84 w 789"/>
                  <a:gd name="T87" fmla="*/ 535 h 792"/>
                  <a:gd name="T88" fmla="*/ 94 w 789"/>
                  <a:gd name="T89" fmla="*/ 526 h 792"/>
                  <a:gd name="T90" fmla="*/ 119 w 789"/>
                  <a:gd name="T91" fmla="*/ 522 h 792"/>
                  <a:gd name="T92" fmla="*/ 169 w 789"/>
                  <a:gd name="T93" fmla="*/ 508 h 792"/>
                  <a:gd name="T94" fmla="*/ 205 w 789"/>
                  <a:gd name="T95" fmla="*/ 533 h 792"/>
                  <a:gd name="T96" fmla="*/ 232 w 789"/>
                  <a:gd name="T97" fmla="*/ 535 h 792"/>
                  <a:gd name="T98" fmla="*/ 255 w 789"/>
                  <a:gd name="T99" fmla="*/ 476 h 792"/>
                  <a:gd name="T100" fmla="*/ 288 w 789"/>
                  <a:gd name="T101" fmla="*/ 468 h 792"/>
                  <a:gd name="T102" fmla="*/ 313 w 789"/>
                  <a:gd name="T103" fmla="*/ 416 h 792"/>
                  <a:gd name="T104" fmla="*/ 286 w 789"/>
                  <a:gd name="T105" fmla="*/ 370 h 792"/>
                  <a:gd name="T106" fmla="*/ 320 w 789"/>
                  <a:gd name="T107" fmla="*/ 351 h 792"/>
                  <a:gd name="T108" fmla="*/ 299 w 789"/>
                  <a:gd name="T109" fmla="*/ 301 h 792"/>
                  <a:gd name="T110" fmla="*/ 284 w 789"/>
                  <a:gd name="T111" fmla="*/ 274 h 792"/>
                  <a:gd name="T112" fmla="*/ 278 w 789"/>
                  <a:gd name="T113" fmla="*/ 240 h 792"/>
                  <a:gd name="T114" fmla="*/ 232 w 789"/>
                  <a:gd name="T115" fmla="*/ 216 h 792"/>
                  <a:gd name="T116" fmla="*/ 232 w 789"/>
                  <a:gd name="T117" fmla="*/ 149 h 792"/>
                  <a:gd name="T118" fmla="*/ 251 w 789"/>
                  <a:gd name="T119" fmla="*/ 107 h 792"/>
                  <a:gd name="T120" fmla="*/ 263 w 789"/>
                  <a:gd name="T121" fmla="*/ 61 h 792"/>
                  <a:gd name="T122" fmla="*/ 276 w 789"/>
                  <a:gd name="T123" fmla="*/ 15 h 792"/>
                  <a:gd name="T124" fmla="*/ 305 w 789"/>
                  <a:gd name="T125" fmla="*/ 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9" h="792">
                    <a:moveTo>
                      <a:pt x="309" y="1"/>
                    </a:moveTo>
                    <a:lnTo>
                      <a:pt x="309" y="3"/>
                    </a:lnTo>
                    <a:lnTo>
                      <a:pt x="313" y="3"/>
                    </a:lnTo>
                    <a:lnTo>
                      <a:pt x="315" y="3"/>
                    </a:lnTo>
                    <a:lnTo>
                      <a:pt x="316" y="3"/>
                    </a:lnTo>
                    <a:lnTo>
                      <a:pt x="316" y="5"/>
                    </a:lnTo>
                    <a:lnTo>
                      <a:pt x="318" y="5"/>
                    </a:lnTo>
                    <a:lnTo>
                      <a:pt x="318" y="7"/>
                    </a:lnTo>
                    <a:lnTo>
                      <a:pt x="318" y="9"/>
                    </a:lnTo>
                    <a:lnTo>
                      <a:pt x="318" y="7"/>
                    </a:lnTo>
                    <a:lnTo>
                      <a:pt x="316" y="7"/>
                    </a:lnTo>
                    <a:lnTo>
                      <a:pt x="316" y="9"/>
                    </a:lnTo>
                    <a:lnTo>
                      <a:pt x="316" y="11"/>
                    </a:lnTo>
                    <a:lnTo>
                      <a:pt x="316" y="13"/>
                    </a:lnTo>
                    <a:lnTo>
                      <a:pt x="318" y="13"/>
                    </a:lnTo>
                    <a:lnTo>
                      <a:pt x="320" y="13"/>
                    </a:lnTo>
                    <a:lnTo>
                      <a:pt x="322" y="13"/>
                    </a:lnTo>
                    <a:lnTo>
                      <a:pt x="322" y="15"/>
                    </a:lnTo>
                    <a:lnTo>
                      <a:pt x="324" y="15"/>
                    </a:lnTo>
                    <a:lnTo>
                      <a:pt x="326" y="15"/>
                    </a:lnTo>
                    <a:lnTo>
                      <a:pt x="328" y="15"/>
                    </a:lnTo>
                    <a:lnTo>
                      <a:pt x="330" y="15"/>
                    </a:lnTo>
                    <a:lnTo>
                      <a:pt x="330" y="17"/>
                    </a:lnTo>
                    <a:lnTo>
                      <a:pt x="332" y="17"/>
                    </a:lnTo>
                    <a:lnTo>
                      <a:pt x="334" y="19"/>
                    </a:lnTo>
                    <a:lnTo>
                      <a:pt x="336" y="19"/>
                    </a:lnTo>
                    <a:lnTo>
                      <a:pt x="338" y="19"/>
                    </a:lnTo>
                    <a:lnTo>
                      <a:pt x="340" y="19"/>
                    </a:lnTo>
                    <a:lnTo>
                      <a:pt x="340" y="21"/>
                    </a:lnTo>
                    <a:lnTo>
                      <a:pt x="341" y="21"/>
                    </a:lnTo>
                    <a:lnTo>
                      <a:pt x="341" y="23"/>
                    </a:lnTo>
                    <a:lnTo>
                      <a:pt x="343" y="23"/>
                    </a:lnTo>
                    <a:lnTo>
                      <a:pt x="345" y="23"/>
                    </a:lnTo>
                    <a:lnTo>
                      <a:pt x="345" y="21"/>
                    </a:lnTo>
                    <a:lnTo>
                      <a:pt x="345" y="23"/>
                    </a:lnTo>
                    <a:lnTo>
                      <a:pt x="347" y="23"/>
                    </a:lnTo>
                    <a:lnTo>
                      <a:pt x="347" y="21"/>
                    </a:lnTo>
                    <a:lnTo>
                      <a:pt x="347" y="23"/>
                    </a:lnTo>
                    <a:lnTo>
                      <a:pt x="347" y="21"/>
                    </a:lnTo>
                    <a:lnTo>
                      <a:pt x="349" y="21"/>
                    </a:lnTo>
                    <a:lnTo>
                      <a:pt x="351" y="21"/>
                    </a:lnTo>
                    <a:lnTo>
                      <a:pt x="351" y="23"/>
                    </a:lnTo>
                    <a:lnTo>
                      <a:pt x="351" y="21"/>
                    </a:lnTo>
                    <a:lnTo>
                      <a:pt x="353" y="21"/>
                    </a:lnTo>
                    <a:lnTo>
                      <a:pt x="355" y="21"/>
                    </a:lnTo>
                    <a:lnTo>
                      <a:pt x="355" y="19"/>
                    </a:lnTo>
                    <a:lnTo>
                      <a:pt x="357" y="19"/>
                    </a:lnTo>
                    <a:lnTo>
                      <a:pt x="357" y="21"/>
                    </a:lnTo>
                    <a:lnTo>
                      <a:pt x="357" y="19"/>
                    </a:lnTo>
                    <a:lnTo>
                      <a:pt x="359" y="19"/>
                    </a:lnTo>
                    <a:lnTo>
                      <a:pt x="359" y="21"/>
                    </a:lnTo>
                    <a:lnTo>
                      <a:pt x="359" y="19"/>
                    </a:lnTo>
                    <a:lnTo>
                      <a:pt x="361" y="19"/>
                    </a:lnTo>
                    <a:lnTo>
                      <a:pt x="363" y="19"/>
                    </a:lnTo>
                    <a:lnTo>
                      <a:pt x="364" y="19"/>
                    </a:lnTo>
                    <a:lnTo>
                      <a:pt x="366" y="21"/>
                    </a:lnTo>
                    <a:lnTo>
                      <a:pt x="368" y="21"/>
                    </a:lnTo>
                    <a:lnTo>
                      <a:pt x="372" y="23"/>
                    </a:lnTo>
                    <a:lnTo>
                      <a:pt x="374" y="23"/>
                    </a:lnTo>
                    <a:lnTo>
                      <a:pt x="374" y="24"/>
                    </a:lnTo>
                    <a:lnTo>
                      <a:pt x="374" y="28"/>
                    </a:lnTo>
                    <a:lnTo>
                      <a:pt x="376" y="28"/>
                    </a:lnTo>
                    <a:lnTo>
                      <a:pt x="378" y="28"/>
                    </a:lnTo>
                    <a:lnTo>
                      <a:pt x="378" y="30"/>
                    </a:lnTo>
                    <a:lnTo>
                      <a:pt x="382" y="30"/>
                    </a:lnTo>
                    <a:lnTo>
                      <a:pt x="384" y="30"/>
                    </a:lnTo>
                    <a:lnTo>
                      <a:pt x="388" y="32"/>
                    </a:lnTo>
                    <a:lnTo>
                      <a:pt x="388" y="36"/>
                    </a:lnTo>
                    <a:lnTo>
                      <a:pt x="388" y="38"/>
                    </a:lnTo>
                    <a:lnTo>
                      <a:pt x="389" y="38"/>
                    </a:lnTo>
                    <a:lnTo>
                      <a:pt x="391" y="38"/>
                    </a:lnTo>
                    <a:lnTo>
                      <a:pt x="391" y="40"/>
                    </a:lnTo>
                    <a:lnTo>
                      <a:pt x="393" y="40"/>
                    </a:lnTo>
                    <a:lnTo>
                      <a:pt x="393" y="42"/>
                    </a:lnTo>
                    <a:lnTo>
                      <a:pt x="393" y="44"/>
                    </a:lnTo>
                    <a:lnTo>
                      <a:pt x="393" y="46"/>
                    </a:lnTo>
                    <a:lnTo>
                      <a:pt x="393" y="48"/>
                    </a:lnTo>
                    <a:lnTo>
                      <a:pt x="395" y="48"/>
                    </a:lnTo>
                    <a:lnTo>
                      <a:pt x="395" y="49"/>
                    </a:lnTo>
                    <a:lnTo>
                      <a:pt x="397" y="49"/>
                    </a:lnTo>
                    <a:lnTo>
                      <a:pt x="397" y="48"/>
                    </a:lnTo>
                    <a:lnTo>
                      <a:pt x="399" y="48"/>
                    </a:lnTo>
                    <a:lnTo>
                      <a:pt x="401" y="48"/>
                    </a:lnTo>
                    <a:lnTo>
                      <a:pt x="399" y="51"/>
                    </a:lnTo>
                    <a:lnTo>
                      <a:pt x="399" y="53"/>
                    </a:lnTo>
                    <a:lnTo>
                      <a:pt x="403" y="53"/>
                    </a:lnTo>
                    <a:lnTo>
                      <a:pt x="403" y="55"/>
                    </a:lnTo>
                    <a:lnTo>
                      <a:pt x="403" y="53"/>
                    </a:lnTo>
                    <a:lnTo>
                      <a:pt x="405" y="53"/>
                    </a:lnTo>
                    <a:lnTo>
                      <a:pt x="405" y="55"/>
                    </a:lnTo>
                    <a:lnTo>
                      <a:pt x="407" y="55"/>
                    </a:lnTo>
                    <a:lnTo>
                      <a:pt x="409" y="57"/>
                    </a:lnTo>
                    <a:lnTo>
                      <a:pt x="411" y="57"/>
                    </a:lnTo>
                    <a:lnTo>
                      <a:pt x="412" y="57"/>
                    </a:lnTo>
                    <a:lnTo>
                      <a:pt x="414" y="55"/>
                    </a:lnTo>
                    <a:lnTo>
                      <a:pt x="416" y="57"/>
                    </a:lnTo>
                    <a:lnTo>
                      <a:pt x="416" y="55"/>
                    </a:lnTo>
                    <a:lnTo>
                      <a:pt x="418" y="55"/>
                    </a:lnTo>
                    <a:lnTo>
                      <a:pt x="420" y="55"/>
                    </a:lnTo>
                    <a:lnTo>
                      <a:pt x="422" y="55"/>
                    </a:lnTo>
                    <a:lnTo>
                      <a:pt x="424" y="55"/>
                    </a:lnTo>
                    <a:lnTo>
                      <a:pt x="426" y="57"/>
                    </a:lnTo>
                    <a:lnTo>
                      <a:pt x="428" y="57"/>
                    </a:lnTo>
                    <a:lnTo>
                      <a:pt x="430" y="57"/>
                    </a:lnTo>
                    <a:lnTo>
                      <a:pt x="430" y="59"/>
                    </a:lnTo>
                    <a:lnTo>
                      <a:pt x="432" y="59"/>
                    </a:lnTo>
                    <a:lnTo>
                      <a:pt x="434" y="59"/>
                    </a:lnTo>
                    <a:lnTo>
                      <a:pt x="436" y="59"/>
                    </a:lnTo>
                    <a:lnTo>
                      <a:pt x="436" y="61"/>
                    </a:lnTo>
                    <a:lnTo>
                      <a:pt x="437" y="63"/>
                    </a:lnTo>
                    <a:lnTo>
                      <a:pt x="439" y="63"/>
                    </a:lnTo>
                    <a:lnTo>
                      <a:pt x="441" y="63"/>
                    </a:lnTo>
                    <a:lnTo>
                      <a:pt x="443" y="63"/>
                    </a:lnTo>
                    <a:lnTo>
                      <a:pt x="445" y="63"/>
                    </a:lnTo>
                    <a:lnTo>
                      <a:pt x="447" y="63"/>
                    </a:lnTo>
                    <a:lnTo>
                      <a:pt x="449" y="63"/>
                    </a:lnTo>
                    <a:lnTo>
                      <a:pt x="449" y="65"/>
                    </a:lnTo>
                    <a:lnTo>
                      <a:pt x="451" y="65"/>
                    </a:lnTo>
                    <a:lnTo>
                      <a:pt x="453" y="65"/>
                    </a:lnTo>
                    <a:lnTo>
                      <a:pt x="455" y="65"/>
                    </a:lnTo>
                    <a:lnTo>
                      <a:pt x="457" y="63"/>
                    </a:lnTo>
                    <a:lnTo>
                      <a:pt x="459" y="61"/>
                    </a:lnTo>
                    <a:lnTo>
                      <a:pt x="460" y="61"/>
                    </a:lnTo>
                    <a:lnTo>
                      <a:pt x="460" y="59"/>
                    </a:lnTo>
                    <a:lnTo>
                      <a:pt x="462" y="59"/>
                    </a:lnTo>
                    <a:lnTo>
                      <a:pt x="462" y="61"/>
                    </a:lnTo>
                    <a:lnTo>
                      <a:pt x="460" y="61"/>
                    </a:lnTo>
                    <a:lnTo>
                      <a:pt x="460" y="65"/>
                    </a:lnTo>
                    <a:lnTo>
                      <a:pt x="460" y="67"/>
                    </a:lnTo>
                    <a:lnTo>
                      <a:pt x="460" y="69"/>
                    </a:lnTo>
                    <a:lnTo>
                      <a:pt x="460" y="71"/>
                    </a:lnTo>
                    <a:lnTo>
                      <a:pt x="459" y="72"/>
                    </a:lnTo>
                    <a:lnTo>
                      <a:pt x="459" y="74"/>
                    </a:lnTo>
                    <a:lnTo>
                      <a:pt x="459" y="76"/>
                    </a:lnTo>
                    <a:lnTo>
                      <a:pt x="459" y="78"/>
                    </a:lnTo>
                    <a:lnTo>
                      <a:pt x="460" y="80"/>
                    </a:lnTo>
                    <a:lnTo>
                      <a:pt x="462" y="80"/>
                    </a:lnTo>
                    <a:lnTo>
                      <a:pt x="464" y="80"/>
                    </a:lnTo>
                    <a:lnTo>
                      <a:pt x="466" y="80"/>
                    </a:lnTo>
                    <a:lnTo>
                      <a:pt x="468" y="84"/>
                    </a:lnTo>
                    <a:lnTo>
                      <a:pt x="468" y="86"/>
                    </a:lnTo>
                    <a:lnTo>
                      <a:pt x="472" y="88"/>
                    </a:lnTo>
                    <a:lnTo>
                      <a:pt x="476" y="90"/>
                    </a:lnTo>
                    <a:lnTo>
                      <a:pt x="476" y="92"/>
                    </a:lnTo>
                    <a:lnTo>
                      <a:pt x="476" y="96"/>
                    </a:lnTo>
                    <a:lnTo>
                      <a:pt x="485" y="97"/>
                    </a:lnTo>
                    <a:lnTo>
                      <a:pt x="495" y="101"/>
                    </a:lnTo>
                    <a:lnTo>
                      <a:pt x="497" y="97"/>
                    </a:lnTo>
                    <a:lnTo>
                      <a:pt x="499" y="97"/>
                    </a:lnTo>
                    <a:lnTo>
                      <a:pt x="497" y="97"/>
                    </a:lnTo>
                    <a:lnTo>
                      <a:pt x="497" y="96"/>
                    </a:lnTo>
                    <a:lnTo>
                      <a:pt x="497" y="94"/>
                    </a:lnTo>
                    <a:lnTo>
                      <a:pt x="501" y="94"/>
                    </a:lnTo>
                    <a:lnTo>
                      <a:pt x="503" y="94"/>
                    </a:lnTo>
                    <a:lnTo>
                      <a:pt x="507" y="92"/>
                    </a:lnTo>
                    <a:lnTo>
                      <a:pt x="508" y="92"/>
                    </a:lnTo>
                    <a:lnTo>
                      <a:pt x="510" y="88"/>
                    </a:lnTo>
                    <a:lnTo>
                      <a:pt x="510" y="90"/>
                    </a:lnTo>
                    <a:lnTo>
                      <a:pt x="512" y="90"/>
                    </a:lnTo>
                    <a:lnTo>
                      <a:pt x="514" y="92"/>
                    </a:lnTo>
                    <a:lnTo>
                      <a:pt x="516" y="92"/>
                    </a:lnTo>
                    <a:lnTo>
                      <a:pt x="518" y="92"/>
                    </a:lnTo>
                    <a:lnTo>
                      <a:pt x="520" y="92"/>
                    </a:lnTo>
                    <a:lnTo>
                      <a:pt x="520" y="94"/>
                    </a:lnTo>
                    <a:lnTo>
                      <a:pt x="522" y="94"/>
                    </a:lnTo>
                    <a:lnTo>
                      <a:pt x="524" y="94"/>
                    </a:lnTo>
                    <a:lnTo>
                      <a:pt x="526" y="94"/>
                    </a:lnTo>
                    <a:lnTo>
                      <a:pt x="528" y="94"/>
                    </a:lnTo>
                    <a:lnTo>
                      <a:pt x="530" y="96"/>
                    </a:lnTo>
                    <a:lnTo>
                      <a:pt x="532" y="96"/>
                    </a:lnTo>
                    <a:lnTo>
                      <a:pt x="533" y="96"/>
                    </a:lnTo>
                    <a:lnTo>
                      <a:pt x="535" y="96"/>
                    </a:lnTo>
                    <a:lnTo>
                      <a:pt x="535" y="97"/>
                    </a:lnTo>
                    <a:lnTo>
                      <a:pt x="535" y="99"/>
                    </a:lnTo>
                    <a:lnTo>
                      <a:pt x="537" y="99"/>
                    </a:lnTo>
                    <a:lnTo>
                      <a:pt x="537" y="101"/>
                    </a:lnTo>
                    <a:lnTo>
                      <a:pt x="539" y="101"/>
                    </a:lnTo>
                    <a:lnTo>
                      <a:pt x="541" y="101"/>
                    </a:lnTo>
                    <a:lnTo>
                      <a:pt x="543" y="103"/>
                    </a:lnTo>
                    <a:lnTo>
                      <a:pt x="545" y="105"/>
                    </a:lnTo>
                    <a:lnTo>
                      <a:pt x="547" y="105"/>
                    </a:lnTo>
                    <a:lnTo>
                      <a:pt x="547" y="107"/>
                    </a:lnTo>
                    <a:lnTo>
                      <a:pt x="549" y="107"/>
                    </a:lnTo>
                    <a:lnTo>
                      <a:pt x="549" y="109"/>
                    </a:lnTo>
                    <a:lnTo>
                      <a:pt x="549" y="111"/>
                    </a:lnTo>
                    <a:lnTo>
                      <a:pt x="547" y="111"/>
                    </a:lnTo>
                    <a:lnTo>
                      <a:pt x="549" y="111"/>
                    </a:lnTo>
                    <a:lnTo>
                      <a:pt x="549" y="113"/>
                    </a:lnTo>
                    <a:lnTo>
                      <a:pt x="549" y="115"/>
                    </a:lnTo>
                    <a:lnTo>
                      <a:pt x="549" y="117"/>
                    </a:lnTo>
                    <a:lnTo>
                      <a:pt x="547" y="117"/>
                    </a:lnTo>
                    <a:lnTo>
                      <a:pt x="549" y="117"/>
                    </a:lnTo>
                    <a:lnTo>
                      <a:pt x="549" y="115"/>
                    </a:lnTo>
                    <a:lnTo>
                      <a:pt x="549" y="117"/>
                    </a:lnTo>
                    <a:lnTo>
                      <a:pt x="547" y="117"/>
                    </a:lnTo>
                    <a:lnTo>
                      <a:pt x="549" y="117"/>
                    </a:lnTo>
                    <a:lnTo>
                      <a:pt x="547" y="117"/>
                    </a:lnTo>
                    <a:lnTo>
                      <a:pt x="549" y="117"/>
                    </a:lnTo>
                    <a:lnTo>
                      <a:pt x="549" y="119"/>
                    </a:lnTo>
                    <a:lnTo>
                      <a:pt x="547" y="119"/>
                    </a:lnTo>
                    <a:lnTo>
                      <a:pt x="547" y="120"/>
                    </a:lnTo>
                    <a:lnTo>
                      <a:pt x="547" y="119"/>
                    </a:lnTo>
                    <a:lnTo>
                      <a:pt x="549" y="119"/>
                    </a:lnTo>
                    <a:lnTo>
                      <a:pt x="551" y="119"/>
                    </a:lnTo>
                    <a:lnTo>
                      <a:pt x="551" y="120"/>
                    </a:lnTo>
                    <a:lnTo>
                      <a:pt x="551" y="122"/>
                    </a:lnTo>
                    <a:lnTo>
                      <a:pt x="553" y="122"/>
                    </a:lnTo>
                    <a:lnTo>
                      <a:pt x="553" y="124"/>
                    </a:lnTo>
                    <a:lnTo>
                      <a:pt x="555" y="124"/>
                    </a:lnTo>
                    <a:lnTo>
                      <a:pt x="556" y="124"/>
                    </a:lnTo>
                    <a:lnTo>
                      <a:pt x="556" y="126"/>
                    </a:lnTo>
                    <a:lnTo>
                      <a:pt x="555" y="126"/>
                    </a:lnTo>
                    <a:lnTo>
                      <a:pt x="555" y="128"/>
                    </a:lnTo>
                    <a:lnTo>
                      <a:pt x="556" y="128"/>
                    </a:lnTo>
                    <a:lnTo>
                      <a:pt x="558" y="128"/>
                    </a:lnTo>
                    <a:lnTo>
                      <a:pt x="560" y="130"/>
                    </a:lnTo>
                    <a:lnTo>
                      <a:pt x="560" y="128"/>
                    </a:lnTo>
                    <a:lnTo>
                      <a:pt x="562" y="128"/>
                    </a:lnTo>
                    <a:lnTo>
                      <a:pt x="562" y="126"/>
                    </a:lnTo>
                    <a:lnTo>
                      <a:pt x="564" y="126"/>
                    </a:lnTo>
                    <a:lnTo>
                      <a:pt x="566" y="126"/>
                    </a:lnTo>
                    <a:lnTo>
                      <a:pt x="568" y="126"/>
                    </a:lnTo>
                    <a:lnTo>
                      <a:pt x="570" y="126"/>
                    </a:lnTo>
                    <a:lnTo>
                      <a:pt x="572" y="128"/>
                    </a:lnTo>
                    <a:lnTo>
                      <a:pt x="574" y="130"/>
                    </a:lnTo>
                    <a:lnTo>
                      <a:pt x="576" y="132"/>
                    </a:lnTo>
                    <a:lnTo>
                      <a:pt x="576" y="134"/>
                    </a:lnTo>
                    <a:lnTo>
                      <a:pt x="578" y="134"/>
                    </a:lnTo>
                    <a:lnTo>
                      <a:pt x="578" y="136"/>
                    </a:lnTo>
                    <a:lnTo>
                      <a:pt x="580" y="134"/>
                    </a:lnTo>
                    <a:lnTo>
                      <a:pt x="581" y="136"/>
                    </a:lnTo>
                    <a:lnTo>
                      <a:pt x="585" y="136"/>
                    </a:lnTo>
                    <a:lnTo>
                      <a:pt x="585" y="138"/>
                    </a:lnTo>
                    <a:lnTo>
                      <a:pt x="587" y="138"/>
                    </a:lnTo>
                    <a:lnTo>
                      <a:pt x="589" y="140"/>
                    </a:lnTo>
                    <a:lnTo>
                      <a:pt x="591" y="140"/>
                    </a:lnTo>
                    <a:lnTo>
                      <a:pt x="591" y="142"/>
                    </a:lnTo>
                    <a:lnTo>
                      <a:pt x="595" y="144"/>
                    </a:lnTo>
                    <a:lnTo>
                      <a:pt x="597" y="142"/>
                    </a:lnTo>
                    <a:lnTo>
                      <a:pt x="599" y="140"/>
                    </a:lnTo>
                    <a:lnTo>
                      <a:pt x="601" y="138"/>
                    </a:lnTo>
                    <a:lnTo>
                      <a:pt x="603" y="138"/>
                    </a:lnTo>
                    <a:lnTo>
                      <a:pt x="605" y="136"/>
                    </a:lnTo>
                    <a:lnTo>
                      <a:pt x="608" y="132"/>
                    </a:lnTo>
                    <a:lnTo>
                      <a:pt x="610" y="132"/>
                    </a:lnTo>
                    <a:lnTo>
                      <a:pt x="612" y="132"/>
                    </a:lnTo>
                    <a:lnTo>
                      <a:pt x="616" y="132"/>
                    </a:lnTo>
                    <a:lnTo>
                      <a:pt x="618" y="134"/>
                    </a:lnTo>
                    <a:lnTo>
                      <a:pt x="622" y="134"/>
                    </a:lnTo>
                    <a:lnTo>
                      <a:pt x="624" y="134"/>
                    </a:lnTo>
                    <a:lnTo>
                      <a:pt x="626" y="134"/>
                    </a:lnTo>
                    <a:lnTo>
                      <a:pt x="628" y="134"/>
                    </a:lnTo>
                    <a:lnTo>
                      <a:pt x="629" y="134"/>
                    </a:lnTo>
                    <a:lnTo>
                      <a:pt x="633" y="134"/>
                    </a:lnTo>
                    <a:lnTo>
                      <a:pt x="635" y="136"/>
                    </a:lnTo>
                    <a:lnTo>
                      <a:pt x="637" y="136"/>
                    </a:lnTo>
                    <a:lnTo>
                      <a:pt x="639" y="136"/>
                    </a:lnTo>
                    <a:lnTo>
                      <a:pt x="641" y="136"/>
                    </a:lnTo>
                    <a:lnTo>
                      <a:pt x="643" y="136"/>
                    </a:lnTo>
                    <a:lnTo>
                      <a:pt x="645" y="136"/>
                    </a:lnTo>
                    <a:lnTo>
                      <a:pt x="647" y="136"/>
                    </a:lnTo>
                    <a:lnTo>
                      <a:pt x="649" y="136"/>
                    </a:lnTo>
                    <a:lnTo>
                      <a:pt x="651" y="138"/>
                    </a:lnTo>
                    <a:lnTo>
                      <a:pt x="653" y="138"/>
                    </a:lnTo>
                    <a:lnTo>
                      <a:pt x="654" y="138"/>
                    </a:lnTo>
                    <a:lnTo>
                      <a:pt x="658" y="138"/>
                    </a:lnTo>
                    <a:lnTo>
                      <a:pt x="664" y="138"/>
                    </a:lnTo>
                    <a:lnTo>
                      <a:pt x="662" y="145"/>
                    </a:lnTo>
                    <a:lnTo>
                      <a:pt x="662" y="149"/>
                    </a:lnTo>
                    <a:lnTo>
                      <a:pt x="662" y="155"/>
                    </a:lnTo>
                    <a:lnTo>
                      <a:pt x="660" y="157"/>
                    </a:lnTo>
                    <a:lnTo>
                      <a:pt x="660" y="163"/>
                    </a:lnTo>
                    <a:lnTo>
                      <a:pt x="660" y="165"/>
                    </a:lnTo>
                    <a:lnTo>
                      <a:pt x="660" y="168"/>
                    </a:lnTo>
                    <a:lnTo>
                      <a:pt x="658" y="172"/>
                    </a:lnTo>
                    <a:lnTo>
                      <a:pt x="658" y="174"/>
                    </a:lnTo>
                    <a:lnTo>
                      <a:pt x="658" y="178"/>
                    </a:lnTo>
                    <a:lnTo>
                      <a:pt x="658" y="180"/>
                    </a:lnTo>
                    <a:lnTo>
                      <a:pt x="658" y="186"/>
                    </a:lnTo>
                    <a:lnTo>
                      <a:pt x="660" y="186"/>
                    </a:lnTo>
                    <a:lnTo>
                      <a:pt x="662" y="186"/>
                    </a:lnTo>
                    <a:lnTo>
                      <a:pt x="664" y="186"/>
                    </a:lnTo>
                    <a:lnTo>
                      <a:pt x="666" y="186"/>
                    </a:lnTo>
                    <a:lnTo>
                      <a:pt x="668" y="186"/>
                    </a:lnTo>
                    <a:lnTo>
                      <a:pt x="670" y="188"/>
                    </a:lnTo>
                    <a:lnTo>
                      <a:pt x="672" y="190"/>
                    </a:lnTo>
                    <a:lnTo>
                      <a:pt x="674" y="192"/>
                    </a:lnTo>
                    <a:lnTo>
                      <a:pt x="674" y="193"/>
                    </a:lnTo>
                    <a:lnTo>
                      <a:pt x="674" y="195"/>
                    </a:lnTo>
                    <a:lnTo>
                      <a:pt x="672" y="195"/>
                    </a:lnTo>
                    <a:lnTo>
                      <a:pt x="668" y="199"/>
                    </a:lnTo>
                    <a:lnTo>
                      <a:pt x="666" y="203"/>
                    </a:lnTo>
                    <a:lnTo>
                      <a:pt x="664" y="205"/>
                    </a:lnTo>
                    <a:lnTo>
                      <a:pt x="664" y="207"/>
                    </a:lnTo>
                    <a:lnTo>
                      <a:pt x="664" y="209"/>
                    </a:lnTo>
                    <a:lnTo>
                      <a:pt x="664" y="211"/>
                    </a:lnTo>
                    <a:lnTo>
                      <a:pt x="662" y="211"/>
                    </a:lnTo>
                    <a:lnTo>
                      <a:pt x="662" y="213"/>
                    </a:lnTo>
                    <a:lnTo>
                      <a:pt x="664" y="213"/>
                    </a:lnTo>
                    <a:lnTo>
                      <a:pt x="666" y="213"/>
                    </a:lnTo>
                    <a:lnTo>
                      <a:pt x="668" y="213"/>
                    </a:lnTo>
                    <a:lnTo>
                      <a:pt x="670" y="213"/>
                    </a:lnTo>
                    <a:lnTo>
                      <a:pt x="670" y="211"/>
                    </a:lnTo>
                    <a:lnTo>
                      <a:pt x="670" y="213"/>
                    </a:lnTo>
                    <a:lnTo>
                      <a:pt x="672" y="213"/>
                    </a:lnTo>
                    <a:lnTo>
                      <a:pt x="674" y="213"/>
                    </a:lnTo>
                    <a:lnTo>
                      <a:pt x="676" y="213"/>
                    </a:lnTo>
                    <a:lnTo>
                      <a:pt x="677" y="213"/>
                    </a:lnTo>
                    <a:lnTo>
                      <a:pt x="681" y="213"/>
                    </a:lnTo>
                    <a:lnTo>
                      <a:pt x="683" y="213"/>
                    </a:lnTo>
                    <a:lnTo>
                      <a:pt x="683" y="215"/>
                    </a:lnTo>
                    <a:lnTo>
                      <a:pt x="685" y="215"/>
                    </a:lnTo>
                    <a:lnTo>
                      <a:pt x="687" y="215"/>
                    </a:lnTo>
                    <a:lnTo>
                      <a:pt x="689" y="215"/>
                    </a:lnTo>
                    <a:lnTo>
                      <a:pt x="691" y="215"/>
                    </a:lnTo>
                    <a:lnTo>
                      <a:pt x="691" y="213"/>
                    </a:lnTo>
                    <a:lnTo>
                      <a:pt x="693" y="213"/>
                    </a:lnTo>
                    <a:lnTo>
                      <a:pt x="693" y="211"/>
                    </a:lnTo>
                    <a:lnTo>
                      <a:pt x="695" y="213"/>
                    </a:lnTo>
                    <a:lnTo>
                      <a:pt x="697" y="213"/>
                    </a:lnTo>
                    <a:lnTo>
                      <a:pt x="697" y="215"/>
                    </a:lnTo>
                    <a:lnTo>
                      <a:pt x="699" y="215"/>
                    </a:lnTo>
                    <a:lnTo>
                      <a:pt x="699" y="216"/>
                    </a:lnTo>
                    <a:lnTo>
                      <a:pt x="701" y="216"/>
                    </a:lnTo>
                    <a:lnTo>
                      <a:pt x="702" y="216"/>
                    </a:lnTo>
                    <a:lnTo>
                      <a:pt x="702" y="218"/>
                    </a:lnTo>
                    <a:lnTo>
                      <a:pt x="704" y="218"/>
                    </a:lnTo>
                    <a:lnTo>
                      <a:pt x="706" y="218"/>
                    </a:lnTo>
                    <a:lnTo>
                      <a:pt x="708" y="218"/>
                    </a:lnTo>
                    <a:lnTo>
                      <a:pt x="710" y="218"/>
                    </a:lnTo>
                    <a:lnTo>
                      <a:pt x="710" y="216"/>
                    </a:lnTo>
                    <a:lnTo>
                      <a:pt x="712" y="215"/>
                    </a:lnTo>
                    <a:lnTo>
                      <a:pt x="714" y="215"/>
                    </a:lnTo>
                    <a:lnTo>
                      <a:pt x="716" y="215"/>
                    </a:lnTo>
                    <a:lnTo>
                      <a:pt x="718" y="215"/>
                    </a:lnTo>
                    <a:lnTo>
                      <a:pt x="718" y="216"/>
                    </a:lnTo>
                    <a:lnTo>
                      <a:pt x="718" y="218"/>
                    </a:lnTo>
                    <a:lnTo>
                      <a:pt x="720" y="218"/>
                    </a:lnTo>
                    <a:lnTo>
                      <a:pt x="722" y="220"/>
                    </a:lnTo>
                    <a:lnTo>
                      <a:pt x="724" y="218"/>
                    </a:lnTo>
                    <a:lnTo>
                      <a:pt x="725" y="216"/>
                    </a:lnTo>
                    <a:lnTo>
                      <a:pt x="727" y="218"/>
                    </a:lnTo>
                    <a:lnTo>
                      <a:pt x="727" y="220"/>
                    </a:lnTo>
                    <a:lnTo>
                      <a:pt x="725" y="220"/>
                    </a:lnTo>
                    <a:lnTo>
                      <a:pt x="725" y="222"/>
                    </a:lnTo>
                    <a:lnTo>
                      <a:pt x="724" y="222"/>
                    </a:lnTo>
                    <a:lnTo>
                      <a:pt x="724" y="224"/>
                    </a:lnTo>
                    <a:lnTo>
                      <a:pt x="724" y="226"/>
                    </a:lnTo>
                    <a:lnTo>
                      <a:pt x="725" y="228"/>
                    </a:lnTo>
                    <a:lnTo>
                      <a:pt x="727" y="228"/>
                    </a:lnTo>
                    <a:lnTo>
                      <a:pt x="729" y="230"/>
                    </a:lnTo>
                    <a:lnTo>
                      <a:pt x="731" y="228"/>
                    </a:lnTo>
                    <a:lnTo>
                      <a:pt x="733" y="228"/>
                    </a:lnTo>
                    <a:lnTo>
                      <a:pt x="733" y="226"/>
                    </a:lnTo>
                    <a:lnTo>
                      <a:pt x="735" y="226"/>
                    </a:lnTo>
                    <a:lnTo>
                      <a:pt x="735" y="224"/>
                    </a:lnTo>
                    <a:lnTo>
                      <a:pt x="737" y="222"/>
                    </a:lnTo>
                    <a:lnTo>
                      <a:pt x="735" y="222"/>
                    </a:lnTo>
                    <a:lnTo>
                      <a:pt x="733" y="222"/>
                    </a:lnTo>
                    <a:lnTo>
                      <a:pt x="733" y="218"/>
                    </a:lnTo>
                    <a:lnTo>
                      <a:pt x="733" y="216"/>
                    </a:lnTo>
                    <a:lnTo>
                      <a:pt x="733" y="215"/>
                    </a:lnTo>
                    <a:lnTo>
                      <a:pt x="733" y="213"/>
                    </a:lnTo>
                    <a:lnTo>
                      <a:pt x="737" y="209"/>
                    </a:lnTo>
                    <a:lnTo>
                      <a:pt x="737" y="211"/>
                    </a:lnTo>
                    <a:lnTo>
                      <a:pt x="739" y="215"/>
                    </a:lnTo>
                    <a:lnTo>
                      <a:pt x="741" y="216"/>
                    </a:lnTo>
                    <a:lnTo>
                      <a:pt x="743" y="215"/>
                    </a:lnTo>
                    <a:lnTo>
                      <a:pt x="743" y="213"/>
                    </a:lnTo>
                    <a:lnTo>
                      <a:pt x="745" y="211"/>
                    </a:lnTo>
                    <a:lnTo>
                      <a:pt x="747" y="213"/>
                    </a:lnTo>
                    <a:lnTo>
                      <a:pt x="749" y="215"/>
                    </a:lnTo>
                    <a:lnTo>
                      <a:pt x="750" y="216"/>
                    </a:lnTo>
                    <a:lnTo>
                      <a:pt x="752" y="216"/>
                    </a:lnTo>
                    <a:lnTo>
                      <a:pt x="752" y="218"/>
                    </a:lnTo>
                    <a:lnTo>
                      <a:pt x="754" y="218"/>
                    </a:lnTo>
                    <a:lnTo>
                      <a:pt x="754" y="220"/>
                    </a:lnTo>
                    <a:lnTo>
                      <a:pt x="756" y="222"/>
                    </a:lnTo>
                    <a:lnTo>
                      <a:pt x="758" y="224"/>
                    </a:lnTo>
                    <a:lnTo>
                      <a:pt x="760" y="226"/>
                    </a:lnTo>
                    <a:lnTo>
                      <a:pt x="762" y="226"/>
                    </a:lnTo>
                    <a:lnTo>
                      <a:pt x="764" y="226"/>
                    </a:lnTo>
                    <a:lnTo>
                      <a:pt x="766" y="226"/>
                    </a:lnTo>
                    <a:lnTo>
                      <a:pt x="766" y="224"/>
                    </a:lnTo>
                    <a:lnTo>
                      <a:pt x="768" y="224"/>
                    </a:lnTo>
                    <a:lnTo>
                      <a:pt x="768" y="222"/>
                    </a:lnTo>
                    <a:lnTo>
                      <a:pt x="770" y="224"/>
                    </a:lnTo>
                    <a:lnTo>
                      <a:pt x="772" y="224"/>
                    </a:lnTo>
                    <a:lnTo>
                      <a:pt x="773" y="226"/>
                    </a:lnTo>
                    <a:lnTo>
                      <a:pt x="777" y="226"/>
                    </a:lnTo>
                    <a:lnTo>
                      <a:pt x="777" y="228"/>
                    </a:lnTo>
                    <a:lnTo>
                      <a:pt x="779" y="228"/>
                    </a:lnTo>
                    <a:lnTo>
                      <a:pt x="779" y="230"/>
                    </a:lnTo>
                    <a:lnTo>
                      <a:pt x="783" y="230"/>
                    </a:lnTo>
                    <a:lnTo>
                      <a:pt x="787" y="232"/>
                    </a:lnTo>
                    <a:lnTo>
                      <a:pt x="787" y="234"/>
                    </a:lnTo>
                    <a:lnTo>
                      <a:pt x="787" y="236"/>
                    </a:lnTo>
                    <a:lnTo>
                      <a:pt x="789" y="236"/>
                    </a:lnTo>
                    <a:lnTo>
                      <a:pt x="787" y="240"/>
                    </a:lnTo>
                    <a:lnTo>
                      <a:pt x="787" y="243"/>
                    </a:lnTo>
                    <a:lnTo>
                      <a:pt x="785" y="243"/>
                    </a:lnTo>
                    <a:lnTo>
                      <a:pt x="785" y="245"/>
                    </a:lnTo>
                    <a:lnTo>
                      <a:pt x="785" y="247"/>
                    </a:lnTo>
                    <a:lnTo>
                      <a:pt x="785" y="249"/>
                    </a:lnTo>
                    <a:lnTo>
                      <a:pt x="783" y="249"/>
                    </a:lnTo>
                    <a:lnTo>
                      <a:pt x="781" y="251"/>
                    </a:lnTo>
                    <a:lnTo>
                      <a:pt x="779" y="251"/>
                    </a:lnTo>
                    <a:lnTo>
                      <a:pt x="779" y="253"/>
                    </a:lnTo>
                    <a:lnTo>
                      <a:pt x="777" y="253"/>
                    </a:lnTo>
                    <a:lnTo>
                      <a:pt x="775" y="253"/>
                    </a:lnTo>
                    <a:lnTo>
                      <a:pt x="775" y="255"/>
                    </a:lnTo>
                    <a:lnTo>
                      <a:pt x="773" y="255"/>
                    </a:lnTo>
                    <a:lnTo>
                      <a:pt x="772" y="257"/>
                    </a:lnTo>
                    <a:lnTo>
                      <a:pt x="772" y="259"/>
                    </a:lnTo>
                    <a:lnTo>
                      <a:pt x="772" y="263"/>
                    </a:lnTo>
                    <a:lnTo>
                      <a:pt x="770" y="263"/>
                    </a:lnTo>
                    <a:lnTo>
                      <a:pt x="770" y="264"/>
                    </a:lnTo>
                    <a:lnTo>
                      <a:pt x="768" y="264"/>
                    </a:lnTo>
                    <a:lnTo>
                      <a:pt x="766" y="264"/>
                    </a:lnTo>
                    <a:lnTo>
                      <a:pt x="766" y="268"/>
                    </a:lnTo>
                    <a:lnTo>
                      <a:pt x="766" y="270"/>
                    </a:lnTo>
                    <a:lnTo>
                      <a:pt x="766" y="274"/>
                    </a:lnTo>
                    <a:lnTo>
                      <a:pt x="764" y="272"/>
                    </a:lnTo>
                    <a:lnTo>
                      <a:pt x="762" y="270"/>
                    </a:lnTo>
                    <a:lnTo>
                      <a:pt x="760" y="272"/>
                    </a:lnTo>
                    <a:lnTo>
                      <a:pt x="754" y="278"/>
                    </a:lnTo>
                    <a:lnTo>
                      <a:pt x="745" y="278"/>
                    </a:lnTo>
                    <a:lnTo>
                      <a:pt x="741" y="278"/>
                    </a:lnTo>
                    <a:lnTo>
                      <a:pt x="741" y="282"/>
                    </a:lnTo>
                    <a:lnTo>
                      <a:pt x="741" y="284"/>
                    </a:lnTo>
                    <a:lnTo>
                      <a:pt x="741" y="286"/>
                    </a:lnTo>
                    <a:lnTo>
                      <a:pt x="741" y="288"/>
                    </a:lnTo>
                    <a:lnTo>
                      <a:pt x="741" y="293"/>
                    </a:lnTo>
                    <a:lnTo>
                      <a:pt x="739" y="295"/>
                    </a:lnTo>
                    <a:lnTo>
                      <a:pt x="739" y="297"/>
                    </a:lnTo>
                    <a:lnTo>
                      <a:pt x="739" y="299"/>
                    </a:lnTo>
                    <a:lnTo>
                      <a:pt x="745" y="299"/>
                    </a:lnTo>
                    <a:lnTo>
                      <a:pt x="743" y="303"/>
                    </a:lnTo>
                    <a:lnTo>
                      <a:pt x="745" y="303"/>
                    </a:lnTo>
                    <a:lnTo>
                      <a:pt x="745" y="307"/>
                    </a:lnTo>
                    <a:lnTo>
                      <a:pt x="747" y="309"/>
                    </a:lnTo>
                    <a:lnTo>
                      <a:pt x="747" y="311"/>
                    </a:lnTo>
                    <a:lnTo>
                      <a:pt x="743" y="311"/>
                    </a:lnTo>
                    <a:lnTo>
                      <a:pt x="739" y="311"/>
                    </a:lnTo>
                    <a:lnTo>
                      <a:pt x="739" y="309"/>
                    </a:lnTo>
                    <a:lnTo>
                      <a:pt x="737" y="307"/>
                    </a:lnTo>
                    <a:lnTo>
                      <a:pt x="735" y="305"/>
                    </a:lnTo>
                    <a:lnTo>
                      <a:pt x="735" y="303"/>
                    </a:lnTo>
                    <a:lnTo>
                      <a:pt x="733" y="303"/>
                    </a:lnTo>
                    <a:lnTo>
                      <a:pt x="731" y="301"/>
                    </a:lnTo>
                    <a:lnTo>
                      <a:pt x="727" y="299"/>
                    </a:lnTo>
                    <a:lnTo>
                      <a:pt x="725" y="297"/>
                    </a:lnTo>
                    <a:lnTo>
                      <a:pt x="725" y="295"/>
                    </a:lnTo>
                    <a:lnTo>
                      <a:pt x="727" y="295"/>
                    </a:lnTo>
                    <a:lnTo>
                      <a:pt x="727" y="293"/>
                    </a:lnTo>
                    <a:lnTo>
                      <a:pt x="725" y="293"/>
                    </a:lnTo>
                    <a:lnTo>
                      <a:pt x="725" y="291"/>
                    </a:lnTo>
                    <a:lnTo>
                      <a:pt x="727" y="289"/>
                    </a:lnTo>
                    <a:lnTo>
                      <a:pt x="727" y="288"/>
                    </a:lnTo>
                    <a:lnTo>
                      <a:pt x="729" y="288"/>
                    </a:lnTo>
                    <a:lnTo>
                      <a:pt x="727" y="288"/>
                    </a:lnTo>
                    <a:lnTo>
                      <a:pt x="725" y="286"/>
                    </a:lnTo>
                    <a:lnTo>
                      <a:pt x="724" y="286"/>
                    </a:lnTo>
                    <a:lnTo>
                      <a:pt x="722" y="286"/>
                    </a:lnTo>
                    <a:lnTo>
                      <a:pt x="720" y="286"/>
                    </a:lnTo>
                    <a:lnTo>
                      <a:pt x="720" y="289"/>
                    </a:lnTo>
                    <a:lnTo>
                      <a:pt x="720" y="293"/>
                    </a:lnTo>
                    <a:lnTo>
                      <a:pt x="718" y="297"/>
                    </a:lnTo>
                    <a:lnTo>
                      <a:pt x="718" y="301"/>
                    </a:lnTo>
                    <a:lnTo>
                      <a:pt x="716" y="301"/>
                    </a:lnTo>
                    <a:lnTo>
                      <a:pt x="714" y="303"/>
                    </a:lnTo>
                    <a:lnTo>
                      <a:pt x="714" y="314"/>
                    </a:lnTo>
                    <a:lnTo>
                      <a:pt x="712" y="316"/>
                    </a:lnTo>
                    <a:lnTo>
                      <a:pt x="712" y="318"/>
                    </a:lnTo>
                    <a:lnTo>
                      <a:pt x="714" y="318"/>
                    </a:lnTo>
                    <a:lnTo>
                      <a:pt x="714" y="320"/>
                    </a:lnTo>
                    <a:lnTo>
                      <a:pt x="716" y="320"/>
                    </a:lnTo>
                    <a:lnTo>
                      <a:pt x="720" y="322"/>
                    </a:lnTo>
                    <a:lnTo>
                      <a:pt x="720" y="326"/>
                    </a:lnTo>
                    <a:lnTo>
                      <a:pt x="720" y="328"/>
                    </a:lnTo>
                    <a:lnTo>
                      <a:pt x="718" y="330"/>
                    </a:lnTo>
                    <a:lnTo>
                      <a:pt x="718" y="332"/>
                    </a:lnTo>
                    <a:lnTo>
                      <a:pt x="718" y="334"/>
                    </a:lnTo>
                    <a:lnTo>
                      <a:pt x="716" y="336"/>
                    </a:lnTo>
                    <a:lnTo>
                      <a:pt x="714" y="336"/>
                    </a:lnTo>
                    <a:lnTo>
                      <a:pt x="714" y="337"/>
                    </a:lnTo>
                    <a:lnTo>
                      <a:pt x="712" y="337"/>
                    </a:lnTo>
                    <a:lnTo>
                      <a:pt x="710" y="339"/>
                    </a:lnTo>
                    <a:lnTo>
                      <a:pt x="710" y="341"/>
                    </a:lnTo>
                    <a:lnTo>
                      <a:pt x="708" y="341"/>
                    </a:lnTo>
                    <a:lnTo>
                      <a:pt x="708" y="343"/>
                    </a:lnTo>
                    <a:lnTo>
                      <a:pt x="706" y="343"/>
                    </a:lnTo>
                    <a:lnTo>
                      <a:pt x="704" y="343"/>
                    </a:lnTo>
                    <a:lnTo>
                      <a:pt x="702" y="343"/>
                    </a:lnTo>
                    <a:lnTo>
                      <a:pt x="701" y="343"/>
                    </a:lnTo>
                    <a:lnTo>
                      <a:pt x="697" y="343"/>
                    </a:lnTo>
                    <a:lnTo>
                      <a:pt x="695" y="343"/>
                    </a:lnTo>
                    <a:lnTo>
                      <a:pt x="695" y="347"/>
                    </a:lnTo>
                    <a:lnTo>
                      <a:pt x="695" y="349"/>
                    </a:lnTo>
                    <a:lnTo>
                      <a:pt x="695" y="355"/>
                    </a:lnTo>
                    <a:lnTo>
                      <a:pt x="695" y="359"/>
                    </a:lnTo>
                    <a:lnTo>
                      <a:pt x="697" y="360"/>
                    </a:lnTo>
                    <a:lnTo>
                      <a:pt x="697" y="362"/>
                    </a:lnTo>
                    <a:lnTo>
                      <a:pt x="695" y="362"/>
                    </a:lnTo>
                    <a:lnTo>
                      <a:pt x="695" y="364"/>
                    </a:lnTo>
                    <a:lnTo>
                      <a:pt x="693" y="364"/>
                    </a:lnTo>
                    <a:lnTo>
                      <a:pt x="693" y="366"/>
                    </a:lnTo>
                    <a:lnTo>
                      <a:pt x="695" y="366"/>
                    </a:lnTo>
                    <a:lnTo>
                      <a:pt x="695" y="368"/>
                    </a:lnTo>
                    <a:lnTo>
                      <a:pt x="695" y="370"/>
                    </a:lnTo>
                    <a:lnTo>
                      <a:pt x="697" y="370"/>
                    </a:lnTo>
                    <a:lnTo>
                      <a:pt x="697" y="372"/>
                    </a:lnTo>
                    <a:lnTo>
                      <a:pt x="699" y="374"/>
                    </a:lnTo>
                    <a:lnTo>
                      <a:pt x="695" y="374"/>
                    </a:lnTo>
                    <a:lnTo>
                      <a:pt x="695" y="376"/>
                    </a:lnTo>
                    <a:lnTo>
                      <a:pt x="695" y="378"/>
                    </a:lnTo>
                    <a:lnTo>
                      <a:pt x="693" y="378"/>
                    </a:lnTo>
                    <a:lnTo>
                      <a:pt x="693" y="380"/>
                    </a:lnTo>
                    <a:lnTo>
                      <a:pt x="689" y="380"/>
                    </a:lnTo>
                    <a:lnTo>
                      <a:pt x="687" y="382"/>
                    </a:lnTo>
                    <a:lnTo>
                      <a:pt x="681" y="387"/>
                    </a:lnTo>
                    <a:lnTo>
                      <a:pt x="676" y="387"/>
                    </a:lnTo>
                    <a:lnTo>
                      <a:pt x="676" y="391"/>
                    </a:lnTo>
                    <a:lnTo>
                      <a:pt x="677" y="393"/>
                    </a:lnTo>
                    <a:lnTo>
                      <a:pt x="676" y="395"/>
                    </a:lnTo>
                    <a:lnTo>
                      <a:pt x="674" y="399"/>
                    </a:lnTo>
                    <a:lnTo>
                      <a:pt x="670" y="403"/>
                    </a:lnTo>
                    <a:lnTo>
                      <a:pt x="668" y="403"/>
                    </a:lnTo>
                    <a:lnTo>
                      <a:pt x="666" y="405"/>
                    </a:lnTo>
                    <a:lnTo>
                      <a:pt x="668" y="408"/>
                    </a:lnTo>
                    <a:lnTo>
                      <a:pt x="666" y="408"/>
                    </a:lnTo>
                    <a:lnTo>
                      <a:pt x="666" y="410"/>
                    </a:lnTo>
                    <a:lnTo>
                      <a:pt x="664" y="410"/>
                    </a:lnTo>
                    <a:lnTo>
                      <a:pt x="662" y="410"/>
                    </a:lnTo>
                    <a:lnTo>
                      <a:pt x="662" y="412"/>
                    </a:lnTo>
                    <a:lnTo>
                      <a:pt x="662" y="416"/>
                    </a:lnTo>
                    <a:lnTo>
                      <a:pt x="662" y="420"/>
                    </a:lnTo>
                    <a:lnTo>
                      <a:pt x="662" y="422"/>
                    </a:lnTo>
                    <a:lnTo>
                      <a:pt x="660" y="424"/>
                    </a:lnTo>
                    <a:lnTo>
                      <a:pt x="660" y="426"/>
                    </a:lnTo>
                    <a:lnTo>
                      <a:pt x="660" y="428"/>
                    </a:lnTo>
                    <a:lnTo>
                      <a:pt x="658" y="430"/>
                    </a:lnTo>
                    <a:lnTo>
                      <a:pt x="656" y="430"/>
                    </a:lnTo>
                    <a:lnTo>
                      <a:pt x="656" y="432"/>
                    </a:lnTo>
                    <a:lnTo>
                      <a:pt x="656" y="433"/>
                    </a:lnTo>
                    <a:lnTo>
                      <a:pt x="656" y="432"/>
                    </a:lnTo>
                    <a:lnTo>
                      <a:pt x="654" y="432"/>
                    </a:lnTo>
                    <a:lnTo>
                      <a:pt x="653" y="432"/>
                    </a:lnTo>
                    <a:lnTo>
                      <a:pt x="651" y="433"/>
                    </a:lnTo>
                    <a:lnTo>
                      <a:pt x="649" y="433"/>
                    </a:lnTo>
                    <a:lnTo>
                      <a:pt x="647" y="435"/>
                    </a:lnTo>
                    <a:lnTo>
                      <a:pt x="647" y="437"/>
                    </a:lnTo>
                    <a:lnTo>
                      <a:pt x="647" y="439"/>
                    </a:lnTo>
                    <a:lnTo>
                      <a:pt x="647" y="441"/>
                    </a:lnTo>
                    <a:lnTo>
                      <a:pt x="645" y="443"/>
                    </a:lnTo>
                    <a:lnTo>
                      <a:pt x="645" y="445"/>
                    </a:lnTo>
                    <a:lnTo>
                      <a:pt x="645" y="447"/>
                    </a:lnTo>
                    <a:lnTo>
                      <a:pt x="645" y="449"/>
                    </a:lnTo>
                    <a:lnTo>
                      <a:pt x="647" y="451"/>
                    </a:lnTo>
                    <a:lnTo>
                      <a:pt x="641" y="449"/>
                    </a:lnTo>
                    <a:lnTo>
                      <a:pt x="635" y="449"/>
                    </a:lnTo>
                    <a:lnTo>
                      <a:pt x="633" y="449"/>
                    </a:lnTo>
                    <a:lnTo>
                      <a:pt x="633" y="453"/>
                    </a:lnTo>
                    <a:lnTo>
                      <a:pt x="629" y="453"/>
                    </a:lnTo>
                    <a:lnTo>
                      <a:pt x="628" y="451"/>
                    </a:lnTo>
                    <a:lnTo>
                      <a:pt x="626" y="451"/>
                    </a:lnTo>
                    <a:lnTo>
                      <a:pt x="624" y="451"/>
                    </a:lnTo>
                    <a:lnTo>
                      <a:pt x="620" y="451"/>
                    </a:lnTo>
                    <a:lnTo>
                      <a:pt x="618" y="451"/>
                    </a:lnTo>
                    <a:lnTo>
                      <a:pt x="618" y="453"/>
                    </a:lnTo>
                    <a:lnTo>
                      <a:pt x="620" y="455"/>
                    </a:lnTo>
                    <a:lnTo>
                      <a:pt x="618" y="456"/>
                    </a:lnTo>
                    <a:lnTo>
                      <a:pt x="618" y="460"/>
                    </a:lnTo>
                    <a:lnTo>
                      <a:pt x="614" y="460"/>
                    </a:lnTo>
                    <a:lnTo>
                      <a:pt x="612" y="462"/>
                    </a:lnTo>
                    <a:lnTo>
                      <a:pt x="610" y="462"/>
                    </a:lnTo>
                    <a:lnTo>
                      <a:pt x="610" y="464"/>
                    </a:lnTo>
                    <a:lnTo>
                      <a:pt x="610" y="466"/>
                    </a:lnTo>
                    <a:lnTo>
                      <a:pt x="610" y="468"/>
                    </a:lnTo>
                    <a:lnTo>
                      <a:pt x="612" y="470"/>
                    </a:lnTo>
                    <a:lnTo>
                      <a:pt x="612" y="472"/>
                    </a:lnTo>
                    <a:lnTo>
                      <a:pt x="612" y="474"/>
                    </a:lnTo>
                    <a:lnTo>
                      <a:pt x="614" y="474"/>
                    </a:lnTo>
                    <a:lnTo>
                      <a:pt x="614" y="476"/>
                    </a:lnTo>
                    <a:lnTo>
                      <a:pt x="614" y="478"/>
                    </a:lnTo>
                    <a:lnTo>
                      <a:pt x="614" y="479"/>
                    </a:lnTo>
                    <a:lnTo>
                      <a:pt x="614" y="481"/>
                    </a:lnTo>
                    <a:lnTo>
                      <a:pt x="612" y="483"/>
                    </a:lnTo>
                    <a:lnTo>
                      <a:pt x="614" y="485"/>
                    </a:lnTo>
                    <a:lnTo>
                      <a:pt x="616" y="485"/>
                    </a:lnTo>
                    <a:lnTo>
                      <a:pt x="614" y="485"/>
                    </a:lnTo>
                    <a:lnTo>
                      <a:pt x="616" y="487"/>
                    </a:lnTo>
                    <a:lnTo>
                      <a:pt x="616" y="489"/>
                    </a:lnTo>
                    <a:lnTo>
                      <a:pt x="614" y="489"/>
                    </a:lnTo>
                    <a:lnTo>
                      <a:pt x="616" y="489"/>
                    </a:lnTo>
                    <a:lnTo>
                      <a:pt x="616" y="491"/>
                    </a:lnTo>
                    <a:lnTo>
                      <a:pt x="614" y="491"/>
                    </a:lnTo>
                    <a:lnTo>
                      <a:pt x="612" y="491"/>
                    </a:lnTo>
                    <a:lnTo>
                      <a:pt x="612" y="493"/>
                    </a:lnTo>
                    <a:lnTo>
                      <a:pt x="610" y="493"/>
                    </a:lnTo>
                    <a:lnTo>
                      <a:pt x="610" y="495"/>
                    </a:lnTo>
                    <a:lnTo>
                      <a:pt x="608" y="495"/>
                    </a:lnTo>
                    <a:lnTo>
                      <a:pt x="608" y="497"/>
                    </a:lnTo>
                    <a:lnTo>
                      <a:pt x="610" y="497"/>
                    </a:lnTo>
                    <a:lnTo>
                      <a:pt x="610" y="499"/>
                    </a:lnTo>
                    <a:lnTo>
                      <a:pt x="610" y="501"/>
                    </a:lnTo>
                    <a:lnTo>
                      <a:pt x="612" y="501"/>
                    </a:lnTo>
                    <a:lnTo>
                      <a:pt x="614" y="501"/>
                    </a:lnTo>
                    <a:lnTo>
                      <a:pt x="614" y="503"/>
                    </a:lnTo>
                    <a:lnTo>
                      <a:pt x="612" y="503"/>
                    </a:lnTo>
                    <a:lnTo>
                      <a:pt x="614" y="504"/>
                    </a:lnTo>
                    <a:lnTo>
                      <a:pt x="616" y="506"/>
                    </a:lnTo>
                    <a:lnTo>
                      <a:pt x="618" y="508"/>
                    </a:lnTo>
                    <a:lnTo>
                      <a:pt x="616" y="510"/>
                    </a:lnTo>
                    <a:lnTo>
                      <a:pt x="616" y="512"/>
                    </a:lnTo>
                    <a:lnTo>
                      <a:pt x="614" y="514"/>
                    </a:lnTo>
                    <a:lnTo>
                      <a:pt x="616" y="514"/>
                    </a:lnTo>
                    <a:lnTo>
                      <a:pt x="614" y="516"/>
                    </a:lnTo>
                    <a:lnTo>
                      <a:pt x="612" y="520"/>
                    </a:lnTo>
                    <a:lnTo>
                      <a:pt x="614" y="522"/>
                    </a:lnTo>
                    <a:lnTo>
                      <a:pt x="614" y="524"/>
                    </a:lnTo>
                    <a:lnTo>
                      <a:pt x="612" y="524"/>
                    </a:lnTo>
                    <a:lnTo>
                      <a:pt x="612" y="526"/>
                    </a:lnTo>
                    <a:lnTo>
                      <a:pt x="610" y="526"/>
                    </a:lnTo>
                    <a:lnTo>
                      <a:pt x="610" y="527"/>
                    </a:lnTo>
                    <a:lnTo>
                      <a:pt x="608" y="527"/>
                    </a:lnTo>
                    <a:lnTo>
                      <a:pt x="608" y="529"/>
                    </a:lnTo>
                    <a:lnTo>
                      <a:pt x="608" y="531"/>
                    </a:lnTo>
                    <a:lnTo>
                      <a:pt x="608" y="533"/>
                    </a:lnTo>
                    <a:lnTo>
                      <a:pt x="608" y="535"/>
                    </a:lnTo>
                    <a:lnTo>
                      <a:pt x="610" y="535"/>
                    </a:lnTo>
                    <a:lnTo>
                      <a:pt x="610" y="537"/>
                    </a:lnTo>
                    <a:lnTo>
                      <a:pt x="608" y="537"/>
                    </a:lnTo>
                    <a:lnTo>
                      <a:pt x="608" y="539"/>
                    </a:lnTo>
                    <a:lnTo>
                      <a:pt x="608" y="541"/>
                    </a:lnTo>
                    <a:lnTo>
                      <a:pt x="608" y="543"/>
                    </a:lnTo>
                    <a:lnTo>
                      <a:pt x="606" y="543"/>
                    </a:lnTo>
                    <a:lnTo>
                      <a:pt x="606" y="545"/>
                    </a:lnTo>
                    <a:lnTo>
                      <a:pt x="606" y="547"/>
                    </a:lnTo>
                    <a:lnTo>
                      <a:pt x="605" y="549"/>
                    </a:lnTo>
                    <a:lnTo>
                      <a:pt x="606" y="551"/>
                    </a:lnTo>
                    <a:lnTo>
                      <a:pt x="608" y="551"/>
                    </a:lnTo>
                    <a:lnTo>
                      <a:pt x="606" y="554"/>
                    </a:lnTo>
                    <a:lnTo>
                      <a:pt x="606" y="556"/>
                    </a:lnTo>
                    <a:lnTo>
                      <a:pt x="606" y="558"/>
                    </a:lnTo>
                    <a:lnTo>
                      <a:pt x="606" y="560"/>
                    </a:lnTo>
                    <a:lnTo>
                      <a:pt x="606" y="562"/>
                    </a:lnTo>
                    <a:lnTo>
                      <a:pt x="608" y="562"/>
                    </a:lnTo>
                    <a:lnTo>
                      <a:pt x="610" y="562"/>
                    </a:lnTo>
                    <a:lnTo>
                      <a:pt x="610" y="564"/>
                    </a:lnTo>
                    <a:lnTo>
                      <a:pt x="612" y="564"/>
                    </a:lnTo>
                    <a:lnTo>
                      <a:pt x="612" y="566"/>
                    </a:lnTo>
                    <a:lnTo>
                      <a:pt x="612" y="564"/>
                    </a:lnTo>
                    <a:lnTo>
                      <a:pt x="612" y="566"/>
                    </a:lnTo>
                    <a:lnTo>
                      <a:pt x="612" y="568"/>
                    </a:lnTo>
                    <a:lnTo>
                      <a:pt x="612" y="566"/>
                    </a:lnTo>
                    <a:lnTo>
                      <a:pt x="612" y="568"/>
                    </a:lnTo>
                    <a:lnTo>
                      <a:pt x="612" y="570"/>
                    </a:lnTo>
                    <a:lnTo>
                      <a:pt x="610" y="570"/>
                    </a:lnTo>
                    <a:lnTo>
                      <a:pt x="610" y="572"/>
                    </a:lnTo>
                    <a:lnTo>
                      <a:pt x="610" y="574"/>
                    </a:lnTo>
                    <a:lnTo>
                      <a:pt x="610" y="575"/>
                    </a:lnTo>
                    <a:lnTo>
                      <a:pt x="610" y="577"/>
                    </a:lnTo>
                    <a:lnTo>
                      <a:pt x="610" y="579"/>
                    </a:lnTo>
                    <a:lnTo>
                      <a:pt x="610" y="581"/>
                    </a:lnTo>
                    <a:lnTo>
                      <a:pt x="612" y="581"/>
                    </a:lnTo>
                    <a:lnTo>
                      <a:pt x="610" y="581"/>
                    </a:lnTo>
                    <a:lnTo>
                      <a:pt x="610" y="583"/>
                    </a:lnTo>
                    <a:lnTo>
                      <a:pt x="610" y="585"/>
                    </a:lnTo>
                    <a:lnTo>
                      <a:pt x="610" y="587"/>
                    </a:lnTo>
                    <a:lnTo>
                      <a:pt x="608" y="587"/>
                    </a:lnTo>
                    <a:lnTo>
                      <a:pt x="608" y="585"/>
                    </a:lnTo>
                    <a:lnTo>
                      <a:pt x="608" y="587"/>
                    </a:lnTo>
                    <a:lnTo>
                      <a:pt x="606" y="587"/>
                    </a:lnTo>
                    <a:lnTo>
                      <a:pt x="606" y="589"/>
                    </a:lnTo>
                    <a:lnTo>
                      <a:pt x="606" y="587"/>
                    </a:lnTo>
                    <a:lnTo>
                      <a:pt x="606" y="589"/>
                    </a:lnTo>
                    <a:lnTo>
                      <a:pt x="605" y="589"/>
                    </a:lnTo>
                    <a:lnTo>
                      <a:pt x="606" y="591"/>
                    </a:lnTo>
                    <a:lnTo>
                      <a:pt x="605" y="591"/>
                    </a:lnTo>
                    <a:lnTo>
                      <a:pt x="605" y="593"/>
                    </a:lnTo>
                    <a:lnTo>
                      <a:pt x="605" y="591"/>
                    </a:lnTo>
                    <a:lnTo>
                      <a:pt x="605" y="593"/>
                    </a:lnTo>
                    <a:lnTo>
                      <a:pt x="603" y="593"/>
                    </a:lnTo>
                    <a:lnTo>
                      <a:pt x="603" y="595"/>
                    </a:lnTo>
                    <a:lnTo>
                      <a:pt x="603" y="593"/>
                    </a:lnTo>
                    <a:lnTo>
                      <a:pt x="603" y="595"/>
                    </a:lnTo>
                    <a:lnTo>
                      <a:pt x="603" y="597"/>
                    </a:lnTo>
                    <a:lnTo>
                      <a:pt x="601" y="597"/>
                    </a:lnTo>
                    <a:lnTo>
                      <a:pt x="601" y="599"/>
                    </a:lnTo>
                    <a:lnTo>
                      <a:pt x="601" y="600"/>
                    </a:lnTo>
                    <a:lnTo>
                      <a:pt x="599" y="600"/>
                    </a:lnTo>
                    <a:lnTo>
                      <a:pt x="597" y="600"/>
                    </a:lnTo>
                    <a:lnTo>
                      <a:pt x="595" y="600"/>
                    </a:lnTo>
                    <a:lnTo>
                      <a:pt x="593" y="600"/>
                    </a:lnTo>
                    <a:lnTo>
                      <a:pt x="593" y="602"/>
                    </a:lnTo>
                    <a:lnTo>
                      <a:pt x="593" y="600"/>
                    </a:lnTo>
                    <a:lnTo>
                      <a:pt x="591" y="600"/>
                    </a:lnTo>
                    <a:lnTo>
                      <a:pt x="591" y="602"/>
                    </a:lnTo>
                    <a:lnTo>
                      <a:pt x="589" y="602"/>
                    </a:lnTo>
                    <a:lnTo>
                      <a:pt x="587" y="602"/>
                    </a:lnTo>
                    <a:lnTo>
                      <a:pt x="587" y="604"/>
                    </a:lnTo>
                    <a:lnTo>
                      <a:pt x="587" y="602"/>
                    </a:lnTo>
                    <a:lnTo>
                      <a:pt x="587" y="604"/>
                    </a:lnTo>
                    <a:lnTo>
                      <a:pt x="589" y="604"/>
                    </a:lnTo>
                    <a:lnTo>
                      <a:pt x="589" y="606"/>
                    </a:lnTo>
                    <a:lnTo>
                      <a:pt x="591" y="606"/>
                    </a:lnTo>
                    <a:lnTo>
                      <a:pt x="589" y="606"/>
                    </a:lnTo>
                    <a:lnTo>
                      <a:pt x="589" y="608"/>
                    </a:lnTo>
                    <a:lnTo>
                      <a:pt x="589" y="610"/>
                    </a:lnTo>
                    <a:lnTo>
                      <a:pt x="589" y="612"/>
                    </a:lnTo>
                    <a:lnTo>
                      <a:pt x="587" y="612"/>
                    </a:lnTo>
                    <a:lnTo>
                      <a:pt x="589" y="612"/>
                    </a:lnTo>
                    <a:lnTo>
                      <a:pt x="589" y="614"/>
                    </a:lnTo>
                    <a:lnTo>
                      <a:pt x="589" y="612"/>
                    </a:lnTo>
                    <a:lnTo>
                      <a:pt x="589" y="614"/>
                    </a:lnTo>
                    <a:lnTo>
                      <a:pt x="587" y="614"/>
                    </a:lnTo>
                    <a:lnTo>
                      <a:pt x="587" y="616"/>
                    </a:lnTo>
                    <a:lnTo>
                      <a:pt x="585" y="616"/>
                    </a:lnTo>
                    <a:lnTo>
                      <a:pt x="585" y="618"/>
                    </a:lnTo>
                    <a:lnTo>
                      <a:pt x="587" y="618"/>
                    </a:lnTo>
                    <a:lnTo>
                      <a:pt x="585" y="618"/>
                    </a:lnTo>
                    <a:lnTo>
                      <a:pt x="583" y="618"/>
                    </a:lnTo>
                    <a:lnTo>
                      <a:pt x="581" y="618"/>
                    </a:lnTo>
                    <a:lnTo>
                      <a:pt x="581" y="620"/>
                    </a:lnTo>
                    <a:lnTo>
                      <a:pt x="581" y="622"/>
                    </a:lnTo>
                    <a:lnTo>
                      <a:pt x="583" y="622"/>
                    </a:lnTo>
                    <a:lnTo>
                      <a:pt x="583" y="623"/>
                    </a:lnTo>
                    <a:lnTo>
                      <a:pt x="585" y="625"/>
                    </a:lnTo>
                    <a:lnTo>
                      <a:pt x="587" y="625"/>
                    </a:lnTo>
                    <a:lnTo>
                      <a:pt x="587" y="627"/>
                    </a:lnTo>
                    <a:lnTo>
                      <a:pt x="589" y="627"/>
                    </a:lnTo>
                    <a:lnTo>
                      <a:pt x="589" y="629"/>
                    </a:lnTo>
                    <a:lnTo>
                      <a:pt x="589" y="631"/>
                    </a:lnTo>
                    <a:lnTo>
                      <a:pt x="587" y="633"/>
                    </a:lnTo>
                    <a:lnTo>
                      <a:pt x="587" y="635"/>
                    </a:lnTo>
                    <a:lnTo>
                      <a:pt x="585" y="635"/>
                    </a:lnTo>
                    <a:lnTo>
                      <a:pt x="587" y="635"/>
                    </a:lnTo>
                    <a:lnTo>
                      <a:pt x="587" y="637"/>
                    </a:lnTo>
                    <a:lnTo>
                      <a:pt x="587" y="639"/>
                    </a:lnTo>
                    <a:lnTo>
                      <a:pt x="587" y="641"/>
                    </a:lnTo>
                    <a:lnTo>
                      <a:pt x="589" y="643"/>
                    </a:lnTo>
                    <a:lnTo>
                      <a:pt x="589" y="645"/>
                    </a:lnTo>
                    <a:lnTo>
                      <a:pt x="587" y="645"/>
                    </a:lnTo>
                    <a:lnTo>
                      <a:pt x="585" y="645"/>
                    </a:lnTo>
                    <a:lnTo>
                      <a:pt x="583" y="645"/>
                    </a:lnTo>
                    <a:lnTo>
                      <a:pt x="581" y="645"/>
                    </a:lnTo>
                    <a:lnTo>
                      <a:pt x="580" y="645"/>
                    </a:lnTo>
                    <a:lnTo>
                      <a:pt x="578" y="645"/>
                    </a:lnTo>
                    <a:lnTo>
                      <a:pt x="576" y="645"/>
                    </a:lnTo>
                    <a:lnTo>
                      <a:pt x="574" y="645"/>
                    </a:lnTo>
                    <a:lnTo>
                      <a:pt x="572" y="645"/>
                    </a:lnTo>
                    <a:lnTo>
                      <a:pt x="570" y="645"/>
                    </a:lnTo>
                    <a:lnTo>
                      <a:pt x="570" y="643"/>
                    </a:lnTo>
                    <a:lnTo>
                      <a:pt x="568" y="643"/>
                    </a:lnTo>
                    <a:lnTo>
                      <a:pt x="566" y="643"/>
                    </a:lnTo>
                    <a:lnTo>
                      <a:pt x="564" y="643"/>
                    </a:lnTo>
                    <a:lnTo>
                      <a:pt x="562" y="643"/>
                    </a:lnTo>
                    <a:lnTo>
                      <a:pt x="562" y="641"/>
                    </a:lnTo>
                    <a:lnTo>
                      <a:pt x="562" y="639"/>
                    </a:lnTo>
                    <a:lnTo>
                      <a:pt x="560" y="639"/>
                    </a:lnTo>
                    <a:lnTo>
                      <a:pt x="560" y="637"/>
                    </a:lnTo>
                    <a:lnTo>
                      <a:pt x="562" y="637"/>
                    </a:lnTo>
                    <a:lnTo>
                      <a:pt x="562" y="635"/>
                    </a:lnTo>
                    <a:lnTo>
                      <a:pt x="564" y="633"/>
                    </a:lnTo>
                    <a:lnTo>
                      <a:pt x="564" y="631"/>
                    </a:lnTo>
                    <a:lnTo>
                      <a:pt x="562" y="631"/>
                    </a:lnTo>
                    <a:lnTo>
                      <a:pt x="560" y="631"/>
                    </a:lnTo>
                    <a:lnTo>
                      <a:pt x="560" y="629"/>
                    </a:lnTo>
                    <a:lnTo>
                      <a:pt x="560" y="627"/>
                    </a:lnTo>
                    <a:lnTo>
                      <a:pt x="560" y="629"/>
                    </a:lnTo>
                    <a:lnTo>
                      <a:pt x="558" y="629"/>
                    </a:lnTo>
                    <a:lnTo>
                      <a:pt x="558" y="631"/>
                    </a:lnTo>
                    <a:lnTo>
                      <a:pt x="556" y="631"/>
                    </a:lnTo>
                    <a:lnTo>
                      <a:pt x="556" y="633"/>
                    </a:lnTo>
                    <a:lnTo>
                      <a:pt x="556" y="631"/>
                    </a:lnTo>
                    <a:lnTo>
                      <a:pt x="555" y="631"/>
                    </a:lnTo>
                    <a:lnTo>
                      <a:pt x="553" y="631"/>
                    </a:lnTo>
                    <a:lnTo>
                      <a:pt x="553" y="629"/>
                    </a:lnTo>
                    <a:lnTo>
                      <a:pt x="553" y="631"/>
                    </a:lnTo>
                    <a:lnTo>
                      <a:pt x="553" y="633"/>
                    </a:lnTo>
                    <a:lnTo>
                      <a:pt x="551" y="633"/>
                    </a:lnTo>
                    <a:lnTo>
                      <a:pt x="551" y="631"/>
                    </a:lnTo>
                    <a:lnTo>
                      <a:pt x="549" y="631"/>
                    </a:lnTo>
                    <a:lnTo>
                      <a:pt x="549" y="633"/>
                    </a:lnTo>
                    <a:lnTo>
                      <a:pt x="549" y="635"/>
                    </a:lnTo>
                    <a:lnTo>
                      <a:pt x="547" y="635"/>
                    </a:lnTo>
                    <a:lnTo>
                      <a:pt x="547" y="637"/>
                    </a:lnTo>
                    <a:lnTo>
                      <a:pt x="545" y="637"/>
                    </a:lnTo>
                    <a:lnTo>
                      <a:pt x="545" y="639"/>
                    </a:lnTo>
                    <a:lnTo>
                      <a:pt x="545" y="641"/>
                    </a:lnTo>
                    <a:lnTo>
                      <a:pt x="545" y="643"/>
                    </a:lnTo>
                    <a:lnTo>
                      <a:pt x="547" y="643"/>
                    </a:lnTo>
                    <a:lnTo>
                      <a:pt x="545" y="645"/>
                    </a:lnTo>
                    <a:lnTo>
                      <a:pt x="543" y="645"/>
                    </a:lnTo>
                    <a:lnTo>
                      <a:pt x="541" y="645"/>
                    </a:lnTo>
                    <a:lnTo>
                      <a:pt x="541" y="643"/>
                    </a:lnTo>
                    <a:lnTo>
                      <a:pt x="539" y="643"/>
                    </a:lnTo>
                    <a:lnTo>
                      <a:pt x="537" y="643"/>
                    </a:lnTo>
                    <a:lnTo>
                      <a:pt x="535" y="641"/>
                    </a:lnTo>
                    <a:lnTo>
                      <a:pt x="533" y="641"/>
                    </a:lnTo>
                    <a:lnTo>
                      <a:pt x="533" y="639"/>
                    </a:lnTo>
                    <a:lnTo>
                      <a:pt x="532" y="639"/>
                    </a:lnTo>
                    <a:lnTo>
                      <a:pt x="532" y="641"/>
                    </a:lnTo>
                    <a:lnTo>
                      <a:pt x="530" y="643"/>
                    </a:lnTo>
                    <a:lnTo>
                      <a:pt x="528" y="645"/>
                    </a:lnTo>
                    <a:lnTo>
                      <a:pt x="528" y="647"/>
                    </a:lnTo>
                    <a:lnTo>
                      <a:pt x="526" y="647"/>
                    </a:lnTo>
                    <a:lnTo>
                      <a:pt x="524" y="648"/>
                    </a:lnTo>
                    <a:lnTo>
                      <a:pt x="522" y="648"/>
                    </a:lnTo>
                    <a:lnTo>
                      <a:pt x="522" y="650"/>
                    </a:lnTo>
                    <a:lnTo>
                      <a:pt x="520" y="650"/>
                    </a:lnTo>
                    <a:lnTo>
                      <a:pt x="520" y="652"/>
                    </a:lnTo>
                    <a:lnTo>
                      <a:pt x="518" y="652"/>
                    </a:lnTo>
                    <a:lnTo>
                      <a:pt x="518" y="650"/>
                    </a:lnTo>
                    <a:lnTo>
                      <a:pt x="516" y="650"/>
                    </a:lnTo>
                    <a:lnTo>
                      <a:pt x="516" y="648"/>
                    </a:lnTo>
                    <a:lnTo>
                      <a:pt x="514" y="648"/>
                    </a:lnTo>
                    <a:lnTo>
                      <a:pt x="512" y="648"/>
                    </a:lnTo>
                    <a:lnTo>
                      <a:pt x="510" y="648"/>
                    </a:lnTo>
                    <a:lnTo>
                      <a:pt x="508" y="648"/>
                    </a:lnTo>
                    <a:lnTo>
                      <a:pt x="508" y="647"/>
                    </a:lnTo>
                    <a:lnTo>
                      <a:pt x="507" y="647"/>
                    </a:lnTo>
                    <a:lnTo>
                      <a:pt x="507" y="645"/>
                    </a:lnTo>
                    <a:lnTo>
                      <a:pt x="505" y="645"/>
                    </a:lnTo>
                    <a:lnTo>
                      <a:pt x="503" y="645"/>
                    </a:lnTo>
                    <a:lnTo>
                      <a:pt x="503" y="643"/>
                    </a:lnTo>
                    <a:lnTo>
                      <a:pt x="501" y="643"/>
                    </a:lnTo>
                    <a:lnTo>
                      <a:pt x="501" y="641"/>
                    </a:lnTo>
                    <a:lnTo>
                      <a:pt x="499" y="639"/>
                    </a:lnTo>
                    <a:lnTo>
                      <a:pt x="497" y="641"/>
                    </a:lnTo>
                    <a:lnTo>
                      <a:pt x="495" y="641"/>
                    </a:lnTo>
                    <a:lnTo>
                      <a:pt x="495" y="643"/>
                    </a:lnTo>
                    <a:lnTo>
                      <a:pt x="493" y="643"/>
                    </a:lnTo>
                    <a:lnTo>
                      <a:pt x="493" y="645"/>
                    </a:lnTo>
                    <a:lnTo>
                      <a:pt x="491" y="647"/>
                    </a:lnTo>
                    <a:lnTo>
                      <a:pt x="491" y="648"/>
                    </a:lnTo>
                    <a:lnTo>
                      <a:pt x="489" y="648"/>
                    </a:lnTo>
                    <a:lnTo>
                      <a:pt x="487" y="648"/>
                    </a:lnTo>
                    <a:lnTo>
                      <a:pt x="487" y="650"/>
                    </a:lnTo>
                    <a:lnTo>
                      <a:pt x="485" y="650"/>
                    </a:lnTo>
                    <a:lnTo>
                      <a:pt x="485" y="652"/>
                    </a:lnTo>
                    <a:lnTo>
                      <a:pt x="484" y="652"/>
                    </a:lnTo>
                    <a:lnTo>
                      <a:pt x="484" y="650"/>
                    </a:lnTo>
                    <a:lnTo>
                      <a:pt x="482" y="650"/>
                    </a:lnTo>
                    <a:lnTo>
                      <a:pt x="482" y="648"/>
                    </a:lnTo>
                    <a:lnTo>
                      <a:pt x="480" y="647"/>
                    </a:lnTo>
                    <a:lnTo>
                      <a:pt x="478" y="647"/>
                    </a:lnTo>
                    <a:lnTo>
                      <a:pt x="476" y="647"/>
                    </a:lnTo>
                    <a:lnTo>
                      <a:pt x="476" y="648"/>
                    </a:lnTo>
                    <a:lnTo>
                      <a:pt x="476" y="650"/>
                    </a:lnTo>
                    <a:lnTo>
                      <a:pt x="476" y="652"/>
                    </a:lnTo>
                    <a:lnTo>
                      <a:pt x="474" y="652"/>
                    </a:lnTo>
                    <a:lnTo>
                      <a:pt x="474" y="654"/>
                    </a:lnTo>
                    <a:lnTo>
                      <a:pt x="472" y="654"/>
                    </a:lnTo>
                    <a:lnTo>
                      <a:pt x="470" y="654"/>
                    </a:lnTo>
                    <a:lnTo>
                      <a:pt x="470" y="652"/>
                    </a:lnTo>
                    <a:lnTo>
                      <a:pt x="468" y="652"/>
                    </a:lnTo>
                    <a:lnTo>
                      <a:pt x="466" y="652"/>
                    </a:lnTo>
                    <a:lnTo>
                      <a:pt x="464" y="652"/>
                    </a:lnTo>
                    <a:lnTo>
                      <a:pt x="462" y="654"/>
                    </a:lnTo>
                    <a:lnTo>
                      <a:pt x="464" y="654"/>
                    </a:lnTo>
                    <a:lnTo>
                      <a:pt x="464" y="656"/>
                    </a:lnTo>
                    <a:lnTo>
                      <a:pt x="462" y="656"/>
                    </a:lnTo>
                    <a:lnTo>
                      <a:pt x="462" y="658"/>
                    </a:lnTo>
                    <a:lnTo>
                      <a:pt x="462" y="656"/>
                    </a:lnTo>
                    <a:lnTo>
                      <a:pt x="460" y="656"/>
                    </a:lnTo>
                    <a:lnTo>
                      <a:pt x="459" y="656"/>
                    </a:lnTo>
                    <a:lnTo>
                      <a:pt x="460" y="658"/>
                    </a:lnTo>
                    <a:lnTo>
                      <a:pt x="459" y="658"/>
                    </a:lnTo>
                    <a:lnTo>
                      <a:pt x="459" y="660"/>
                    </a:lnTo>
                    <a:lnTo>
                      <a:pt x="459" y="662"/>
                    </a:lnTo>
                    <a:lnTo>
                      <a:pt x="457" y="662"/>
                    </a:lnTo>
                    <a:lnTo>
                      <a:pt x="457" y="664"/>
                    </a:lnTo>
                    <a:lnTo>
                      <a:pt x="459" y="664"/>
                    </a:lnTo>
                    <a:lnTo>
                      <a:pt x="460" y="664"/>
                    </a:lnTo>
                    <a:lnTo>
                      <a:pt x="460" y="666"/>
                    </a:lnTo>
                    <a:lnTo>
                      <a:pt x="460" y="664"/>
                    </a:lnTo>
                    <a:lnTo>
                      <a:pt x="462" y="664"/>
                    </a:lnTo>
                    <a:lnTo>
                      <a:pt x="464" y="664"/>
                    </a:lnTo>
                    <a:lnTo>
                      <a:pt x="464" y="666"/>
                    </a:lnTo>
                    <a:lnTo>
                      <a:pt x="464" y="668"/>
                    </a:lnTo>
                    <a:lnTo>
                      <a:pt x="462" y="668"/>
                    </a:lnTo>
                    <a:lnTo>
                      <a:pt x="460" y="668"/>
                    </a:lnTo>
                    <a:lnTo>
                      <a:pt x="460" y="666"/>
                    </a:lnTo>
                    <a:lnTo>
                      <a:pt x="460" y="668"/>
                    </a:lnTo>
                    <a:lnTo>
                      <a:pt x="459" y="668"/>
                    </a:lnTo>
                    <a:lnTo>
                      <a:pt x="459" y="666"/>
                    </a:lnTo>
                    <a:lnTo>
                      <a:pt x="459" y="668"/>
                    </a:lnTo>
                    <a:lnTo>
                      <a:pt x="457" y="668"/>
                    </a:lnTo>
                    <a:lnTo>
                      <a:pt x="457" y="670"/>
                    </a:lnTo>
                    <a:lnTo>
                      <a:pt x="457" y="668"/>
                    </a:lnTo>
                    <a:lnTo>
                      <a:pt x="455" y="668"/>
                    </a:lnTo>
                    <a:lnTo>
                      <a:pt x="453" y="668"/>
                    </a:lnTo>
                    <a:lnTo>
                      <a:pt x="451" y="668"/>
                    </a:lnTo>
                    <a:lnTo>
                      <a:pt x="451" y="666"/>
                    </a:lnTo>
                    <a:lnTo>
                      <a:pt x="453" y="666"/>
                    </a:lnTo>
                    <a:lnTo>
                      <a:pt x="453" y="664"/>
                    </a:lnTo>
                    <a:lnTo>
                      <a:pt x="453" y="662"/>
                    </a:lnTo>
                    <a:lnTo>
                      <a:pt x="453" y="660"/>
                    </a:lnTo>
                    <a:lnTo>
                      <a:pt x="451" y="660"/>
                    </a:lnTo>
                    <a:lnTo>
                      <a:pt x="451" y="662"/>
                    </a:lnTo>
                    <a:lnTo>
                      <a:pt x="451" y="664"/>
                    </a:lnTo>
                    <a:lnTo>
                      <a:pt x="449" y="664"/>
                    </a:lnTo>
                    <a:lnTo>
                      <a:pt x="449" y="666"/>
                    </a:lnTo>
                    <a:lnTo>
                      <a:pt x="449" y="668"/>
                    </a:lnTo>
                    <a:lnTo>
                      <a:pt x="447" y="668"/>
                    </a:lnTo>
                    <a:lnTo>
                      <a:pt x="447" y="670"/>
                    </a:lnTo>
                    <a:lnTo>
                      <a:pt x="449" y="670"/>
                    </a:lnTo>
                    <a:lnTo>
                      <a:pt x="449" y="671"/>
                    </a:lnTo>
                    <a:lnTo>
                      <a:pt x="449" y="675"/>
                    </a:lnTo>
                    <a:lnTo>
                      <a:pt x="447" y="673"/>
                    </a:lnTo>
                    <a:lnTo>
                      <a:pt x="445" y="673"/>
                    </a:lnTo>
                    <a:lnTo>
                      <a:pt x="443" y="673"/>
                    </a:lnTo>
                    <a:lnTo>
                      <a:pt x="443" y="675"/>
                    </a:lnTo>
                    <a:lnTo>
                      <a:pt x="443" y="677"/>
                    </a:lnTo>
                    <a:lnTo>
                      <a:pt x="441" y="677"/>
                    </a:lnTo>
                    <a:lnTo>
                      <a:pt x="441" y="679"/>
                    </a:lnTo>
                    <a:lnTo>
                      <a:pt x="441" y="681"/>
                    </a:lnTo>
                    <a:lnTo>
                      <a:pt x="441" y="683"/>
                    </a:lnTo>
                    <a:lnTo>
                      <a:pt x="441" y="685"/>
                    </a:lnTo>
                    <a:lnTo>
                      <a:pt x="439" y="685"/>
                    </a:lnTo>
                    <a:lnTo>
                      <a:pt x="437" y="685"/>
                    </a:lnTo>
                    <a:lnTo>
                      <a:pt x="437" y="683"/>
                    </a:lnTo>
                    <a:lnTo>
                      <a:pt x="436" y="683"/>
                    </a:lnTo>
                    <a:lnTo>
                      <a:pt x="434" y="685"/>
                    </a:lnTo>
                    <a:lnTo>
                      <a:pt x="434" y="687"/>
                    </a:lnTo>
                    <a:lnTo>
                      <a:pt x="434" y="689"/>
                    </a:lnTo>
                    <a:lnTo>
                      <a:pt x="432" y="689"/>
                    </a:lnTo>
                    <a:lnTo>
                      <a:pt x="432" y="691"/>
                    </a:lnTo>
                    <a:lnTo>
                      <a:pt x="432" y="693"/>
                    </a:lnTo>
                    <a:lnTo>
                      <a:pt x="430" y="695"/>
                    </a:lnTo>
                    <a:lnTo>
                      <a:pt x="428" y="695"/>
                    </a:lnTo>
                    <a:lnTo>
                      <a:pt x="426" y="695"/>
                    </a:lnTo>
                    <a:lnTo>
                      <a:pt x="426" y="693"/>
                    </a:lnTo>
                    <a:lnTo>
                      <a:pt x="424" y="693"/>
                    </a:lnTo>
                    <a:lnTo>
                      <a:pt x="424" y="695"/>
                    </a:lnTo>
                    <a:lnTo>
                      <a:pt x="422" y="696"/>
                    </a:lnTo>
                    <a:lnTo>
                      <a:pt x="422" y="698"/>
                    </a:lnTo>
                    <a:lnTo>
                      <a:pt x="422" y="700"/>
                    </a:lnTo>
                    <a:lnTo>
                      <a:pt x="420" y="700"/>
                    </a:lnTo>
                    <a:lnTo>
                      <a:pt x="420" y="702"/>
                    </a:lnTo>
                    <a:lnTo>
                      <a:pt x="420" y="704"/>
                    </a:lnTo>
                    <a:lnTo>
                      <a:pt x="418" y="702"/>
                    </a:lnTo>
                    <a:lnTo>
                      <a:pt x="416" y="702"/>
                    </a:lnTo>
                    <a:lnTo>
                      <a:pt x="414" y="702"/>
                    </a:lnTo>
                    <a:lnTo>
                      <a:pt x="414" y="700"/>
                    </a:lnTo>
                    <a:lnTo>
                      <a:pt x="412" y="700"/>
                    </a:lnTo>
                    <a:lnTo>
                      <a:pt x="411" y="700"/>
                    </a:lnTo>
                    <a:lnTo>
                      <a:pt x="409" y="700"/>
                    </a:lnTo>
                    <a:lnTo>
                      <a:pt x="407" y="700"/>
                    </a:lnTo>
                    <a:lnTo>
                      <a:pt x="405" y="704"/>
                    </a:lnTo>
                    <a:lnTo>
                      <a:pt x="405" y="706"/>
                    </a:lnTo>
                    <a:lnTo>
                      <a:pt x="403" y="706"/>
                    </a:lnTo>
                    <a:lnTo>
                      <a:pt x="403" y="708"/>
                    </a:lnTo>
                    <a:lnTo>
                      <a:pt x="401" y="710"/>
                    </a:lnTo>
                    <a:lnTo>
                      <a:pt x="401" y="712"/>
                    </a:lnTo>
                    <a:lnTo>
                      <a:pt x="399" y="712"/>
                    </a:lnTo>
                    <a:lnTo>
                      <a:pt x="397" y="712"/>
                    </a:lnTo>
                    <a:lnTo>
                      <a:pt x="397" y="714"/>
                    </a:lnTo>
                    <a:lnTo>
                      <a:pt x="393" y="714"/>
                    </a:lnTo>
                    <a:lnTo>
                      <a:pt x="391" y="714"/>
                    </a:lnTo>
                    <a:lnTo>
                      <a:pt x="393" y="718"/>
                    </a:lnTo>
                    <a:lnTo>
                      <a:pt x="393" y="719"/>
                    </a:lnTo>
                    <a:lnTo>
                      <a:pt x="391" y="719"/>
                    </a:lnTo>
                    <a:lnTo>
                      <a:pt x="389" y="719"/>
                    </a:lnTo>
                    <a:lnTo>
                      <a:pt x="388" y="718"/>
                    </a:lnTo>
                    <a:lnTo>
                      <a:pt x="388" y="719"/>
                    </a:lnTo>
                    <a:lnTo>
                      <a:pt x="388" y="723"/>
                    </a:lnTo>
                    <a:lnTo>
                      <a:pt x="386" y="723"/>
                    </a:lnTo>
                    <a:lnTo>
                      <a:pt x="384" y="723"/>
                    </a:lnTo>
                    <a:lnTo>
                      <a:pt x="384" y="721"/>
                    </a:lnTo>
                    <a:lnTo>
                      <a:pt x="380" y="723"/>
                    </a:lnTo>
                    <a:lnTo>
                      <a:pt x="382" y="723"/>
                    </a:lnTo>
                    <a:lnTo>
                      <a:pt x="382" y="725"/>
                    </a:lnTo>
                    <a:lnTo>
                      <a:pt x="380" y="727"/>
                    </a:lnTo>
                    <a:lnTo>
                      <a:pt x="380" y="725"/>
                    </a:lnTo>
                    <a:lnTo>
                      <a:pt x="380" y="727"/>
                    </a:lnTo>
                    <a:lnTo>
                      <a:pt x="378" y="727"/>
                    </a:lnTo>
                    <a:lnTo>
                      <a:pt x="378" y="729"/>
                    </a:lnTo>
                    <a:lnTo>
                      <a:pt x="376" y="729"/>
                    </a:lnTo>
                    <a:lnTo>
                      <a:pt x="378" y="731"/>
                    </a:lnTo>
                    <a:lnTo>
                      <a:pt x="378" y="733"/>
                    </a:lnTo>
                    <a:lnTo>
                      <a:pt x="376" y="731"/>
                    </a:lnTo>
                    <a:lnTo>
                      <a:pt x="374" y="731"/>
                    </a:lnTo>
                    <a:lnTo>
                      <a:pt x="374" y="733"/>
                    </a:lnTo>
                    <a:lnTo>
                      <a:pt x="374" y="731"/>
                    </a:lnTo>
                    <a:lnTo>
                      <a:pt x="372" y="731"/>
                    </a:lnTo>
                    <a:lnTo>
                      <a:pt x="372" y="733"/>
                    </a:lnTo>
                    <a:lnTo>
                      <a:pt x="372" y="735"/>
                    </a:lnTo>
                    <a:lnTo>
                      <a:pt x="372" y="737"/>
                    </a:lnTo>
                    <a:lnTo>
                      <a:pt x="370" y="737"/>
                    </a:lnTo>
                    <a:lnTo>
                      <a:pt x="374" y="739"/>
                    </a:lnTo>
                    <a:lnTo>
                      <a:pt x="374" y="741"/>
                    </a:lnTo>
                    <a:lnTo>
                      <a:pt x="372" y="741"/>
                    </a:lnTo>
                    <a:lnTo>
                      <a:pt x="370" y="739"/>
                    </a:lnTo>
                    <a:lnTo>
                      <a:pt x="368" y="739"/>
                    </a:lnTo>
                    <a:lnTo>
                      <a:pt x="366" y="739"/>
                    </a:lnTo>
                    <a:lnTo>
                      <a:pt x="364" y="739"/>
                    </a:lnTo>
                    <a:lnTo>
                      <a:pt x="363" y="739"/>
                    </a:lnTo>
                    <a:lnTo>
                      <a:pt x="361" y="739"/>
                    </a:lnTo>
                    <a:lnTo>
                      <a:pt x="359" y="739"/>
                    </a:lnTo>
                    <a:lnTo>
                      <a:pt x="361" y="739"/>
                    </a:lnTo>
                    <a:lnTo>
                      <a:pt x="361" y="737"/>
                    </a:lnTo>
                    <a:lnTo>
                      <a:pt x="359" y="737"/>
                    </a:lnTo>
                    <a:lnTo>
                      <a:pt x="357" y="737"/>
                    </a:lnTo>
                    <a:lnTo>
                      <a:pt x="357" y="739"/>
                    </a:lnTo>
                    <a:lnTo>
                      <a:pt x="355" y="739"/>
                    </a:lnTo>
                    <a:lnTo>
                      <a:pt x="355" y="737"/>
                    </a:lnTo>
                    <a:lnTo>
                      <a:pt x="355" y="739"/>
                    </a:lnTo>
                    <a:lnTo>
                      <a:pt x="355" y="737"/>
                    </a:lnTo>
                    <a:lnTo>
                      <a:pt x="355" y="739"/>
                    </a:lnTo>
                    <a:lnTo>
                      <a:pt x="355" y="737"/>
                    </a:lnTo>
                    <a:lnTo>
                      <a:pt x="353" y="737"/>
                    </a:lnTo>
                    <a:lnTo>
                      <a:pt x="351" y="737"/>
                    </a:lnTo>
                    <a:lnTo>
                      <a:pt x="353" y="737"/>
                    </a:lnTo>
                    <a:lnTo>
                      <a:pt x="351" y="737"/>
                    </a:lnTo>
                    <a:lnTo>
                      <a:pt x="349" y="737"/>
                    </a:lnTo>
                    <a:lnTo>
                      <a:pt x="351" y="737"/>
                    </a:lnTo>
                    <a:lnTo>
                      <a:pt x="349" y="737"/>
                    </a:lnTo>
                    <a:lnTo>
                      <a:pt x="349" y="735"/>
                    </a:lnTo>
                    <a:lnTo>
                      <a:pt x="349" y="737"/>
                    </a:lnTo>
                    <a:lnTo>
                      <a:pt x="347" y="737"/>
                    </a:lnTo>
                    <a:lnTo>
                      <a:pt x="347" y="735"/>
                    </a:lnTo>
                    <a:lnTo>
                      <a:pt x="345" y="735"/>
                    </a:lnTo>
                    <a:lnTo>
                      <a:pt x="343" y="735"/>
                    </a:lnTo>
                    <a:lnTo>
                      <a:pt x="341" y="735"/>
                    </a:lnTo>
                    <a:lnTo>
                      <a:pt x="341" y="737"/>
                    </a:lnTo>
                    <a:lnTo>
                      <a:pt x="340" y="737"/>
                    </a:lnTo>
                    <a:lnTo>
                      <a:pt x="341" y="737"/>
                    </a:lnTo>
                    <a:lnTo>
                      <a:pt x="340" y="737"/>
                    </a:lnTo>
                    <a:lnTo>
                      <a:pt x="341" y="737"/>
                    </a:lnTo>
                    <a:lnTo>
                      <a:pt x="340" y="737"/>
                    </a:lnTo>
                    <a:lnTo>
                      <a:pt x="340" y="739"/>
                    </a:lnTo>
                    <a:lnTo>
                      <a:pt x="338" y="739"/>
                    </a:lnTo>
                    <a:lnTo>
                      <a:pt x="336" y="739"/>
                    </a:lnTo>
                    <a:lnTo>
                      <a:pt x="334" y="739"/>
                    </a:lnTo>
                    <a:lnTo>
                      <a:pt x="334" y="741"/>
                    </a:lnTo>
                    <a:lnTo>
                      <a:pt x="332" y="741"/>
                    </a:lnTo>
                    <a:lnTo>
                      <a:pt x="332" y="743"/>
                    </a:lnTo>
                    <a:lnTo>
                      <a:pt x="330" y="743"/>
                    </a:lnTo>
                    <a:lnTo>
                      <a:pt x="328" y="743"/>
                    </a:lnTo>
                    <a:lnTo>
                      <a:pt x="328" y="744"/>
                    </a:lnTo>
                    <a:lnTo>
                      <a:pt x="328" y="743"/>
                    </a:lnTo>
                    <a:lnTo>
                      <a:pt x="328" y="744"/>
                    </a:lnTo>
                    <a:lnTo>
                      <a:pt x="326" y="744"/>
                    </a:lnTo>
                    <a:lnTo>
                      <a:pt x="324" y="744"/>
                    </a:lnTo>
                    <a:lnTo>
                      <a:pt x="322" y="744"/>
                    </a:lnTo>
                    <a:lnTo>
                      <a:pt x="322" y="746"/>
                    </a:lnTo>
                    <a:lnTo>
                      <a:pt x="322" y="748"/>
                    </a:lnTo>
                    <a:lnTo>
                      <a:pt x="320" y="748"/>
                    </a:lnTo>
                    <a:lnTo>
                      <a:pt x="320" y="750"/>
                    </a:lnTo>
                    <a:lnTo>
                      <a:pt x="318" y="750"/>
                    </a:lnTo>
                    <a:lnTo>
                      <a:pt x="318" y="752"/>
                    </a:lnTo>
                    <a:lnTo>
                      <a:pt x="318" y="750"/>
                    </a:lnTo>
                    <a:lnTo>
                      <a:pt x="316" y="752"/>
                    </a:lnTo>
                    <a:lnTo>
                      <a:pt x="316" y="754"/>
                    </a:lnTo>
                    <a:lnTo>
                      <a:pt x="315" y="754"/>
                    </a:lnTo>
                    <a:lnTo>
                      <a:pt x="315" y="756"/>
                    </a:lnTo>
                    <a:lnTo>
                      <a:pt x="316" y="756"/>
                    </a:lnTo>
                    <a:lnTo>
                      <a:pt x="315" y="756"/>
                    </a:lnTo>
                    <a:lnTo>
                      <a:pt x="315" y="758"/>
                    </a:lnTo>
                    <a:lnTo>
                      <a:pt x="316" y="758"/>
                    </a:lnTo>
                    <a:lnTo>
                      <a:pt x="315" y="758"/>
                    </a:lnTo>
                    <a:lnTo>
                      <a:pt x="315" y="760"/>
                    </a:lnTo>
                    <a:lnTo>
                      <a:pt x="313" y="760"/>
                    </a:lnTo>
                    <a:lnTo>
                      <a:pt x="313" y="762"/>
                    </a:lnTo>
                    <a:lnTo>
                      <a:pt x="311" y="762"/>
                    </a:lnTo>
                    <a:lnTo>
                      <a:pt x="311" y="764"/>
                    </a:lnTo>
                    <a:lnTo>
                      <a:pt x="309" y="764"/>
                    </a:lnTo>
                    <a:lnTo>
                      <a:pt x="307" y="764"/>
                    </a:lnTo>
                    <a:lnTo>
                      <a:pt x="305" y="764"/>
                    </a:lnTo>
                    <a:lnTo>
                      <a:pt x="303" y="764"/>
                    </a:lnTo>
                    <a:lnTo>
                      <a:pt x="301" y="764"/>
                    </a:lnTo>
                    <a:lnTo>
                      <a:pt x="299" y="764"/>
                    </a:lnTo>
                    <a:lnTo>
                      <a:pt x="297" y="764"/>
                    </a:lnTo>
                    <a:lnTo>
                      <a:pt x="297" y="766"/>
                    </a:lnTo>
                    <a:lnTo>
                      <a:pt x="295" y="766"/>
                    </a:lnTo>
                    <a:lnTo>
                      <a:pt x="293" y="766"/>
                    </a:lnTo>
                    <a:lnTo>
                      <a:pt x="293" y="764"/>
                    </a:lnTo>
                    <a:lnTo>
                      <a:pt x="291" y="764"/>
                    </a:lnTo>
                    <a:lnTo>
                      <a:pt x="291" y="762"/>
                    </a:lnTo>
                    <a:lnTo>
                      <a:pt x="290" y="760"/>
                    </a:lnTo>
                    <a:lnTo>
                      <a:pt x="290" y="758"/>
                    </a:lnTo>
                    <a:lnTo>
                      <a:pt x="288" y="758"/>
                    </a:lnTo>
                    <a:lnTo>
                      <a:pt x="286" y="758"/>
                    </a:lnTo>
                    <a:lnTo>
                      <a:pt x="286" y="756"/>
                    </a:lnTo>
                    <a:lnTo>
                      <a:pt x="284" y="756"/>
                    </a:lnTo>
                    <a:lnTo>
                      <a:pt x="286" y="754"/>
                    </a:lnTo>
                    <a:lnTo>
                      <a:pt x="282" y="752"/>
                    </a:lnTo>
                    <a:lnTo>
                      <a:pt x="284" y="748"/>
                    </a:lnTo>
                    <a:lnTo>
                      <a:pt x="286" y="744"/>
                    </a:lnTo>
                    <a:lnTo>
                      <a:pt x="284" y="744"/>
                    </a:lnTo>
                    <a:lnTo>
                      <a:pt x="286" y="743"/>
                    </a:lnTo>
                    <a:lnTo>
                      <a:pt x="286" y="741"/>
                    </a:lnTo>
                    <a:lnTo>
                      <a:pt x="286" y="739"/>
                    </a:lnTo>
                    <a:lnTo>
                      <a:pt x="288" y="741"/>
                    </a:lnTo>
                    <a:lnTo>
                      <a:pt x="290" y="741"/>
                    </a:lnTo>
                    <a:lnTo>
                      <a:pt x="290" y="739"/>
                    </a:lnTo>
                    <a:lnTo>
                      <a:pt x="291" y="739"/>
                    </a:lnTo>
                    <a:lnTo>
                      <a:pt x="291" y="741"/>
                    </a:lnTo>
                    <a:lnTo>
                      <a:pt x="293" y="741"/>
                    </a:lnTo>
                    <a:lnTo>
                      <a:pt x="295" y="737"/>
                    </a:lnTo>
                    <a:lnTo>
                      <a:pt x="295" y="735"/>
                    </a:lnTo>
                    <a:lnTo>
                      <a:pt x="295" y="733"/>
                    </a:lnTo>
                    <a:lnTo>
                      <a:pt x="295" y="731"/>
                    </a:lnTo>
                    <a:lnTo>
                      <a:pt x="295" y="729"/>
                    </a:lnTo>
                    <a:lnTo>
                      <a:pt x="297" y="729"/>
                    </a:lnTo>
                    <a:lnTo>
                      <a:pt x="297" y="727"/>
                    </a:lnTo>
                    <a:lnTo>
                      <a:pt x="297" y="725"/>
                    </a:lnTo>
                    <a:lnTo>
                      <a:pt x="297" y="727"/>
                    </a:lnTo>
                    <a:lnTo>
                      <a:pt x="295" y="727"/>
                    </a:lnTo>
                    <a:lnTo>
                      <a:pt x="295" y="725"/>
                    </a:lnTo>
                    <a:lnTo>
                      <a:pt x="293" y="725"/>
                    </a:lnTo>
                    <a:lnTo>
                      <a:pt x="291" y="725"/>
                    </a:lnTo>
                    <a:lnTo>
                      <a:pt x="290" y="725"/>
                    </a:lnTo>
                    <a:lnTo>
                      <a:pt x="288" y="727"/>
                    </a:lnTo>
                    <a:lnTo>
                      <a:pt x="286" y="729"/>
                    </a:lnTo>
                    <a:lnTo>
                      <a:pt x="284" y="731"/>
                    </a:lnTo>
                    <a:lnTo>
                      <a:pt x="282" y="733"/>
                    </a:lnTo>
                    <a:lnTo>
                      <a:pt x="282" y="735"/>
                    </a:lnTo>
                    <a:lnTo>
                      <a:pt x="280" y="735"/>
                    </a:lnTo>
                    <a:lnTo>
                      <a:pt x="280" y="737"/>
                    </a:lnTo>
                    <a:lnTo>
                      <a:pt x="278" y="737"/>
                    </a:lnTo>
                    <a:lnTo>
                      <a:pt x="276" y="737"/>
                    </a:lnTo>
                    <a:lnTo>
                      <a:pt x="276" y="735"/>
                    </a:lnTo>
                    <a:lnTo>
                      <a:pt x="274" y="735"/>
                    </a:lnTo>
                    <a:lnTo>
                      <a:pt x="272" y="735"/>
                    </a:lnTo>
                    <a:lnTo>
                      <a:pt x="272" y="733"/>
                    </a:lnTo>
                    <a:lnTo>
                      <a:pt x="270" y="733"/>
                    </a:lnTo>
                    <a:lnTo>
                      <a:pt x="267" y="731"/>
                    </a:lnTo>
                    <a:lnTo>
                      <a:pt x="265" y="729"/>
                    </a:lnTo>
                    <a:lnTo>
                      <a:pt x="263" y="729"/>
                    </a:lnTo>
                    <a:lnTo>
                      <a:pt x="261" y="727"/>
                    </a:lnTo>
                    <a:lnTo>
                      <a:pt x="259" y="725"/>
                    </a:lnTo>
                    <a:lnTo>
                      <a:pt x="257" y="725"/>
                    </a:lnTo>
                    <a:lnTo>
                      <a:pt x="255" y="723"/>
                    </a:lnTo>
                    <a:lnTo>
                      <a:pt x="253" y="723"/>
                    </a:lnTo>
                    <a:lnTo>
                      <a:pt x="251" y="723"/>
                    </a:lnTo>
                    <a:lnTo>
                      <a:pt x="251" y="725"/>
                    </a:lnTo>
                    <a:lnTo>
                      <a:pt x="249" y="725"/>
                    </a:lnTo>
                    <a:lnTo>
                      <a:pt x="247" y="727"/>
                    </a:lnTo>
                    <a:lnTo>
                      <a:pt x="245" y="729"/>
                    </a:lnTo>
                    <a:lnTo>
                      <a:pt x="243" y="729"/>
                    </a:lnTo>
                    <a:lnTo>
                      <a:pt x="242" y="731"/>
                    </a:lnTo>
                    <a:lnTo>
                      <a:pt x="240" y="731"/>
                    </a:lnTo>
                    <a:lnTo>
                      <a:pt x="238" y="731"/>
                    </a:lnTo>
                    <a:lnTo>
                      <a:pt x="238" y="729"/>
                    </a:lnTo>
                    <a:lnTo>
                      <a:pt x="238" y="727"/>
                    </a:lnTo>
                    <a:lnTo>
                      <a:pt x="238" y="725"/>
                    </a:lnTo>
                    <a:lnTo>
                      <a:pt x="236" y="725"/>
                    </a:lnTo>
                    <a:lnTo>
                      <a:pt x="234" y="723"/>
                    </a:lnTo>
                    <a:lnTo>
                      <a:pt x="232" y="723"/>
                    </a:lnTo>
                    <a:lnTo>
                      <a:pt x="230" y="723"/>
                    </a:lnTo>
                    <a:lnTo>
                      <a:pt x="230" y="721"/>
                    </a:lnTo>
                    <a:lnTo>
                      <a:pt x="228" y="721"/>
                    </a:lnTo>
                    <a:lnTo>
                      <a:pt x="228" y="719"/>
                    </a:lnTo>
                    <a:lnTo>
                      <a:pt x="228" y="718"/>
                    </a:lnTo>
                    <a:lnTo>
                      <a:pt x="226" y="718"/>
                    </a:lnTo>
                    <a:lnTo>
                      <a:pt x="224" y="718"/>
                    </a:lnTo>
                    <a:lnTo>
                      <a:pt x="224" y="716"/>
                    </a:lnTo>
                    <a:lnTo>
                      <a:pt x="222" y="716"/>
                    </a:lnTo>
                    <a:lnTo>
                      <a:pt x="220" y="716"/>
                    </a:lnTo>
                    <a:lnTo>
                      <a:pt x="219" y="716"/>
                    </a:lnTo>
                    <a:lnTo>
                      <a:pt x="217" y="716"/>
                    </a:lnTo>
                    <a:lnTo>
                      <a:pt x="217" y="718"/>
                    </a:lnTo>
                    <a:lnTo>
                      <a:pt x="217" y="719"/>
                    </a:lnTo>
                    <a:lnTo>
                      <a:pt x="213" y="721"/>
                    </a:lnTo>
                    <a:lnTo>
                      <a:pt x="209" y="723"/>
                    </a:lnTo>
                    <a:lnTo>
                      <a:pt x="207" y="725"/>
                    </a:lnTo>
                    <a:lnTo>
                      <a:pt x="205" y="727"/>
                    </a:lnTo>
                    <a:lnTo>
                      <a:pt x="203" y="727"/>
                    </a:lnTo>
                    <a:lnTo>
                      <a:pt x="203" y="729"/>
                    </a:lnTo>
                    <a:lnTo>
                      <a:pt x="201" y="729"/>
                    </a:lnTo>
                    <a:lnTo>
                      <a:pt x="201" y="731"/>
                    </a:lnTo>
                    <a:lnTo>
                      <a:pt x="199" y="731"/>
                    </a:lnTo>
                    <a:lnTo>
                      <a:pt x="199" y="733"/>
                    </a:lnTo>
                    <a:lnTo>
                      <a:pt x="199" y="735"/>
                    </a:lnTo>
                    <a:lnTo>
                      <a:pt x="197" y="737"/>
                    </a:lnTo>
                    <a:lnTo>
                      <a:pt x="195" y="739"/>
                    </a:lnTo>
                    <a:lnTo>
                      <a:pt x="194" y="739"/>
                    </a:lnTo>
                    <a:lnTo>
                      <a:pt x="194" y="741"/>
                    </a:lnTo>
                    <a:lnTo>
                      <a:pt x="192" y="741"/>
                    </a:lnTo>
                    <a:lnTo>
                      <a:pt x="190" y="741"/>
                    </a:lnTo>
                    <a:lnTo>
                      <a:pt x="188" y="741"/>
                    </a:lnTo>
                    <a:lnTo>
                      <a:pt x="186" y="741"/>
                    </a:lnTo>
                    <a:lnTo>
                      <a:pt x="184" y="741"/>
                    </a:lnTo>
                    <a:lnTo>
                      <a:pt x="184" y="743"/>
                    </a:lnTo>
                    <a:lnTo>
                      <a:pt x="184" y="741"/>
                    </a:lnTo>
                    <a:lnTo>
                      <a:pt x="182" y="741"/>
                    </a:lnTo>
                    <a:lnTo>
                      <a:pt x="180" y="741"/>
                    </a:lnTo>
                    <a:lnTo>
                      <a:pt x="178" y="741"/>
                    </a:lnTo>
                    <a:lnTo>
                      <a:pt x="178" y="739"/>
                    </a:lnTo>
                    <a:lnTo>
                      <a:pt x="176" y="739"/>
                    </a:lnTo>
                    <a:lnTo>
                      <a:pt x="174" y="741"/>
                    </a:lnTo>
                    <a:lnTo>
                      <a:pt x="172" y="741"/>
                    </a:lnTo>
                    <a:lnTo>
                      <a:pt x="171" y="741"/>
                    </a:lnTo>
                    <a:lnTo>
                      <a:pt x="169" y="741"/>
                    </a:lnTo>
                    <a:lnTo>
                      <a:pt x="167" y="741"/>
                    </a:lnTo>
                    <a:lnTo>
                      <a:pt x="167" y="739"/>
                    </a:lnTo>
                    <a:lnTo>
                      <a:pt x="165" y="739"/>
                    </a:lnTo>
                    <a:lnTo>
                      <a:pt x="165" y="737"/>
                    </a:lnTo>
                    <a:lnTo>
                      <a:pt x="163" y="737"/>
                    </a:lnTo>
                    <a:lnTo>
                      <a:pt x="161" y="737"/>
                    </a:lnTo>
                    <a:lnTo>
                      <a:pt x="159" y="735"/>
                    </a:lnTo>
                    <a:lnTo>
                      <a:pt x="159" y="737"/>
                    </a:lnTo>
                    <a:lnTo>
                      <a:pt x="157" y="739"/>
                    </a:lnTo>
                    <a:lnTo>
                      <a:pt x="157" y="741"/>
                    </a:lnTo>
                    <a:lnTo>
                      <a:pt x="155" y="741"/>
                    </a:lnTo>
                    <a:lnTo>
                      <a:pt x="153" y="741"/>
                    </a:lnTo>
                    <a:lnTo>
                      <a:pt x="151" y="741"/>
                    </a:lnTo>
                    <a:lnTo>
                      <a:pt x="151" y="739"/>
                    </a:lnTo>
                    <a:lnTo>
                      <a:pt x="149" y="739"/>
                    </a:lnTo>
                    <a:lnTo>
                      <a:pt x="149" y="737"/>
                    </a:lnTo>
                    <a:lnTo>
                      <a:pt x="147" y="737"/>
                    </a:lnTo>
                    <a:lnTo>
                      <a:pt x="146" y="737"/>
                    </a:lnTo>
                    <a:lnTo>
                      <a:pt x="146" y="739"/>
                    </a:lnTo>
                    <a:lnTo>
                      <a:pt x="144" y="739"/>
                    </a:lnTo>
                    <a:lnTo>
                      <a:pt x="142" y="739"/>
                    </a:lnTo>
                    <a:lnTo>
                      <a:pt x="142" y="741"/>
                    </a:lnTo>
                    <a:lnTo>
                      <a:pt x="134" y="743"/>
                    </a:lnTo>
                    <a:lnTo>
                      <a:pt x="132" y="744"/>
                    </a:lnTo>
                    <a:lnTo>
                      <a:pt x="130" y="744"/>
                    </a:lnTo>
                    <a:lnTo>
                      <a:pt x="128" y="744"/>
                    </a:lnTo>
                    <a:lnTo>
                      <a:pt x="128" y="743"/>
                    </a:lnTo>
                    <a:lnTo>
                      <a:pt x="126" y="741"/>
                    </a:lnTo>
                    <a:lnTo>
                      <a:pt x="126" y="739"/>
                    </a:lnTo>
                    <a:lnTo>
                      <a:pt x="124" y="739"/>
                    </a:lnTo>
                    <a:lnTo>
                      <a:pt x="124" y="737"/>
                    </a:lnTo>
                    <a:lnTo>
                      <a:pt x="123" y="737"/>
                    </a:lnTo>
                    <a:lnTo>
                      <a:pt x="123" y="735"/>
                    </a:lnTo>
                    <a:lnTo>
                      <a:pt x="121" y="735"/>
                    </a:lnTo>
                    <a:lnTo>
                      <a:pt x="119" y="733"/>
                    </a:lnTo>
                    <a:lnTo>
                      <a:pt x="117" y="733"/>
                    </a:lnTo>
                    <a:lnTo>
                      <a:pt x="117" y="735"/>
                    </a:lnTo>
                    <a:lnTo>
                      <a:pt x="115" y="735"/>
                    </a:lnTo>
                    <a:lnTo>
                      <a:pt x="115" y="737"/>
                    </a:lnTo>
                    <a:lnTo>
                      <a:pt x="113" y="737"/>
                    </a:lnTo>
                    <a:lnTo>
                      <a:pt x="113" y="739"/>
                    </a:lnTo>
                    <a:lnTo>
                      <a:pt x="111" y="739"/>
                    </a:lnTo>
                    <a:lnTo>
                      <a:pt x="111" y="741"/>
                    </a:lnTo>
                    <a:lnTo>
                      <a:pt x="111" y="743"/>
                    </a:lnTo>
                    <a:lnTo>
                      <a:pt x="109" y="743"/>
                    </a:lnTo>
                    <a:lnTo>
                      <a:pt x="109" y="741"/>
                    </a:lnTo>
                    <a:lnTo>
                      <a:pt x="107" y="741"/>
                    </a:lnTo>
                    <a:lnTo>
                      <a:pt x="103" y="739"/>
                    </a:lnTo>
                    <a:lnTo>
                      <a:pt x="101" y="739"/>
                    </a:lnTo>
                    <a:lnTo>
                      <a:pt x="99" y="739"/>
                    </a:lnTo>
                    <a:lnTo>
                      <a:pt x="99" y="737"/>
                    </a:lnTo>
                    <a:lnTo>
                      <a:pt x="98" y="737"/>
                    </a:lnTo>
                    <a:lnTo>
                      <a:pt x="96" y="737"/>
                    </a:lnTo>
                    <a:lnTo>
                      <a:pt x="96" y="735"/>
                    </a:lnTo>
                    <a:lnTo>
                      <a:pt x="98" y="735"/>
                    </a:lnTo>
                    <a:lnTo>
                      <a:pt x="98" y="733"/>
                    </a:lnTo>
                    <a:lnTo>
                      <a:pt x="96" y="733"/>
                    </a:lnTo>
                    <a:lnTo>
                      <a:pt x="94" y="733"/>
                    </a:lnTo>
                    <a:lnTo>
                      <a:pt x="92" y="733"/>
                    </a:lnTo>
                    <a:lnTo>
                      <a:pt x="92" y="731"/>
                    </a:lnTo>
                    <a:lnTo>
                      <a:pt x="90" y="731"/>
                    </a:lnTo>
                    <a:lnTo>
                      <a:pt x="88" y="733"/>
                    </a:lnTo>
                    <a:lnTo>
                      <a:pt x="84" y="735"/>
                    </a:lnTo>
                    <a:lnTo>
                      <a:pt x="82" y="737"/>
                    </a:lnTo>
                    <a:lnTo>
                      <a:pt x="82" y="739"/>
                    </a:lnTo>
                    <a:lnTo>
                      <a:pt x="80" y="741"/>
                    </a:lnTo>
                    <a:lnTo>
                      <a:pt x="80" y="744"/>
                    </a:lnTo>
                    <a:lnTo>
                      <a:pt x="80" y="746"/>
                    </a:lnTo>
                    <a:lnTo>
                      <a:pt x="80" y="748"/>
                    </a:lnTo>
                    <a:lnTo>
                      <a:pt x="80" y="750"/>
                    </a:lnTo>
                    <a:lnTo>
                      <a:pt x="82" y="752"/>
                    </a:lnTo>
                    <a:lnTo>
                      <a:pt x="84" y="752"/>
                    </a:lnTo>
                    <a:lnTo>
                      <a:pt x="86" y="752"/>
                    </a:lnTo>
                    <a:lnTo>
                      <a:pt x="86" y="754"/>
                    </a:lnTo>
                    <a:lnTo>
                      <a:pt x="88" y="754"/>
                    </a:lnTo>
                    <a:lnTo>
                      <a:pt x="88" y="756"/>
                    </a:lnTo>
                    <a:lnTo>
                      <a:pt x="88" y="758"/>
                    </a:lnTo>
                    <a:lnTo>
                      <a:pt x="88" y="760"/>
                    </a:lnTo>
                    <a:lnTo>
                      <a:pt x="86" y="760"/>
                    </a:lnTo>
                    <a:lnTo>
                      <a:pt x="84" y="760"/>
                    </a:lnTo>
                    <a:lnTo>
                      <a:pt x="82" y="760"/>
                    </a:lnTo>
                    <a:lnTo>
                      <a:pt x="82" y="762"/>
                    </a:lnTo>
                    <a:lnTo>
                      <a:pt x="80" y="760"/>
                    </a:lnTo>
                    <a:lnTo>
                      <a:pt x="78" y="760"/>
                    </a:lnTo>
                    <a:lnTo>
                      <a:pt x="78" y="762"/>
                    </a:lnTo>
                    <a:lnTo>
                      <a:pt x="78" y="764"/>
                    </a:lnTo>
                    <a:lnTo>
                      <a:pt x="78" y="766"/>
                    </a:lnTo>
                    <a:lnTo>
                      <a:pt x="76" y="766"/>
                    </a:lnTo>
                    <a:lnTo>
                      <a:pt x="76" y="767"/>
                    </a:lnTo>
                    <a:lnTo>
                      <a:pt x="75" y="769"/>
                    </a:lnTo>
                    <a:lnTo>
                      <a:pt x="73" y="769"/>
                    </a:lnTo>
                    <a:lnTo>
                      <a:pt x="73" y="771"/>
                    </a:lnTo>
                    <a:lnTo>
                      <a:pt x="71" y="773"/>
                    </a:lnTo>
                    <a:lnTo>
                      <a:pt x="71" y="775"/>
                    </a:lnTo>
                    <a:lnTo>
                      <a:pt x="69" y="777"/>
                    </a:lnTo>
                    <a:lnTo>
                      <a:pt x="67" y="777"/>
                    </a:lnTo>
                    <a:lnTo>
                      <a:pt x="65" y="777"/>
                    </a:lnTo>
                    <a:lnTo>
                      <a:pt x="63" y="777"/>
                    </a:lnTo>
                    <a:lnTo>
                      <a:pt x="61" y="777"/>
                    </a:lnTo>
                    <a:lnTo>
                      <a:pt x="59" y="777"/>
                    </a:lnTo>
                    <a:lnTo>
                      <a:pt x="57" y="777"/>
                    </a:lnTo>
                    <a:lnTo>
                      <a:pt x="57" y="775"/>
                    </a:lnTo>
                    <a:lnTo>
                      <a:pt x="55" y="775"/>
                    </a:lnTo>
                    <a:lnTo>
                      <a:pt x="53" y="775"/>
                    </a:lnTo>
                    <a:lnTo>
                      <a:pt x="51" y="775"/>
                    </a:lnTo>
                    <a:lnTo>
                      <a:pt x="50" y="781"/>
                    </a:lnTo>
                    <a:lnTo>
                      <a:pt x="48" y="787"/>
                    </a:lnTo>
                    <a:lnTo>
                      <a:pt x="48" y="789"/>
                    </a:lnTo>
                    <a:lnTo>
                      <a:pt x="46" y="789"/>
                    </a:lnTo>
                    <a:lnTo>
                      <a:pt x="46" y="787"/>
                    </a:lnTo>
                    <a:lnTo>
                      <a:pt x="44" y="792"/>
                    </a:lnTo>
                    <a:lnTo>
                      <a:pt x="40" y="791"/>
                    </a:lnTo>
                    <a:lnTo>
                      <a:pt x="40" y="789"/>
                    </a:lnTo>
                    <a:lnTo>
                      <a:pt x="38" y="787"/>
                    </a:lnTo>
                    <a:lnTo>
                      <a:pt x="38" y="785"/>
                    </a:lnTo>
                    <a:lnTo>
                      <a:pt x="36" y="785"/>
                    </a:lnTo>
                    <a:lnTo>
                      <a:pt x="36" y="783"/>
                    </a:lnTo>
                    <a:lnTo>
                      <a:pt x="34" y="783"/>
                    </a:lnTo>
                    <a:lnTo>
                      <a:pt x="34" y="781"/>
                    </a:lnTo>
                    <a:lnTo>
                      <a:pt x="34" y="779"/>
                    </a:lnTo>
                    <a:lnTo>
                      <a:pt x="32" y="777"/>
                    </a:lnTo>
                    <a:lnTo>
                      <a:pt x="32" y="775"/>
                    </a:lnTo>
                    <a:lnTo>
                      <a:pt x="30" y="773"/>
                    </a:lnTo>
                    <a:lnTo>
                      <a:pt x="30" y="771"/>
                    </a:lnTo>
                    <a:lnTo>
                      <a:pt x="30" y="769"/>
                    </a:lnTo>
                    <a:lnTo>
                      <a:pt x="28" y="769"/>
                    </a:lnTo>
                    <a:lnTo>
                      <a:pt x="28" y="767"/>
                    </a:lnTo>
                    <a:lnTo>
                      <a:pt x="26" y="766"/>
                    </a:lnTo>
                    <a:lnTo>
                      <a:pt x="26" y="764"/>
                    </a:lnTo>
                    <a:lnTo>
                      <a:pt x="26" y="762"/>
                    </a:lnTo>
                    <a:lnTo>
                      <a:pt x="25" y="762"/>
                    </a:lnTo>
                    <a:lnTo>
                      <a:pt x="25" y="760"/>
                    </a:lnTo>
                    <a:lnTo>
                      <a:pt x="25" y="758"/>
                    </a:lnTo>
                    <a:lnTo>
                      <a:pt x="23" y="758"/>
                    </a:lnTo>
                    <a:lnTo>
                      <a:pt x="23" y="756"/>
                    </a:lnTo>
                    <a:lnTo>
                      <a:pt x="23" y="754"/>
                    </a:lnTo>
                    <a:lnTo>
                      <a:pt x="21" y="752"/>
                    </a:lnTo>
                    <a:lnTo>
                      <a:pt x="21" y="750"/>
                    </a:lnTo>
                    <a:lnTo>
                      <a:pt x="19" y="748"/>
                    </a:lnTo>
                    <a:lnTo>
                      <a:pt x="17" y="744"/>
                    </a:lnTo>
                    <a:lnTo>
                      <a:pt x="17" y="743"/>
                    </a:lnTo>
                    <a:lnTo>
                      <a:pt x="15" y="741"/>
                    </a:lnTo>
                    <a:lnTo>
                      <a:pt x="15" y="739"/>
                    </a:lnTo>
                    <a:lnTo>
                      <a:pt x="15" y="737"/>
                    </a:lnTo>
                    <a:lnTo>
                      <a:pt x="13" y="735"/>
                    </a:lnTo>
                    <a:lnTo>
                      <a:pt x="13" y="733"/>
                    </a:lnTo>
                    <a:lnTo>
                      <a:pt x="13" y="731"/>
                    </a:lnTo>
                    <a:lnTo>
                      <a:pt x="13" y="729"/>
                    </a:lnTo>
                    <a:lnTo>
                      <a:pt x="15" y="727"/>
                    </a:lnTo>
                    <a:lnTo>
                      <a:pt x="15" y="725"/>
                    </a:lnTo>
                    <a:lnTo>
                      <a:pt x="17" y="725"/>
                    </a:lnTo>
                    <a:lnTo>
                      <a:pt x="17" y="723"/>
                    </a:lnTo>
                    <a:lnTo>
                      <a:pt x="17" y="721"/>
                    </a:lnTo>
                    <a:lnTo>
                      <a:pt x="17" y="719"/>
                    </a:lnTo>
                    <a:lnTo>
                      <a:pt x="17" y="718"/>
                    </a:lnTo>
                    <a:lnTo>
                      <a:pt x="17" y="716"/>
                    </a:lnTo>
                    <a:lnTo>
                      <a:pt x="19" y="716"/>
                    </a:lnTo>
                    <a:lnTo>
                      <a:pt x="21" y="716"/>
                    </a:lnTo>
                    <a:lnTo>
                      <a:pt x="21" y="714"/>
                    </a:lnTo>
                    <a:lnTo>
                      <a:pt x="21" y="712"/>
                    </a:lnTo>
                    <a:lnTo>
                      <a:pt x="21" y="710"/>
                    </a:lnTo>
                    <a:lnTo>
                      <a:pt x="19" y="710"/>
                    </a:lnTo>
                    <a:lnTo>
                      <a:pt x="19" y="708"/>
                    </a:lnTo>
                    <a:lnTo>
                      <a:pt x="17" y="708"/>
                    </a:lnTo>
                    <a:lnTo>
                      <a:pt x="17" y="706"/>
                    </a:lnTo>
                    <a:lnTo>
                      <a:pt x="15" y="706"/>
                    </a:lnTo>
                    <a:lnTo>
                      <a:pt x="15" y="704"/>
                    </a:lnTo>
                    <a:lnTo>
                      <a:pt x="13" y="704"/>
                    </a:lnTo>
                    <a:lnTo>
                      <a:pt x="13" y="702"/>
                    </a:lnTo>
                    <a:lnTo>
                      <a:pt x="11" y="702"/>
                    </a:lnTo>
                    <a:lnTo>
                      <a:pt x="11" y="700"/>
                    </a:lnTo>
                    <a:lnTo>
                      <a:pt x="11" y="698"/>
                    </a:lnTo>
                    <a:lnTo>
                      <a:pt x="11" y="696"/>
                    </a:lnTo>
                    <a:lnTo>
                      <a:pt x="11" y="695"/>
                    </a:lnTo>
                    <a:lnTo>
                      <a:pt x="11" y="693"/>
                    </a:lnTo>
                    <a:lnTo>
                      <a:pt x="13" y="693"/>
                    </a:lnTo>
                    <a:lnTo>
                      <a:pt x="17" y="693"/>
                    </a:lnTo>
                    <a:lnTo>
                      <a:pt x="15" y="693"/>
                    </a:lnTo>
                    <a:lnTo>
                      <a:pt x="15" y="691"/>
                    </a:lnTo>
                    <a:lnTo>
                      <a:pt x="17" y="691"/>
                    </a:lnTo>
                    <a:lnTo>
                      <a:pt x="15" y="691"/>
                    </a:lnTo>
                    <a:lnTo>
                      <a:pt x="15" y="689"/>
                    </a:lnTo>
                    <a:lnTo>
                      <a:pt x="17" y="687"/>
                    </a:lnTo>
                    <a:lnTo>
                      <a:pt x="19" y="685"/>
                    </a:lnTo>
                    <a:lnTo>
                      <a:pt x="19" y="683"/>
                    </a:lnTo>
                    <a:lnTo>
                      <a:pt x="21" y="683"/>
                    </a:lnTo>
                    <a:lnTo>
                      <a:pt x="23" y="683"/>
                    </a:lnTo>
                    <a:lnTo>
                      <a:pt x="25" y="683"/>
                    </a:lnTo>
                    <a:lnTo>
                      <a:pt x="25" y="685"/>
                    </a:lnTo>
                    <a:lnTo>
                      <a:pt x="25" y="683"/>
                    </a:lnTo>
                    <a:lnTo>
                      <a:pt x="25" y="681"/>
                    </a:lnTo>
                    <a:lnTo>
                      <a:pt x="25" y="679"/>
                    </a:lnTo>
                    <a:lnTo>
                      <a:pt x="25" y="677"/>
                    </a:lnTo>
                    <a:lnTo>
                      <a:pt x="25" y="675"/>
                    </a:lnTo>
                    <a:lnTo>
                      <a:pt x="25" y="673"/>
                    </a:lnTo>
                    <a:lnTo>
                      <a:pt x="26" y="673"/>
                    </a:lnTo>
                    <a:lnTo>
                      <a:pt x="26" y="671"/>
                    </a:lnTo>
                    <a:lnTo>
                      <a:pt x="26" y="670"/>
                    </a:lnTo>
                    <a:lnTo>
                      <a:pt x="25" y="670"/>
                    </a:lnTo>
                    <a:lnTo>
                      <a:pt x="23" y="668"/>
                    </a:lnTo>
                    <a:lnTo>
                      <a:pt x="21" y="666"/>
                    </a:lnTo>
                    <a:lnTo>
                      <a:pt x="19" y="666"/>
                    </a:lnTo>
                    <a:lnTo>
                      <a:pt x="19" y="664"/>
                    </a:lnTo>
                    <a:lnTo>
                      <a:pt x="17" y="664"/>
                    </a:lnTo>
                    <a:lnTo>
                      <a:pt x="15" y="664"/>
                    </a:lnTo>
                    <a:lnTo>
                      <a:pt x="13" y="664"/>
                    </a:lnTo>
                    <a:lnTo>
                      <a:pt x="11" y="664"/>
                    </a:lnTo>
                    <a:lnTo>
                      <a:pt x="9" y="664"/>
                    </a:lnTo>
                    <a:lnTo>
                      <a:pt x="7" y="666"/>
                    </a:lnTo>
                    <a:lnTo>
                      <a:pt x="5" y="666"/>
                    </a:lnTo>
                    <a:lnTo>
                      <a:pt x="3" y="664"/>
                    </a:lnTo>
                    <a:lnTo>
                      <a:pt x="2" y="664"/>
                    </a:lnTo>
                    <a:lnTo>
                      <a:pt x="2" y="662"/>
                    </a:lnTo>
                    <a:lnTo>
                      <a:pt x="2" y="660"/>
                    </a:lnTo>
                    <a:lnTo>
                      <a:pt x="0" y="658"/>
                    </a:lnTo>
                    <a:lnTo>
                      <a:pt x="0" y="656"/>
                    </a:lnTo>
                    <a:lnTo>
                      <a:pt x="2" y="656"/>
                    </a:lnTo>
                    <a:lnTo>
                      <a:pt x="2" y="654"/>
                    </a:lnTo>
                    <a:lnTo>
                      <a:pt x="3" y="654"/>
                    </a:lnTo>
                    <a:lnTo>
                      <a:pt x="3" y="652"/>
                    </a:lnTo>
                    <a:lnTo>
                      <a:pt x="5" y="652"/>
                    </a:lnTo>
                    <a:lnTo>
                      <a:pt x="7" y="652"/>
                    </a:lnTo>
                    <a:lnTo>
                      <a:pt x="7" y="654"/>
                    </a:lnTo>
                    <a:lnTo>
                      <a:pt x="9" y="654"/>
                    </a:lnTo>
                    <a:lnTo>
                      <a:pt x="9" y="652"/>
                    </a:lnTo>
                    <a:lnTo>
                      <a:pt x="9" y="650"/>
                    </a:lnTo>
                    <a:lnTo>
                      <a:pt x="13" y="650"/>
                    </a:lnTo>
                    <a:lnTo>
                      <a:pt x="15" y="648"/>
                    </a:lnTo>
                    <a:lnTo>
                      <a:pt x="17" y="648"/>
                    </a:lnTo>
                    <a:lnTo>
                      <a:pt x="19" y="647"/>
                    </a:lnTo>
                    <a:lnTo>
                      <a:pt x="21" y="647"/>
                    </a:lnTo>
                    <a:lnTo>
                      <a:pt x="19" y="645"/>
                    </a:lnTo>
                    <a:lnTo>
                      <a:pt x="19" y="643"/>
                    </a:lnTo>
                    <a:lnTo>
                      <a:pt x="17" y="643"/>
                    </a:lnTo>
                    <a:lnTo>
                      <a:pt x="17" y="641"/>
                    </a:lnTo>
                    <a:lnTo>
                      <a:pt x="15" y="641"/>
                    </a:lnTo>
                    <a:lnTo>
                      <a:pt x="17" y="639"/>
                    </a:lnTo>
                    <a:lnTo>
                      <a:pt x="17" y="637"/>
                    </a:lnTo>
                    <a:lnTo>
                      <a:pt x="19" y="637"/>
                    </a:lnTo>
                    <a:lnTo>
                      <a:pt x="17" y="635"/>
                    </a:lnTo>
                    <a:lnTo>
                      <a:pt x="17" y="633"/>
                    </a:lnTo>
                    <a:lnTo>
                      <a:pt x="17" y="631"/>
                    </a:lnTo>
                    <a:lnTo>
                      <a:pt x="17" y="629"/>
                    </a:lnTo>
                    <a:lnTo>
                      <a:pt x="19" y="629"/>
                    </a:lnTo>
                    <a:lnTo>
                      <a:pt x="21" y="629"/>
                    </a:lnTo>
                    <a:lnTo>
                      <a:pt x="23" y="629"/>
                    </a:lnTo>
                    <a:lnTo>
                      <a:pt x="23" y="627"/>
                    </a:lnTo>
                    <a:lnTo>
                      <a:pt x="25" y="627"/>
                    </a:lnTo>
                    <a:lnTo>
                      <a:pt x="25" y="629"/>
                    </a:lnTo>
                    <a:lnTo>
                      <a:pt x="25" y="631"/>
                    </a:lnTo>
                    <a:lnTo>
                      <a:pt x="26" y="631"/>
                    </a:lnTo>
                    <a:lnTo>
                      <a:pt x="26" y="633"/>
                    </a:lnTo>
                    <a:lnTo>
                      <a:pt x="26" y="635"/>
                    </a:lnTo>
                    <a:lnTo>
                      <a:pt x="28" y="635"/>
                    </a:lnTo>
                    <a:lnTo>
                      <a:pt x="28" y="633"/>
                    </a:lnTo>
                    <a:lnTo>
                      <a:pt x="28" y="635"/>
                    </a:lnTo>
                    <a:lnTo>
                      <a:pt x="30" y="635"/>
                    </a:lnTo>
                    <a:lnTo>
                      <a:pt x="32" y="635"/>
                    </a:lnTo>
                    <a:lnTo>
                      <a:pt x="32" y="633"/>
                    </a:lnTo>
                    <a:lnTo>
                      <a:pt x="34" y="633"/>
                    </a:lnTo>
                    <a:lnTo>
                      <a:pt x="32" y="633"/>
                    </a:lnTo>
                    <a:lnTo>
                      <a:pt x="34" y="633"/>
                    </a:lnTo>
                    <a:lnTo>
                      <a:pt x="34" y="631"/>
                    </a:lnTo>
                    <a:lnTo>
                      <a:pt x="34" y="629"/>
                    </a:lnTo>
                    <a:lnTo>
                      <a:pt x="36" y="629"/>
                    </a:lnTo>
                    <a:lnTo>
                      <a:pt x="36" y="627"/>
                    </a:lnTo>
                    <a:lnTo>
                      <a:pt x="34" y="627"/>
                    </a:lnTo>
                    <a:lnTo>
                      <a:pt x="34" y="629"/>
                    </a:lnTo>
                    <a:lnTo>
                      <a:pt x="34" y="627"/>
                    </a:lnTo>
                    <a:lnTo>
                      <a:pt x="34" y="625"/>
                    </a:lnTo>
                    <a:lnTo>
                      <a:pt x="36" y="625"/>
                    </a:lnTo>
                    <a:lnTo>
                      <a:pt x="34" y="625"/>
                    </a:lnTo>
                    <a:lnTo>
                      <a:pt x="34" y="623"/>
                    </a:lnTo>
                    <a:lnTo>
                      <a:pt x="34" y="622"/>
                    </a:lnTo>
                    <a:lnTo>
                      <a:pt x="32" y="622"/>
                    </a:lnTo>
                    <a:lnTo>
                      <a:pt x="30" y="622"/>
                    </a:lnTo>
                    <a:lnTo>
                      <a:pt x="28" y="620"/>
                    </a:lnTo>
                    <a:lnTo>
                      <a:pt x="28" y="622"/>
                    </a:lnTo>
                    <a:lnTo>
                      <a:pt x="26" y="622"/>
                    </a:lnTo>
                    <a:lnTo>
                      <a:pt x="26" y="620"/>
                    </a:lnTo>
                    <a:lnTo>
                      <a:pt x="26" y="618"/>
                    </a:lnTo>
                    <a:lnTo>
                      <a:pt x="26" y="616"/>
                    </a:lnTo>
                    <a:lnTo>
                      <a:pt x="26" y="614"/>
                    </a:lnTo>
                    <a:lnTo>
                      <a:pt x="26" y="612"/>
                    </a:lnTo>
                    <a:lnTo>
                      <a:pt x="26" y="610"/>
                    </a:lnTo>
                    <a:lnTo>
                      <a:pt x="26" y="608"/>
                    </a:lnTo>
                    <a:lnTo>
                      <a:pt x="25" y="608"/>
                    </a:lnTo>
                    <a:lnTo>
                      <a:pt x="25" y="606"/>
                    </a:lnTo>
                    <a:lnTo>
                      <a:pt x="26" y="606"/>
                    </a:lnTo>
                    <a:lnTo>
                      <a:pt x="25" y="606"/>
                    </a:lnTo>
                    <a:lnTo>
                      <a:pt x="26" y="606"/>
                    </a:lnTo>
                    <a:lnTo>
                      <a:pt x="25" y="606"/>
                    </a:lnTo>
                    <a:lnTo>
                      <a:pt x="23" y="606"/>
                    </a:lnTo>
                    <a:lnTo>
                      <a:pt x="23" y="604"/>
                    </a:lnTo>
                    <a:lnTo>
                      <a:pt x="23" y="606"/>
                    </a:lnTo>
                    <a:lnTo>
                      <a:pt x="23" y="604"/>
                    </a:lnTo>
                    <a:lnTo>
                      <a:pt x="21" y="606"/>
                    </a:lnTo>
                    <a:lnTo>
                      <a:pt x="21" y="604"/>
                    </a:lnTo>
                    <a:lnTo>
                      <a:pt x="21" y="606"/>
                    </a:lnTo>
                    <a:lnTo>
                      <a:pt x="21" y="604"/>
                    </a:lnTo>
                    <a:lnTo>
                      <a:pt x="21" y="602"/>
                    </a:lnTo>
                    <a:lnTo>
                      <a:pt x="21" y="600"/>
                    </a:lnTo>
                    <a:lnTo>
                      <a:pt x="23" y="600"/>
                    </a:lnTo>
                    <a:lnTo>
                      <a:pt x="23" y="599"/>
                    </a:lnTo>
                    <a:lnTo>
                      <a:pt x="23" y="600"/>
                    </a:lnTo>
                    <a:lnTo>
                      <a:pt x="25" y="600"/>
                    </a:lnTo>
                    <a:lnTo>
                      <a:pt x="25" y="599"/>
                    </a:lnTo>
                    <a:lnTo>
                      <a:pt x="25" y="595"/>
                    </a:lnTo>
                    <a:lnTo>
                      <a:pt x="23" y="595"/>
                    </a:lnTo>
                    <a:lnTo>
                      <a:pt x="23" y="593"/>
                    </a:lnTo>
                    <a:lnTo>
                      <a:pt x="23" y="591"/>
                    </a:lnTo>
                    <a:lnTo>
                      <a:pt x="21" y="591"/>
                    </a:lnTo>
                    <a:lnTo>
                      <a:pt x="19" y="591"/>
                    </a:lnTo>
                    <a:lnTo>
                      <a:pt x="19" y="589"/>
                    </a:lnTo>
                    <a:lnTo>
                      <a:pt x="17" y="589"/>
                    </a:lnTo>
                    <a:lnTo>
                      <a:pt x="17" y="587"/>
                    </a:lnTo>
                    <a:lnTo>
                      <a:pt x="15" y="587"/>
                    </a:lnTo>
                    <a:lnTo>
                      <a:pt x="13" y="587"/>
                    </a:lnTo>
                    <a:lnTo>
                      <a:pt x="13" y="585"/>
                    </a:lnTo>
                    <a:lnTo>
                      <a:pt x="11" y="585"/>
                    </a:lnTo>
                    <a:lnTo>
                      <a:pt x="11" y="583"/>
                    </a:lnTo>
                    <a:lnTo>
                      <a:pt x="9" y="583"/>
                    </a:lnTo>
                    <a:lnTo>
                      <a:pt x="11" y="583"/>
                    </a:lnTo>
                    <a:lnTo>
                      <a:pt x="13" y="583"/>
                    </a:lnTo>
                    <a:lnTo>
                      <a:pt x="13" y="585"/>
                    </a:lnTo>
                    <a:lnTo>
                      <a:pt x="15" y="585"/>
                    </a:lnTo>
                    <a:lnTo>
                      <a:pt x="17" y="585"/>
                    </a:lnTo>
                    <a:lnTo>
                      <a:pt x="19" y="585"/>
                    </a:lnTo>
                    <a:lnTo>
                      <a:pt x="19" y="587"/>
                    </a:lnTo>
                    <a:lnTo>
                      <a:pt x="21" y="587"/>
                    </a:lnTo>
                    <a:lnTo>
                      <a:pt x="23" y="587"/>
                    </a:lnTo>
                    <a:lnTo>
                      <a:pt x="23" y="589"/>
                    </a:lnTo>
                    <a:lnTo>
                      <a:pt x="23" y="587"/>
                    </a:lnTo>
                    <a:lnTo>
                      <a:pt x="25" y="587"/>
                    </a:lnTo>
                    <a:lnTo>
                      <a:pt x="25" y="589"/>
                    </a:lnTo>
                    <a:lnTo>
                      <a:pt x="26" y="589"/>
                    </a:lnTo>
                    <a:lnTo>
                      <a:pt x="26" y="587"/>
                    </a:lnTo>
                    <a:lnTo>
                      <a:pt x="28" y="587"/>
                    </a:lnTo>
                    <a:lnTo>
                      <a:pt x="28" y="585"/>
                    </a:lnTo>
                    <a:lnTo>
                      <a:pt x="30" y="583"/>
                    </a:lnTo>
                    <a:lnTo>
                      <a:pt x="30" y="581"/>
                    </a:lnTo>
                    <a:lnTo>
                      <a:pt x="30" y="579"/>
                    </a:lnTo>
                    <a:lnTo>
                      <a:pt x="32" y="577"/>
                    </a:lnTo>
                    <a:lnTo>
                      <a:pt x="32" y="575"/>
                    </a:lnTo>
                    <a:lnTo>
                      <a:pt x="32" y="574"/>
                    </a:lnTo>
                    <a:lnTo>
                      <a:pt x="32" y="572"/>
                    </a:lnTo>
                    <a:lnTo>
                      <a:pt x="30" y="572"/>
                    </a:lnTo>
                    <a:lnTo>
                      <a:pt x="30" y="570"/>
                    </a:lnTo>
                    <a:lnTo>
                      <a:pt x="30" y="568"/>
                    </a:lnTo>
                    <a:lnTo>
                      <a:pt x="30" y="566"/>
                    </a:lnTo>
                    <a:lnTo>
                      <a:pt x="28" y="566"/>
                    </a:lnTo>
                    <a:lnTo>
                      <a:pt x="26" y="566"/>
                    </a:lnTo>
                    <a:lnTo>
                      <a:pt x="26" y="564"/>
                    </a:lnTo>
                    <a:lnTo>
                      <a:pt x="25" y="564"/>
                    </a:lnTo>
                    <a:lnTo>
                      <a:pt x="25" y="562"/>
                    </a:lnTo>
                    <a:lnTo>
                      <a:pt x="25" y="560"/>
                    </a:lnTo>
                    <a:lnTo>
                      <a:pt x="23" y="558"/>
                    </a:lnTo>
                    <a:lnTo>
                      <a:pt x="25" y="558"/>
                    </a:lnTo>
                    <a:lnTo>
                      <a:pt x="25" y="556"/>
                    </a:lnTo>
                    <a:lnTo>
                      <a:pt x="25" y="554"/>
                    </a:lnTo>
                    <a:lnTo>
                      <a:pt x="26" y="554"/>
                    </a:lnTo>
                    <a:lnTo>
                      <a:pt x="26" y="552"/>
                    </a:lnTo>
                    <a:lnTo>
                      <a:pt x="28" y="552"/>
                    </a:lnTo>
                    <a:lnTo>
                      <a:pt x="28" y="554"/>
                    </a:lnTo>
                    <a:lnTo>
                      <a:pt x="30" y="554"/>
                    </a:lnTo>
                    <a:lnTo>
                      <a:pt x="32" y="554"/>
                    </a:lnTo>
                    <a:lnTo>
                      <a:pt x="32" y="556"/>
                    </a:lnTo>
                    <a:lnTo>
                      <a:pt x="34" y="556"/>
                    </a:lnTo>
                    <a:lnTo>
                      <a:pt x="36" y="556"/>
                    </a:lnTo>
                    <a:lnTo>
                      <a:pt x="38" y="556"/>
                    </a:lnTo>
                    <a:lnTo>
                      <a:pt x="40" y="556"/>
                    </a:lnTo>
                    <a:lnTo>
                      <a:pt x="42" y="556"/>
                    </a:lnTo>
                    <a:lnTo>
                      <a:pt x="44" y="556"/>
                    </a:lnTo>
                    <a:lnTo>
                      <a:pt x="44" y="558"/>
                    </a:lnTo>
                    <a:lnTo>
                      <a:pt x="44" y="560"/>
                    </a:lnTo>
                    <a:lnTo>
                      <a:pt x="46" y="560"/>
                    </a:lnTo>
                    <a:lnTo>
                      <a:pt x="48" y="560"/>
                    </a:lnTo>
                    <a:lnTo>
                      <a:pt x="48" y="562"/>
                    </a:lnTo>
                    <a:lnTo>
                      <a:pt x="50" y="562"/>
                    </a:lnTo>
                    <a:lnTo>
                      <a:pt x="51" y="562"/>
                    </a:lnTo>
                    <a:lnTo>
                      <a:pt x="53" y="562"/>
                    </a:lnTo>
                    <a:lnTo>
                      <a:pt x="55" y="562"/>
                    </a:lnTo>
                    <a:lnTo>
                      <a:pt x="55" y="564"/>
                    </a:lnTo>
                    <a:lnTo>
                      <a:pt x="57" y="564"/>
                    </a:lnTo>
                    <a:lnTo>
                      <a:pt x="57" y="566"/>
                    </a:lnTo>
                    <a:lnTo>
                      <a:pt x="59" y="566"/>
                    </a:lnTo>
                    <a:lnTo>
                      <a:pt x="59" y="568"/>
                    </a:lnTo>
                    <a:lnTo>
                      <a:pt x="61" y="568"/>
                    </a:lnTo>
                    <a:lnTo>
                      <a:pt x="63" y="568"/>
                    </a:lnTo>
                    <a:lnTo>
                      <a:pt x="65" y="568"/>
                    </a:lnTo>
                    <a:lnTo>
                      <a:pt x="65" y="566"/>
                    </a:lnTo>
                    <a:lnTo>
                      <a:pt x="67" y="566"/>
                    </a:lnTo>
                    <a:lnTo>
                      <a:pt x="69" y="566"/>
                    </a:lnTo>
                    <a:lnTo>
                      <a:pt x="71" y="566"/>
                    </a:lnTo>
                    <a:lnTo>
                      <a:pt x="73" y="568"/>
                    </a:lnTo>
                    <a:lnTo>
                      <a:pt x="73" y="566"/>
                    </a:lnTo>
                    <a:lnTo>
                      <a:pt x="75" y="566"/>
                    </a:lnTo>
                    <a:lnTo>
                      <a:pt x="75" y="564"/>
                    </a:lnTo>
                    <a:lnTo>
                      <a:pt x="76" y="564"/>
                    </a:lnTo>
                    <a:lnTo>
                      <a:pt x="76" y="560"/>
                    </a:lnTo>
                    <a:lnTo>
                      <a:pt x="78" y="560"/>
                    </a:lnTo>
                    <a:lnTo>
                      <a:pt x="78" y="558"/>
                    </a:lnTo>
                    <a:lnTo>
                      <a:pt x="80" y="556"/>
                    </a:lnTo>
                    <a:lnTo>
                      <a:pt x="80" y="554"/>
                    </a:lnTo>
                    <a:lnTo>
                      <a:pt x="80" y="552"/>
                    </a:lnTo>
                    <a:lnTo>
                      <a:pt x="80" y="551"/>
                    </a:lnTo>
                    <a:lnTo>
                      <a:pt x="80" y="549"/>
                    </a:lnTo>
                    <a:lnTo>
                      <a:pt x="78" y="549"/>
                    </a:lnTo>
                    <a:lnTo>
                      <a:pt x="76" y="549"/>
                    </a:lnTo>
                    <a:lnTo>
                      <a:pt x="75" y="551"/>
                    </a:lnTo>
                    <a:lnTo>
                      <a:pt x="76" y="549"/>
                    </a:lnTo>
                    <a:lnTo>
                      <a:pt x="76" y="545"/>
                    </a:lnTo>
                    <a:lnTo>
                      <a:pt x="78" y="545"/>
                    </a:lnTo>
                    <a:lnTo>
                      <a:pt x="78" y="543"/>
                    </a:lnTo>
                    <a:lnTo>
                      <a:pt x="78" y="541"/>
                    </a:lnTo>
                    <a:lnTo>
                      <a:pt x="78" y="539"/>
                    </a:lnTo>
                    <a:lnTo>
                      <a:pt x="76" y="539"/>
                    </a:lnTo>
                    <a:lnTo>
                      <a:pt x="78" y="539"/>
                    </a:lnTo>
                    <a:lnTo>
                      <a:pt x="78" y="537"/>
                    </a:lnTo>
                    <a:lnTo>
                      <a:pt x="76" y="535"/>
                    </a:lnTo>
                    <a:lnTo>
                      <a:pt x="76" y="533"/>
                    </a:lnTo>
                    <a:lnTo>
                      <a:pt x="76" y="531"/>
                    </a:lnTo>
                    <a:lnTo>
                      <a:pt x="76" y="527"/>
                    </a:lnTo>
                    <a:lnTo>
                      <a:pt x="78" y="527"/>
                    </a:lnTo>
                    <a:lnTo>
                      <a:pt x="80" y="529"/>
                    </a:lnTo>
                    <a:lnTo>
                      <a:pt x="82" y="529"/>
                    </a:lnTo>
                    <a:lnTo>
                      <a:pt x="82" y="531"/>
                    </a:lnTo>
                    <a:lnTo>
                      <a:pt x="84" y="531"/>
                    </a:lnTo>
                    <a:lnTo>
                      <a:pt x="84" y="533"/>
                    </a:lnTo>
                    <a:lnTo>
                      <a:pt x="84" y="535"/>
                    </a:lnTo>
                    <a:lnTo>
                      <a:pt x="86" y="537"/>
                    </a:lnTo>
                    <a:lnTo>
                      <a:pt x="88" y="537"/>
                    </a:lnTo>
                    <a:lnTo>
                      <a:pt x="90" y="537"/>
                    </a:lnTo>
                    <a:lnTo>
                      <a:pt x="92" y="537"/>
                    </a:lnTo>
                    <a:lnTo>
                      <a:pt x="92" y="539"/>
                    </a:lnTo>
                    <a:lnTo>
                      <a:pt x="94" y="541"/>
                    </a:lnTo>
                    <a:lnTo>
                      <a:pt x="96" y="541"/>
                    </a:lnTo>
                    <a:lnTo>
                      <a:pt x="98" y="541"/>
                    </a:lnTo>
                    <a:lnTo>
                      <a:pt x="99" y="541"/>
                    </a:lnTo>
                    <a:lnTo>
                      <a:pt x="99" y="543"/>
                    </a:lnTo>
                    <a:lnTo>
                      <a:pt x="101" y="543"/>
                    </a:lnTo>
                    <a:lnTo>
                      <a:pt x="103" y="543"/>
                    </a:lnTo>
                    <a:lnTo>
                      <a:pt x="105" y="543"/>
                    </a:lnTo>
                    <a:lnTo>
                      <a:pt x="105" y="541"/>
                    </a:lnTo>
                    <a:lnTo>
                      <a:pt x="105" y="539"/>
                    </a:lnTo>
                    <a:lnTo>
                      <a:pt x="103" y="539"/>
                    </a:lnTo>
                    <a:lnTo>
                      <a:pt x="101" y="539"/>
                    </a:lnTo>
                    <a:lnTo>
                      <a:pt x="101" y="537"/>
                    </a:lnTo>
                    <a:lnTo>
                      <a:pt x="101" y="535"/>
                    </a:lnTo>
                    <a:lnTo>
                      <a:pt x="101" y="533"/>
                    </a:lnTo>
                    <a:lnTo>
                      <a:pt x="101" y="531"/>
                    </a:lnTo>
                    <a:lnTo>
                      <a:pt x="101" y="533"/>
                    </a:lnTo>
                    <a:lnTo>
                      <a:pt x="101" y="531"/>
                    </a:lnTo>
                    <a:lnTo>
                      <a:pt x="99" y="531"/>
                    </a:lnTo>
                    <a:lnTo>
                      <a:pt x="101" y="531"/>
                    </a:lnTo>
                    <a:lnTo>
                      <a:pt x="99" y="531"/>
                    </a:lnTo>
                    <a:lnTo>
                      <a:pt x="98" y="529"/>
                    </a:lnTo>
                    <a:lnTo>
                      <a:pt x="98" y="527"/>
                    </a:lnTo>
                    <a:lnTo>
                      <a:pt x="96" y="527"/>
                    </a:lnTo>
                    <a:lnTo>
                      <a:pt x="98" y="527"/>
                    </a:lnTo>
                    <a:lnTo>
                      <a:pt x="98" y="526"/>
                    </a:lnTo>
                    <a:lnTo>
                      <a:pt x="96" y="526"/>
                    </a:lnTo>
                    <a:lnTo>
                      <a:pt x="96" y="527"/>
                    </a:lnTo>
                    <a:lnTo>
                      <a:pt x="94" y="527"/>
                    </a:lnTo>
                    <a:lnTo>
                      <a:pt x="94" y="526"/>
                    </a:lnTo>
                    <a:lnTo>
                      <a:pt x="96" y="526"/>
                    </a:lnTo>
                    <a:lnTo>
                      <a:pt x="94" y="526"/>
                    </a:lnTo>
                    <a:lnTo>
                      <a:pt x="94" y="524"/>
                    </a:lnTo>
                    <a:lnTo>
                      <a:pt x="96" y="524"/>
                    </a:lnTo>
                    <a:lnTo>
                      <a:pt x="96" y="526"/>
                    </a:lnTo>
                    <a:lnTo>
                      <a:pt x="96" y="524"/>
                    </a:lnTo>
                    <a:lnTo>
                      <a:pt x="98" y="524"/>
                    </a:lnTo>
                    <a:lnTo>
                      <a:pt x="98" y="522"/>
                    </a:lnTo>
                    <a:lnTo>
                      <a:pt x="99" y="522"/>
                    </a:lnTo>
                    <a:lnTo>
                      <a:pt x="101" y="522"/>
                    </a:lnTo>
                    <a:lnTo>
                      <a:pt x="99" y="522"/>
                    </a:lnTo>
                    <a:lnTo>
                      <a:pt x="99" y="524"/>
                    </a:lnTo>
                    <a:lnTo>
                      <a:pt x="101" y="524"/>
                    </a:lnTo>
                    <a:lnTo>
                      <a:pt x="103" y="524"/>
                    </a:lnTo>
                    <a:lnTo>
                      <a:pt x="103" y="522"/>
                    </a:lnTo>
                    <a:lnTo>
                      <a:pt x="105" y="522"/>
                    </a:lnTo>
                    <a:lnTo>
                      <a:pt x="105" y="520"/>
                    </a:lnTo>
                    <a:lnTo>
                      <a:pt x="105" y="518"/>
                    </a:lnTo>
                    <a:lnTo>
                      <a:pt x="105" y="516"/>
                    </a:lnTo>
                    <a:lnTo>
                      <a:pt x="105" y="514"/>
                    </a:lnTo>
                    <a:lnTo>
                      <a:pt x="105" y="512"/>
                    </a:lnTo>
                    <a:lnTo>
                      <a:pt x="105" y="510"/>
                    </a:lnTo>
                    <a:lnTo>
                      <a:pt x="103" y="510"/>
                    </a:lnTo>
                    <a:lnTo>
                      <a:pt x="105" y="510"/>
                    </a:lnTo>
                    <a:lnTo>
                      <a:pt x="105" y="508"/>
                    </a:lnTo>
                    <a:lnTo>
                      <a:pt x="107" y="508"/>
                    </a:lnTo>
                    <a:lnTo>
                      <a:pt x="107" y="510"/>
                    </a:lnTo>
                    <a:lnTo>
                      <a:pt x="107" y="512"/>
                    </a:lnTo>
                    <a:lnTo>
                      <a:pt x="107" y="514"/>
                    </a:lnTo>
                    <a:lnTo>
                      <a:pt x="109" y="514"/>
                    </a:lnTo>
                    <a:lnTo>
                      <a:pt x="109" y="516"/>
                    </a:lnTo>
                    <a:lnTo>
                      <a:pt x="111" y="516"/>
                    </a:lnTo>
                    <a:lnTo>
                      <a:pt x="111" y="518"/>
                    </a:lnTo>
                    <a:lnTo>
                      <a:pt x="113" y="518"/>
                    </a:lnTo>
                    <a:lnTo>
                      <a:pt x="113" y="520"/>
                    </a:lnTo>
                    <a:lnTo>
                      <a:pt x="115" y="520"/>
                    </a:lnTo>
                    <a:lnTo>
                      <a:pt x="117" y="520"/>
                    </a:lnTo>
                    <a:lnTo>
                      <a:pt x="119" y="520"/>
                    </a:lnTo>
                    <a:lnTo>
                      <a:pt x="119" y="522"/>
                    </a:lnTo>
                    <a:lnTo>
                      <a:pt x="121" y="522"/>
                    </a:lnTo>
                    <a:lnTo>
                      <a:pt x="123" y="522"/>
                    </a:lnTo>
                    <a:lnTo>
                      <a:pt x="123" y="524"/>
                    </a:lnTo>
                    <a:lnTo>
                      <a:pt x="124" y="524"/>
                    </a:lnTo>
                    <a:lnTo>
                      <a:pt x="124" y="522"/>
                    </a:lnTo>
                    <a:lnTo>
                      <a:pt x="126" y="520"/>
                    </a:lnTo>
                    <a:lnTo>
                      <a:pt x="124" y="518"/>
                    </a:lnTo>
                    <a:lnTo>
                      <a:pt x="126" y="518"/>
                    </a:lnTo>
                    <a:lnTo>
                      <a:pt x="128" y="516"/>
                    </a:lnTo>
                    <a:lnTo>
                      <a:pt x="128" y="518"/>
                    </a:lnTo>
                    <a:lnTo>
                      <a:pt x="130" y="520"/>
                    </a:lnTo>
                    <a:lnTo>
                      <a:pt x="132" y="520"/>
                    </a:lnTo>
                    <a:lnTo>
                      <a:pt x="134" y="518"/>
                    </a:lnTo>
                    <a:lnTo>
                      <a:pt x="138" y="518"/>
                    </a:lnTo>
                    <a:lnTo>
                      <a:pt x="140" y="516"/>
                    </a:lnTo>
                    <a:lnTo>
                      <a:pt x="142" y="516"/>
                    </a:lnTo>
                    <a:lnTo>
                      <a:pt x="144" y="516"/>
                    </a:lnTo>
                    <a:lnTo>
                      <a:pt x="144" y="518"/>
                    </a:lnTo>
                    <a:lnTo>
                      <a:pt x="146" y="518"/>
                    </a:lnTo>
                    <a:lnTo>
                      <a:pt x="147" y="516"/>
                    </a:lnTo>
                    <a:lnTo>
                      <a:pt x="149" y="516"/>
                    </a:lnTo>
                    <a:lnTo>
                      <a:pt x="151" y="516"/>
                    </a:lnTo>
                    <a:lnTo>
                      <a:pt x="153" y="514"/>
                    </a:lnTo>
                    <a:lnTo>
                      <a:pt x="155" y="516"/>
                    </a:lnTo>
                    <a:lnTo>
                      <a:pt x="157" y="516"/>
                    </a:lnTo>
                    <a:lnTo>
                      <a:pt x="157" y="514"/>
                    </a:lnTo>
                    <a:lnTo>
                      <a:pt x="159" y="514"/>
                    </a:lnTo>
                    <a:lnTo>
                      <a:pt x="161" y="514"/>
                    </a:lnTo>
                    <a:lnTo>
                      <a:pt x="163" y="514"/>
                    </a:lnTo>
                    <a:lnTo>
                      <a:pt x="163" y="516"/>
                    </a:lnTo>
                    <a:lnTo>
                      <a:pt x="165" y="516"/>
                    </a:lnTo>
                    <a:lnTo>
                      <a:pt x="165" y="514"/>
                    </a:lnTo>
                    <a:lnTo>
                      <a:pt x="165" y="512"/>
                    </a:lnTo>
                    <a:lnTo>
                      <a:pt x="165" y="510"/>
                    </a:lnTo>
                    <a:lnTo>
                      <a:pt x="165" y="508"/>
                    </a:lnTo>
                    <a:lnTo>
                      <a:pt x="167" y="508"/>
                    </a:lnTo>
                    <a:lnTo>
                      <a:pt x="169" y="508"/>
                    </a:lnTo>
                    <a:lnTo>
                      <a:pt x="171" y="508"/>
                    </a:lnTo>
                    <a:lnTo>
                      <a:pt x="172" y="508"/>
                    </a:lnTo>
                    <a:lnTo>
                      <a:pt x="172" y="510"/>
                    </a:lnTo>
                    <a:lnTo>
                      <a:pt x="174" y="510"/>
                    </a:lnTo>
                    <a:lnTo>
                      <a:pt x="176" y="510"/>
                    </a:lnTo>
                    <a:lnTo>
                      <a:pt x="178" y="510"/>
                    </a:lnTo>
                    <a:lnTo>
                      <a:pt x="180" y="510"/>
                    </a:lnTo>
                    <a:lnTo>
                      <a:pt x="182" y="510"/>
                    </a:lnTo>
                    <a:lnTo>
                      <a:pt x="184" y="508"/>
                    </a:lnTo>
                    <a:lnTo>
                      <a:pt x="186" y="508"/>
                    </a:lnTo>
                    <a:lnTo>
                      <a:pt x="188" y="508"/>
                    </a:lnTo>
                    <a:lnTo>
                      <a:pt x="190" y="508"/>
                    </a:lnTo>
                    <a:lnTo>
                      <a:pt x="192" y="508"/>
                    </a:lnTo>
                    <a:lnTo>
                      <a:pt x="192" y="510"/>
                    </a:lnTo>
                    <a:lnTo>
                      <a:pt x="192" y="514"/>
                    </a:lnTo>
                    <a:lnTo>
                      <a:pt x="192" y="516"/>
                    </a:lnTo>
                    <a:lnTo>
                      <a:pt x="192" y="518"/>
                    </a:lnTo>
                    <a:lnTo>
                      <a:pt x="190" y="518"/>
                    </a:lnTo>
                    <a:lnTo>
                      <a:pt x="192" y="518"/>
                    </a:lnTo>
                    <a:lnTo>
                      <a:pt x="192" y="520"/>
                    </a:lnTo>
                    <a:lnTo>
                      <a:pt x="192" y="522"/>
                    </a:lnTo>
                    <a:lnTo>
                      <a:pt x="194" y="524"/>
                    </a:lnTo>
                    <a:lnTo>
                      <a:pt x="194" y="526"/>
                    </a:lnTo>
                    <a:lnTo>
                      <a:pt x="195" y="526"/>
                    </a:lnTo>
                    <a:lnTo>
                      <a:pt x="195" y="527"/>
                    </a:lnTo>
                    <a:lnTo>
                      <a:pt x="194" y="527"/>
                    </a:lnTo>
                    <a:lnTo>
                      <a:pt x="192" y="527"/>
                    </a:lnTo>
                    <a:lnTo>
                      <a:pt x="192" y="529"/>
                    </a:lnTo>
                    <a:lnTo>
                      <a:pt x="192" y="531"/>
                    </a:lnTo>
                    <a:lnTo>
                      <a:pt x="194" y="531"/>
                    </a:lnTo>
                    <a:lnTo>
                      <a:pt x="195" y="531"/>
                    </a:lnTo>
                    <a:lnTo>
                      <a:pt x="195" y="533"/>
                    </a:lnTo>
                    <a:lnTo>
                      <a:pt x="197" y="533"/>
                    </a:lnTo>
                    <a:lnTo>
                      <a:pt x="199" y="533"/>
                    </a:lnTo>
                    <a:lnTo>
                      <a:pt x="201" y="533"/>
                    </a:lnTo>
                    <a:lnTo>
                      <a:pt x="203" y="533"/>
                    </a:lnTo>
                    <a:lnTo>
                      <a:pt x="205" y="533"/>
                    </a:lnTo>
                    <a:lnTo>
                      <a:pt x="207" y="533"/>
                    </a:lnTo>
                    <a:lnTo>
                      <a:pt x="209" y="533"/>
                    </a:lnTo>
                    <a:lnTo>
                      <a:pt x="211" y="533"/>
                    </a:lnTo>
                    <a:lnTo>
                      <a:pt x="211" y="535"/>
                    </a:lnTo>
                    <a:lnTo>
                      <a:pt x="215" y="537"/>
                    </a:lnTo>
                    <a:lnTo>
                      <a:pt x="213" y="537"/>
                    </a:lnTo>
                    <a:lnTo>
                      <a:pt x="213" y="539"/>
                    </a:lnTo>
                    <a:lnTo>
                      <a:pt x="215" y="541"/>
                    </a:lnTo>
                    <a:lnTo>
                      <a:pt x="215" y="543"/>
                    </a:lnTo>
                    <a:lnTo>
                      <a:pt x="215" y="545"/>
                    </a:lnTo>
                    <a:lnTo>
                      <a:pt x="215" y="547"/>
                    </a:lnTo>
                    <a:lnTo>
                      <a:pt x="217" y="547"/>
                    </a:lnTo>
                    <a:lnTo>
                      <a:pt x="217" y="549"/>
                    </a:lnTo>
                    <a:lnTo>
                      <a:pt x="217" y="551"/>
                    </a:lnTo>
                    <a:lnTo>
                      <a:pt x="217" y="552"/>
                    </a:lnTo>
                    <a:lnTo>
                      <a:pt x="217" y="554"/>
                    </a:lnTo>
                    <a:lnTo>
                      <a:pt x="217" y="556"/>
                    </a:lnTo>
                    <a:lnTo>
                      <a:pt x="219" y="556"/>
                    </a:lnTo>
                    <a:lnTo>
                      <a:pt x="219" y="558"/>
                    </a:lnTo>
                    <a:lnTo>
                      <a:pt x="220" y="558"/>
                    </a:lnTo>
                    <a:lnTo>
                      <a:pt x="222" y="556"/>
                    </a:lnTo>
                    <a:lnTo>
                      <a:pt x="224" y="556"/>
                    </a:lnTo>
                    <a:lnTo>
                      <a:pt x="224" y="554"/>
                    </a:lnTo>
                    <a:lnTo>
                      <a:pt x="222" y="554"/>
                    </a:lnTo>
                    <a:lnTo>
                      <a:pt x="222" y="552"/>
                    </a:lnTo>
                    <a:lnTo>
                      <a:pt x="220" y="551"/>
                    </a:lnTo>
                    <a:lnTo>
                      <a:pt x="220" y="549"/>
                    </a:lnTo>
                    <a:lnTo>
                      <a:pt x="220" y="547"/>
                    </a:lnTo>
                    <a:lnTo>
                      <a:pt x="222" y="545"/>
                    </a:lnTo>
                    <a:lnTo>
                      <a:pt x="224" y="545"/>
                    </a:lnTo>
                    <a:lnTo>
                      <a:pt x="224" y="543"/>
                    </a:lnTo>
                    <a:lnTo>
                      <a:pt x="226" y="543"/>
                    </a:lnTo>
                    <a:lnTo>
                      <a:pt x="226" y="541"/>
                    </a:lnTo>
                    <a:lnTo>
                      <a:pt x="228" y="539"/>
                    </a:lnTo>
                    <a:lnTo>
                      <a:pt x="230" y="537"/>
                    </a:lnTo>
                    <a:lnTo>
                      <a:pt x="230" y="535"/>
                    </a:lnTo>
                    <a:lnTo>
                      <a:pt x="232" y="535"/>
                    </a:lnTo>
                    <a:lnTo>
                      <a:pt x="234" y="535"/>
                    </a:lnTo>
                    <a:lnTo>
                      <a:pt x="234" y="533"/>
                    </a:lnTo>
                    <a:lnTo>
                      <a:pt x="236" y="533"/>
                    </a:lnTo>
                    <a:lnTo>
                      <a:pt x="236" y="531"/>
                    </a:lnTo>
                    <a:lnTo>
                      <a:pt x="236" y="529"/>
                    </a:lnTo>
                    <a:lnTo>
                      <a:pt x="236" y="527"/>
                    </a:lnTo>
                    <a:lnTo>
                      <a:pt x="238" y="527"/>
                    </a:lnTo>
                    <a:lnTo>
                      <a:pt x="238" y="526"/>
                    </a:lnTo>
                    <a:lnTo>
                      <a:pt x="240" y="526"/>
                    </a:lnTo>
                    <a:lnTo>
                      <a:pt x="240" y="524"/>
                    </a:lnTo>
                    <a:lnTo>
                      <a:pt x="240" y="522"/>
                    </a:lnTo>
                    <a:lnTo>
                      <a:pt x="240" y="520"/>
                    </a:lnTo>
                    <a:lnTo>
                      <a:pt x="240" y="518"/>
                    </a:lnTo>
                    <a:lnTo>
                      <a:pt x="240" y="516"/>
                    </a:lnTo>
                    <a:lnTo>
                      <a:pt x="240" y="514"/>
                    </a:lnTo>
                    <a:lnTo>
                      <a:pt x="240" y="512"/>
                    </a:lnTo>
                    <a:lnTo>
                      <a:pt x="240" y="510"/>
                    </a:lnTo>
                    <a:lnTo>
                      <a:pt x="240" y="508"/>
                    </a:lnTo>
                    <a:lnTo>
                      <a:pt x="242" y="506"/>
                    </a:lnTo>
                    <a:lnTo>
                      <a:pt x="243" y="504"/>
                    </a:lnTo>
                    <a:lnTo>
                      <a:pt x="243" y="503"/>
                    </a:lnTo>
                    <a:lnTo>
                      <a:pt x="245" y="503"/>
                    </a:lnTo>
                    <a:lnTo>
                      <a:pt x="245" y="501"/>
                    </a:lnTo>
                    <a:lnTo>
                      <a:pt x="245" y="499"/>
                    </a:lnTo>
                    <a:lnTo>
                      <a:pt x="247" y="497"/>
                    </a:lnTo>
                    <a:lnTo>
                      <a:pt x="247" y="495"/>
                    </a:lnTo>
                    <a:lnTo>
                      <a:pt x="247" y="493"/>
                    </a:lnTo>
                    <a:lnTo>
                      <a:pt x="247" y="491"/>
                    </a:lnTo>
                    <a:lnTo>
                      <a:pt x="249" y="491"/>
                    </a:lnTo>
                    <a:lnTo>
                      <a:pt x="249" y="489"/>
                    </a:lnTo>
                    <a:lnTo>
                      <a:pt x="249" y="487"/>
                    </a:lnTo>
                    <a:lnTo>
                      <a:pt x="249" y="485"/>
                    </a:lnTo>
                    <a:lnTo>
                      <a:pt x="253" y="481"/>
                    </a:lnTo>
                    <a:lnTo>
                      <a:pt x="255" y="481"/>
                    </a:lnTo>
                    <a:lnTo>
                      <a:pt x="255" y="479"/>
                    </a:lnTo>
                    <a:lnTo>
                      <a:pt x="255" y="478"/>
                    </a:lnTo>
                    <a:lnTo>
                      <a:pt x="255" y="476"/>
                    </a:lnTo>
                    <a:lnTo>
                      <a:pt x="255" y="474"/>
                    </a:lnTo>
                    <a:lnTo>
                      <a:pt x="257" y="474"/>
                    </a:lnTo>
                    <a:lnTo>
                      <a:pt x="257" y="476"/>
                    </a:lnTo>
                    <a:lnTo>
                      <a:pt x="259" y="476"/>
                    </a:lnTo>
                    <a:lnTo>
                      <a:pt x="261" y="476"/>
                    </a:lnTo>
                    <a:lnTo>
                      <a:pt x="261" y="474"/>
                    </a:lnTo>
                    <a:lnTo>
                      <a:pt x="261" y="476"/>
                    </a:lnTo>
                    <a:lnTo>
                      <a:pt x="263" y="476"/>
                    </a:lnTo>
                    <a:lnTo>
                      <a:pt x="265" y="476"/>
                    </a:lnTo>
                    <a:lnTo>
                      <a:pt x="265" y="478"/>
                    </a:lnTo>
                    <a:lnTo>
                      <a:pt x="267" y="478"/>
                    </a:lnTo>
                    <a:lnTo>
                      <a:pt x="268" y="478"/>
                    </a:lnTo>
                    <a:lnTo>
                      <a:pt x="268" y="479"/>
                    </a:lnTo>
                    <a:lnTo>
                      <a:pt x="270" y="479"/>
                    </a:lnTo>
                    <a:lnTo>
                      <a:pt x="272" y="479"/>
                    </a:lnTo>
                    <a:lnTo>
                      <a:pt x="272" y="481"/>
                    </a:lnTo>
                    <a:lnTo>
                      <a:pt x="274" y="481"/>
                    </a:lnTo>
                    <a:lnTo>
                      <a:pt x="276" y="481"/>
                    </a:lnTo>
                    <a:lnTo>
                      <a:pt x="278" y="481"/>
                    </a:lnTo>
                    <a:lnTo>
                      <a:pt x="278" y="483"/>
                    </a:lnTo>
                    <a:lnTo>
                      <a:pt x="280" y="483"/>
                    </a:lnTo>
                    <a:lnTo>
                      <a:pt x="282" y="483"/>
                    </a:lnTo>
                    <a:lnTo>
                      <a:pt x="284" y="483"/>
                    </a:lnTo>
                    <a:lnTo>
                      <a:pt x="286" y="483"/>
                    </a:lnTo>
                    <a:lnTo>
                      <a:pt x="288" y="481"/>
                    </a:lnTo>
                    <a:lnTo>
                      <a:pt x="288" y="479"/>
                    </a:lnTo>
                    <a:lnTo>
                      <a:pt x="290" y="478"/>
                    </a:lnTo>
                    <a:lnTo>
                      <a:pt x="288" y="478"/>
                    </a:lnTo>
                    <a:lnTo>
                      <a:pt x="290" y="478"/>
                    </a:lnTo>
                    <a:lnTo>
                      <a:pt x="290" y="476"/>
                    </a:lnTo>
                    <a:lnTo>
                      <a:pt x="291" y="476"/>
                    </a:lnTo>
                    <a:lnTo>
                      <a:pt x="291" y="474"/>
                    </a:lnTo>
                    <a:lnTo>
                      <a:pt x="291" y="472"/>
                    </a:lnTo>
                    <a:lnTo>
                      <a:pt x="291" y="470"/>
                    </a:lnTo>
                    <a:lnTo>
                      <a:pt x="290" y="470"/>
                    </a:lnTo>
                    <a:lnTo>
                      <a:pt x="290" y="468"/>
                    </a:lnTo>
                    <a:lnTo>
                      <a:pt x="288" y="468"/>
                    </a:lnTo>
                    <a:lnTo>
                      <a:pt x="288" y="466"/>
                    </a:lnTo>
                    <a:lnTo>
                      <a:pt x="288" y="464"/>
                    </a:lnTo>
                    <a:lnTo>
                      <a:pt x="286" y="464"/>
                    </a:lnTo>
                    <a:lnTo>
                      <a:pt x="284" y="464"/>
                    </a:lnTo>
                    <a:lnTo>
                      <a:pt x="284" y="466"/>
                    </a:lnTo>
                    <a:lnTo>
                      <a:pt x="282" y="466"/>
                    </a:lnTo>
                    <a:lnTo>
                      <a:pt x="282" y="464"/>
                    </a:lnTo>
                    <a:lnTo>
                      <a:pt x="282" y="462"/>
                    </a:lnTo>
                    <a:lnTo>
                      <a:pt x="282" y="458"/>
                    </a:lnTo>
                    <a:lnTo>
                      <a:pt x="284" y="456"/>
                    </a:lnTo>
                    <a:lnTo>
                      <a:pt x="284" y="453"/>
                    </a:lnTo>
                    <a:lnTo>
                      <a:pt x="286" y="445"/>
                    </a:lnTo>
                    <a:lnTo>
                      <a:pt x="288" y="441"/>
                    </a:lnTo>
                    <a:lnTo>
                      <a:pt x="288" y="435"/>
                    </a:lnTo>
                    <a:lnTo>
                      <a:pt x="288" y="433"/>
                    </a:lnTo>
                    <a:lnTo>
                      <a:pt x="282" y="426"/>
                    </a:lnTo>
                    <a:lnTo>
                      <a:pt x="282" y="424"/>
                    </a:lnTo>
                    <a:lnTo>
                      <a:pt x="284" y="424"/>
                    </a:lnTo>
                    <a:lnTo>
                      <a:pt x="286" y="424"/>
                    </a:lnTo>
                    <a:lnTo>
                      <a:pt x="288" y="424"/>
                    </a:lnTo>
                    <a:lnTo>
                      <a:pt x="290" y="424"/>
                    </a:lnTo>
                    <a:lnTo>
                      <a:pt x="291" y="424"/>
                    </a:lnTo>
                    <a:lnTo>
                      <a:pt x="293" y="424"/>
                    </a:lnTo>
                    <a:lnTo>
                      <a:pt x="295" y="424"/>
                    </a:lnTo>
                    <a:lnTo>
                      <a:pt x="297" y="424"/>
                    </a:lnTo>
                    <a:lnTo>
                      <a:pt x="299" y="424"/>
                    </a:lnTo>
                    <a:lnTo>
                      <a:pt x="301" y="424"/>
                    </a:lnTo>
                    <a:lnTo>
                      <a:pt x="301" y="422"/>
                    </a:lnTo>
                    <a:lnTo>
                      <a:pt x="303" y="422"/>
                    </a:lnTo>
                    <a:lnTo>
                      <a:pt x="305" y="422"/>
                    </a:lnTo>
                    <a:lnTo>
                      <a:pt x="307" y="424"/>
                    </a:lnTo>
                    <a:lnTo>
                      <a:pt x="309" y="424"/>
                    </a:lnTo>
                    <a:lnTo>
                      <a:pt x="311" y="424"/>
                    </a:lnTo>
                    <a:lnTo>
                      <a:pt x="313" y="424"/>
                    </a:lnTo>
                    <a:lnTo>
                      <a:pt x="313" y="422"/>
                    </a:lnTo>
                    <a:lnTo>
                      <a:pt x="313" y="420"/>
                    </a:lnTo>
                    <a:lnTo>
                      <a:pt x="313" y="416"/>
                    </a:lnTo>
                    <a:lnTo>
                      <a:pt x="315" y="414"/>
                    </a:lnTo>
                    <a:lnTo>
                      <a:pt x="315" y="412"/>
                    </a:lnTo>
                    <a:lnTo>
                      <a:pt x="316" y="412"/>
                    </a:lnTo>
                    <a:lnTo>
                      <a:pt x="316" y="410"/>
                    </a:lnTo>
                    <a:lnTo>
                      <a:pt x="318" y="410"/>
                    </a:lnTo>
                    <a:lnTo>
                      <a:pt x="320" y="410"/>
                    </a:lnTo>
                    <a:lnTo>
                      <a:pt x="322" y="410"/>
                    </a:lnTo>
                    <a:lnTo>
                      <a:pt x="322" y="408"/>
                    </a:lnTo>
                    <a:lnTo>
                      <a:pt x="322" y="407"/>
                    </a:lnTo>
                    <a:lnTo>
                      <a:pt x="322" y="405"/>
                    </a:lnTo>
                    <a:lnTo>
                      <a:pt x="322" y="403"/>
                    </a:lnTo>
                    <a:lnTo>
                      <a:pt x="322" y="397"/>
                    </a:lnTo>
                    <a:lnTo>
                      <a:pt x="320" y="395"/>
                    </a:lnTo>
                    <a:lnTo>
                      <a:pt x="320" y="393"/>
                    </a:lnTo>
                    <a:lnTo>
                      <a:pt x="320" y="391"/>
                    </a:lnTo>
                    <a:lnTo>
                      <a:pt x="320" y="389"/>
                    </a:lnTo>
                    <a:lnTo>
                      <a:pt x="316" y="387"/>
                    </a:lnTo>
                    <a:lnTo>
                      <a:pt x="315" y="384"/>
                    </a:lnTo>
                    <a:lnTo>
                      <a:pt x="313" y="382"/>
                    </a:lnTo>
                    <a:lnTo>
                      <a:pt x="311" y="380"/>
                    </a:lnTo>
                    <a:lnTo>
                      <a:pt x="309" y="378"/>
                    </a:lnTo>
                    <a:lnTo>
                      <a:pt x="305" y="376"/>
                    </a:lnTo>
                    <a:lnTo>
                      <a:pt x="305" y="374"/>
                    </a:lnTo>
                    <a:lnTo>
                      <a:pt x="303" y="374"/>
                    </a:lnTo>
                    <a:lnTo>
                      <a:pt x="301" y="374"/>
                    </a:lnTo>
                    <a:lnTo>
                      <a:pt x="299" y="374"/>
                    </a:lnTo>
                    <a:lnTo>
                      <a:pt x="299" y="376"/>
                    </a:lnTo>
                    <a:lnTo>
                      <a:pt x="297" y="376"/>
                    </a:lnTo>
                    <a:lnTo>
                      <a:pt x="297" y="374"/>
                    </a:lnTo>
                    <a:lnTo>
                      <a:pt x="295" y="374"/>
                    </a:lnTo>
                    <a:lnTo>
                      <a:pt x="295" y="376"/>
                    </a:lnTo>
                    <a:lnTo>
                      <a:pt x="293" y="374"/>
                    </a:lnTo>
                    <a:lnTo>
                      <a:pt x="291" y="374"/>
                    </a:lnTo>
                    <a:lnTo>
                      <a:pt x="290" y="374"/>
                    </a:lnTo>
                    <a:lnTo>
                      <a:pt x="290" y="372"/>
                    </a:lnTo>
                    <a:lnTo>
                      <a:pt x="288" y="372"/>
                    </a:lnTo>
                    <a:lnTo>
                      <a:pt x="286" y="370"/>
                    </a:lnTo>
                    <a:lnTo>
                      <a:pt x="284" y="370"/>
                    </a:lnTo>
                    <a:lnTo>
                      <a:pt x="286" y="370"/>
                    </a:lnTo>
                    <a:lnTo>
                      <a:pt x="286" y="368"/>
                    </a:lnTo>
                    <a:lnTo>
                      <a:pt x="286" y="366"/>
                    </a:lnTo>
                    <a:lnTo>
                      <a:pt x="288" y="366"/>
                    </a:lnTo>
                    <a:lnTo>
                      <a:pt x="288" y="364"/>
                    </a:lnTo>
                    <a:lnTo>
                      <a:pt x="288" y="362"/>
                    </a:lnTo>
                    <a:lnTo>
                      <a:pt x="288" y="360"/>
                    </a:lnTo>
                    <a:lnTo>
                      <a:pt x="286" y="360"/>
                    </a:lnTo>
                    <a:lnTo>
                      <a:pt x="286" y="359"/>
                    </a:lnTo>
                    <a:lnTo>
                      <a:pt x="286" y="357"/>
                    </a:lnTo>
                    <a:lnTo>
                      <a:pt x="288" y="355"/>
                    </a:lnTo>
                    <a:lnTo>
                      <a:pt x="290" y="355"/>
                    </a:lnTo>
                    <a:lnTo>
                      <a:pt x="291" y="353"/>
                    </a:lnTo>
                    <a:lnTo>
                      <a:pt x="293" y="355"/>
                    </a:lnTo>
                    <a:lnTo>
                      <a:pt x="295" y="355"/>
                    </a:lnTo>
                    <a:lnTo>
                      <a:pt x="297" y="355"/>
                    </a:lnTo>
                    <a:lnTo>
                      <a:pt x="297" y="357"/>
                    </a:lnTo>
                    <a:lnTo>
                      <a:pt x="299" y="357"/>
                    </a:lnTo>
                    <a:lnTo>
                      <a:pt x="301" y="357"/>
                    </a:lnTo>
                    <a:lnTo>
                      <a:pt x="301" y="353"/>
                    </a:lnTo>
                    <a:lnTo>
                      <a:pt x="301" y="349"/>
                    </a:lnTo>
                    <a:lnTo>
                      <a:pt x="303" y="349"/>
                    </a:lnTo>
                    <a:lnTo>
                      <a:pt x="307" y="351"/>
                    </a:lnTo>
                    <a:lnTo>
                      <a:pt x="305" y="351"/>
                    </a:lnTo>
                    <a:lnTo>
                      <a:pt x="305" y="353"/>
                    </a:lnTo>
                    <a:lnTo>
                      <a:pt x="307" y="353"/>
                    </a:lnTo>
                    <a:lnTo>
                      <a:pt x="307" y="355"/>
                    </a:lnTo>
                    <a:lnTo>
                      <a:pt x="309" y="353"/>
                    </a:lnTo>
                    <a:lnTo>
                      <a:pt x="311" y="353"/>
                    </a:lnTo>
                    <a:lnTo>
                      <a:pt x="313" y="353"/>
                    </a:lnTo>
                    <a:lnTo>
                      <a:pt x="315" y="353"/>
                    </a:lnTo>
                    <a:lnTo>
                      <a:pt x="315" y="351"/>
                    </a:lnTo>
                    <a:lnTo>
                      <a:pt x="315" y="353"/>
                    </a:lnTo>
                    <a:lnTo>
                      <a:pt x="316" y="351"/>
                    </a:lnTo>
                    <a:lnTo>
                      <a:pt x="318" y="351"/>
                    </a:lnTo>
                    <a:lnTo>
                      <a:pt x="320" y="351"/>
                    </a:lnTo>
                    <a:lnTo>
                      <a:pt x="322" y="349"/>
                    </a:lnTo>
                    <a:lnTo>
                      <a:pt x="322" y="347"/>
                    </a:lnTo>
                    <a:lnTo>
                      <a:pt x="324" y="347"/>
                    </a:lnTo>
                    <a:lnTo>
                      <a:pt x="324" y="345"/>
                    </a:lnTo>
                    <a:lnTo>
                      <a:pt x="322" y="345"/>
                    </a:lnTo>
                    <a:lnTo>
                      <a:pt x="322" y="343"/>
                    </a:lnTo>
                    <a:lnTo>
                      <a:pt x="322" y="341"/>
                    </a:lnTo>
                    <a:lnTo>
                      <a:pt x="322" y="339"/>
                    </a:lnTo>
                    <a:lnTo>
                      <a:pt x="322" y="337"/>
                    </a:lnTo>
                    <a:lnTo>
                      <a:pt x="324" y="337"/>
                    </a:lnTo>
                    <a:lnTo>
                      <a:pt x="324" y="336"/>
                    </a:lnTo>
                    <a:lnTo>
                      <a:pt x="322" y="336"/>
                    </a:lnTo>
                    <a:lnTo>
                      <a:pt x="322" y="334"/>
                    </a:lnTo>
                    <a:lnTo>
                      <a:pt x="322" y="332"/>
                    </a:lnTo>
                    <a:lnTo>
                      <a:pt x="320" y="330"/>
                    </a:lnTo>
                    <a:lnTo>
                      <a:pt x="318" y="328"/>
                    </a:lnTo>
                    <a:lnTo>
                      <a:pt x="318" y="326"/>
                    </a:lnTo>
                    <a:lnTo>
                      <a:pt x="316" y="324"/>
                    </a:lnTo>
                    <a:lnTo>
                      <a:pt x="316" y="322"/>
                    </a:lnTo>
                    <a:lnTo>
                      <a:pt x="315" y="322"/>
                    </a:lnTo>
                    <a:lnTo>
                      <a:pt x="315" y="320"/>
                    </a:lnTo>
                    <a:lnTo>
                      <a:pt x="313" y="318"/>
                    </a:lnTo>
                    <a:lnTo>
                      <a:pt x="311" y="316"/>
                    </a:lnTo>
                    <a:lnTo>
                      <a:pt x="311" y="314"/>
                    </a:lnTo>
                    <a:lnTo>
                      <a:pt x="309" y="312"/>
                    </a:lnTo>
                    <a:lnTo>
                      <a:pt x="307" y="312"/>
                    </a:lnTo>
                    <a:lnTo>
                      <a:pt x="303" y="311"/>
                    </a:lnTo>
                    <a:lnTo>
                      <a:pt x="301" y="311"/>
                    </a:lnTo>
                    <a:lnTo>
                      <a:pt x="299" y="309"/>
                    </a:lnTo>
                    <a:lnTo>
                      <a:pt x="297" y="309"/>
                    </a:lnTo>
                    <a:lnTo>
                      <a:pt x="297" y="307"/>
                    </a:lnTo>
                    <a:lnTo>
                      <a:pt x="297" y="305"/>
                    </a:lnTo>
                    <a:lnTo>
                      <a:pt x="297" y="303"/>
                    </a:lnTo>
                    <a:lnTo>
                      <a:pt x="297" y="301"/>
                    </a:lnTo>
                    <a:lnTo>
                      <a:pt x="299" y="301"/>
                    </a:lnTo>
                    <a:lnTo>
                      <a:pt x="297" y="301"/>
                    </a:lnTo>
                    <a:lnTo>
                      <a:pt x="299" y="301"/>
                    </a:lnTo>
                    <a:lnTo>
                      <a:pt x="297" y="301"/>
                    </a:lnTo>
                    <a:lnTo>
                      <a:pt x="297" y="299"/>
                    </a:lnTo>
                    <a:lnTo>
                      <a:pt x="297" y="297"/>
                    </a:lnTo>
                    <a:lnTo>
                      <a:pt x="295" y="297"/>
                    </a:lnTo>
                    <a:lnTo>
                      <a:pt x="295" y="299"/>
                    </a:lnTo>
                    <a:lnTo>
                      <a:pt x="295" y="297"/>
                    </a:lnTo>
                    <a:lnTo>
                      <a:pt x="295" y="295"/>
                    </a:lnTo>
                    <a:lnTo>
                      <a:pt x="297" y="295"/>
                    </a:lnTo>
                    <a:lnTo>
                      <a:pt x="295" y="295"/>
                    </a:lnTo>
                    <a:lnTo>
                      <a:pt x="295" y="293"/>
                    </a:lnTo>
                    <a:lnTo>
                      <a:pt x="297" y="293"/>
                    </a:lnTo>
                    <a:lnTo>
                      <a:pt x="297" y="291"/>
                    </a:lnTo>
                    <a:lnTo>
                      <a:pt x="295" y="291"/>
                    </a:lnTo>
                    <a:lnTo>
                      <a:pt x="297" y="291"/>
                    </a:lnTo>
                    <a:lnTo>
                      <a:pt x="297" y="289"/>
                    </a:lnTo>
                    <a:lnTo>
                      <a:pt x="295" y="289"/>
                    </a:lnTo>
                    <a:lnTo>
                      <a:pt x="295" y="288"/>
                    </a:lnTo>
                    <a:lnTo>
                      <a:pt x="293" y="288"/>
                    </a:lnTo>
                    <a:lnTo>
                      <a:pt x="293" y="286"/>
                    </a:lnTo>
                    <a:lnTo>
                      <a:pt x="293" y="284"/>
                    </a:lnTo>
                    <a:lnTo>
                      <a:pt x="291" y="284"/>
                    </a:lnTo>
                    <a:lnTo>
                      <a:pt x="290" y="284"/>
                    </a:lnTo>
                    <a:lnTo>
                      <a:pt x="290" y="282"/>
                    </a:lnTo>
                    <a:lnTo>
                      <a:pt x="288" y="282"/>
                    </a:lnTo>
                    <a:lnTo>
                      <a:pt x="288" y="280"/>
                    </a:lnTo>
                    <a:lnTo>
                      <a:pt x="290" y="280"/>
                    </a:lnTo>
                    <a:lnTo>
                      <a:pt x="290" y="278"/>
                    </a:lnTo>
                    <a:lnTo>
                      <a:pt x="288" y="278"/>
                    </a:lnTo>
                    <a:lnTo>
                      <a:pt x="286" y="278"/>
                    </a:lnTo>
                    <a:lnTo>
                      <a:pt x="286" y="276"/>
                    </a:lnTo>
                    <a:lnTo>
                      <a:pt x="286" y="278"/>
                    </a:lnTo>
                    <a:lnTo>
                      <a:pt x="286" y="276"/>
                    </a:lnTo>
                    <a:lnTo>
                      <a:pt x="288" y="276"/>
                    </a:lnTo>
                    <a:lnTo>
                      <a:pt x="286" y="276"/>
                    </a:lnTo>
                    <a:lnTo>
                      <a:pt x="288" y="276"/>
                    </a:lnTo>
                    <a:lnTo>
                      <a:pt x="286" y="276"/>
                    </a:lnTo>
                    <a:lnTo>
                      <a:pt x="284" y="274"/>
                    </a:lnTo>
                    <a:lnTo>
                      <a:pt x="284" y="272"/>
                    </a:lnTo>
                    <a:lnTo>
                      <a:pt x="286" y="272"/>
                    </a:lnTo>
                    <a:lnTo>
                      <a:pt x="284" y="272"/>
                    </a:lnTo>
                    <a:lnTo>
                      <a:pt x="284" y="270"/>
                    </a:lnTo>
                    <a:lnTo>
                      <a:pt x="282" y="270"/>
                    </a:lnTo>
                    <a:lnTo>
                      <a:pt x="284" y="268"/>
                    </a:lnTo>
                    <a:lnTo>
                      <a:pt x="282" y="268"/>
                    </a:lnTo>
                    <a:lnTo>
                      <a:pt x="282" y="270"/>
                    </a:lnTo>
                    <a:lnTo>
                      <a:pt x="282" y="268"/>
                    </a:lnTo>
                    <a:lnTo>
                      <a:pt x="280" y="268"/>
                    </a:lnTo>
                    <a:lnTo>
                      <a:pt x="278" y="268"/>
                    </a:lnTo>
                    <a:lnTo>
                      <a:pt x="278" y="266"/>
                    </a:lnTo>
                    <a:lnTo>
                      <a:pt x="276" y="266"/>
                    </a:lnTo>
                    <a:lnTo>
                      <a:pt x="276" y="264"/>
                    </a:lnTo>
                    <a:lnTo>
                      <a:pt x="278" y="264"/>
                    </a:lnTo>
                    <a:lnTo>
                      <a:pt x="278" y="263"/>
                    </a:lnTo>
                    <a:lnTo>
                      <a:pt x="276" y="263"/>
                    </a:lnTo>
                    <a:lnTo>
                      <a:pt x="276" y="261"/>
                    </a:lnTo>
                    <a:lnTo>
                      <a:pt x="274" y="261"/>
                    </a:lnTo>
                    <a:lnTo>
                      <a:pt x="274" y="257"/>
                    </a:lnTo>
                    <a:lnTo>
                      <a:pt x="272" y="257"/>
                    </a:lnTo>
                    <a:lnTo>
                      <a:pt x="272" y="255"/>
                    </a:lnTo>
                    <a:lnTo>
                      <a:pt x="274" y="255"/>
                    </a:lnTo>
                    <a:lnTo>
                      <a:pt x="274" y="253"/>
                    </a:lnTo>
                    <a:lnTo>
                      <a:pt x="276" y="251"/>
                    </a:lnTo>
                    <a:lnTo>
                      <a:pt x="276" y="249"/>
                    </a:lnTo>
                    <a:lnTo>
                      <a:pt x="278" y="249"/>
                    </a:lnTo>
                    <a:lnTo>
                      <a:pt x="276" y="249"/>
                    </a:lnTo>
                    <a:lnTo>
                      <a:pt x="276" y="247"/>
                    </a:lnTo>
                    <a:lnTo>
                      <a:pt x="276" y="245"/>
                    </a:lnTo>
                    <a:lnTo>
                      <a:pt x="278" y="245"/>
                    </a:lnTo>
                    <a:lnTo>
                      <a:pt x="278" y="243"/>
                    </a:lnTo>
                    <a:lnTo>
                      <a:pt x="280" y="243"/>
                    </a:lnTo>
                    <a:lnTo>
                      <a:pt x="280" y="245"/>
                    </a:lnTo>
                    <a:lnTo>
                      <a:pt x="280" y="243"/>
                    </a:lnTo>
                    <a:lnTo>
                      <a:pt x="280" y="241"/>
                    </a:lnTo>
                    <a:lnTo>
                      <a:pt x="278" y="240"/>
                    </a:lnTo>
                    <a:lnTo>
                      <a:pt x="278" y="238"/>
                    </a:lnTo>
                    <a:lnTo>
                      <a:pt x="276" y="240"/>
                    </a:lnTo>
                    <a:lnTo>
                      <a:pt x="274" y="241"/>
                    </a:lnTo>
                    <a:lnTo>
                      <a:pt x="270" y="241"/>
                    </a:lnTo>
                    <a:lnTo>
                      <a:pt x="268" y="241"/>
                    </a:lnTo>
                    <a:lnTo>
                      <a:pt x="267" y="240"/>
                    </a:lnTo>
                    <a:lnTo>
                      <a:pt x="265" y="241"/>
                    </a:lnTo>
                    <a:lnTo>
                      <a:pt x="259" y="238"/>
                    </a:lnTo>
                    <a:lnTo>
                      <a:pt x="259" y="236"/>
                    </a:lnTo>
                    <a:lnTo>
                      <a:pt x="259" y="234"/>
                    </a:lnTo>
                    <a:lnTo>
                      <a:pt x="259" y="232"/>
                    </a:lnTo>
                    <a:lnTo>
                      <a:pt x="261" y="230"/>
                    </a:lnTo>
                    <a:lnTo>
                      <a:pt x="259" y="230"/>
                    </a:lnTo>
                    <a:lnTo>
                      <a:pt x="251" y="228"/>
                    </a:lnTo>
                    <a:lnTo>
                      <a:pt x="251" y="230"/>
                    </a:lnTo>
                    <a:lnTo>
                      <a:pt x="249" y="230"/>
                    </a:lnTo>
                    <a:lnTo>
                      <a:pt x="249" y="232"/>
                    </a:lnTo>
                    <a:lnTo>
                      <a:pt x="249" y="234"/>
                    </a:lnTo>
                    <a:lnTo>
                      <a:pt x="249" y="236"/>
                    </a:lnTo>
                    <a:lnTo>
                      <a:pt x="247" y="236"/>
                    </a:lnTo>
                    <a:lnTo>
                      <a:pt x="247" y="234"/>
                    </a:lnTo>
                    <a:lnTo>
                      <a:pt x="243" y="236"/>
                    </a:lnTo>
                    <a:lnTo>
                      <a:pt x="243" y="238"/>
                    </a:lnTo>
                    <a:lnTo>
                      <a:pt x="242" y="234"/>
                    </a:lnTo>
                    <a:lnTo>
                      <a:pt x="243" y="234"/>
                    </a:lnTo>
                    <a:lnTo>
                      <a:pt x="245" y="234"/>
                    </a:lnTo>
                    <a:lnTo>
                      <a:pt x="243" y="232"/>
                    </a:lnTo>
                    <a:lnTo>
                      <a:pt x="245" y="232"/>
                    </a:lnTo>
                    <a:lnTo>
                      <a:pt x="245" y="230"/>
                    </a:lnTo>
                    <a:lnTo>
                      <a:pt x="242" y="230"/>
                    </a:lnTo>
                    <a:lnTo>
                      <a:pt x="242" y="228"/>
                    </a:lnTo>
                    <a:lnTo>
                      <a:pt x="242" y="224"/>
                    </a:lnTo>
                    <a:lnTo>
                      <a:pt x="240" y="220"/>
                    </a:lnTo>
                    <a:lnTo>
                      <a:pt x="238" y="218"/>
                    </a:lnTo>
                    <a:lnTo>
                      <a:pt x="236" y="220"/>
                    </a:lnTo>
                    <a:lnTo>
                      <a:pt x="234" y="216"/>
                    </a:lnTo>
                    <a:lnTo>
                      <a:pt x="232" y="216"/>
                    </a:lnTo>
                    <a:lnTo>
                      <a:pt x="232" y="213"/>
                    </a:lnTo>
                    <a:lnTo>
                      <a:pt x="232" y="211"/>
                    </a:lnTo>
                    <a:lnTo>
                      <a:pt x="232" y="207"/>
                    </a:lnTo>
                    <a:lnTo>
                      <a:pt x="234" y="205"/>
                    </a:lnTo>
                    <a:lnTo>
                      <a:pt x="236" y="195"/>
                    </a:lnTo>
                    <a:lnTo>
                      <a:pt x="236" y="192"/>
                    </a:lnTo>
                    <a:lnTo>
                      <a:pt x="236" y="190"/>
                    </a:lnTo>
                    <a:lnTo>
                      <a:pt x="234" y="190"/>
                    </a:lnTo>
                    <a:lnTo>
                      <a:pt x="234" y="192"/>
                    </a:lnTo>
                    <a:lnTo>
                      <a:pt x="230" y="190"/>
                    </a:lnTo>
                    <a:lnTo>
                      <a:pt x="230" y="188"/>
                    </a:lnTo>
                    <a:lnTo>
                      <a:pt x="232" y="184"/>
                    </a:lnTo>
                    <a:lnTo>
                      <a:pt x="230" y="184"/>
                    </a:lnTo>
                    <a:lnTo>
                      <a:pt x="228" y="184"/>
                    </a:lnTo>
                    <a:lnTo>
                      <a:pt x="226" y="182"/>
                    </a:lnTo>
                    <a:lnTo>
                      <a:pt x="230" y="178"/>
                    </a:lnTo>
                    <a:lnTo>
                      <a:pt x="226" y="178"/>
                    </a:lnTo>
                    <a:lnTo>
                      <a:pt x="222" y="178"/>
                    </a:lnTo>
                    <a:lnTo>
                      <a:pt x="215" y="178"/>
                    </a:lnTo>
                    <a:lnTo>
                      <a:pt x="215" y="172"/>
                    </a:lnTo>
                    <a:lnTo>
                      <a:pt x="224" y="170"/>
                    </a:lnTo>
                    <a:lnTo>
                      <a:pt x="226" y="170"/>
                    </a:lnTo>
                    <a:lnTo>
                      <a:pt x="228" y="170"/>
                    </a:lnTo>
                    <a:lnTo>
                      <a:pt x="228" y="168"/>
                    </a:lnTo>
                    <a:lnTo>
                      <a:pt x="228" y="167"/>
                    </a:lnTo>
                    <a:lnTo>
                      <a:pt x="226" y="167"/>
                    </a:lnTo>
                    <a:lnTo>
                      <a:pt x="224" y="165"/>
                    </a:lnTo>
                    <a:lnTo>
                      <a:pt x="222" y="163"/>
                    </a:lnTo>
                    <a:lnTo>
                      <a:pt x="220" y="163"/>
                    </a:lnTo>
                    <a:lnTo>
                      <a:pt x="220" y="161"/>
                    </a:lnTo>
                    <a:lnTo>
                      <a:pt x="224" y="155"/>
                    </a:lnTo>
                    <a:lnTo>
                      <a:pt x="226" y="155"/>
                    </a:lnTo>
                    <a:lnTo>
                      <a:pt x="226" y="153"/>
                    </a:lnTo>
                    <a:lnTo>
                      <a:pt x="228" y="153"/>
                    </a:lnTo>
                    <a:lnTo>
                      <a:pt x="230" y="153"/>
                    </a:lnTo>
                    <a:lnTo>
                      <a:pt x="230" y="151"/>
                    </a:lnTo>
                    <a:lnTo>
                      <a:pt x="232" y="149"/>
                    </a:lnTo>
                    <a:lnTo>
                      <a:pt x="234" y="147"/>
                    </a:lnTo>
                    <a:lnTo>
                      <a:pt x="234" y="145"/>
                    </a:lnTo>
                    <a:lnTo>
                      <a:pt x="232" y="142"/>
                    </a:lnTo>
                    <a:lnTo>
                      <a:pt x="230" y="140"/>
                    </a:lnTo>
                    <a:lnTo>
                      <a:pt x="230" y="138"/>
                    </a:lnTo>
                    <a:lnTo>
                      <a:pt x="230" y="136"/>
                    </a:lnTo>
                    <a:lnTo>
                      <a:pt x="228" y="134"/>
                    </a:lnTo>
                    <a:lnTo>
                      <a:pt x="226" y="136"/>
                    </a:lnTo>
                    <a:lnTo>
                      <a:pt x="224" y="136"/>
                    </a:lnTo>
                    <a:lnTo>
                      <a:pt x="224" y="132"/>
                    </a:lnTo>
                    <a:lnTo>
                      <a:pt x="224" y="130"/>
                    </a:lnTo>
                    <a:lnTo>
                      <a:pt x="224" y="126"/>
                    </a:lnTo>
                    <a:lnTo>
                      <a:pt x="220" y="128"/>
                    </a:lnTo>
                    <a:lnTo>
                      <a:pt x="219" y="128"/>
                    </a:lnTo>
                    <a:lnTo>
                      <a:pt x="219" y="126"/>
                    </a:lnTo>
                    <a:lnTo>
                      <a:pt x="220" y="122"/>
                    </a:lnTo>
                    <a:lnTo>
                      <a:pt x="228" y="122"/>
                    </a:lnTo>
                    <a:lnTo>
                      <a:pt x="228" y="126"/>
                    </a:lnTo>
                    <a:lnTo>
                      <a:pt x="230" y="126"/>
                    </a:lnTo>
                    <a:lnTo>
                      <a:pt x="232" y="124"/>
                    </a:lnTo>
                    <a:lnTo>
                      <a:pt x="234" y="120"/>
                    </a:lnTo>
                    <a:lnTo>
                      <a:pt x="236" y="119"/>
                    </a:lnTo>
                    <a:lnTo>
                      <a:pt x="238" y="120"/>
                    </a:lnTo>
                    <a:lnTo>
                      <a:pt x="240" y="120"/>
                    </a:lnTo>
                    <a:lnTo>
                      <a:pt x="242" y="120"/>
                    </a:lnTo>
                    <a:lnTo>
                      <a:pt x="242" y="119"/>
                    </a:lnTo>
                    <a:lnTo>
                      <a:pt x="243" y="117"/>
                    </a:lnTo>
                    <a:lnTo>
                      <a:pt x="243" y="115"/>
                    </a:lnTo>
                    <a:lnTo>
                      <a:pt x="245" y="115"/>
                    </a:lnTo>
                    <a:lnTo>
                      <a:pt x="245" y="113"/>
                    </a:lnTo>
                    <a:lnTo>
                      <a:pt x="247" y="113"/>
                    </a:lnTo>
                    <a:lnTo>
                      <a:pt x="245" y="111"/>
                    </a:lnTo>
                    <a:lnTo>
                      <a:pt x="247" y="111"/>
                    </a:lnTo>
                    <a:lnTo>
                      <a:pt x="247" y="109"/>
                    </a:lnTo>
                    <a:lnTo>
                      <a:pt x="249" y="109"/>
                    </a:lnTo>
                    <a:lnTo>
                      <a:pt x="249" y="107"/>
                    </a:lnTo>
                    <a:lnTo>
                      <a:pt x="251" y="107"/>
                    </a:lnTo>
                    <a:lnTo>
                      <a:pt x="251" y="105"/>
                    </a:lnTo>
                    <a:lnTo>
                      <a:pt x="251" y="103"/>
                    </a:lnTo>
                    <a:lnTo>
                      <a:pt x="253" y="103"/>
                    </a:lnTo>
                    <a:lnTo>
                      <a:pt x="253" y="101"/>
                    </a:lnTo>
                    <a:lnTo>
                      <a:pt x="253" y="103"/>
                    </a:lnTo>
                    <a:lnTo>
                      <a:pt x="253" y="101"/>
                    </a:lnTo>
                    <a:lnTo>
                      <a:pt x="255" y="101"/>
                    </a:lnTo>
                    <a:lnTo>
                      <a:pt x="255" y="99"/>
                    </a:lnTo>
                    <a:lnTo>
                      <a:pt x="255" y="97"/>
                    </a:lnTo>
                    <a:lnTo>
                      <a:pt x="255" y="96"/>
                    </a:lnTo>
                    <a:lnTo>
                      <a:pt x="257" y="96"/>
                    </a:lnTo>
                    <a:lnTo>
                      <a:pt x="257" y="94"/>
                    </a:lnTo>
                    <a:lnTo>
                      <a:pt x="259" y="94"/>
                    </a:lnTo>
                    <a:lnTo>
                      <a:pt x="259" y="92"/>
                    </a:lnTo>
                    <a:lnTo>
                      <a:pt x="261" y="92"/>
                    </a:lnTo>
                    <a:lnTo>
                      <a:pt x="261" y="90"/>
                    </a:lnTo>
                    <a:lnTo>
                      <a:pt x="261" y="88"/>
                    </a:lnTo>
                    <a:lnTo>
                      <a:pt x="261" y="86"/>
                    </a:lnTo>
                    <a:lnTo>
                      <a:pt x="263" y="86"/>
                    </a:lnTo>
                    <a:lnTo>
                      <a:pt x="263" y="84"/>
                    </a:lnTo>
                    <a:lnTo>
                      <a:pt x="265" y="84"/>
                    </a:lnTo>
                    <a:lnTo>
                      <a:pt x="265" y="82"/>
                    </a:lnTo>
                    <a:lnTo>
                      <a:pt x="267" y="80"/>
                    </a:lnTo>
                    <a:lnTo>
                      <a:pt x="268" y="76"/>
                    </a:lnTo>
                    <a:lnTo>
                      <a:pt x="267" y="74"/>
                    </a:lnTo>
                    <a:lnTo>
                      <a:pt x="267" y="72"/>
                    </a:lnTo>
                    <a:lnTo>
                      <a:pt x="267" y="71"/>
                    </a:lnTo>
                    <a:lnTo>
                      <a:pt x="265" y="71"/>
                    </a:lnTo>
                    <a:lnTo>
                      <a:pt x="263" y="72"/>
                    </a:lnTo>
                    <a:lnTo>
                      <a:pt x="261" y="72"/>
                    </a:lnTo>
                    <a:lnTo>
                      <a:pt x="261" y="71"/>
                    </a:lnTo>
                    <a:lnTo>
                      <a:pt x="261" y="69"/>
                    </a:lnTo>
                    <a:lnTo>
                      <a:pt x="263" y="67"/>
                    </a:lnTo>
                    <a:lnTo>
                      <a:pt x="263" y="65"/>
                    </a:lnTo>
                    <a:lnTo>
                      <a:pt x="265" y="65"/>
                    </a:lnTo>
                    <a:lnTo>
                      <a:pt x="265" y="63"/>
                    </a:lnTo>
                    <a:lnTo>
                      <a:pt x="263" y="61"/>
                    </a:lnTo>
                    <a:lnTo>
                      <a:pt x="261" y="61"/>
                    </a:lnTo>
                    <a:lnTo>
                      <a:pt x="263" y="59"/>
                    </a:lnTo>
                    <a:lnTo>
                      <a:pt x="259" y="55"/>
                    </a:lnTo>
                    <a:lnTo>
                      <a:pt x="259" y="53"/>
                    </a:lnTo>
                    <a:lnTo>
                      <a:pt x="261" y="53"/>
                    </a:lnTo>
                    <a:lnTo>
                      <a:pt x="261" y="51"/>
                    </a:lnTo>
                    <a:lnTo>
                      <a:pt x="263" y="51"/>
                    </a:lnTo>
                    <a:lnTo>
                      <a:pt x="263" y="49"/>
                    </a:lnTo>
                    <a:lnTo>
                      <a:pt x="265" y="49"/>
                    </a:lnTo>
                    <a:lnTo>
                      <a:pt x="265" y="48"/>
                    </a:lnTo>
                    <a:lnTo>
                      <a:pt x="265" y="46"/>
                    </a:lnTo>
                    <a:lnTo>
                      <a:pt x="265" y="44"/>
                    </a:lnTo>
                    <a:lnTo>
                      <a:pt x="263" y="44"/>
                    </a:lnTo>
                    <a:lnTo>
                      <a:pt x="263" y="42"/>
                    </a:lnTo>
                    <a:lnTo>
                      <a:pt x="263" y="40"/>
                    </a:lnTo>
                    <a:lnTo>
                      <a:pt x="265" y="40"/>
                    </a:lnTo>
                    <a:lnTo>
                      <a:pt x="265" y="38"/>
                    </a:lnTo>
                    <a:lnTo>
                      <a:pt x="263" y="38"/>
                    </a:lnTo>
                    <a:lnTo>
                      <a:pt x="265" y="38"/>
                    </a:lnTo>
                    <a:lnTo>
                      <a:pt x="265" y="36"/>
                    </a:lnTo>
                    <a:lnTo>
                      <a:pt x="267" y="34"/>
                    </a:lnTo>
                    <a:lnTo>
                      <a:pt x="268" y="32"/>
                    </a:lnTo>
                    <a:lnTo>
                      <a:pt x="268" y="30"/>
                    </a:lnTo>
                    <a:lnTo>
                      <a:pt x="270" y="30"/>
                    </a:lnTo>
                    <a:lnTo>
                      <a:pt x="270" y="28"/>
                    </a:lnTo>
                    <a:lnTo>
                      <a:pt x="272" y="28"/>
                    </a:lnTo>
                    <a:lnTo>
                      <a:pt x="274" y="28"/>
                    </a:lnTo>
                    <a:lnTo>
                      <a:pt x="274" y="26"/>
                    </a:lnTo>
                    <a:lnTo>
                      <a:pt x="276" y="26"/>
                    </a:lnTo>
                    <a:lnTo>
                      <a:pt x="278" y="26"/>
                    </a:lnTo>
                    <a:lnTo>
                      <a:pt x="280" y="26"/>
                    </a:lnTo>
                    <a:lnTo>
                      <a:pt x="286" y="21"/>
                    </a:lnTo>
                    <a:lnTo>
                      <a:pt x="284" y="19"/>
                    </a:lnTo>
                    <a:lnTo>
                      <a:pt x="280" y="17"/>
                    </a:lnTo>
                    <a:lnTo>
                      <a:pt x="278" y="17"/>
                    </a:lnTo>
                    <a:lnTo>
                      <a:pt x="278" y="15"/>
                    </a:lnTo>
                    <a:lnTo>
                      <a:pt x="276" y="15"/>
                    </a:lnTo>
                    <a:lnTo>
                      <a:pt x="274" y="15"/>
                    </a:lnTo>
                    <a:lnTo>
                      <a:pt x="272" y="15"/>
                    </a:lnTo>
                    <a:lnTo>
                      <a:pt x="270" y="15"/>
                    </a:lnTo>
                    <a:lnTo>
                      <a:pt x="268" y="15"/>
                    </a:lnTo>
                    <a:lnTo>
                      <a:pt x="267" y="15"/>
                    </a:lnTo>
                    <a:lnTo>
                      <a:pt x="267" y="13"/>
                    </a:lnTo>
                    <a:lnTo>
                      <a:pt x="265" y="13"/>
                    </a:lnTo>
                    <a:lnTo>
                      <a:pt x="265" y="11"/>
                    </a:lnTo>
                    <a:lnTo>
                      <a:pt x="263" y="11"/>
                    </a:lnTo>
                    <a:lnTo>
                      <a:pt x="261" y="9"/>
                    </a:lnTo>
                    <a:lnTo>
                      <a:pt x="261" y="7"/>
                    </a:lnTo>
                    <a:lnTo>
                      <a:pt x="259" y="7"/>
                    </a:lnTo>
                    <a:lnTo>
                      <a:pt x="257" y="5"/>
                    </a:lnTo>
                    <a:lnTo>
                      <a:pt x="259" y="5"/>
                    </a:lnTo>
                    <a:lnTo>
                      <a:pt x="257" y="1"/>
                    </a:lnTo>
                    <a:lnTo>
                      <a:pt x="261" y="3"/>
                    </a:lnTo>
                    <a:lnTo>
                      <a:pt x="265" y="3"/>
                    </a:lnTo>
                    <a:lnTo>
                      <a:pt x="267" y="5"/>
                    </a:lnTo>
                    <a:lnTo>
                      <a:pt x="268" y="5"/>
                    </a:lnTo>
                    <a:lnTo>
                      <a:pt x="274" y="7"/>
                    </a:lnTo>
                    <a:lnTo>
                      <a:pt x="276" y="7"/>
                    </a:lnTo>
                    <a:lnTo>
                      <a:pt x="278" y="9"/>
                    </a:lnTo>
                    <a:lnTo>
                      <a:pt x="282" y="9"/>
                    </a:lnTo>
                    <a:lnTo>
                      <a:pt x="284" y="11"/>
                    </a:lnTo>
                    <a:lnTo>
                      <a:pt x="286" y="11"/>
                    </a:lnTo>
                    <a:lnTo>
                      <a:pt x="295" y="11"/>
                    </a:lnTo>
                    <a:lnTo>
                      <a:pt x="299" y="11"/>
                    </a:lnTo>
                    <a:lnTo>
                      <a:pt x="301" y="11"/>
                    </a:lnTo>
                    <a:lnTo>
                      <a:pt x="303" y="11"/>
                    </a:lnTo>
                    <a:lnTo>
                      <a:pt x="305" y="11"/>
                    </a:lnTo>
                    <a:lnTo>
                      <a:pt x="305" y="13"/>
                    </a:lnTo>
                    <a:lnTo>
                      <a:pt x="307" y="13"/>
                    </a:lnTo>
                    <a:lnTo>
                      <a:pt x="307" y="11"/>
                    </a:lnTo>
                    <a:lnTo>
                      <a:pt x="305" y="9"/>
                    </a:lnTo>
                    <a:lnTo>
                      <a:pt x="305" y="5"/>
                    </a:lnTo>
                    <a:lnTo>
                      <a:pt x="305" y="3"/>
                    </a:lnTo>
                    <a:lnTo>
                      <a:pt x="305" y="0"/>
                    </a:lnTo>
                    <a:lnTo>
                      <a:pt x="309" y="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0" name="Freeform 186">
                <a:extLst>
                  <a:ext uri="{FF2B5EF4-FFF2-40B4-BE49-F238E27FC236}">
                    <a16:creationId xmlns:a16="http://schemas.microsoft.com/office/drawing/2014/main" id="{5D8A428A-633A-49CC-8FC9-AB7790DBEF73}"/>
                  </a:ext>
                </a:extLst>
              </p:cNvPr>
              <p:cNvSpPr>
                <a:spLocks/>
              </p:cNvSpPr>
              <p:nvPr/>
            </p:nvSpPr>
            <p:spPr bwMode="auto">
              <a:xfrm>
                <a:off x="7110136" y="1512160"/>
                <a:ext cx="1059587" cy="1438012"/>
              </a:xfrm>
              <a:custGeom>
                <a:avLst/>
                <a:gdLst>
                  <a:gd name="T0" fmla="*/ 303 w 714"/>
                  <a:gd name="T1" fmla="*/ 63 h 969"/>
                  <a:gd name="T2" fmla="*/ 334 w 714"/>
                  <a:gd name="T3" fmla="*/ 125 h 969"/>
                  <a:gd name="T4" fmla="*/ 340 w 714"/>
                  <a:gd name="T5" fmla="*/ 169 h 969"/>
                  <a:gd name="T6" fmla="*/ 371 w 714"/>
                  <a:gd name="T7" fmla="*/ 217 h 969"/>
                  <a:gd name="T8" fmla="*/ 409 w 714"/>
                  <a:gd name="T9" fmla="*/ 244 h 969"/>
                  <a:gd name="T10" fmla="*/ 401 w 714"/>
                  <a:gd name="T11" fmla="*/ 290 h 969"/>
                  <a:gd name="T12" fmla="*/ 363 w 714"/>
                  <a:gd name="T13" fmla="*/ 292 h 969"/>
                  <a:gd name="T14" fmla="*/ 321 w 714"/>
                  <a:gd name="T15" fmla="*/ 301 h 969"/>
                  <a:gd name="T16" fmla="*/ 351 w 714"/>
                  <a:gd name="T17" fmla="*/ 340 h 969"/>
                  <a:gd name="T18" fmla="*/ 369 w 714"/>
                  <a:gd name="T19" fmla="*/ 380 h 969"/>
                  <a:gd name="T20" fmla="*/ 351 w 714"/>
                  <a:gd name="T21" fmla="*/ 418 h 969"/>
                  <a:gd name="T22" fmla="*/ 365 w 714"/>
                  <a:gd name="T23" fmla="*/ 447 h 969"/>
                  <a:gd name="T24" fmla="*/ 351 w 714"/>
                  <a:gd name="T25" fmla="*/ 478 h 969"/>
                  <a:gd name="T26" fmla="*/ 403 w 714"/>
                  <a:gd name="T27" fmla="*/ 482 h 969"/>
                  <a:gd name="T28" fmla="*/ 453 w 714"/>
                  <a:gd name="T29" fmla="*/ 489 h 969"/>
                  <a:gd name="T30" fmla="*/ 494 w 714"/>
                  <a:gd name="T31" fmla="*/ 522 h 969"/>
                  <a:gd name="T32" fmla="*/ 538 w 714"/>
                  <a:gd name="T33" fmla="*/ 501 h 969"/>
                  <a:gd name="T34" fmla="*/ 584 w 714"/>
                  <a:gd name="T35" fmla="*/ 507 h 969"/>
                  <a:gd name="T36" fmla="*/ 590 w 714"/>
                  <a:gd name="T37" fmla="*/ 555 h 969"/>
                  <a:gd name="T38" fmla="*/ 611 w 714"/>
                  <a:gd name="T39" fmla="*/ 578 h 969"/>
                  <a:gd name="T40" fmla="*/ 651 w 714"/>
                  <a:gd name="T41" fmla="*/ 587 h 969"/>
                  <a:gd name="T42" fmla="*/ 634 w 714"/>
                  <a:gd name="T43" fmla="*/ 618 h 969"/>
                  <a:gd name="T44" fmla="*/ 645 w 714"/>
                  <a:gd name="T45" fmla="*/ 662 h 969"/>
                  <a:gd name="T46" fmla="*/ 663 w 714"/>
                  <a:gd name="T47" fmla="*/ 714 h 969"/>
                  <a:gd name="T48" fmla="*/ 641 w 714"/>
                  <a:gd name="T49" fmla="*/ 760 h 969"/>
                  <a:gd name="T50" fmla="*/ 659 w 714"/>
                  <a:gd name="T51" fmla="*/ 820 h 969"/>
                  <a:gd name="T52" fmla="*/ 689 w 714"/>
                  <a:gd name="T53" fmla="*/ 866 h 969"/>
                  <a:gd name="T54" fmla="*/ 689 w 714"/>
                  <a:gd name="T55" fmla="*/ 889 h 969"/>
                  <a:gd name="T56" fmla="*/ 630 w 714"/>
                  <a:gd name="T57" fmla="*/ 898 h 969"/>
                  <a:gd name="T58" fmla="*/ 568 w 714"/>
                  <a:gd name="T59" fmla="*/ 921 h 969"/>
                  <a:gd name="T60" fmla="*/ 513 w 714"/>
                  <a:gd name="T61" fmla="*/ 954 h 969"/>
                  <a:gd name="T62" fmla="*/ 440 w 714"/>
                  <a:gd name="T63" fmla="*/ 968 h 969"/>
                  <a:gd name="T64" fmla="*/ 413 w 714"/>
                  <a:gd name="T65" fmla="*/ 960 h 969"/>
                  <a:gd name="T66" fmla="*/ 396 w 714"/>
                  <a:gd name="T67" fmla="*/ 908 h 969"/>
                  <a:gd name="T68" fmla="*/ 359 w 714"/>
                  <a:gd name="T69" fmla="*/ 850 h 969"/>
                  <a:gd name="T70" fmla="*/ 302 w 714"/>
                  <a:gd name="T71" fmla="*/ 789 h 969"/>
                  <a:gd name="T72" fmla="*/ 261 w 714"/>
                  <a:gd name="T73" fmla="*/ 779 h 969"/>
                  <a:gd name="T74" fmla="*/ 206 w 714"/>
                  <a:gd name="T75" fmla="*/ 799 h 969"/>
                  <a:gd name="T76" fmla="*/ 129 w 714"/>
                  <a:gd name="T77" fmla="*/ 785 h 969"/>
                  <a:gd name="T78" fmla="*/ 67 w 714"/>
                  <a:gd name="T79" fmla="*/ 758 h 969"/>
                  <a:gd name="T80" fmla="*/ 15 w 714"/>
                  <a:gd name="T81" fmla="*/ 768 h 969"/>
                  <a:gd name="T82" fmla="*/ 35 w 714"/>
                  <a:gd name="T83" fmla="*/ 712 h 969"/>
                  <a:gd name="T84" fmla="*/ 67 w 714"/>
                  <a:gd name="T85" fmla="*/ 681 h 969"/>
                  <a:gd name="T86" fmla="*/ 54 w 714"/>
                  <a:gd name="T87" fmla="*/ 622 h 969"/>
                  <a:gd name="T88" fmla="*/ 44 w 714"/>
                  <a:gd name="T89" fmla="*/ 566 h 969"/>
                  <a:gd name="T90" fmla="*/ 33 w 714"/>
                  <a:gd name="T91" fmla="*/ 536 h 969"/>
                  <a:gd name="T92" fmla="*/ 31 w 714"/>
                  <a:gd name="T93" fmla="*/ 476 h 969"/>
                  <a:gd name="T94" fmla="*/ 42 w 714"/>
                  <a:gd name="T95" fmla="*/ 434 h 969"/>
                  <a:gd name="T96" fmla="*/ 38 w 714"/>
                  <a:gd name="T97" fmla="*/ 403 h 969"/>
                  <a:gd name="T98" fmla="*/ 62 w 714"/>
                  <a:gd name="T99" fmla="*/ 390 h 969"/>
                  <a:gd name="T100" fmla="*/ 75 w 714"/>
                  <a:gd name="T101" fmla="*/ 326 h 969"/>
                  <a:gd name="T102" fmla="*/ 75 w 714"/>
                  <a:gd name="T103" fmla="*/ 280 h 969"/>
                  <a:gd name="T104" fmla="*/ 65 w 714"/>
                  <a:gd name="T105" fmla="*/ 238 h 969"/>
                  <a:gd name="T106" fmla="*/ 88 w 714"/>
                  <a:gd name="T107" fmla="*/ 196 h 969"/>
                  <a:gd name="T108" fmla="*/ 119 w 714"/>
                  <a:gd name="T109" fmla="*/ 182 h 969"/>
                  <a:gd name="T110" fmla="*/ 136 w 714"/>
                  <a:gd name="T111" fmla="*/ 157 h 969"/>
                  <a:gd name="T112" fmla="*/ 159 w 714"/>
                  <a:gd name="T113" fmla="*/ 140 h 969"/>
                  <a:gd name="T114" fmla="*/ 138 w 714"/>
                  <a:gd name="T115" fmla="*/ 90 h 969"/>
                  <a:gd name="T116" fmla="*/ 138 w 714"/>
                  <a:gd name="T117" fmla="*/ 59 h 969"/>
                  <a:gd name="T118" fmla="*/ 161 w 714"/>
                  <a:gd name="T119" fmla="*/ 25 h 969"/>
                  <a:gd name="T120" fmla="*/ 184 w 714"/>
                  <a:gd name="T121" fmla="*/ 15 h 969"/>
                  <a:gd name="T122" fmla="*/ 232 w 714"/>
                  <a:gd name="T123" fmla="*/ 11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4" h="969">
                    <a:moveTo>
                      <a:pt x="267" y="6"/>
                    </a:moveTo>
                    <a:lnTo>
                      <a:pt x="269" y="6"/>
                    </a:lnTo>
                    <a:lnTo>
                      <a:pt x="269" y="8"/>
                    </a:lnTo>
                    <a:lnTo>
                      <a:pt x="271" y="8"/>
                    </a:lnTo>
                    <a:lnTo>
                      <a:pt x="273" y="8"/>
                    </a:lnTo>
                    <a:lnTo>
                      <a:pt x="275" y="8"/>
                    </a:lnTo>
                    <a:lnTo>
                      <a:pt x="275" y="10"/>
                    </a:lnTo>
                    <a:lnTo>
                      <a:pt x="275" y="11"/>
                    </a:lnTo>
                    <a:lnTo>
                      <a:pt x="275" y="13"/>
                    </a:lnTo>
                    <a:lnTo>
                      <a:pt x="275" y="15"/>
                    </a:lnTo>
                    <a:lnTo>
                      <a:pt x="277" y="15"/>
                    </a:lnTo>
                    <a:lnTo>
                      <a:pt x="277" y="17"/>
                    </a:lnTo>
                    <a:lnTo>
                      <a:pt x="279" y="19"/>
                    </a:lnTo>
                    <a:lnTo>
                      <a:pt x="279" y="21"/>
                    </a:lnTo>
                    <a:lnTo>
                      <a:pt x="275" y="25"/>
                    </a:lnTo>
                    <a:lnTo>
                      <a:pt x="282" y="33"/>
                    </a:lnTo>
                    <a:lnTo>
                      <a:pt x="284" y="31"/>
                    </a:lnTo>
                    <a:lnTo>
                      <a:pt x="288" y="33"/>
                    </a:lnTo>
                    <a:lnTo>
                      <a:pt x="290" y="34"/>
                    </a:lnTo>
                    <a:lnTo>
                      <a:pt x="292" y="33"/>
                    </a:lnTo>
                    <a:lnTo>
                      <a:pt x="294" y="33"/>
                    </a:lnTo>
                    <a:lnTo>
                      <a:pt x="296" y="36"/>
                    </a:lnTo>
                    <a:lnTo>
                      <a:pt x="296" y="38"/>
                    </a:lnTo>
                    <a:lnTo>
                      <a:pt x="298" y="40"/>
                    </a:lnTo>
                    <a:lnTo>
                      <a:pt x="300" y="42"/>
                    </a:lnTo>
                    <a:lnTo>
                      <a:pt x="300" y="44"/>
                    </a:lnTo>
                    <a:lnTo>
                      <a:pt x="300" y="46"/>
                    </a:lnTo>
                    <a:lnTo>
                      <a:pt x="300" y="48"/>
                    </a:lnTo>
                    <a:lnTo>
                      <a:pt x="300" y="50"/>
                    </a:lnTo>
                    <a:lnTo>
                      <a:pt x="300" y="54"/>
                    </a:lnTo>
                    <a:lnTo>
                      <a:pt x="298" y="54"/>
                    </a:lnTo>
                    <a:lnTo>
                      <a:pt x="298" y="58"/>
                    </a:lnTo>
                    <a:lnTo>
                      <a:pt x="300" y="58"/>
                    </a:lnTo>
                    <a:lnTo>
                      <a:pt x="302" y="58"/>
                    </a:lnTo>
                    <a:lnTo>
                      <a:pt x="303" y="58"/>
                    </a:lnTo>
                    <a:lnTo>
                      <a:pt x="303" y="59"/>
                    </a:lnTo>
                    <a:lnTo>
                      <a:pt x="302" y="59"/>
                    </a:lnTo>
                    <a:lnTo>
                      <a:pt x="302" y="61"/>
                    </a:lnTo>
                    <a:lnTo>
                      <a:pt x="303" y="61"/>
                    </a:lnTo>
                    <a:lnTo>
                      <a:pt x="302" y="61"/>
                    </a:lnTo>
                    <a:lnTo>
                      <a:pt x="303" y="61"/>
                    </a:lnTo>
                    <a:lnTo>
                      <a:pt x="303" y="63"/>
                    </a:lnTo>
                    <a:lnTo>
                      <a:pt x="305" y="63"/>
                    </a:lnTo>
                    <a:lnTo>
                      <a:pt x="305" y="65"/>
                    </a:lnTo>
                    <a:lnTo>
                      <a:pt x="309" y="63"/>
                    </a:lnTo>
                    <a:lnTo>
                      <a:pt x="313" y="67"/>
                    </a:lnTo>
                    <a:lnTo>
                      <a:pt x="313" y="69"/>
                    </a:lnTo>
                    <a:lnTo>
                      <a:pt x="313" y="71"/>
                    </a:lnTo>
                    <a:lnTo>
                      <a:pt x="311" y="73"/>
                    </a:lnTo>
                    <a:lnTo>
                      <a:pt x="313" y="75"/>
                    </a:lnTo>
                    <a:lnTo>
                      <a:pt x="317" y="79"/>
                    </a:lnTo>
                    <a:lnTo>
                      <a:pt x="319" y="79"/>
                    </a:lnTo>
                    <a:lnTo>
                      <a:pt x="321" y="79"/>
                    </a:lnTo>
                    <a:lnTo>
                      <a:pt x="323" y="79"/>
                    </a:lnTo>
                    <a:lnTo>
                      <a:pt x="325" y="79"/>
                    </a:lnTo>
                    <a:lnTo>
                      <a:pt x="325" y="81"/>
                    </a:lnTo>
                    <a:lnTo>
                      <a:pt x="327" y="82"/>
                    </a:lnTo>
                    <a:lnTo>
                      <a:pt x="327" y="86"/>
                    </a:lnTo>
                    <a:lnTo>
                      <a:pt x="328" y="86"/>
                    </a:lnTo>
                    <a:lnTo>
                      <a:pt x="327" y="88"/>
                    </a:lnTo>
                    <a:lnTo>
                      <a:pt x="325" y="92"/>
                    </a:lnTo>
                    <a:lnTo>
                      <a:pt x="327" y="94"/>
                    </a:lnTo>
                    <a:lnTo>
                      <a:pt x="327" y="96"/>
                    </a:lnTo>
                    <a:lnTo>
                      <a:pt x="328" y="96"/>
                    </a:lnTo>
                    <a:lnTo>
                      <a:pt x="330" y="100"/>
                    </a:lnTo>
                    <a:lnTo>
                      <a:pt x="332" y="100"/>
                    </a:lnTo>
                    <a:lnTo>
                      <a:pt x="334" y="100"/>
                    </a:lnTo>
                    <a:lnTo>
                      <a:pt x="336" y="102"/>
                    </a:lnTo>
                    <a:lnTo>
                      <a:pt x="338" y="104"/>
                    </a:lnTo>
                    <a:lnTo>
                      <a:pt x="340" y="106"/>
                    </a:lnTo>
                    <a:lnTo>
                      <a:pt x="340" y="107"/>
                    </a:lnTo>
                    <a:lnTo>
                      <a:pt x="338" y="107"/>
                    </a:lnTo>
                    <a:lnTo>
                      <a:pt x="340" y="109"/>
                    </a:lnTo>
                    <a:lnTo>
                      <a:pt x="338" y="109"/>
                    </a:lnTo>
                    <a:lnTo>
                      <a:pt x="338" y="111"/>
                    </a:lnTo>
                    <a:lnTo>
                      <a:pt x="338" y="113"/>
                    </a:lnTo>
                    <a:lnTo>
                      <a:pt x="338" y="115"/>
                    </a:lnTo>
                    <a:lnTo>
                      <a:pt x="336" y="115"/>
                    </a:lnTo>
                    <a:lnTo>
                      <a:pt x="336" y="117"/>
                    </a:lnTo>
                    <a:lnTo>
                      <a:pt x="334" y="117"/>
                    </a:lnTo>
                    <a:lnTo>
                      <a:pt x="332" y="117"/>
                    </a:lnTo>
                    <a:lnTo>
                      <a:pt x="332" y="119"/>
                    </a:lnTo>
                    <a:lnTo>
                      <a:pt x="332" y="121"/>
                    </a:lnTo>
                    <a:lnTo>
                      <a:pt x="334" y="125"/>
                    </a:lnTo>
                    <a:lnTo>
                      <a:pt x="334" y="127"/>
                    </a:lnTo>
                    <a:lnTo>
                      <a:pt x="332" y="129"/>
                    </a:lnTo>
                    <a:lnTo>
                      <a:pt x="330" y="129"/>
                    </a:lnTo>
                    <a:lnTo>
                      <a:pt x="328" y="130"/>
                    </a:lnTo>
                    <a:lnTo>
                      <a:pt x="327" y="130"/>
                    </a:lnTo>
                    <a:lnTo>
                      <a:pt x="327" y="132"/>
                    </a:lnTo>
                    <a:lnTo>
                      <a:pt x="325" y="132"/>
                    </a:lnTo>
                    <a:lnTo>
                      <a:pt x="325" y="134"/>
                    </a:lnTo>
                    <a:lnTo>
                      <a:pt x="327" y="134"/>
                    </a:lnTo>
                    <a:lnTo>
                      <a:pt x="328" y="134"/>
                    </a:lnTo>
                    <a:lnTo>
                      <a:pt x="328" y="136"/>
                    </a:lnTo>
                    <a:lnTo>
                      <a:pt x="328" y="138"/>
                    </a:lnTo>
                    <a:lnTo>
                      <a:pt x="328" y="140"/>
                    </a:lnTo>
                    <a:lnTo>
                      <a:pt x="330" y="140"/>
                    </a:lnTo>
                    <a:lnTo>
                      <a:pt x="330" y="142"/>
                    </a:lnTo>
                    <a:lnTo>
                      <a:pt x="332" y="142"/>
                    </a:lnTo>
                    <a:lnTo>
                      <a:pt x="332" y="144"/>
                    </a:lnTo>
                    <a:lnTo>
                      <a:pt x="332" y="146"/>
                    </a:lnTo>
                    <a:lnTo>
                      <a:pt x="334" y="148"/>
                    </a:lnTo>
                    <a:lnTo>
                      <a:pt x="330" y="150"/>
                    </a:lnTo>
                    <a:lnTo>
                      <a:pt x="332" y="152"/>
                    </a:lnTo>
                    <a:lnTo>
                      <a:pt x="330" y="152"/>
                    </a:lnTo>
                    <a:lnTo>
                      <a:pt x="330" y="154"/>
                    </a:lnTo>
                    <a:lnTo>
                      <a:pt x="330" y="155"/>
                    </a:lnTo>
                    <a:lnTo>
                      <a:pt x="330" y="157"/>
                    </a:lnTo>
                    <a:lnTo>
                      <a:pt x="330" y="159"/>
                    </a:lnTo>
                    <a:lnTo>
                      <a:pt x="330" y="161"/>
                    </a:lnTo>
                    <a:lnTo>
                      <a:pt x="332" y="161"/>
                    </a:lnTo>
                    <a:lnTo>
                      <a:pt x="332" y="163"/>
                    </a:lnTo>
                    <a:lnTo>
                      <a:pt x="334" y="163"/>
                    </a:lnTo>
                    <a:lnTo>
                      <a:pt x="334" y="161"/>
                    </a:lnTo>
                    <a:lnTo>
                      <a:pt x="336" y="161"/>
                    </a:lnTo>
                    <a:lnTo>
                      <a:pt x="336" y="163"/>
                    </a:lnTo>
                    <a:lnTo>
                      <a:pt x="338" y="163"/>
                    </a:lnTo>
                    <a:lnTo>
                      <a:pt x="338" y="161"/>
                    </a:lnTo>
                    <a:lnTo>
                      <a:pt x="338" y="163"/>
                    </a:lnTo>
                    <a:lnTo>
                      <a:pt x="340" y="163"/>
                    </a:lnTo>
                    <a:lnTo>
                      <a:pt x="342" y="163"/>
                    </a:lnTo>
                    <a:lnTo>
                      <a:pt x="342" y="165"/>
                    </a:lnTo>
                    <a:lnTo>
                      <a:pt x="342" y="167"/>
                    </a:lnTo>
                    <a:lnTo>
                      <a:pt x="342" y="169"/>
                    </a:lnTo>
                    <a:lnTo>
                      <a:pt x="340" y="169"/>
                    </a:lnTo>
                    <a:lnTo>
                      <a:pt x="340" y="171"/>
                    </a:lnTo>
                    <a:lnTo>
                      <a:pt x="340" y="173"/>
                    </a:lnTo>
                    <a:lnTo>
                      <a:pt x="340" y="175"/>
                    </a:lnTo>
                    <a:lnTo>
                      <a:pt x="340" y="177"/>
                    </a:lnTo>
                    <a:lnTo>
                      <a:pt x="342" y="177"/>
                    </a:lnTo>
                    <a:lnTo>
                      <a:pt x="342" y="178"/>
                    </a:lnTo>
                    <a:lnTo>
                      <a:pt x="344" y="178"/>
                    </a:lnTo>
                    <a:lnTo>
                      <a:pt x="346" y="178"/>
                    </a:lnTo>
                    <a:lnTo>
                      <a:pt x="348" y="178"/>
                    </a:lnTo>
                    <a:lnTo>
                      <a:pt x="350" y="178"/>
                    </a:lnTo>
                    <a:lnTo>
                      <a:pt x="351" y="178"/>
                    </a:lnTo>
                    <a:lnTo>
                      <a:pt x="353" y="178"/>
                    </a:lnTo>
                    <a:lnTo>
                      <a:pt x="355" y="178"/>
                    </a:lnTo>
                    <a:lnTo>
                      <a:pt x="355" y="180"/>
                    </a:lnTo>
                    <a:lnTo>
                      <a:pt x="355" y="182"/>
                    </a:lnTo>
                    <a:lnTo>
                      <a:pt x="355" y="184"/>
                    </a:lnTo>
                    <a:lnTo>
                      <a:pt x="355" y="186"/>
                    </a:lnTo>
                    <a:lnTo>
                      <a:pt x="357" y="188"/>
                    </a:lnTo>
                    <a:lnTo>
                      <a:pt x="357" y="190"/>
                    </a:lnTo>
                    <a:lnTo>
                      <a:pt x="357" y="192"/>
                    </a:lnTo>
                    <a:lnTo>
                      <a:pt x="359" y="192"/>
                    </a:lnTo>
                    <a:lnTo>
                      <a:pt x="359" y="194"/>
                    </a:lnTo>
                    <a:lnTo>
                      <a:pt x="361" y="194"/>
                    </a:lnTo>
                    <a:lnTo>
                      <a:pt x="361" y="196"/>
                    </a:lnTo>
                    <a:lnTo>
                      <a:pt x="363" y="196"/>
                    </a:lnTo>
                    <a:lnTo>
                      <a:pt x="363" y="198"/>
                    </a:lnTo>
                    <a:lnTo>
                      <a:pt x="361" y="200"/>
                    </a:lnTo>
                    <a:lnTo>
                      <a:pt x="361" y="202"/>
                    </a:lnTo>
                    <a:lnTo>
                      <a:pt x="363" y="202"/>
                    </a:lnTo>
                    <a:lnTo>
                      <a:pt x="365" y="203"/>
                    </a:lnTo>
                    <a:lnTo>
                      <a:pt x="369" y="202"/>
                    </a:lnTo>
                    <a:lnTo>
                      <a:pt x="369" y="203"/>
                    </a:lnTo>
                    <a:lnTo>
                      <a:pt x="371" y="205"/>
                    </a:lnTo>
                    <a:lnTo>
                      <a:pt x="371" y="207"/>
                    </a:lnTo>
                    <a:lnTo>
                      <a:pt x="369" y="211"/>
                    </a:lnTo>
                    <a:lnTo>
                      <a:pt x="369" y="213"/>
                    </a:lnTo>
                    <a:lnTo>
                      <a:pt x="371" y="213"/>
                    </a:lnTo>
                    <a:lnTo>
                      <a:pt x="369" y="215"/>
                    </a:lnTo>
                    <a:lnTo>
                      <a:pt x="367" y="217"/>
                    </a:lnTo>
                    <a:lnTo>
                      <a:pt x="369" y="217"/>
                    </a:lnTo>
                    <a:lnTo>
                      <a:pt x="371" y="219"/>
                    </a:lnTo>
                    <a:lnTo>
                      <a:pt x="371" y="217"/>
                    </a:lnTo>
                    <a:lnTo>
                      <a:pt x="373" y="217"/>
                    </a:lnTo>
                    <a:lnTo>
                      <a:pt x="375" y="215"/>
                    </a:lnTo>
                    <a:lnTo>
                      <a:pt x="376" y="215"/>
                    </a:lnTo>
                    <a:lnTo>
                      <a:pt x="378" y="215"/>
                    </a:lnTo>
                    <a:lnTo>
                      <a:pt x="380" y="215"/>
                    </a:lnTo>
                    <a:lnTo>
                      <a:pt x="382" y="215"/>
                    </a:lnTo>
                    <a:lnTo>
                      <a:pt x="382" y="217"/>
                    </a:lnTo>
                    <a:lnTo>
                      <a:pt x="384" y="217"/>
                    </a:lnTo>
                    <a:lnTo>
                      <a:pt x="384" y="219"/>
                    </a:lnTo>
                    <a:lnTo>
                      <a:pt x="386" y="219"/>
                    </a:lnTo>
                    <a:lnTo>
                      <a:pt x="386" y="221"/>
                    </a:lnTo>
                    <a:lnTo>
                      <a:pt x="388" y="221"/>
                    </a:lnTo>
                    <a:lnTo>
                      <a:pt x="386" y="221"/>
                    </a:lnTo>
                    <a:lnTo>
                      <a:pt x="388" y="223"/>
                    </a:lnTo>
                    <a:lnTo>
                      <a:pt x="390" y="223"/>
                    </a:lnTo>
                    <a:lnTo>
                      <a:pt x="392" y="225"/>
                    </a:lnTo>
                    <a:lnTo>
                      <a:pt x="392" y="226"/>
                    </a:lnTo>
                    <a:lnTo>
                      <a:pt x="394" y="226"/>
                    </a:lnTo>
                    <a:lnTo>
                      <a:pt x="396" y="226"/>
                    </a:lnTo>
                    <a:lnTo>
                      <a:pt x="396" y="228"/>
                    </a:lnTo>
                    <a:lnTo>
                      <a:pt x="398" y="228"/>
                    </a:lnTo>
                    <a:lnTo>
                      <a:pt x="396" y="228"/>
                    </a:lnTo>
                    <a:lnTo>
                      <a:pt x="396" y="230"/>
                    </a:lnTo>
                    <a:lnTo>
                      <a:pt x="398" y="230"/>
                    </a:lnTo>
                    <a:lnTo>
                      <a:pt x="398" y="232"/>
                    </a:lnTo>
                    <a:lnTo>
                      <a:pt x="398" y="234"/>
                    </a:lnTo>
                    <a:lnTo>
                      <a:pt x="399" y="234"/>
                    </a:lnTo>
                    <a:lnTo>
                      <a:pt x="399" y="236"/>
                    </a:lnTo>
                    <a:lnTo>
                      <a:pt x="399" y="234"/>
                    </a:lnTo>
                    <a:lnTo>
                      <a:pt x="401" y="234"/>
                    </a:lnTo>
                    <a:lnTo>
                      <a:pt x="403" y="234"/>
                    </a:lnTo>
                    <a:lnTo>
                      <a:pt x="403" y="236"/>
                    </a:lnTo>
                    <a:lnTo>
                      <a:pt x="401" y="236"/>
                    </a:lnTo>
                    <a:lnTo>
                      <a:pt x="403" y="236"/>
                    </a:lnTo>
                    <a:lnTo>
                      <a:pt x="401" y="238"/>
                    </a:lnTo>
                    <a:lnTo>
                      <a:pt x="403" y="238"/>
                    </a:lnTo>
                    <a:lnTo>
                      <a:pt x="405" y="238"/>
                    </a:lnTo>
                    <a:lnTo>
                      <a:pt x="405" y="240"/>
                    </a:lnTo>
                    <a:lnTo>
                      <a:pt x="407" y="240"/>
                    </a:lnTo>
                    <a:lnTo>
                      <a:pt x="407" y="242"/>
                    </a:lnTo>
                    <a:lnTo>
                      <a:pt x="409" y="242"/>
                    </a:lnTo>
                    <a:lnTo>
                      <a:pt x="409" y="244"/>
                    </a:lnTo>
                    <a:lnTo>
                      <a:pt x="409" y="246"/>
                    </a:lnTo>
                    <a:lnTo>
                      <a:pt x="407" y="246"/>
                    </a:lnTo>
                    <a:lnTo>
                      <a:pt x="407" y="248"/>
                    </a:lnTo>
                    <a:lnTo>
                      <a:pt x="409" y="248"/>
                    </a:lnTo>
                    <a:lnTo>
                      <a:pt x="409" y="250"/>
                    </a:lnTo>
                    <a:lnTo>
                      <a:pt x="409" y="251"/>
                    </a:lnTo>
                    <a:lnTo>
                      <a:pt x="409" y="253"/>
                    </a:lnTo>
                    <a:lnTo>
                      <a:pt x="407" y="253"/>
                    </a:lnTo>
                    <a:lnTo>
                      <a:pt x="409" y="253"/>
                    </a:lnTo>
                    <a:lnTo>
                      <a:pt x="407" y="253"/>
                    </a:lnTo>
                    <a:lnTo>
                      <a:pt x="407" y="255"/>
                    </a:lnTo>
                    <a:lnTo>
                      <a:pt x="407" y="257"/>
                    </a:lnTo>
                    <a:lnTo>
                      <a:pt x="405" y="257"/>
                    </a:lnTo>
                    <a:lnTo>
                      <a:pt x="405" y="259"/>
                    </a:lnTo>
                    <a:lnTo>
                      <a:pt x="407" y="259"/>
                    </a:lnTo>
                    <a:lnTo>
                      <a:pt x="405" y="259"/>
                    </a:lnTo>
                    <a:lnTo>
                      <a:pt x="407" y="259"/>
                    </a:lnTo>
                    <a:lnTo>
                      <a:pt x="407" y="261"/>
                    </a:lnTo>
                    <a:lnTo>
                      <a:pt x="407" y="263"/>
                    </a:lnTo>
                    <a:lnTo>
                      <a:pt x="409" y="263"/>
                    </a:lnTo>
                    <a:lnTo>
                      <a:pt x="409" y="265"/>
                    </a:lnTo>
                    <a:lnTo>
                      <a:pt x="411" y="265"/>
                    </a:lnTo>
                    <a:lnTo>
                      <a:pt x="411" y="267"/>
                    </a:lnTo>
                    <a:lnTo>
                      <a:pt x="411" y="269"/>
                    </a:lnTo>
                    <a:lnTo>
                      <a:pt x="413" y="269"/>
                    </a:lnTo>
                    <a:lnTo>
                      <a:pt x="413" y="271"/>
                    </a:lnTo>
                    <a:lnTo>
                      <a:pt x="413" y="273"/>
                    </a:lnTo>
                    <a:lnTo>
                      <a:pt x="413" y="274"/>
                    </a:lnTo>
                    <a:lnTo>
                      <a:pt x="413" y="276"/>
                    </a:lnTo>
                    <a:lnTo>
                      <a:pt x="413" y="278"/>
                    </a:lnTo>
                    <a:lnTo>
                      <a:pt x="413" y="280"/>
                    </a:lnTo>
                    <a:lnTo>
                      <a:pt x="413" y="282"/>
                    </a:lnTo>
                    <a:lnTo>
                      <a:pt x="411" y="282"/>
                    </a:lnTo>
                    <a:lnTo>
                      <a:pt x="411" y="284"/>
                    </a:lnTo>
                    <a:lnTo>
                      <a:pt x="409" y="284"/>
                    </a:lnTo>
                    <a:lnTo>
                      <a:pt x="409" y="286"/>
                    </a:lnTo>
                    <a:lnTo>
                      <a:pt x="407" y="286"/>
                    </a:lnTo>
                    <a:lnTo>
                      <a:pt x="405" y="286"/>
                    </a:lnTo>
                    <a:lnTo>
                      <a:pt x="405" y="288"/>
                    </a:lnTo>
                    <a:lnTo>
                      <a:pt x="403" y="288"/>
                    </a:lnTo>
                    <a:lnTo>
                      <a:pt x="403" y="290"/>
                    </a:lnTo>
                    <a:lnTo>
                      <a:pt x="401" y="290"/>
                    </a:lnTo>
                    <a:lnTo>
                      <a:pt x="401" y="288"/>
                    </a:lnTo>
                    <a:lnTo>
                      <a:pt x="399" y="288"/>
                    </a:lnTo>
                    <a:lnTo>
                      <a:pt x="398" y="288"/>
                    </a:lnTo>
                    <a:lnTo>
                      <a:pt x="398" y="290"/>
                    </a:lnTo>
                    <a:lnTo>
                      <a:pt x="398" y="288"/>
                    </a:lnTo>
                    <a:lnTo>
                      <a:pt x="398" y="290"/>
                    </a:lnTo>
                    <a:lnTo>
                      <a:pt x="398" y="288"/>
                    </a:lnTo>
                    <a:lnTo>
                      <a:pt x="398" y="290"/>
                    </a:lnTo>
                    <a:lnTo>
                      <a:pt x="396" y="290"/>
                    </a:lnTo>
                    <a:lnTo>
                      <a:pt x="394" y="290"/>
                    </a:lnTo>
                    <a:lnTo>
                      <a:pt x="392" y="290"/>
                    </a:lnTo>
                    <a:lnTo>
                      <a:pt x="390" y="290"/>
                    </a:lnTo>
                    <a:lnTo>
                      <a:pt x="390" y="288"/>
                    </a:lnTo>
                    <a:lnTo>
                      <a:pt x="388" y="288"/>
                    </a:lnTo>
                    <a:lnTo>
                      <a:pt x="388" y="290"/>
                    </a:lnTo>
                    <a:lnTo>
                      <a:pt x="388" y="288"/>
                    </a:lnTo>
                    <a:lnTo>
                      <a:pt x="388" y="290"/>
                    </a:lnTo>
                    <a:lnTo>
                      <a:pt x="386" y="290"/>
                    </a:lnTo>
                    <a:lnTo>
                      <a:pt x="386" y="288"/>
                    </a:lnTo>
                    <a:lnTo>
                      <a:pt x="386" y="290"/>
                    </a:lnTo>
                    <a:lnTo>
                      <a:pt x="386" y="288"/>
                    </a:lnTo>
                    <a:lnTo>
                      <a:pt x="386" y="290"/>
                    </a:lnTo>
                    <a:lnTo>
                      <a:pt x="386" y="288"/>
                    </a:lnTo>
                    <a:lnTo>
                      <a:pt x="384" y="288"/>
                    </a:lnTo>
                    <a:lnTo>
                      <a:pt x="382" y="288"/>
                    </a:lnTo>
                    <a:lnTo>
                      <a:pt x="380" y="288"/>
                    </a:lnTo>
                    <a:lnTo>
                      <a:pt x="380" y="286"/>
                    </a:lnTo>
                    <a:lnTo>
                      <a:pt x="378" y="286"/>
                    </a:lnTo>
                    <a:lnTo>
                      <a:pt x="376" y="288"/>
                    </a:lnTo>
                    <a:lnTo>
                      <a:pt x="376" y="290"/>
                    </a:lnTo>
                    <a:lnTo>
                      <a:pt x="375" y="290"/>
                    </a:lnTo>
                    <a:lnTo>
                      <a:pt x="375" y="292"/>
                    </a:lnTo>
                    <a:lnTo>
                      <a:pt x="373" y="292"/>
                    </a:lnTo>
                    <a:lnTo>
                      <a:pt x="371" y="292"/>
                    </a:lnTo>
                    <a:lnTo>
                      <a:pt x="369" y="292"/>
                    </a:lnTo>
                    <a:lnTo>
                      <a:pt x="367" y="292"/>
                    </a:lnTo>
                    <a:lnTo>
                      <a:pt x="367" y="294"/>
                    </a:lnTo>
                    <a:lnTo>
                      <a:pt x="365" y="294"/>
                    </a:lnTo>
                    <a:lnTo>
                      <a:pt x="365" y="292"/>
                    </a:lnTo>
                    <a:lnTo>
                      <a:pt x="365" y="294"/>
                    </a:lnTo>
                    <a:lnTo>
                      <a:pt x="365" y="292"/>
                    </a:lnTo>
                    <a:lnTo>
                      <a:pt x="363" y="292"/>
                    </a:lnTo>
                    <a:lnTo>
                      <a:pt x="363" y="294"/>
                    </a:lnTo>
                    <a:lnTo>
                      <a:pt x="361" y="294"/>
                    </a:lnTo>
                    <a:lnTo>
                      <a:pt x="359" y="294"/>
                    </a:lnTo>
                    <a:lnTo>
                      <a:pt x="357" y="294"/>
                    </a:lnTo>
                    <a:lnTo>
                      <a:pt x="357" y="292"/>
                    </a:lnTo>
                    <a:lnTo>
                      <a:pt x="357" y="294"/>
                    </a:lnTo>
                    <a:lnTo>
                      <a:pt x="355" y="294"/>
                    </a:lnTo>
                    <a:lnTo>
                      <a:pt x="355" y="292"/>
                    </a:lnTo>
                    <a:lnTo>
                      <a:pt x="353" y="292"/>
                    </a:lnTo>
                    <a:lnTo>
                      <a:pt x="351" y="292"/>
                    </a:lnTo>
                    <a:lnTo>
                      <a:pt x="351" y="294"/>
                    </a:lnTo>
                    <a:lnTo>
                      <a:pt x="351" y="296"/>
                    </a:lnTo>
                    <a:lnTo>
                      <a:pt x="350" y="296"/>
                    </a:lnTo>
                    <a:lnTo>
                      <a:pt x="350" y="294"/>
                    </a:lnTo>
                    <a:lnTo>
                      <a:pt x="348" y="294"/>
                    </a:lnTo>
                    <a:lnTo>
                      <a:pt x="346" y="294"/>
                    </a:lnTo>
                    <a:lnTo>
                      <a:pt x="346" y="296"/>
                    </a:lnTo>
                    <a:lnTo>
                      <a:pt x="344" y="296"/>
                    </a:lnTo>
                    <a:lnTo>
                      <a:pt x="342" y="296"/>
                    </a:lnTo>
                    <a:lnTo>
                      <a:pt x="340" y="296"/>
                    </a:lnTo>
                    <a:lnTo>
                      <a:pt x="340" y="298"/>
                    </a:lnTo>
                    <a:lnTo>
                      <a:pt x="340" y="296"/>
                    </a:lnTo>
                    <a:lnTo>
                      <a:pt x="340" y="298"/>
                    </a:lnTo>
                    <a:lnTo>
                      <a:pt x="338" y="298"/>
                    </a:lnTo>
                    <a:lnTo>
                      <a:pt x="338" y="296"/>
                    </a:lnTo>
                    <a:lnTo>
                      <a:pt x="336" y="296"/>
                    </a:lnTo>
                    <a:lnTo>
                      <a:pt x="336" y="298"/>
                    </a:lnTo>
                    <a:lnTo>
                      <a:pt x="336" y="296"/>
                    </a:lnTo>
                    <a:lnTo>
                      <a:pt x="336" y="298"/>
                    </a:lnTo>
                    <a:lnTo>
                      <a:pt x="334" y="296"/>
                    </a:lnTo>
                    <a:lnTo>
                      <a:pt x="332" y="296"/>
                    </a:lnTo>
                    <a:lnTo>
                      <a:pt x="330" y="296"/>
                    </a:lnTo>
                    <a:lnTo>
                      <a:pt x="330" y="298"/>
                    </a:lnTo>
                    <a:lnTo>
                      <a:pt x="328" y="298"/>
                    </a:lnTo>
                    <a:lnTo>
                      <a:pt x="327" y="298"/>
                    </a:lnTo>
                    <a:lnTo>
                      <a:pt x="327" y="299"/>
                    </a:lnTo>
                    <a:lnTo>
                      <a:pt x="325" y="299"/>
                    </a:lnTo>
                    <a:lnTo>
                      <a:pt x="323" y="299"/>
                    </a:lnTo>
                    <a:lnTo>
                      <a:pt x="323" y="301"/>
                    </a:lnTo>
                    <a:lnTo>
                      <a:pt x="323" y="303"/>
                    </a:lnTo>
                    <a:lnTo>
                      <a:pt x="321" y="303"/>
                    </a:lnTo>
                    <a:lnTo>
                      <a:pt x="321" y="301"/>
                    </a:lnTo>
                    <a:lnTo>
                      <a:pt x="321" y="303"/>
                    </a:lnTo>
                    <a:lnTo>
                      <a:pt x="319" y="303"/>
                    </a:lnTo>
                    <a:lnTo>
                      <a:pt x="317" y="303"/>
                    </a:lnTo>
                    <a:lnTo>
                      <a:pt x="317" y="305"/>
                    </a:lnTo>
                    <a:lnTo>
                      <a:pt x="319" y="305"/>
                    </a:lnTo>
                    <a:lnTo>
                      <a:pt x="319" y="307"/>
                    </a:lnTo>
                    <a:lnTo>
                      <a:pt x="321" y="307"/>
                    </a:lnTo>
                    <a:lnTo>
                      <a:pt x="321" y="305"/>
                    </a:lnTo>
                    <a:lnTo>
                      <a:pt x="323" y="305"/>
                    </a:lnTo>
                    <a:lnTo>
                      <a:pt x="325" y="305"/>
                    </a:lnTo>
                    <a:lnTo>
                      <a:pt x="325" y="307"/>
                    </a:lnTo>
                    <a:lnTo>
                      <a:pt x="325" y="309"/>
                    </a:lnTo>
                    <a:lnTo>
                      <a:pt x="325" y="311"/>
                    </a:lnTo>
                    <a:lnTo>
                      <a:pt x="325" y="313"/>
                    </a:lnTo>
                    <a:lnTo>
                      <a:pt x="328" y="313"/>
                    </a:lnTo>
                    <a:lnTo>
                      <a:pt x="330" y="313"/>
                    </a:lnTo>
                    <a:lnTo>
                      <a:pt x="330" y="315"/>
                    </a:lnTo>
                    <a:lnTo>
                      <a:pt x="332" y="315"/>
                    </a:lnTo>
                    <a:lnTo>
                      <a:pt x="334" y="315"/>
                    </a:lnTo>
                    <a:lnTo>
                      <a:pt x="336" y="315"/>
                    </a:lnTo>
                    <a:lnTo>
                      <a:pt x="338" y="315"/>
                    </a:lnTo>
                    <a:lnTo>
                      <a:pt x="340" y="315"/>
                    </a:lnTo>
                    <a:lnTo>
                      <a:pt x="340" y="317"/>
                    </a:lnTo>
                    <a:lnTo>
                      <a:pt x="340" y="319"/>
                    </a:lnTo>
                    <a:lnTo>
                      <a:pt x="342" y="321"/>
                    </a:lnTo>
                    <a:lnTo>
                      <a:pt x="342" y="322"/>
                    </a:lnTo>
                    <a:lnTo>
                      <a:pt x="342" y="324"/>
                    </a:lnTo>
                    <a:lnTo>
                      <a:pt x="342" y="326"/>
                    </a:lnTo>
                    <a:lnTo>
                      <a:pt x="342" y="328"/>
                    </a:lnTo>
                    <a:lnTo>
                      <a:pt x="342" y="330"/>
                    </a:lnTo>
                    <a:lnTo>
                      <a:pt x="342" y="332"/>
                    </a:lnTo>
                    <a:lnTo>
                      <a:pt x="342" y="334"/>
                    </a:lnTo>
                    <a:lnTo>
                      <a:pt x="342" y="336"/>
                    </a:lnTo>
                    <a:lnTo>
                      <a:pt x="344" y="336"/>
                    </a:lnTo>
                    <a:lnTo>
                      <a:pt x="346" y="336"/>
                    </a:lnTo>
                    <a:lnTo>
                      <a:pt x="346" y="334"/>
                    </a:lnTo>
                    <a:lnTo>
                      <a:pt x="348" y="334"/>
                    </a:lnTo>
                    <a:lnTo>
                      <a:pt x="350" y="334"/>
                    </a:lnTo>
                    <a:lnTo>
                      <a:pt x="350" y="336"/>
                    </a:lnTo>
                    <a:lnTo>
                      <a:pt x="350" y="338"/>
                    </a:lnTo>
                    <a:lnTo>
                      <a:pt x="350" y="340"/>
                    </a:lnTo>
                    <a:lnTo>
                      <a:pt x="351" y="340"/>
                    </a:lnTo>
                    <a:lnTo>
                      <a:pt x="350" y="340"/>
                    </a:lnTo>
                    <a:lnTo>
                      <a:pt x="350" y="342"/>
                    </a:lnTo>
                    <a:lnTo>
                      <a:pt x="350" y="344"/>
                    </a:lnTo>
                    <a:lnTo>
                      <a:pt x="350" y="346"/>
                    </a:lnTo>
                    <a:lnTo>
                      <a:pt x="351" y="346"/>
                    </a:lnTo>
                    <a:lnTo>
                      <a:pt x="353" y="346"/>
                    </a:lnTo>
                    <a:lnTo>
                      <a:pt x="353" y="344"/>
                    </a:lnTo>
                    <a:lnTo>
                      <a:pt x="355" y="342"/>
                    </a:lnTo>
                    <a:lnTo>
                      <a:pt x="357" y="342"/>
                    </a:lnTo>
                    <a:lnTo>
                      <a:pt x="357" y="344"/>
                    </a:lnTo>
                    <a:lnTo>
                      <a:pt x="359" y="344"/>
                    </a:lnTo>
                    <a:lnTo>
                      <a:pt x="359" y="346"/>
                    </a:lnTo>
                    <a:lnTo>
                      <a:pt x="359" y="347"/>
                    </a:lnTo>
                    <a:lnTo>
                      <a:pt x="357" y="347"/>
                    </a:lnTo>
                    <a:lnTo>
                      <a:pt x="357" y="349"/>
                    </a:lnTo>
                    <a:lnTo>
                      <a:pt x="359" y="349"/>
                    </a:lnTo>
                    <a:lnTo>
                      <a:pt x="359" y="351"/>
                    </a:lnTo>
                    <a:lnTo>
                      <a:pt x="361" y="351"/>
                    </a:lnTo>
                    <a:lnTo>
                      <a:pt x="361" y="353"/>
                    </a:lnTo>
                    <a:lnTo>
                      <a:pt x="359" y="353"/>
                    </a:lnTo>
                    <a:lnTo>
                      <a:pt x="359" y="355"/>
                    </a:lnTo>
                    <a:lnTo>
                      <a:pt x="359" y="357"/>
                    </a:lnTo>
                    <a:lnTo>
                      <a:pt x="361" y="357"/>
                    </a:lnTo>
                    <a:lnTo>
                      <a:pt x="361" y="359"/>
                    </a:lnTo>
                    <a:lnTo>
                      <a:pt x="361" y="361"/>
                    </a:lnTo>
                    <a:lnTo>
                      <a:pt x="361" y="363"/>
                    </a:lnTo>
                    <a:lnTo>
                      <a:pt x="363" y="363"/>
                    </a:lnTo>
                    <a:lnTo>
                      <a:pt x="367" y="363"/>
                    </a:lnTo>
                    <a:lnTo>
                      <a:pt x="367" y="365"/>
                    </a:lnTo>
                    <a:lnTo>
                      <a:pt x="369" y="365"/>
                    </a:lnTo>
                    <a:lnTo>
                      <a:pt x="371" y="365"/>
                    </a:lnTo>
                    <a:lnTo>
                      <a:pt x="371" y="367"/>
                    </a:lnTo>
                    <a:lnTo>
                      <a:pt x="371" y="369"/>
                    </a:lnTo>
                    <a:lnTo>
                      <a:pt x="373" y="369"/>
                    </a:lnTo>
                    <a:lnTo>
                      <a:pt x="373" y="370"/>
                    </a:lnTo>
                    <a:lnTo>
                      <a:pt x="373" y="372"/>
                    </a:lnTo>
                    <a:lnTo>
                      <a:pt x="371" y="372"/>
                    </a:lnTo>
                    <a:lnTo>
                      <a:pt x="369" y="372"/>
                    </a:lnTo>
                    <a:lnTo>
                      <a:pt x="369" y="374"/>
                    </a:lnTo>
                    <a:lnTo>
                      <a:pt x="369" y="376"/>
                    </a:lnTo>
                    <a:lnTo>
                      <a:pt x="369" y="378"/>
                    </a:lnTo>
                    <a:lnTo>
                      <a:pt x="369" y="380"/>
                    </a:lnTo>
                    <a:lnTo>
                      <a:pt x="369" y="382"/>
                    </a:lnTo>
                    <a:lnTo>
                      <a:pt x="369" y="384"/>
                    </a:lnTo>
                    <a:lnTo>
                      <a:pt x="369" y="386"/>
                    </a:lnTo>
                    <a:lnTo>
                      <a:pt x="367" y="386"/>
                    </a:lnTo>
                    <a:lnTo>
                      <a:pt x="367" y="388"/>
                    </a:lnTo>
                    <a:lnTo>
                      <a:pt x="365" y="388"/>
                    </a:lnTo>
                    <a:lnTo>
                      <a:pt x="365" y="390"/>
                    </a:lnTo>
                    <a:lnTo>
                      <a:pt x="365" y="388"/>
                    </a:lnTo>
                    <a:lnTo>
                      <a:pt x="363" y="388"/>
                    </a:lnTo>
                    <a:lnTo>
                      <a:pt x="361" y="388"/>
                    </a:lnTo>
                    <a:lnTo>
                      <a:pt x="361" y="390"/>
                    </a:lnTo>
                    <a:lnTo>
                      <a:pt x="359" y="390"/>
                    </a:lnTo>
                    <a:lnTo>
                      <a:pt x="361" y="390"/>
                    </a:lnTo>
                    <a:lnTo>
                      <a:pt x="359" y="392"/>
                    </a:lnTo>
                    <a:lnTo>
                      <a:pt x="359" y="393"/>
                    </a:lnTo>
                    <a:lnTo>
                      <a:pt x="357" y="393"/>
                    </a:lnTo>
                    <a:lnTo>
                      <a:pt x="357" y="395"/>
                    </a:lnTo>
                    <a:lnTo>
                      <a:pt x="355" y="395"/>
                    </a:lnTo>
                    <a:lnTo>
                      <a:pt x="355" y="397"/>
                    </a:lnTo>
                    <a:lnTo>
                      <a:pt x="355" y="399"/>
                    </a:lnTo>
                    <a:lnTo>
                      <a:pt x="357" y="399"/>
                    </a:lnTo>
                    <a:lnTo>
                      <a:pt x="357" y="401"/>
                    </a:lnTo>
                    <a:lnTo>
                      <a:pt x="357" y="403"/>
                    </a:lnTo>
                    <a:lnTo>
                      <a:pt x="355" y="403"/>
                    </a:lnTo>
                    <a:lnTo>
                      <a:pt x="353" y="403"/>
                    </a:lnTo>
                    <a:lnTo>
                      <a:pt x="355" y="405"/>
                    </a:lnTo>
                    <a:lnTo>
                      <a:pt x="355" y="407"/>
                    </a:lnTo>
                    <a:lnTo>
                      <a:pt x="353" y="407"/>
                    </a:lnTo>
                    <a:lnTo>
                      <a:pt x="351" y="407"/>
                    </a:lnTo>
                    <a:lnTo>
                      <a:pt x="350" y="407"/>
                    </a:lnTo>
                    <a:lnTo>
                      <a:pt x="348" y="407"/>
                    </a:lnTo>
                    <a:lnTo>
                      <a:pt x="350" y="409"/>
                    </a:lnTo>
                    <a:lnTo>
                      <a:pt x="350" y="411"/>
                    </a:lnTo>
                    <a:lnTo>
                      <a:pt x="348" y="411"/>
                    </a:lnTo>
                    <a:lnTo>
                      <a:pt x="348" y="413"/>
                    </a:lnTo>
                    <a:lnTo>
                      <a:pt x="348" y="415"/>
                    </a:lnTo>
                    <a:lnTo>
                      <a:pt x="350" y="415"/>
                    </a:lnTo>
                    <a:lnTo>
                      <a:pt x="348" y="415"/>
                    </a:lnTo>
                    <a:lnTo>
                      <a:pt x="348" y="417"/>
                    </a:lnTo>
                    <a:lnTo>
                      <a:pt x="350" y="417"/>
                    </a:lnTo>
                    <a:lnTo>
                      <a:pt x="350" y="418"/>
                    </a:lnTo>
                    <a:lnTo>
                      <a:pt x="351" y="418"/>
                    </a:lnTo>
                    <a:lnTo>
                      <a:pt x="353" y="418"/>
                    </a:lnTo>
                    <a:lnTo>
                      <a:pt x="355" y="418"/>
                    </a:lnTo>
                    <a:lnTo>
                      <a:pt x="355" y="420"/>
                    </a:lnTo>
                    <a:lnTo>
                      <a:pt x="357" y="420"/>
                    </a:lnTo>
                    <a:lnTo>
                      <a:pt x="357" y="422"/>
                    </a:lnTo>
                    <a:lnTo>
                      <a:pt x="357" y="424"/>
                    </a:lnTo>
                    <a:lnTo>
                      <a:pt x="359" y="424"/>
                    </a:lnTo>
                    <a:lnTo>
                      <a:pt x="359" y="426"/>
                    </a:lnTo>
                    <a:lnTo>
                      <a:pt x="361" y="424"/>
                    </a:lnTo>
                    <a:lnTo>
                      <a:pt x="361" y="426"/>
                    </a:lnTo>
                    <a:lnTo>
                      <a:pt x="361" y="424"/>
                    </a:lnTo>
                    <a:lnTo>
                      <a:pt x="363" y="424"/>
                    </a:lnTo>
                    <a:lnTo>
                      <a:pt x="365" y="424"/>
                    </a:lnTo>
                    <a:lnTo>
                      <a:pt x="365" y="426"/>
                    </a:lnTo>
                    <a:lnTo>
                      <a:pt x="365" y="428"/>
                    </a:lnTo>
                    <a:lnTo>
                      <a:pt x="363" y="430"/>
                    </a:lnTo>
                    <a:lnTo>
                      <a:pt x="365" y="430"/>
                    </a:lnTo>
                    <a:lnTo>
                      <a:pt x="365" y="432"/>
                    </a:lnTo>
                    <a:lnTo>
                      <a:pt x="367" y="432"/>
                    </a:lnTo>
                    <a:lnTo>
                      <a:pt x="367" y="430"/>
                    </a:lnTo>
                    <a:lnTo>
                      <a:pt x="369" y="430"/>
                    </a:lnTo>
                    <a:lnTo>
                      <a:pt x="369" y="428"/>
                    </a:lnTo>
                    <a:lnTo>
                      <a:pt x="369" y="430"/>
                    </a:lnTo>
                    <a:lnTo>
                      <a:pt x="369" y="432"/>
                    </a:lnTo>
                    <a:lnTo>
                      <a:pt x="371" y="432"/>
                    </a:lnTo>
                    <a:lnTo>
                      <a:pt x="373" y="434"/>
                    </a:lnTo>
                    <a:lnTo>
                      <a:pt x="375" y="434"/>
                    </a:lnTo>
                    <a:lnTo>
                      <a:pt x="376" y="434"/>
                    </a:lnTo>
                    <a:lnTo>
                      <a:pt x="376" y="436"/>
                    </a:lnTo>
                    <a:lnTo>
                      <a:pt x="375" y="436"/>
                    </a:lnTo>
                    <a:lnTo>
                      <a:pt x="375" y="438"/>
                    </a:lnTo>
                    <a:lnTo>
                      <a:pt x="376" y="438"/>
                    </a:lnTo>
                    <a:lnTo>
                      <a:pt x="376" y="440"/>
                    </a:lnTo>
                    <a:lnTo>
                      <a:pt x="375" y="441"/>
                    </a:lnTo>
                    <a:lnTo>
                      <a:pt x="373" y="441"/>
                    </a:lnTo>
                    <a:lnTo>
                      <a:pt x="373" y="443"/>
                    </a:lnTo>
                    <a:lnTo>
                      <a:pt x="371" y="443"/>
                    </a:lnTo>
                    <a:lnTo>
                      <a:pt x="371" y="445"/>
                    </a:lnTo>
                    <a:lnTo>
                      <a:pt x="371" y="447"/>
                    </a:lnTo>
                    <a:lnTo>
                      <a:pt x="369" y="447"/>
                    </a:lnTo>
                    <a:lnTo>
                      <a:pt x="367" y="447"/>
                    </a:lnTo>
                    <a:lnTo>
                      <a:pt x="365" y="447"/>
                    </a:lnTo>
                    <a:lnTo>
                      <a:pt x="363" y="445"/>
                    </a:lnTo>
                    <a:lnTo>
                      <a:pt x="361" y="445"/>
                    </a:lnTo>
                    <a:lnTo>
                      <a:pt x="361" y="447"/>
                    </a:lnTo>
                    <a:lnTo>
                      <a:pt x="361" y="449"/>
                    </a:lnTo>
                    <a:lnTo>
                      <a:pt x="363" y="451"/>
                    </a:lnTo>
                    <a:lnTo>
                      <a:pt x="363" y="453"/>
                    </a:lnTo>
                    <a:lnTo>
                      <a:pt x="361" y="453"/>
                    </a:lnTo>
                    <a:lnTo>
                      <a:pt x="361" y="455"/>
                    </a:lnTo>
                    <a:lnTo>
                      <a:pt x="361" y="457"/>
                    </a:lnTo>
                    <a:lnTo>
                      <a:pt x="359" y="459"/>
                    </a:lnTo>
                    <a:lnTo>
                      <a:pt x="359" y="457"/>
                    </a:lnTo>
                    <a:lnTo>
                      <a:pt x="359" y="455"/>
                    </a:lnTo>
                    <a:lnTo>
                      <a:pt x="357" y="455"/>
                    </a:lnTo>
                    <a:lnTo>
                      <a:pt x="357" y="457"/>
                    </a:lnTo>
                    <a:lnTo>
                      <a:pt x="357" y="459"/>
                    </a:lnTo>
                    <a:lnTo>
                      <a:pt x="357" y="461"/>
                    </a:lnTo>
                    <a:lnTo>
                      <a:pt x="355" y="463"/>
                    </a:lnTo>
                    <a:lnTo>
                      <a:pt x="355" y="461"/>
                    </a:lnTo>
                    <a:lnTo>
                      <a:pt x="353" y="461"/>
                    </a:lnTo>
                    <a:lnTo>
                      <a:pt x="353" y="463"/>
                    </a:lnTo>
                    <a:lnTo>
                      <a:pt x="351" y="463"/>
                    </a:lnTo>
                    <a:lnTo>
                      <a:pt x="351" y="461"/>
                    </a:lnTo>
                    <a:lnTo>
                      <a:pt x="351" y="463"/>
                    </a:lnTo>
                    <a:lnTo>
                      <a:pt x="350" y="463"/>
                    </a:lnTo>
                    <a:lnTo>
                      <a:pt x="350" y="465"/>
                    </a:lnTo>
                    <a:lnTo>
                      <a:pt x="350" y="466"/>
                    </a:lnTo>
                    <a:lnTo>
                      <a:pt x="350" y="468"/>
                    </a:lnTo>
                    <a:lnTo>
                      <a:pt x="353" y="468"/>
                    </a:lnTo>
                    <a:lnTo>
                      <a:pt x="351" y="472"/>
                    </a:lnTo>
                    <a:lnTo>
                      <a:pt x="350" y="472"/>
                    </a:lnTo>
                    <a:lnTo>
                      <a:pt x="348" y="472"/>
                    </a:lnTo>
                    <a:lnTo>
                      <a:pt x="346" y="472"/>
                    </a:lnTo>
                    <a:lnTo>
                      <a:pt x="346" y="474"/>
                    </a:lnTo>
                    <a:lnTo>
                      <a:pt x="348" y="474"/>
                    </a:lnTo>
                    <a:lnTo>
                      <a:pt x="346" y="474"/>
                    </a:lnTo>
                    <a:lnTo>
                      <a:pt x="346" y="476"/>
                    </a:lnTo>
                    <a:lnTo>
                      <a:pt x="348" y="476"/>
                    </a:lnTo>
                    <a:lnTo>
                      <a:pt x="348" y="478"/>
                    </a:lnTo>
                    <a:lnTo>
                      <a:pt x="348" y="476"/>
                    </a:lnTo>
                    <a:lnTo>
                      <a:pt x="350" y="476"/>
                    </a:lnTo>
                    <a:lnTo>
                      <a:pt x="350" y="478"/>
                    </a:lnTo>
                    <a:lnTo>
                      <a:pt x="351" y="478"/>
                    </a:lnTo>
                    <a:lnTo>
                      <a:pt x="353" y="478"/>
                    </a:lnTo>
                    <a:lnTo>
                      <a:pt x="353" y="480"/>
                    </a:lnTo>
                    <a:lnTo>
                      <a:pt x="355" y="480"/>
                    </a:lnTo>
                    <a:lnTo>
                      <a:pt x="355" y="482"/>
                    </a:lnTo>
                    <a:lnTo>
                      <a:pt x="357" y="482"/>
                    </a:lnTo>
                    <a:lnTo>
                      <a:pt x="359" y="484"/>
                    </a:lnTo>
                    <a:lnTo>
                      <a:pt x="361" y="484"/>
                    </a:lnTo>
                    <a:lnTo>
                      <a:pt x="361" y="486"/>
                    </a:lnTo>
                    <a:lnTo>
                      <a:pt x="363" y="486"/>
                    </a:lnTo>
                    <a:lnTo>
                      <a:pt x="363" y="488"/>
                    </a:lnTo>
                    <a:lnTo>
                      <a:pt x="365" y="488"/>
                    </a:lnTo>
                    <a:lnTo>
                      <a:pt x="367" y="488"/>
                    </a:lnTo>
                    <a:lnTo>
                      <a:pt x="369" y="488"/>
                    </a:lnTo>
                    <a:lnTo>
                      <a:pt x="371" y="488"/>
                    </a:lnTo>
                    <a:lnTo>
                      <a:pt x="373" y="488"/>
                    </a:lnTo>
                    <a:lnTo>
                      <a:pt x="373" y="486"/>
                    </a:lnTo>
                    <a:lnTo>
                      <a:pt x="375" y="486"/>
                    </a:lnTo>
                    <a:lnTo>
                      <a:pt x="375" y="484"/>
                    </a:lnTo>
                    <a:lnTo>
                      <a:pt x="376" y="484"/>
                    </a:lnTo>
                    <a:lnTo>
                      <a:pt x="376" y="482"/>
                    </a:lnTo>
                    <a:lnTo>
                      <a:pt x="378" y="482"/>
                    </a:lnTo>
                    <a:lnTo>
                      <a:pt x="380" y="480"/>
                    </a:lnTo>
                    <a:lnTo>
                      <a:pt x="382" y="478"/>
                    </a:lnTo>
                    <a:lnTo>
                      <a:pt x="384" y="478"/>
                    </a:lnTo>
                    <a:lnTo>
                      <a:pt x="384" y="476"/>
                    </a:lnTo>
                    <a:lnTo>
                      <a:pt x="386" y="476"/>
                    </a:lnTo>
                    <a:lnTo>
                      <a:pt x="386" y="474"/>
                    </a:lnTo>
                    <a:lnTo>
                      <a:pt x="388" y="474"/>
                    </a:lnTo>
                    <a:lnTo>
                      <a:pt x="388" y="476"/>
                    </a:lnTo>
                    <a:lnTo>
                      <a:pt x="390" y="476"/>
                    </a:lnTo>
                    <a:lnTo>
                      <a:pt x="392" y="476"/>
                    </a:lnTo>
                    <a:lnTo>
                      <a:pt x="392" y="478"/>
                    </a:lnTo>
                    <a:lnTo>
                      <a:pt x="394" y="478"/>
                    </a:lnTo>
                    <a:lnTo>
                      <a:pt x="394" y="480"/>
                    </a:lnTo>
                    <a:lnTo>
                      <a:pt x="396" y="480"/>
                    </a:lnTo>
                    <a:lnTo>
                      <a:pt x="396" y="482"/>
                    </a:lnTo>
                    <a:lnTo>
                      <a:pt x="398" y="482"/>
                    </a:lnTo>
                    <a:lnTo>
                      <a:pt x="399" y="482"/>
                    </a:lnTo>
                    <a:lnTo>
                      <a:pt x="399" y="484"/>
                    </a:lnTo>
                    <a:lnTo>
                      <a:pt x="401" y="482"/>
                    </a:lnTo>
                    <a:lnTo>
                      <a:pt x="403" y="480"/>
                    </a:lnTo>
                    <a:lnTo>
                      <a:pt x="403" y="482"/>
                    </a:lnTo>
                    <a:lnTo>
                      <a:pt x="405" y="482"/>
                    </a:lnTo>
                    <a:lnTo>
                      <a:pt x="405" y="484"/>
                    </a:lnTo>
                    <a:lnTo>
                      <a:pt x="405" y="486"/>
                    </a:lnTo>
                    <a:lnTo>
                      <a:pt x="407" y="486"/>
                    </a:lnTo>
                    <a:lnTo>
                      <a:pt x="409" y="486"/>
                    </a:lnTo>
                    <a:lnTo>
                      <a:pt x="409" y="488"/>
                    </a:lnTo>
                    <a:lnTo>
                      <a:pt x="411" y="488"/>
                    </a:lnTo>
                    <a:lnTo>
                      <a:pt x="413" y="488"/>
                    </a:lnTo>
                    <a:lnTo>
                      <a:pt x="413" y="489"/>
                    </a:lnTo>
                    <a:lnTo>
                      <a:pt x="415" y="489"/>
                    </a:lnTo>
                    <a:lnTo>
                      <a:pt x="417" y="489"/>
                    </a:lnTo>
                    <a:lnTo>
                      <a:pt x="419" y="489"/>
                    </a:lnTo>
                    <a:lnTo>
                      <a:pt x="421" y="489"/>
                    </a:lnTo>
                    <a:lnTo>
                      <a:pt x="421" y="488"/>
                    </a:lnTo>
                    <a:lnTo>
                      <a:pt x="423" y="488"/>
                    </a:lnTo>
                    <a:lnTo>
                      <a:pt x="423" y="486"/>
                    </a:lnTo>
                    <a:lnTo>
                      <a:pt x="424" y="486"/>
                    </a:lnTo>
                    <a:lnTo>
                      <a:pt x="426" y="486"/>
                    </a:lnTo>
                    <a:lnTo>
                      <a:pt x="428" y="486"/>
                    </a:lnTo>
                    <a:lnTo>
                      <a:pt x="428" y="488"/>
                    </a:lnTo>
                    <a:lnTo>
                      <a:pt x="430" y="489"/>
                    </a:lnTo>
                    <a:lnTo>
                      <a:pt x="432" y="489"/>
                    </a:lnTo>
                    <a:lnTo>
                      <a:pt x="434" y="491"/>
                    </a:lnTo>
                    <a:lnTo>
                      <a:pt x="434" y="493"/>
                    </a:lnTo>
                    <a:lnTo>
                      <a:pt x="436" y="493"/>
                    </a:lnTo>
                    <a:lnTo>
                      <a:pt x="436" y="495"/>
                    </a:lnTo>
                    <a:lnTo>
                      <a:pt x="438" y="495"/>
                    </a:lnTo>
                    <a:lnTo>
                      <a:pt x="438" y="493"/>
                    </a:lnTo>
                    <a:lnTo>
                      <a:pt x="440" y="493"/>
                    </a:lnTo>
                    <a:lnTo>
                      <a:pt x="440" y="491"/>
                    </a:lnTo>
                    <a:lnTo>
                      <a:pt x="442" y="491"/>
                    </a:lnTo>
                    <a:lnTo>
                      <a:pt x="442" y="489"/>
                    </a:lnTo>
                    <a:lnTo>
                      <a:pt x="444" y="489"/>
                    </a:lnTo>
                    <a:lnTo>
                      <a:pt x="444" y="488"/>
                    </a:lnTo>
                    <a:lnTo>
                      <a:pt x="444" y="486"/>
                    </a:lnTo>
                    <a:lnTo>
                      <a:pt x="444" y="488"/>
                    </a:lnTo>
                    <a:lnTo>
                      <a:pt x="446" y="488"/>
                    </a:lnTo>
                    <a:lnTo>
                      <a:pt x="448" y="488"/>
                    </a:lnTo>
                    <a:lnTo>
                      <a:pt x="449" y="488"/>
                    </a:lnTo>
                    <a:lnTo>
                      <a:pt x="451" y="488"/>
                    </a:lnTo>
                    <a:lnTo>
                      <a:pt x="453" y="488"/>
                    </a:lnTo>
                    <a:lnTo>
                      <a:pt x="453" y="489"/>
                    </a:lnTo>
                    <a:lnTo>
                      <a:pt x="455" y="489"/>
                    </a:lnTo>
                    <a:lnTo>
                      <a:pt x="457" y="489"/>
                    </a:lnTo>
                    <a:lnTo>
                      <a:pt x="459" y="489"/>
                    </a:lnTo>
                    <a:lnTo>
                      <a:pt x="459" y="491"/>
                    </a:lnTo>
                    <a:lnTo>
                      <a:pt x="459" y="493"/>
                    </a:lnTo>
                    <a:lnTo>
                      <a:pt x="459" y="495"/>
                    </a:lnTo>
                    <a:lnTo>
                      <a:pt x="459" y="497"/>
                    </a:lnTo>
                    <a:lnTo>
                      <a:pt x="459" y="499"/>
                    </a:lnTo>
                    <a:lnTo>
                      <a:pt x="459" y="501"/>
                    </a:lnTo>
                    <a:lnTo>
                      <a:pt x="459" y="503"/>
                    </a:lnTo>
                    <a:lnTo>
                      <a:pt x="459" y="505"/>
                    </a:lnTo>
                    <a:lnTo>
                      <a:pt x="459" y="507"/>
                    </a:lnTo>
                    <a:lnTo>
                      <a:pt x="459" y="509"/>
                    </a:lnTo>
                    <a:lnTo>
                      <a:pt x="459" y="511"/>
                    </a:lnTo>
                    <a:lnTo>
                      <a:pt x="459" y="513"/>
                    </a:lnTo>
                    <a:lnTo>
                      <a:pt x="461" y="513"/>
                    </a:lnTo>
                    <a:lnTo>
                      <a:pt x="461" y="514"/>
                    </a:lnTo>
                    <a:lnTo>
                      <a:pt x="463" y="514"/>
                    </a:lnTo>
                    <a:lnTo>
                      <a:pt x="463" y="516"/>
                    </a:lnTo>
                    <a:lnTo>
                      <a:pt x="465" y="518"/>
                    </a:lnTo>
                    <a:lnTo>
                      <a:pt x="467" y="520"/>
                    </a:lnTo>
                    <a:lnTo>
                      <a:pt x="469" y="522"/>
                    </a:lnTo>
                    <a:lnTo>
                      <a:pt x="471" y="522"/>
                    </a:lnTo>
                    <a:lnTo>
                      <a:pt x="472" y="522"/>
                    </a:lnTo>
                    <a:lnTo>
                      <a:pt x="474" y="520"/>
                    </a:lnTo>
                    <a:lnTo>
                      <a:pt x="474" y="518"/>
                    </a:lnTo>
                    <a:lnTo>
                      <a:pt x="476" y="518"/>
                    </a:lnTo>
                    <a:lnTo>
                      <a:pt x="476" y="520"/>
                    </a:lnTo>
                    <a:lnTo>
                      <a:pt x="478" y="520"/>
                    </a:lnTo>
                    <a:lnTo>
                      <a:pt x="480" y="520"/>
                    </a:lnTo>
                    <a:lnTo>
                      <a:pt x="482" y="520"/>
                    </a:lnTo>
                    <a:lnTo>
                      <a:pt x="482" y="522"/>
                    </a:lnTo>
                    <a:lnTo>
                      <a:pt x="484" y="522"/>
                    </a:lnTo>
                    <a:lnTo>
                      <a:pt x="486" y="522"/>
                    </a:lnTo>
                    <a:lnTo>
                      <a:pt x="488" y="522"/>
                    </a:lnTo>
                    <a:lnTo>
                      <a:pt x="488" y="520"/>
                    </a:lnTo>
                    <a:lnTo>
                      <a:pt x="490" y="520"/>
                    </a:lnTo>
                    <a:lnTo>
                      <a:pt x="490" y="518"/>
                    </a:lnTo>
                    <a:lnTo>
                      <a:pt x="490" y="520"/>
                    </a:lnTo>
                    <a:lnTo>
                      <a:pt x="492" y="520"/>
                    </a:lnTo>
                    <a:lnTo>
                      <a:pt x="492" y="522"/>
                    </a:lnTo>
                    <a:lnTo>
                      <a:pt x="494" y="522"/>
                    </a:lnTo>
                    <a:lnTo>
                      <a:pt x="496" y="522"/>
                    </a:lnTo>
                    <a:lnTo>
                      <a:pt x="496" y="524"/>
                    </a:lnTo>
                    <a:lnTo>
                      <a:pt x="497" y="524"/>
                    </a:lnTo>
                    <a:lnTo>
                      <a:pt x="497" y="526"/>
                    </a:lnTo>
                    <a:lnTo>
                      <a:pt x="499" y="526"/>
                    </a:lnTo>
                    <a:lnTo>
                      <a:pt x="501" y="526"/>
                    </a:lnTo>
                    <a:lnTo>
                      <a:pt x="503" y="526"/>
                    </a:lnTo>
                    <a:lnTo>
                      <a:pt x="503" y="524"/>
                    </a:lnTo>
                    <a:lnTo>
                      <a:pt x="503" y="522"/>
                    </a:lnTo>
                    <a:lnTo>
                      <a:pt x="503" y="520"/>
                    </a:lnTo>
                    <a:lnTo>
                      <a:pt x="505" y="520"/>
                    </a:lnTo>
                    <a:lnTo>
                      <a:pt x="505" y="518"/>
                    </a:lnTo>
                    <a:lnTo>
                      <a:pt x="507" y="518"/>
                    </a:lnTo>
                    <a:lnTo>
                      <a:pt x="507" y="516"/>
                    </a:lnTo>
                    <a:lnTo>
                      <a:pt x="511" y="513"/>
                    </a:lnTo>
                    <a:lnTo>
                      <a:pt x="513" y="516"/>
                    </a:lnTo>
                    <a:lnTo>
                      <a:pt x="515" y="516"/>
                    </a:lnTo>
                    <a:lnTo>
                      <a:pt x="517" y="516"/>
                    </a:lnTo>
                    <a:lnTo>
                      <a:pt x="517" y="514"/>
                    </a:lnTo>
                    <a:lnTo>
                      <a:pt x="517" y="516"/>
                    </a:lnTo>
                    <a:lnTo>
                      <a:pt x="517" y="514"/>
                    </a:lnTo>
                    <a:lnTo>
                      <a:pt x="517" y="516"/>
                    </a:lnTo>
                    <a:lnTo>
                      <a:pt x="519" y="516"/>
                    </a:lnTo>
                    <a:lnTo>
                      <a:pt x="520" y="516"/>
                    </a:lnTo>
                    <a:lnTo>
                      <a:pt x="520" y="514"/>
                    </a:lnTo>
                    <a:lnTo>
                      <a:pt x="522" y="514"/>
                    </a:lnTo>
                    <a:lnTo>
                      <a:pt x="522" y="513"/>
                    </a:lnTo>
                    <a:lnTo>
                      <a:pt x="524" y="511"/>
                    </a:lnTo>
                    <a:lnTo>
                      <a:pt x="524" y="513"/>
                    </a:lnTo>
                    <a:lnTo>
                      <a:pt x="526" y="513"/>
                    </a:lnTo>
                    <a:lnTo>
                      <a:pt x="528" y="513"/>
                    </a:lnTo>
                    <a:lnTo>
                      <a:pt x="530" y="511"/>
                    </a:lnTo>
                    <a:lnTo>
                      <a:pt x="532" y="511"/>
                    </a:lnTo>
                    <a:lnTo>
                      <a:pt x="532" y="509"/>
                    </a:lnTo>
                    <a:lnTo>
                      <a:pt x="532" y="507"/>
                    </a:lnTo>
                    <a:lnTo>
                      <a:pt x="534" y="507"/>
                    </a:lnTo>
                    <a:lnTo>
                      <a:pt x="536" y="507"/>
                    </a:lnTo>
                    <a:lnTo>
                      <a:pt x="536" y="505"/>
                    </a:lnTo>
                    <a:lnTo>
                      <a:pt x="534" y="505"/>
                    </a:lnTo>
                    <a:lnTo>
                      <a:pt x="536" y="503"/>
                    </a:lnTo>
                    <a:lnTo>
                      <a:pt x="538" y="503"/>
                    </a:lnTo>
                    <a:lnTo>
                      <a:pt x="538" y="501"/>
                    </a:lnTo>
                    <a:lnTo>
                      <a:pt x="540" y="501"/>
                    </a:lnTo>
                    <a:lnTo>
                      <a:pt x="542" y="501"/>
                    </a:lnTo>
                    <a:lnTo>
                      <a:pt x="542" y="499"/>
                    </a:lnTo>
                    <a:lnTo>
                      <a:pt x="544" y="499"/>
                    </a:lnTo>
                    <a:lnTo>
                      <a:pt x="544" y="501"/>
                    </a:lnTo>
                    <a:lnTo>
                      <a:pt x="544" y="503"/>
                    </a:lnTo>
                    <a:lnTo>
                      <a:pt x="545" y="503"/>
                    </a:lnTo>
                    <a:lnTo>
                      <a:pt x="547" y="503"/>
                    </a:lnTo>
                    <a:lnTo>
                      <a:pt x="549" y="503"/>
                    </a:lnTo>
                    <a:lnTo>
                      <a:pt x="549" y="501"/>
                    </a:lnTo>
                    <a:lnTo>
                      <a:pt x="549" y="503"/>
                    </a:lnTo>
                    <a:lnTo>
                      <a:pt x="551" y="503"/>
                    </a:lnTo>
                    <a:lnTo>
                      <a:pt x="551" y="505"/>
                    </a:lnTo>
                    <a:lnTo>
                      <a:pt x="553" y="505"/>
                    </a:lnTo>
                    <a:lnTo>
                      <a:pt x="553" y="507"/>
                    </a:lnTo>
                    <a:lnTo>
                      <a:pt x="555" y="507"/>
                    </a:lnTo>
                    <a:lnTo>
                      <a:pt x="557" y="507"/>
                    </a:lnTo>
                    <a:lnTo>
                      <a:pt x="557" y="509"/>
                    </a:lnTo>
                    <a:lnTo>
                      <a:pt x="557" y="511"/>
                    </a:lnTo>
                    <a:lnTo>
                      <a:pt x="557" y="513"/>
                    </a:lnTo>
                    <a:lnTo>
                      <a:pt x="557" y="514"/>
                    </a:lnTo>
                    <a:lnTo>
                      <a:pt x="559" y="514"/>
                    </a:lnTo>
                    <a:lnTo>
                      <a:pt x="559" y="513"/>
                    </a:lnTo>
                    <a:lnTo>
                      <a:pt x="561" y="513"/>
                    </a:lnTo>
                    <a:lnTo>
                      <a:pt x="561" y="511"/>
                    </a:lnTo>
                    <a:lnTo>
                      <a:pt x="563" y="511"/>
                    </a:lnTo>
                    <a:lnTo>
                      <a:pt x="563" y="509"/>
                    </a:lnTo>
                    <a:lnTo>
                      <a:pt x="565" y="509"/>
                    </a:lnTo>
                    <a:lnTo>
                      <a:pt x="565" y="507"/>
                    </a:lnTo>
                    <a:lnTo>
                      <a:pt x="565" y="505"/>
                    </a:lnTo>
                    <a:lnTo>
                      <a:pt x="567" y="503"/>
                    </a:lnTo>
                    <a:lnTo>
                      <a:pt x="568" y="503"/>
                    </a:lnTo>
                    <a:lnTo>
                      <a:pt x="570" y="503"/>
                    </a:lnTo>
                    <a:lnTo>
                      <a:pt x="572" y="503"/>
                    </a:lnTo>
                    <a:lnTo>
                      <a:pt x="574" y="503"/>
                    </a:lnTo>
                    <a:lnTo>
                      <a:pt x="576" y="503"/>
                    </a:lnTo>
                    <a:lnTo>
                      <a:pt x="578" y="503"/>
                    </a:lnTo>
                    <a:lnTo>
                      <a:pt x="578" y="505"/>
                    </a:lnTo>
                    <a:lnTo>
                      <a:pt x="580" y="503"/>
                    </a:lnTo>
                    <a:lnTo>
                      <a:pt x="580" y="505"/>
                    </a:lnTo>
                    <a:lnTo>
                      <a:pt x="582" y="505"/>
                    </a:lnTo>
                    <a:lnTo>
                      <a:pt x="584" y="507"/>
                    </a:lnTo>
                    <a:lnTo>
                      <a:pt x="586" y="507"/>
                    </a:lnTo>
                    <a:lnTo>
                      <a:pt x="588" y="507"/>
                    </a:lnTo>
                    <a:lnTo>
                      <a:pt x="588" y="509"/>
                    </a:lnTo>
                    <a:lnTo>
                      <a:pt x="586" y="509"/>
                    </a:lnTo>
                    <a:lnTo>
                      <a:pt x="584" y="511"/>
                    </a:lnTo>
                    <a:lnTo>
                      <a:pt x="584" y="513"/>
                    </a:lnTo>
                    <a:lnTo>
                      <a:pt x="584" y="514"/>
                    </a:lnTo>
                    <a:lnTo>
                      <a:pt x="586" y="514"/>
                    </a:lnTo>
                    <a:lnTo>
                      <a:pt x="586" y="516"/>
                    </a:lnTo>
                    <a:lnTo>
                      <a:pt x="584" y="516"/>
                    </a:lnTo>
                    <a:lnTo>
                      <a:pt x="584" y="518"/>
                    </a:lnTo>
                    <a:lnTo>
                      <a:pt x="582" y="518"/>
                    </a:lnTo>
                    <a:lnTo>
                      <a:pt x="582" y="520"/>
                    </a:lnTo>
                    <a:lnTo>
                      <a:pt x="582" y="522"/>
                    </a:lnTo>
                    <a:lnTo>
                      <a:pt x="582" y="524"/>
                    </a:lnTo>
                    <a:lnTo>
                      <a:pt x="582" y="526"/>
                    </a:lnTo>
                    <a:lnTo>
                      <a:pt x="582" y="528"/>
                    </a:lnTo>
                    <a:lnTo>
                      <a:pt x="582" y="530"/>
                    </a:lnTo>
                    <a:lnTo>
                      <a:pt x="580" y="532"/>
                    </a:lnTo>
                    <a:lnTo>
                      <a:pt x="578" y="532"/>
                    </a:lnTo>
                    <a:lnTo>
                      <a:pt x="580" y="532"/>
                    </a:lnTo>
                    <a:lnTo>
                      <a:pt x="580" y="534"/>
                    </a:lnTo>
                    <a:lnTo>
                      <a:pt x="580" y="536"/>
                    </a:lnTo>
                    <a:lnTo>
                      <a:pt x="582" y="536"/>
                    </a:lnTo>
                    <a:lnTo>
                      <a:pt x="582" y="537"/>
                    </a:lnTo>
                    <a:lnTo>
                      <a:pt x="584" y="537"/>
                    </a:lnTo>
                    <a:lnTo>
                      <a:pt x="582" y="537"/>
                    </a:lnTo>
                    <a:lnTo>
                      <a:pt x="582" y="539"/>
                    </a:lnTo>
                    <a:lnTo>
                      <a:pt x="582" y="541"/>
                    </a:lnTo>
                    <a:lnTo>
                      <a:pt x="584" y="541"/>
                    </a:lnTo>
                    <a:lnTo>
                      <a:pt x="584" y="543"/>
                    </a:lnTo>
                    <a:lnTo>
                      <a:pt x="584" y="545"/>
                    </a:lnTo>
                    <a:lnTo>
                      <a:pt x="586" y="545"/>
                    </a:lnTo>
                    <a:lnTo>
                      <a:pt x="586" y="547"/>
                    </a:lnTo>
                    <a:lnTo>
                      <a:pt x="588" y="547"/>
                    </a:lnTo>
                    <a:lnTo>
                      <a:pt x="590" y="547"/>
                    </a:lnTo>
                    <a:lnTo>
                      <a:pt x="590" y="549"/>
                    </a:lnTo>
                    <a:lnTo>
                      <a:pt x="592" y="549"/>
                    </a:lnTo>
                    <a:lnTo>
                      <a:pt x="592" y="551"/>
                    </a:lnTo>
                    <a:lnTo>
                      <a:pt x="590" y="551"/>
                    </a:lnTo>
                    <a:lnTo>
                      <a:pt x="590" y="553"/>
                    </a:lnTo>
                    <a:lnTo>
                      <a:pt x="590" y="555"/>
                    </a:lnTo>
                    <a:lnTo>
                      <a:pt x="588" y="555"/>
                    </a:lnTo>
                    <a:lnTo>
                      <a:pt x="588" y="557"/>
                    </a:lnTo>
                    <a:lnTo>
                      <a:pt x="590" y="557"/>
                    </a:lnTo>
                    <a:lnTo>
                      <a:pt x="588" y="557"/>
                    </a:lnTo>
                    <a:lnTo>
                      <a:pt x="588" y="559"/>
                    </a:lnTo>
                    <a:lnTo>
                      <a:pt x="590" y="559"/>
                    </a:lnTo>
                    <a:lnTo>
                      <a:pt x="592" y="559"/>
                    </a:lnTo>
                    <a:lnTo>
                      <a:pt x="592" y="561"/>
                    </a:lnTo>
                    <a:lnTo>
                      <a:pt x="592" y="562"/>
                    </a:lnTo>
                    <a:lnTo>
                      <a:pt x="592" y="564"/>
                    </a:lnTo>
                    <a:lnTo>
                      <a:pt x="590" y="564"/>
                    </a:lnTo>
                    <a:lnTo>
                      <a:pt x="588" y="564"/>
                    </a:lnTo>
                    <a:lnTo>
                      <a:pt x="586" y="564"/>
                    </a:lnTo>
                    <a:lnTo>
                      <a:pt x="586" y="562"/>
                    </a:lnTo>
                    <a:lnTo>
                      <a:pt x="586" y="564"/>
                    </a:lnTo>
                    <a:lnTo>
                      <a:pt x="584" y="564"/>
                    </a:lnTo>
                    <a:lnTo>
                      <a:pt x="584" y="566"/>
                    </a:lnTo>
                    <a:lnTo>
                      <a:pt x="586" y="566"/>
                    </a:lnTo>
                    <a:lnTo>
                      <a:pt x="586" y="568"/>
                    </a:lnTo>
                    <a:lnTo>
                      <a:pt x="586" y="566"/>
                    </a:lnTo>
                    <a:lnTo>
                      <a:pt x="586" y="568"/>
                    </a:lnTo>
                    <a:lnTo>
                      <a:pt x="588" y="566"/>
                    </a:lnTo>
                    <a:lnTo>
                      <a:pt x="588" y="568"/>
                    </a:lnTo>
                    <a:lnTo>
                      <a:pt x="588" y="570"/>
                    </a:lnTo>
                    <a:lnTo>
                      <a:pt x="590" y="570"/>
                    </a:lnTo>
                    <a:lnTo>
                      <a:pt x="590" y="572"/>
                    </a:lnTo>
                    <a:lnTo>
                      <a:pt x="592" y="572"/>
                    </a:lnTo>
                    <a:lnTo>
                      <a:pt x="592" y="574"/>
                    </a:lnTo>
                    <a:lnTo>
                      <a:pt x="592" y="576"/>
                    </a:lnTo>
                    <a:lnTo>
                      <a:pt x="593" y="578"/>
                    </a:lnTo>
                    <a:lnTo>
                      <a:pt x="593" y="580"/>
                    </a:lnTo>
                    <a:lnTo>
                      <a:pt x="595" y="580"/>
                    </a:lnTo>
                    <a:lnTo>
                      <a:pt x="595" y="582"/>
                    </a:lnTo>
                    <a:lnTo>
                      <a:pt x="597" y="580"/>
                    </a:lnTo>
                    <a:lnTo>
                      <a:pt x="597" y="582"/>
                    </a:lnTo>
                    <a:lnTo>
                      <a:pt x="599" y="582"/>
                    </a:lnTo>
                    <a:lnTo>
                      <a:pt x="599" y="584"/>
                    </a:lnTo>
                    <a:lnTo>
                      <a:pt x="603" y="582"/>
                    </a:lnTo>
                    <a:lnTo>
                      <a:pt x="603" y="580"/>
                    </a:lnTo>
                    <a:lnTo>
                      <a:pt x="609" y="576"/>
                    </a:lnTo>
                    <a:lnTo>
                      <a:pt x="611" y="576"/>
                    </a:lnTo>
                    <a:lnTo>
                      <a:pt x="611" y="578"/>
                    </a:lnTo>
                    <a:lnTo>
                      <a:pt x="613" y="576"/>
                    </a:lnTo>
                    <a:lnTo>
                      <a:pt x="613" y="578"/>
                    </a:lnTo>
                    <a:lnTo>
                      <a:pt x="613" y="576"/>
                    </a:lnTo>
                    <a:lnTo>
                      <a:pt x="615" y="576"/>
                    </a:lnTo>
                    <a:lnTo>
                      <a:pt x="615" y="578"/>
                    </a:lnTo>
                    <a:lnTo>
                      <a:pt x="615" y="580"/>
                    </a:lnTo>
                    <a:lnTo>
                      <a:pt x="616" y="580"/>
                    </a:lnTo>
                    <a:lnTo>
                      <a:pt x="616" y="578"/>
                    </a:lnTo>
                    <a:lnTo>
                      <a:pt x="616" y="576"/>
                    </a:lnTo>
                    <a:lnTo>
                      <a:pt x="618" y="576"/>
                    </a:lnTo>
                    <a:lnTo>
                      <a:pt x="618" y="574"/>
                    </a:lnTo>
                    <a:lnTo>
                      <a:pt x="618" y="576"/>
                    </a:lnTo>
                    <a:lnTo>
                      <a:pt x="618" y="574"/>
                    </a:lnTo>
                    <a:lnTo>
                      <a:pt x="620" y="574"/>
                    </a:lnTo>
                    <a:lnTo>
                      <a:pt x="622" y="574"/>
                    </a:lnTo>
                    <a:lnTo>
                      <a:pt x="624" y="574"/>
                    </a:lnTo>
                    <a:lnTo>
                      <a:pt x="622" y="574"/>
                    </a:lnTo>
                    <a:lnTo>
                      <a:pt x="624" y="574"/>
                    </a:lnTo>
                    <a:lnTo>
                      <a:pt x="624" y="572"/>
                    </a:lnTo>
                    <a:lnTo>
                      <a:pt x="624" y="570"/>
                    </a:lnTo>
                    <a:lnTo>
                      <a:pt x="626" y="570"/>
                    </a:lnTo>
                    <a:lnTo>
                      <a:pt x="628" y="570"/>
                    </a:lnTo>
                    <a:lnTo>
                      <a:pt x="628" y="572"/>
                    </a:lnTo>
                    <a:lnTo>
                      <a:pt x="632" y="572"/>
                    </a:lnTo>
                    <a:lnTo>
                      <a:pt x="630" y="572"/>
                    </a:lnTo>
                    <a:lnTo>
                      <a:pt x="632" y="574"/>
                    </a:lnTo>
                    <a:lnTo>
                      <a:pt x="634" y="576"/>
                    </a:lnTo>
                    <a:lnTo>
                      <a:pt x="636" y="578"/>
                    </a:lnTo>
                    <a:lnTo>
                      <a:pt x="638" y="578"/>
                    </a:lnTo>
                    <a:lnTo>
                      <a:pt x="638" y="576"/>
                    </a:lnTo>
                    <a:lnTo>
                      <a:pt x="640" y="576"/>
                    </a:lnTo>
                    <a:lnTo>
                      <a:pt x="641" y="576"/>
                    </a:lnTo>
                    <a:lnTo>
                      <a:pt x="643" y="576"/>
                    </a:lnTo>
                    <a:lnTo>
                      <a:pt x="643" y="578"/>
                    </a:lnTo>
                    <a:lnTo>
                      <a:pt x="645" y="578"/>
                    </a:lnTo>
                    <a:lnTo>
                      <a:pt x="645" y="580"/>
                    </a:lnTo>
                    <a:lnTo>
                      <a:pt x="645" y="582"/>
                    </a:lnTo>
                    <a:lnTo>
                      <a:pt x="647" y="582"/>
                    </a:lnTo>
                    <a:lnTo>
                      <a:pt x="649" y="582"/>
                    </a:lnTo>
                    <a:lnTo>
                      <a:pt x="649" y="584"/>
                    </a:lnTo>
                    <a:lnTo>
                      <a:pt x="651" y="585"/>
                    </a:lnTo>
                    <a:lnTo>
                      <a:pt x="651" y="587"/>
                    </a:lnTo>
                    <a:lnTo>
                      <a:pt x="651" y="589"/>
                    </a:lnTo>
                    <a:lnTo>
                      <a:pt x="651" y="591"/>
                    </a:lnTo>
                    <a:lnTo>
                      <a:pt x="649" y="591"/>
                    </a:lnTo>
                    <a:lnTo>
                      <a:pt x="651" y="591"/>
                    </a:lnTo>
                    <a:lnTo>
                      <a:pt x="651" y="593"/>
                    </a:lnTo>
                    <a:lnTo>
                      <a:pt x="651" y="595"/>
                    </a:lnTo>
                    <a:lnTo>
                      <a:pt x="649" y="595"/>
                    </a:lnTo>
                    <a:lnTo>
                      <a:pt x="647" y="595"/>
                    </a:lnTo>
                    <a:lnTo>
                      <a:pt x="647" y="597"/>
                    </a:lnTo>
                    <a:lnTo>
                      <a:pt x="645" y="597"/>
                    </a:lnTo>
                    <a:lnTo>
                      <a:pt x="645" y="599"/>
                    </a:lnTo>
                    <a:lnTo>
                      <a:pt x="643" y="599"/>
                    </a:lnTo>
                    <a:lnTo>
                      <a:pt x="641" y="599"/>
                    </a:lnTo>
                    <a:lnTo>
                      <a:pt x="643" y="599"/>
                    </a:lnTo>
                    <a:lnTo>
                      <a:pt x="643" y="601"/>
                    </a:lnTo>
                    <a:lnTo>
                      <a:pt x="641" y="601"/>
                    </a:lnTo>
                    <a:lnTo>
                      <a:pt x="640" y="601"/>
                    </a:lnTo>
                    <a:lnTo>
                      <a:pt x="638" y="601"/>
                    </a:lnTo>
                    <a:lnTo>
                      <a:pt x="638" y="603"/>
                    </a:lnTo>
                    <a:lnTo>
                      <a:pt x="638" y="601"/>
                    </a:lnTo>
                    <a:lnTo>
                      <a:pt x="636" y="601"/>
                    </a:lnTo>
                    <a:lnTo>
                      <a:pt x="634" y="601"/>
                    </a:lnTo>
                    <a:lnTo>
                      <a:pt x="632" y="601"/>
                    </a:lnTo>
                    <a:lnTo>
                      <a:pt x="630" y="599"/>
                    </a:lnTo>
                    <a:lnTo>
                      <a:pt x="630" y="597"/>
                    </a:lnTo>
                    <a:lnTo>
                      <a:pt x="628" y="599"/>
                    </a:lnTo>
                    <a:lnTo>
                      <a:pt x="630" y="599"/>
                    </a:lnTo>
                    <a:lnTo>
                      <a:pt x="630" y="601"/>
                    </a:lnTo>
                    <a:lnTo>
                      <a:pt x="630" y="603"/>
                    </a:lnTo>
                    <a:lnTo>
                      <a:pt x="632" y="603"/>
                    </a:lnTo>
                    <a:lnTo>
                      <a:pt x="632" y="605"/>
                    </a:lnTo>
                    <a:lnTo>
                      <a:pt x="630" y="605"/>
                    </a:lnTo>
                    <a:lnTo>
                      <a:pt x="630" y="607"/>
                    </a:lnTo>
                    <a:lnTo>
                      <a:pt x="632" y="607"/>
                    </a:lnTo>
                    <a:lnTo>
                      <a:pt x="632" y="609"/>
                    </a:lnTo>
                    <a:lnTo>
                      <a:pt x="634" y="609"/>
                    </a:lnTo>
                    <a:lnTo>
                      <a:pt x="634" y="610"/>
                    </a:lnTo>
                    <a:lnTo>
                      <a:pt x="634" y="614"/>
                    </a:lnTo>
                    <a:lnTo>
                      <a:pt x="636" y="614"/>
                    </a:lnTo>
                    <a:lnTo>
                      <a:pt x="636" y="616"/>
                    </a:lnTo>
                    <a:lnTo>
                      <a:pt x="634" y="616"/>
                    </a:lnTo>
                    <a:lnTo>
                      <a:pt x="634" y="618"/>
                    </a:lnTo>
                    <a:lnTo>
                      <a:pt x="632" y="618"/>
                    </a:lnTo>
                    <a:lnTo>
                      <a:pt x="634" y="618"/>
                    </a:lnTo>
                    <a:lnTo>
                      <a:pt x="632" y="618"/>
                    </a:lnTo>
                    <a:lnTo>
                      <a:pt x="632" y="620"/>
                    </a:lnTo>
                    <a:lnTo>
                      <a:pt x="630" y="620"/>
                    </a:lnTo>
                    <a:lnTo>
                      <a:pt x="630" y="622"/>
                    </a:lnTo>
                    <a:lnTo>
                      <a:pt x="630" y="624"/>
                    </a:lnTo>
                    <a:lnTo>
                      <a:pt x="628" y="626"/>
                    </a:lnTo>
                    <a:lnTo>
                      <a:pt x="628" y="628"/>
                    </a:lnTo>
                    <a:lnTo>
                      <a:pt x="628" y="630"/>
                    </a:lnTo>
                    <a:lnTo>
                      <a:pt x="630" y="632"/>
                    </a:lnTo>
                    <a:lnTo>
                      <a:pt x="632" y="632"/>
                    </a:lnTo>
                    <a:lnTo>
                      <a:pt x="634" y="632"/>
                    </a:lnTo>
                    <a:lnTo>
                      <a:pt x="634" y="633"/>
                    </a:lnTo>
                    <a:lnTo>
                      <a:pt x="636" y="633"/>
                    </a:lnTo>
                    <a:lnTo>
                      <a:pt x="638" y="633"/>
                    </a:lnTo>
                    <a:lnTo>
                      <a:pt x="640" y="633"/>
                    </a:lnTo>
                    <a:lnTo>
                      <a:pt x="638" y="635"/>
                    </a:lnTo>
                    <a:lnTo>
                      <a:pt x="640" y="637"/>
                    </a:lnTo>
                    <a:lnTo>
                      <a:pt x="641" y="637"/>
                    </a:lnTo>
                    <a:lnTo>
                      <a:pt x="643" y="637"/>
                    </a:lnTo>
                    <a:lnTo>
                      <a:pt x="645" y="635"/>
                    </a:lnTo>
                    <a:lnTo>
                      <a:pt x="645" y="637"/>
                    </a:lnTo>
                    <a:lnTo>
                      <a:pt x="645" y="639"/>
                    </a:lnTo>
                    <a:lnTo>
                      <a:pt x="647" y="639"/>
                    </a:lnTo>
                    <a:lnTo>
                      <a:pt x="647" y="641"/>
                    </a:lnTo>
                    <a:lnTo>
                      <a:pt x="647" y="643"/>
                    </a:lnTo>
                    <a:lnTo>
                      <a:pt x="645" y="643"/>
                    </a:lnTo>
                    <a:lnTo>
                      <a:pt x="645" y="645"/>
                    </a:lnTo>
                    <a:lnTo>
                      <a:pt x="647" y="645"/>
                    </a:lnTo>
                    <a:lnTo>
                      <a:pt x="645" y="647"/>
                    </a:lnTo>
                    <a:lnTo>
                      <a:pt x="643" y="647"/>
                    </a:lnTo>
                    <a:lnTo>
                      <a:pt x="641" y="649"/>
                    </a:lnTo>
                    <a:lnTo>
                      <a:pt x="643" y="653"/>
                    </a:lnTo>
                    <a:lnTo>
                      <a:pt x="645" y="655"/>
                    </a:lnTo>
                    <a:lnTo>
                      <a:pt x="647" y="655"/>
                    </a:lnTo>
                    <a:lnTo>
                      <a:pt x="645" y="657"/>
                    </a:lnTo>
                    <a:lnTo>
                      <a:pt x="643" y="657"/>
                    </a:lnTo>
                    <a:lnTo>
                      <a:pt x="641" y="658"/>
                    </a:lnTo>
                    <a:lnTo>
                      <a:pt x="641" y="660"/>
                    </a:lnTo>
                    <a:lnTo>
                      <a:pt x="643" y="660"/>
                    </a:lnTo>
                    <a:lnTo>
                      <a:pt x="645" y="662"/>
                    </a:lnTo>
                    <a:lnTo>
                      <a:pt x="647" y="662"/>
                    </a:lnTo>
                    <a:lnTo>
                      <a:pt x="647" y="664"/>
                    </a:lnTo>
                    <a:lnTo>
                      <a:pt x="649" y="664"/>
                    </a:lnTo>
                    <a:lnTo>
                      <a:pt x="649" y="666"/>
                    </a:lnTo>
                    <a:lnTo>
                      <a:pt x="649" y="668"/>
                    </a:lnTo>
                    <a:lnTo>
                      <a:pt x="649" y="670"/>
                    </a:lnTo>
                    <a:lnTo>
                      <a:pt x="651" y="670"/>
                    </a:lnTo>
                    <a:lnTo>
                      <a:pt x="651" y="672"/>
                    </a:lnTo>
                    <a:lnTo>
                      <a:pt x="651" y="676"/>
                    </a:lnTo>
                    <a:lnTo>
                      <a:pt x="651" y="678"/>
                    </a:lnTo>
                    <a:lnTo>
                      <a:pt x="649" y="680"/>
                    </a:lnTo>
                    <a:lnTo>
                      <a:pt x="649" y="681"/>
                    </a:lnTo>
                    <a:lnTo>
                      <a:pt x="649" y="683"/>
                    </a:lnTo>
                    <a:lnTo>
                      <a:pt x="647" y="683"/>
                    </a:lnTo>
                    <a:lnTo>
                      <a:pt x="647" y="685"/>
                    </a:lnTo>
                    <a:lnTo>
                      <a:pt x="647" y="687"/>
                    </a:lnTo>
                    <a:lnTo>
                      <a:pt x="647" y="689"/>
                    </a:lnTo>
                    <a:lnTo>
                      <a:pt x="649" y="689"/>
                    </a:lnTo>
                    <a:lnTo>
                      <a:pt x="651" y="691"/>
                    </a:lnTo>
                    <a:lnTo>
                      <a:pt x="653" y="691"/>
                    </a:lnTo>
                    <a:lnTo>
                      <a:pt x="653" y="693"/>
                    </a:lnTo>
                    <a:lnTo>
                      <a:pt x="655" y="693"/>
                    </a:lnTo>
                    <a:lnTo>
                      <a:pt x="655" y="695"/>
                    </a:lnTo>
                    <a:lnTo>
                      <a:pt x="657" y="697"/>
                    </a:lnTo>
                    <a:lnTo>
                      <a:pt x="659" y="697"/>
                    </a:lnTo>
                    <a:lnTo>
                      <a:pt x="661" y="697"/>
                    </a:lnTo>
                    <a:lnTo>
                      <a:pt x="663" y="697"/>
                    </a:lnTo>
                    <a:lnTo>
                      <a:pt x="664" y="697"/>
                    </a:lnTo>
                    <a:lnTo>
                      <a:pt x="666" y="699"/>
                    </a:lnTo>
                    <a:lnTo>
                      <a:pt x="668" y="699"/>
                    </a:lnTo>
                    <a:lnTo>
                      <a:pt x="668" y="701"/>
                    </a:lnTo>
                    <a:lnTo>
                      <a:pt x="666" y="701"/>
                    </a:lnTo>
                    <a:lnTo>
                      <a:pt x="666" y="703"/>
                    </a:lnTo>
                    <a:lnTo>
                      <a:pt x="666" y="705"/>
                    </a:lnTo>
                    <a:lnTo>
                      <a:pt x="664" y="705"/>
                    </a:lnTo>
                    <a:lnTo>
                      <a:pt x="664" y="706"/>
                    </a:lnTo>
                    <a:lnTo>
                      <a:pt x="664" y="708"/>
                    </a:lnTo>
                    <a:lnTo>
                      <a:pt x="663" y="708"/>
                    </a:lnTo>
                    <a:lnTo>
                      <a:pt x="664" y="708"/>
                    </a:lnTo>
                    <a:lnTo>
                      <a:pt x="664" y="710"/>
                    </a:lnTo>
                    <a:lnTo>
                      <a:pt x="663" y="712"/>
                    </a:lnTo>
                    <a:lnTo>
                      <a:pt x="663" y="714"/>
                    </a:lnTo>
                    <a:lnTo>
                      <a:pt x="663" y="716"/>
                    </a:lnTo>
                    <a:lnTo>
                      <a:pt x="661" y="716"/>
                    </a:lnTo>
                    <a:lnTo>
                      <a:pt x="663" y="722"/>
                    </a:lnTo>
                    <a:lnTo>
                      <a:pt x="661" y="724"/>
                    </a:lnTo>
                    <a:lnTo>
                      <a:pt x="661" y="726"/>
                    </a:lnTo>
                    <a:lnTo>
                      <a:pt x="661" y="728"/>
                    </a:lnTo>
                    <a:lnTo>
                      <a:pt x="659" y="728"/>
                    </a:lnTo>
                    <a:lnTo>
                      <a:pt x="659" y="729"/>
                    </a:lnTo>
                    <a:lnTo>
                      <a:pt x="659" y="731"/>
                    </a:lnTo>
                    <a:lnTo>
                      <a:pt x="659" y="733"/>
                    </a:lnTo>
                    <a:lnTo>
                      <a:pt x="659" y="735"/>
                    </a:lnTo>
                    <a:lnTo>
                      <a:pt x="659" y="737"/>
                    </a:lnTo>
                    <a:lnTo>
                      <a:pt x="659" y="739"/>
                    </a:lnTo>
                    <a:lnTo>
                      <a:pt x="661" y="739"/>
                    </a:lnTo>
                    <a:lnTo>
                      <a:pt x="663" y="739"/>
                    </a:lnTo>
                    <a:lnTo>
                      <a:pt x="664" y="739"/>
                    </a:lnTo>
                    <a:lnTo>
                      <a:pt x="664" y="741"/>
                    </a:lnTo>
                    <a:lnTo>
                      <a:pt x="666" y="741"/>
                    </a:lnTo>
                    <a:lnTo>
                      <a:pt x="668" y="741"/>
                    </a:lnTo>
                    <a:lnTo>
                      <a:pt x="664" y="745"/>
                    </a:lnTo>
                    <a:lnTo>
                      <a:pt x="664" y="749"/>
                    </a:lnTo>
                    <a:lnTo>
                      <a:pt x="664" y="751"/>
                    </a:lnTo>
                    <a:lnTo>
                      <a:pt x="663" y="751"/>
                    </a:lnTo>
                    <a:lnTo>
                      <a:pt x="663" y="749"/>
                    </a:lnTo>
                    <a:lnTo>
                      <a:pt x="661" y="749"/>
                    </a:lnTo>
                    <a:lnTo>
                      <a:pt x="661" y="747"/>
                    </a:lnTo>
                    <a:lnTo>
                      <a:pt x="659" y="747"/>
                    </a:lnTo>
                    <a:lnTo>
                      <a:pt x="659" y="745"/>
                    </a:lnTo>
                    <a:lnTo>
                      <a:pt x="655" y="749"/>
                    </a:lnTo>
                    <a:lnTo>
                      <a:pt x="649" y="751"/>
                    </a:lnTo>
                    <a:lnTo>
                      <a:pt x="647" y="751"/>
                    </a:lnTo>
                    <a:lnTo>
                      <a:pt x="645" y="751"/>
                    </a:lnTo>
                    <a:lnTo>
                      <a:pt x="643" y="751"/>
                    </a:lnTo>
                    <a:lnTo>
                      <a:pt x="643" y="749"/>
                    </a:lnTo>
                    <a:lnTo>
                      <a:pt x="641" y="749"/>
                    </a:lnTo>
                    <a:lnTo>
                      <a:pt x="641" y="751"/>
                    </a:lnTo>
                    <a:lnTo>
                      <a:pt x="640" y="751"/>
                    </a:lnTo>
                    <a:lnTo>
                      <a:pt x="640" y="753"/>
                    </a:lnTo>
                    <a:lnTo>
                      <a:pt x="640" y="754"/>
                    </a:lnTo>
                    <a:lnTo>
                      <a:pt x="640" y="756"/>
                    </a:lnTo>
                    <a:lnTo>
                      <a:pt x="641" y="758"/>
                    </a:lnTo>
                    <a:lnTo>
                      <a:pt x="641" y="760"/>
                    </a:lnTo>
                    <a:lnTo>
                      <a:pt x="641" y="762"/>
                    </a:lnTo>
                    <a:lnTo>
                      <a:pt x="643" y="762"/>
                    </a:lnTo>
                    <a:lnTo>
                      <a:pt x="643" y="764"/>
                    </a:lnTo>
                    <a:lnTo>
                      <a:pt x="643" y="766"/>
                    </a:lnTo>
                    <a:lnTo>
                      <a:pt x="643" y="768"/>
                    </a:lnTo>
                    <a:lnTo>
                      <a:pt x="645" y="766"/>
                    </a:lnTo>
                    <a:lnTo>
                      <a:pt x="647" y="766"/>
                    </a:lnTo>
                    <a:lnTo>
                      <a:pt x="645" y="768"/>
                    </a:lnTo>
                    <a:lnTo>
                      <a:pt x="645" y="770"/>
                    </a:lnTo>
                    <a:lnTo>
                      <a:pt x="647" y="770"/>
                    </a:lnTo>
                    <a:lnTo>
                      <a:pt x="647" y="772"/>
                    </a:lnTo>
                    <a:lnTo>
                      <a:pt x="647" y="774"/>
                    </a:lnTo>
                    <a:lnTo>
                      <a:pt x="645" y="774"/>
                    </a:lnTo>
                    <a:lnTo>
                      <a:pt x="643" y="776"/>
                    </a:lnTo>
                    <a:lnTo>
                      <a:pt x="641" y="776"/>
                    </a:lnTo>
                    <a:lnTo>
                      <a:pt x="640" y="777"/>
                    </a:lnTo>
                    <a:lnTo>
                      <a:pt x="640" y="779"/>
                    </a:lnTo>
                    <a:lnTo>
                      <a:pt x="638" y="779"/>
                    </a:lnTo>
                    <a:lnTo>
                      <a:pt x="638" y="781"/>
                    </a:lnTo>
                    <a:lnTo>
                      <a:pt x="640" y="783"/>
                    </a:lnTo>
                    <a:lnTo>
                      <a:pt x="641" y="783"/>
                    </a:lnTo>
                    <a:lnTo>
                      <a:pt x="641" y="785"/>
                    </a:lnTo>
                    <a:lnTo>
                      <a:pt x="643" y="785"/>
                    </a:lnTo>
                    <a:lnTo>
                      <a:pt x="643" y="787"/>
                    </a:lnTo>
                    <a:lnTo>
                      <a:pt x="645" y="787"/>
                    </a:lnTo>
                    <a:lnTo>
                      <a:pt x="647" y="789"/>
                    </a:lnTo>
                    <a:lnTo>
                      <a:pt x="647" y="791"/>
                    </a:lnTo>
                    <a:lnTo>
                      <a:pt x="647" y="793"/>
                    </a:lnTo>
                    <a:lnTo>
                      <a:pt x="649" y="795"/>
                    </a:lnTo>
                    <a:lnTo>
                      <a:pt x="649" y="797"/>
                    </a:lnTo>
                    <a:lnTo>
                      <a:pt x="649" y="799"/>
                    </a:lnTo>
                    <a:lnTo>
                      <a:pt x="649" y="801"/>
                    </a:lnTo>
                    <a:lnTo>
                      <a:pt x="649" y="802"/>
                    </a:lnTo>
                    <a:lnTo>
                      <a:pt x="651" y="802"/>
                    </a:lnTo>
                    <a:lnTo>
                      <a:pt x="651" y="806"/>
                    </a:lnTo>
                    <a:lnTo>
                      <a:pt x="655" y="810"/>
                    </a:lnTo>
                    <a:lnTo>
                      <a:pt x="655" y="812"/>
                    </a:lnTo>
                    <a:lnTo>
                      <a:pt x="653" y="812"/>
                    </a:lnTo>
                    <a:lnTo>
                      <a:pt x="655" y="814"/>
                    </a:lnTo>
                    <a:lnTo>
                      <a:pt x="657" y="818"/>
                    </a:lnTo>
                    <a:lnTo>
                      <a:pt x="657" y="820"/>
                    </a:lnTo>
                    <a:lnTo>
                      <a:pt x="659" y="820"/>
                    </a:lnTo>
                    <a:lnTo>
                      <a:pt x="659" y="822"/>
                    </a:lnTo>
                    <a:lnTo>
                      <a:pt x="661" y="822"/>
                    </a:lnTo>
                    <a:lnTo>
                      <a:pt x="663" y="822"/>
                    </a:lnTo>
                    <a:lnTo>
                      <a:pt x="663" y="824"/>
                    </a:lnTo>
                    <a:lnTo>
                      <a:pt x="664" y="824"/>
                    </a:lnTo>
                    <a:lnTo>
                      <a:pt x="666" y="824"/>
                    </a:lnTo>
                    <a:lnTo>
                      <a:pt x="666" y="825"/>
                    </a:lnTo>
                    <a:lnTo>
                      <a:pt x="666" y="827"/>
                    </a:lnTo>
                    <a:lnTo>
                      <a:pt x="668" y="827"/>
                    </a:lnTo>
                    <a:lnTo>
                      <a:pt x="670" y="829"/>
                    </a:lnTo>
                    <a:lnTo>
                      <a:pt x="672" y="829"/>
                    </a:lnTo>
                    <a:lnTo>
                      <a:pt x="672" y="831"/>
                    </a:lnTo>
                    <a:lnTo>
                      <a:pt x="674" y="831"/>
                    </a:lnTo>
                    <a:lnTo>
                      <a:pt x="674" y="833"/>
                    </a:lnTo>
                    <a:lnTo>
                      <a:pt x="676" y="835"/>
                    </a:lnTo>
                    <a:lnTo>
                      <a:pt x="678" y="835"/>
                    </a:lnTo>
                    <a:lnTo>
                      <a:pt x="680" y="835"/>
                    </a:lnTo>
                    <a:lnTo>
                      <a:pt x="678" y="835"/>
                    </a:lnTo>
                    <a:lnTo>
                      <a:pt x="678" y="837"/>
                    </a:lnTo>
                    <a:lnTo>
                      <a:pt x="680" y="837"/>
                    </a:lnTo>
                    <a:lnTo>
                      <a:pt x="680" y="835"/>
                    </a:lnTo>
                    <a:lnTo>
                      <a:pt x="680" y="837"/>
                    </a:lnTo>
                    <a:lnTo>
                      <a:pt x="682" y="837"/>
                    </a:lnTo>
                    <a:lnTo>
                      <a:pt x="684" y="837"/>
                    </a:lnTo>
                    <a:lnTo>
                      <a:pt x="684" y="835"/>
                    </a:lnTo>
                    <a:lnTo>
                      <a:pt x="682" y="835"/>
                    </a:lnTo>
                    <a:lnTo>
                      <a:pt x="684" y="835"/>
                    </a:lnTo>
                    <a:lnTo>
                      <a:pt x="682" y="835"/>
                    </a:lnTo>
                    <a:lnTo>
                      <a:pt x="682" y="833"/>
                    </a:lnTo>
                    <a:lnTo>
                      <a:pt x="684" y="831"/>
                    </a:lnTo>
                    <a:lnTo>
                      <a:pt x="684" y="833"/>
                    </a:lnTo>
                    <a:lnTo>
                      <a:pt x="684" y="835"/>
                    </a:lnTo>
                    <a:lnTo>
                      <a:pt x="686" y="835"/>
                    </a:lnTo>
                    <a:lnTo>
                      <a:pt x="686" y="837"/>
                    </a:lnTo>
                    <a:lnTo>
                      <a:pt x="688" y="837"/>
                    </a:lnTo>
                    <a:lnTo>
                      <a:pt x="688" y="839"/>
                    </a:lnTo>
                    <a:lnTo>
                      <a:pt x="688" y="847"/>
                    </a:lnTo>
                    <a:lnTo>
                      <a:pt x="686" y="847"/>
                    </a:lnTo>
                    <a:lnTo>
                      <a:pt x="686" y="854"/>
                    </a:lnTo>
                    <a:lnTo>
                      <a:pt x="686" y="862"/>
                    </a:lnTo>
                    <a:lnTo>
                      <a:pt x="688" y="862"/>
                    </a:lnTo>
                    <a:lnTo>
                      <a:pt x="689" y="866"/>
                    </a:lnTo>
                    <a:lnTo>
                      <a:pt x="693" y="870"/>
                    </a:lnTo>
                    <a:lnTo>
                      <a:pt x="691" y="872"/>
                    </a:lnTo>
                    <a:lnTo>
                      <a:pt x="691" y="873"/>
                    </a:lnTo>
                    <a:lnTo>
                      <a:pt x="689" y="873"/>
                    </a:lnTo>
                    <a:lnTo>
                      <a:pt x="691" y="873"/>
                    </a:lnTo>
                    <a:lnTo>
                      <a:pt x="691" y="875"/>
                    </a:lnTo>
                    <a:lnTo>
                      <a:pt x="693" y="875"/>
                    </a:lnTo>
                    <a:lnTo>
                      <a:pt x="693" y="877"/>
                    </a:lnTo>
                    <a:lnTo>
                      <a:pt x="695" y="879"/>
                    </a:lnTo>
                    <a:lnTo>
                      <a:pt x="697" y="879"/>
                    </a:lnTo>
                    <a:lnTo>
                      <a:pt x="699" y="879"/>
                    </a:lnTo>
                    <a:lnTo>
                      <a:pt x="701" y="879"/>
                    </a:lnTo>
                    <a:lnTo>
                      <a:pt x="703" y="879"/>
                    </a:lnTo>
                    <a:lnTo>
                      <a:pt x="705" y="881"/>
                    </a:lnTo>
                    <a:lnTo>
                      <a:pt x="703" y="883"/>
                    </a:lnTo>
                    <a:lnTo>
                      <a:pt x="705" y="883"/>
                    </a:lnTo>
                    <a:lnTo>
                      <a:pt x="711" y="885"/>
                    </a:lnTo>
                    <a:lnTo>
                      <a:pt x="711" y="883"/>
                    </a:lnTo>
                    <a:lnTo>
                      <a:pt x="713" y="883"/>
                    </a:lnTo>
                    <a:lnTo>
                      <a:pt x="714" y="883"/>
                    </a:lnTo>
                    <a:lnTo>
                      <a:pt x="714" y="885"/>
                    </a:lnTo>
                    <a:lnTo>
                      <a:pt x="713" y="887"/>
                    </a:lnTo>
                    <a:lnTo>
                      <a:pt x="713" y="889"/>
                    </a:lnTo>
                    <a:lnTo>
                      <a:pt x="711" y="887"/>
                    </a:lnTo>
                    <a:lnTo>
                      <a:pt x="711" y="889"/>
                    </a:lnTo>
                    <a:lnTo>
                      <a:pt x="709" y="891"/>
                    </a:lnTo>
                    <a:lnTo>
                      <a:pt x="707" y="891"/>
                    </a:lnTo>
                    <a:lnTo>
                      <a:pt x="705" y="891"/>
                    </a:lnTo>
                    <a:lnTo>
                      <a:pt x="705" y="893"/>
                    </a:lnTo>
                    <a:lnTo>
                      <a:pt x="705" y="895"/>
                    </a:lnTo>
                    <a:lnTo>
                      <a:pt x="703" y="897"/>
                    </a:lnTo>
                    <a:lnTo>
                      <a:pt x="701" y="898"/>
                    </a:lnTo>
                    <a:lnTo>
                      <a:pt x="699" y="897"/>
                    </a:lnTo>
                    <a:lnTo>
                      <a:pt x="697" y="895"/>
                    </a:lnTo>
                    <a:lnTo>
                      <a:pt x="695" y="895"/>
                    </a:lnTo>
                    <a:lnTo>
                      <a:pt x="695" y="893"/>
                    </a:lnTo>
                    <a:lnTo>
                      <a:pt x="697" y="893"/>
                    </a:lnTo>
                    <a:lnTo>
                      <a:pt x="697" y="891"/>
                    </a:lnTo>
                    <a:lnTo>
                      <a:pt x="693" y="891"/>
                    </a:lnTo>
                    <a:lnTo>
                      <a:pt x="691" y="891"/>
                    </a:lnTo>
                    <a:lnTo>
                      <a:pt x="689" y="891"/>
                    </a:lnTo>
                    <a:lnTo>
                      <a:pt x="689" y="889"/>
                    </a:lnTo>
                    <a:lnTo>
                      <a:pt x="688" y="889"/>
                    </a:lnTo>
                    <a:lnTo>
                      <a:pt x="686" y="889"/>
                    </a:lnTo>
                    <a:lnTo>
                      <a:pt x="686" y="891"/>
                    </a:lnTo>
                    <a:lnTo>
                      <a:pt x="684" y="891"/>
                    </a:lnTo>
                    <a:lnTo>
                      <a:pt x="682" y="893"/>
                    </a:lnTo>
                    <a:lnTo>
                      <a:pt x="680" y="893"/>
                    </a:lnTo>
                    <a:lnTo>
                      <a:pt x="678" y="893"/>
                    </a:lnTo>
                    <a:lnTo>
                      <a:pt x="674" y="893"/>
                    </a:lnTo>
                    <a:lnTo>
                      <a:pt x="670" y="893"/>
                    </a:lnTo>
                    <a:lnTo>
                      <a:pt x="666" y="893"/>
                    </a:lnTo>
                    <a:lnTo>
                      <a:pt x="668" y="897"/>
                    </a:lnTo>
                    <a:lnTo>
                      <a:pt x="670" y="898"/>
                    </a:lnTo>
                    <a:lnTo>
                      <a:pt x="670" y="900"/>
                    </a:lnTo>
                    <a:lnTo>
                      <a:pt x="670" y="902"/>
                    </a:lnTo>
                    <a:lnTo>
                      <a:pt x="668" y="902"/>
                    </a:lnTo>
                    <a:lnTo>
                      <a:pt x="670" y="904"/>
                    </a:lnTo>
                    <a:lnTo>
                      <a:pt x="668" y="904"/>
                    </a:lnTo>
                    <a:lnTo>
                      <a:pt x="668" y="902"/>
                    </a:lnTo>
                    <a:lnTo>
                      <a:pt x="668" y="904"/>
                    </a:lnTo>
                    <a:lnTo>
                      <a:pt x="666" y="902"/>
                    </a:lnTo>
                    <a:lnTo>
                      <a:pt x="663" y="900"/>
                    </a:lnTo>
                    <a:lnTo>
                      <a:pt x="661" y="902"/>
                    </a:lnTo>
                    <a:lnTo>
                      <a:pt x="661" y="904"/>
                    </a:lnTo>
                    <a:lnTo>
                      <a:pt x="657" y="902"/>
                    </a:lnTo>
                    <a:lnTo>
                      <a:pt x="655" y="900"/>
                    </a:lnTo>
                    <a:lnTo>
                      <a:pt x="653" y="898"/>
                    </a:lnTo>
                    <a:lnTo>
                      <a:pt x="651" y="897"/>
                    </a:lnTo>
                    <a:lnTo>
                      <a:pt x="651" y="893"/>
                    </a:lnTo>
                    <a:lnTo>
                      <a:pt x="645" y="893"/>
                    </a:lnTo>
                    <a:lnTo>
                      <a:pt x="645" y="891"/>
                    </a:lnTo>
                    <a:lnTo>
                      <a:pt x="641" y="885"/>
                    </a:lnTo>
                    <a:lnTo>
                      <a:pt x="640" y="885"/>
                    </a:lnTo>
                    <a:lnTo>
                      <a:pt x="640" y="887"/>
                    </a:lnTo>
                    <a:lnTo>
                      <a:pt x="640" y="889"/>
                    </a:lnTo>
                    <a:lnTo>
                      <a:pt x="638" y="889"/>
                    </a:lnTo>
                    <a:lnTo>
                      <a:pt x="638" y="891"/>
                    </a:lnTo>
                    <a:lnTo>
                      <a:pt x="636" y="891"/>
                    </a:lnTo>
                    <a:lnTo>
                      <a:pt x="634" y="891"/>
                    </a:lnTo>
                    <a:lnTo>
                      <a:pt x="630" y="891"/>
                    </a:lnTo>
                    <a:lnTo>
                      <a:pt x="630" y="895"/>
                    </a:lnTo>
                    <a:lnTo>
                      <a:pt x="630" y="897"/>
                    </a:lnTo>
                    <a:lnTo>
                      <a:pt x="630" y="898"/>
                    </a:lnTo>
                    <a:lnTo>
                      <a:pt x="630" y="900"/>
                    </a:lnTo>
                    <a:lnTo>
                      <a:pt x="626" y="898"/>
                    </a:lnTo>
                    <a:lnTo>
                      <a:pt x="624" y="898"/>
                    </a:lnTo>
                    <a:lnTo>
                      <a:pt x="622" y="895"/>
                    </a:lnTo>
                    <a:lnTo>
                      <a:pt x="620" y="895"/>
                    </a:lnTo>
                    <a:lnTo>
                      <a:pt x="620" y="893"/>
                    </a:lnTo>
                    <a:lnTo>
                      <a:pt x="618" y="893"/>
                    </a:lnTo>
                    <a:lnTo>
                      <a:pt x="616" y="891"/>
                    </a:lnTo>
                    <a:lnTo>
                      <a:pt x="613" y="893"/>
                    </a:lnTo>
                    <a:lnTo>
                      <a:pt x="613" y="895"/>
                    </a:lnTo>
                    <a:lnTo>
                      <a:pt x="609" y="898"/>
                    </a:lnTo>
                    <a:lnTo>
                      <a:pt x="607" y="902"/>
                    </a:lnTo>
                    <a:lnTo>
                      <a:pt x="615" y="908"/>
                    </a:lnTo>
                    <a:lnTo>
                      <a:pt x="615" y="910"/>
                    </a:lnTo>
                    <a:lnTo>
                      <a:pt x="613" y="910"/>
                    </a:lnTo>
                    <a:lnTo>
                      <a:pt x="611" y="910"/>
                    </a:lnTo>
                    <a:lnTo>
                      <a:pt x="609" y="912"/>
                    </a:lnTo>
                    <a:lnTo>
                      <a:pt x="607" y="914"/>
                    </a:lnTo>
                    <a:lnTo>
                      <a:pt x="601" y="912"/>
                    </a:lnTo>
                    <a:lnTo>
                      <a:pt x="597" y="912"/>
                    </a:lnTo>
                    <a:lnTo>
                      <a:pt x="597" y="914"/>
                    </a:lnTo>
                    <a:lnTo>
                      <a:pt x="595" y="914"/>
                    </a:lnTo>
                    <a:lnTo>
                      <a:pt x="595" y="916"/>
                    </a:lnTo>
                    <a:lnTo>
                      <a:pt x="595" y="918"/>
                    </a:lnTo>
                    <a:lnTo>
                      <a:pt x="595" y="920"/>
                    </a:lnTo>
                    <a:lnTo>
                      <a:pt x="595" y="921"/>
                    </a:lnTo>
                    <a:lnTo>
                      <a:pt x="595" y="923"/>
                    </a:lnTo>
                    <a:lnTo>
                      <a:pt x="595" y="925"/>
                    </a:lnTo>
                    <a:lnTo>
                      <a:pt x="592" y="923"/>
                    </a:lnTo>
                    <a:lnTo>
                      <a:pt x="590" y="923"/>
                    </a:lnTo>
                    <a:lnTo>
                      <a:pt x="588" y="927"/>
                    </a:lnTo>
                    <a:lnTo>
                      <a:pt x="586" y="925"/>
                    </a:lnTo>
                    <a:lnTo>
                      <a:pt x="582" y="925"/>
                    </a:lnTo>
                    <a:lnTo>
                      <a:pt x="578" y="923"/>
                    </a:lnTo>
                    <a:lnTo>
                      <a:pt x="580" y="923"/>
                    </a:lnTo>
                    <a:lnTo>
                      <a:pt x="580" y="921"/>
                    </a:lnTo>
                    <a:lnTo>
                      <a:pt x="578" y="921"/>
                    </a:lnTo>
                    <a:lnTo>
                      <a:pt x="578" y="923"/>
                    </a:lnTo>
                    <a:lnTo>
                      <a:pt x="578" y="925"/>
                    </a:lnTo>
                    <a:lnTo>
                      <a:pt x="576" y="925"/>
                    </a:lnTo>
                    <a:lnTo>
                      <a:pt x="574" y="925"/>
                    </a:lnTo>
                    <a:lnTo>
                      <a:pt x="568" y="921"/>
                    </a:lnTo>
                    <a:lnTo>
                      <a:pt x="565" y="920"/>
                    </a:lnTo>
                    <a:lnTo>
                      <a:pt x="563" y="921"/>
                    </a:lnTo>
                    <a:lnTo>
                      <a:pt x="561" y="923"/>
                    </a:lnTo>
                    <a:lnTo>
                      <a:pt x="559" y="925"/>
                    </a:lnTo>
                    <a:lnTo>
                      <a:pt x="559" y="927"/>
                    </a:lnTo>
                    <a:lnTo>
                      <a:pt x="557" y="927"/>
                    </a:lnTo>
                    <a:lnTo>
                      <a:pt x="555" y="929"/>
                    </a:lnTo>
                    <a:lnTo>
                      <a:pt x="553" y="931"/>
                    </a:lnTo>
                    <a:lnTo>
                      <a:pt x="549" y="931"/>
                    </a:lnTo>
                    <a:lnTo>
                      <a:pt x="547" y="931"/>
                    </a:lnTo>
                    <a:lnTo>
                      <a:pt x="545" y="933"/>
                    </a:lnTo>
                    <a:lnTo>
                      <a:pt x="544" y="933"/>
                    </a:lnTo>
                    <a:lnTo>
                      <a:pt x="544" y="935"/>
                    </a:lnTo>
                    <a:lnTo>
                      <a:pt x="545" y="937"/>
                    </a:lnTo>
                    <a:lnTo>
                      <a:pt x="544" y="939"/>
                    </a:lnTo>
                    <a:lnTo>
                      <a:pt x="544" y="941"/>
                    </a:lnTo>
                    <a:lnTo>
                      <a:pt x="542" y="943"/>
                    </a:lnTo>
                    <a:lnTo>
                      <a:pt x="542" y="941"/>
                    </a:lnTo>
                    <a:lnTo>
                      <a:pt x="542" y="943"/>
                    </a:lnTo>
                    <a:lnTo>
                      <a:pt x="540" y="943"/>
                    </a:lnTo>
                    <a:lnTo>
                      <a:pt x="540" y="944"/>
                    </a:lnTo>
                    <a:lnTo>
                      <a:pt x="536" y="948"/>
                    </a:lnTo>
                    <a:lnTo>
                      <a:pt x="536" y="950"/>
                    </a:lnTo>
                    <a:lnTo>
                      <a:pt x="534" y="950"/>
                    </a:lnTo>
                    <a:lnTo>
                      <a:pt x="532" y="950"/>
                    </a:lnTo>
                    <a:lnTo>
                      <a:pt x="532" y="946"/>
                    </a:lnTo>
                    <a:lnTo>
                      <a:pt x="532" y="944"/>
                    </a:lnTo>
                    <a:lnTo>
                      <a:pt x="530" y="943"/>
                    </a:lnTo>
                    <a:lnTo>
                      <a:pt x="526" y="943"/>
                    </a:lnTo>
                    <a:lnTo>
                      <a:pt x="526" y="944"/>
                    </a:lnTo>
                    <a:lnTo>
                      <a:pt x="524" y="944"/>
                    </a:lnTo>
                    <a:lnTo>
                      <a:pt x="524" y="943"/>
                    </a:lnTo>
                    <a:lnTo>
                      <a:pt x="522" y="943"/>
                    </a:lnTo>
                    <a:lnTo>
                      <a:pt x="520" y="943"/>
                    </a:lnTo>
                    <a:lnTo>
                      <a:pt x="519" y="943"/>
                    </a:lnTo>
                    <a:lnTo>
                      <a:pt x="515" y="941"/>
                    </a:lnTo>
                    <a:lnTo>
                      <a:pt x="515" y="943"/>
                    </a:lnTo>
                    <a:lnTo>
                      <a:pt x="515" y="948"/>
                    </a:lnTo>
                    <a:lnTo>
                      <a:pt x="517" y="950"/>
                    </a:lnTo>
                    <a:lnTo>
                      <a:pt x="517" y="952"/>
                    </a:lnTo>
                    <a:lnTo>
                      <a:pt x="515" y="952"/>
                    </a:lnTo>
                    <a:lnTo>
                      <a:pt x="513" y="954"/>
                    </a:lnTo>
                    <a:lnTo>
                      <a:pt x="507" y="954"/>
                    </a:lnTo>
                    <a:lnTo>
                      <a:pt x="505" y="954"/>
                    </a:lnTo>
                    <a:lnTo>
                      <a:pt x="503" y="952"/>
                    </a:lnTo>
                    <a:lnTo>
                      <a:pt x="497" y="950"/>
                    </a:lnTo>
                    <a:lnTo>
                      <a:pt x="486" y="950"/>
                    </a:lnTo>
                    <a:lnTo>
                      <a:pt x="484" y="948"/>
                    </a:lnTo>
                    <a:lnTo>
                      <a:pt x="482" y="948"/>
                    </a:lnTo>
                    <a:lnTo>
                      <a:pt x="480" y="950"/>
                    </a:lnTo>
                    <a:lnTo>
                      <a:pt x="478" y="952"/>
                    </a:lnTo>
                    <a:lnTo>
                      <a:pt x="476" y="950"/>
                    </a:lnTo>
                    <a:lnTo>
                      <a:pt x="471" y="948"/>
                    </a:lnTo>
                    <a:lnTo>
                      <a:pt x="469" y="950"/>
                    </a:lnTo>
                    <a:lnTo>
                      <a:pt x="469" y="952"/>
                    </a:lnTo>
                    <a:lnTo>
                      <a:pt x="465" y="952"/>
                    </a:lnTo>
                    <a:lnTo>
                      <a:pt x="461" y="952"/>
                    </a:lnTo>
                    <a:lnTo>
                      <a:pt x="459" y="954"/>
                    </a:lnTo>
                    <a:lnTo>
                      <a:pt x="457" y="954"/>
                    </a:lnTo>
                    <a:lnTo>
                      <a:pt x="455" y="954"/>
                    </a:lnTo>
                    <a:lnTo>
                      <a:pt x="453" y="954"/>
                    </a:lnTo>
                    <a:lnTo>
                      <a:pt x="453" y="952"/>
                    </a:lnTo>
                    <a:lnTo>
                      <a:pt x="455" y="952"/>
                    </a:lnTo>
                    <a:lnTo>
                      <a:pt x="455" y="950"/>
                    </a:lnTo>
                    <a:lnTo>
                      <a:pt x="455" y="948"/>
                    </a:lnTo>
                    <a:lnTo>
                      <a:pt x="451" y="948"/>
                    </a:lnTo>
                    <a:lnTo>
                      <a:pt x="449" y="948"/>
                    </a:lnTo>
                    <a:lnTo>
                      <a:pt x="449" y="950"/>
                    </a:lnTo>
                    <a:lnTo>
                      <a:pt x="448" y="950"/>
                    </a:lnTo>
                    <a:lnTo>
                      <a:pt x="448" y="952"/>
                    </a:lnTo>
                    <a:lnTo>
                      <a:pt x="446" y="952"/>
                    </a:lnTo>
                    <a:lnTo>
                      <a:pt x="444" y="950"/>
                    </a:lnTo>
                    <a:lnTo>
                      <a:pt x="444" y="952"/>
                    </a:lnTo>
                    <a:lnTo>
                      <a:pt x="442" y="952"/>
                    </a:lnTo>
                    <a:lnTo>
                      <a:pt x="442" y="954"/>
                    </a:lnTo>
                    <a:lnTo>
                      <a:pt x="442" y="958"/>
                    </a:lnTo>
                    <a:lnTo>
                      <a:pt x="444" y="958"/>
                    </a:lnTo>
                    <a:lnTo>
                      <a:pt x="442" y="958"/>
                    </a:lnTo>
                    <a:lnTo>
                      <a:pt x="442" y="960"/>
                    </a:lnTo>
                    <a:lnTo>
                      <a:pt x="440" y="962"/>
                    </a:lnTo>
                    <a:lnTo>
                      <a:pt x="442" y="964"/>
                    </a:lnTo>
                    <a:lnTo>
                      <a:pt x="442" y="966"/>
                    </a:lnTo>
                    <a:lnTo>
                      <a:pt x="440" y="966"/>
                    </a:lnTo>
                    <a:lnTo>
                      <a:pt x="440" y="968"/>
                    </a:lnTo>
                    <a:lnTo>
                      <a:pt x="442" y="968"/>
                    </a:lnTo>
                    <a:lnTo>
                      <a:pt x="440" y="968"/>
                    </a:lnTo>
                    <a:lnTo>
                      <a:pt x="440" y="969"/>
                    </a:lnTo>
                    <a:lnTo>
                      <a:pt x="438" y="969"/>
                    </a:lnTo>
                    <a:lnTo>
                      <a:pt x="438" y="968"/>
                    </a:lnTo>
                    <a:lnTo>
                      <a:pt x="436" y="968"/>
                    </a:lnTo>
                    <a:lnTo>
                      <a:pt x="436" y="966"/>
                    </a:lnTo>
                    <a:lnTo>
                      <a:pt x="434" y="966"/>
                    </a:lnTo>
                    <a:lnTo>
                      <a:pt x="434" y="964"/>
                    </a:lnTo>
                    <a:lnTo>
                      <a:pt x="434" y="962"/>
                    </a:lnTo>
                    <a:lnTo>
                      <a:pt x="436" y="962"/>
                    </a:lnTo>
                    <a:lnTo>
                      <a:pt x="436" y="960"/>
                    </a:lnTo>
                    <a:lnTo>
                      <a:pt x="436" y="958"/>
                    </a:lnTo>
                    <a:lnTo>
                      <a:pt x="434" y="958"/>
                    </a:lnTo>
                    <a:lnTo>
                      <a:pt x="434" y="960"/>
                    </a:lnTo>
                    <a:lnTo>
                      <a:pt x="436" y="960"/>
                    </a:lnTo>
                    <a:lnTo>
                      <a:pt x="434" y="960"/>
                    </a:lnTo>
                    <a:lnTo>
                      <a:pt x="434" y="962"/>
                    </a:lnTo>
                    <a:lnTo>
                      <a:pt x="434" y="964"/>
                    </a:lnTo>
                    <a:lnTo>
                      <a:pt x="432" y="964"/>
                    </a:lnTo>
                    <a:lnTo>
                      <a:pt x="432" y="966"/>
                    </a:lnTo>
                    <a:lnTo>
                      <a:pt x="430" y="968"/>
                    </a:lnTo>
                    <a:lnTo>
                      <a:pt x="432" y="968"/>
                    </a:lnTo>
                    <a:lnTo>
                      <a:pt x="430" y="968"/>
                    </a:lnTo>
                    <a:lnTo>
                      <a:pt x="428" y="968"/>
                    </a:lnTo>
                    <a:lnTo>
                      <a:pt x="430" y="966"/>
                    </a:lnTo>
                    <a:lnTo>
                      <a:pt x="428" y="966"/>
                    </a:lnTo>
                    <a:lnTo>
                      <a:pt x="428" y="968"/>
                    </a:lnTo>
                    <a:lnTo>
                      <a:pt x="426" y="966"/>
                    </a:lnTo>
                    <a:lnTo>
                      <a:pt x="424" y="966"/>
                    </a:lnTo>
                    <a:lnTo>
                      <a:pt x="424" y="968"/>
                    </a:lnTo>
                    <a:lnTo>
                      <a:pt x="423" y="968"/>
                    </a:lnTo>
                    <a:lnTo>
                      <a:pt x="423" y="966"/>
                    </a:lnTo>
                    <a:lnTo>
                      <a:pt x="421" y="966"/>
                    </a:lnTo>
                    <a:lnTo>
                      <a:pt x="421" y="964"/>
                    </a:lnTo>
                    <a:lnTo>
                      <a:pt x="419" y="964"/>
                    </a:lnTo>
                    <a:lnTo>
                      <a:pt x="417" y="964"/>
                    </a:lnTo>
                    <a:lnTo>
                      <a:pt x="417" y="962"/>
                    </a:lnTo>
                    <a:lnTo>
                      <a:pt x="417" y="964"/>
                    </a:lnTo>
                    <a:lnTo>
                      <a:pt x="415" y="962"/>
                    </a:lnTo>
                    <a:lnTo>
                      <a:pt x="413" y="962"/>
                    </a:lnTo>
                    <a:lnTo>
                      <a:pt x="413" y="960"/>
                    </a:lnTo>
                    <a:lnTo>
                      <a:pt x="411" y="960"/>
                    </a:lnTo>
                    <a:lnTo>
                      <a:pt x="409" y="960"/>
                    </a:lnTo>
                    <a:lnTo>
                      <a:pt x="409" y="962"/>
                    </a:lnTo>
                    <a:lnTo>
                      <a:pt x="407" y="962"/>
                    </a:lnTo>
                    <a:lnTo>
                      <a:pt x="405" y="962"/>
                    </a:lnTo>
                    <a:lnTo>
                      <a:pt x="407" y="960"/>
                    </a:lnTo>
                    <a:lnTo>
                      <a:pt x="405" y="960"/>
                    </a:lnTo>
                    <a:lnTo>
                      <a:pt x="401" y="956"/>
                    </a:lnTo>
                    <a:lnTo>
                      <a:pt x="399" y="956"/>
                    </a:lnTo>
                    <a:lnTo>
                      <a:pt x="401" y="954"/>
                    </a:lnTo>
                    <a:lnTo>
                      <a:pt x="399" y="952"/>
                    </a:lnTo>
                    <a:lnTo>
                      <a:pt x="398" y="948"/>
                    </a:lnTo>
                    <a:lnTo>
                      <a:pt x="396" y="946"/>
                    </a:lnTo>
                    <a:lnTo>
                      <a:pt x="398" y="941"/>
                    </a:lnTo>
                    <a:lnTo>
                      <a:pt x="396" y="941"/>
                    </a:lnTo>
                    <a:lnTo>
                      <a:pt x="396" y="937"/>
                    </a:lnTo>
                    <a:lnTo>
                      <a:pt x="399" y="933"/>
                    </a:lnTo>
                    <a:lnTo>
                      <a:pt x="401" y="931"/>
                    </a:lnTo>
                    <a:lnTo>
                      <a:pt x="403" y="925"/>
                    </a:lnTo>
                    <a:lnTo>
                      <a:pt x="405" y="925"/>
                    </a:lnTo>
                    <a:lnTo>
                      <a:pt x="407" y="925"/>
                    </a:lnTo>
                    <a:lnTo>
                      <a:pt x="409" y="918"/>
                    </a:lnTo>
                    <a:lnTo>
                      <a:pt x="407" y="914"/>
                    </a:lnTo>
                    <a:lnTo>
                      <a:pt x="405" y="914"/>
                    </a:lnTo>
                    <a:lnTo>
                      <a:pt x="407" y="914"/>
                    </a:lnTo>
                    <a:lnTo>
                      <a:pt x="407" y="916"/>
                    </a:lnTo>
                    <a:lnTo>
                      <a:pt x="405" y="914"/>
                    </a:lnTo>
                    <a:lnTo>
                      <a:pt x="405" y="912"/>
                    </a:lnTo>
                    <a:lnTo>
                      <a:pt x="405" y="910"/>
                    </a:lnTo>
                    <a:lnTo>
                      <a:pt x="403" y="910"/>
                    </a:lnTo>
                    <a:lnTo>
                      <a:pt x="401" y="908"/>
                    </a:lnTo>
                    <a:lnTo>
                      <a:pt x="399" y="908"/>
                    </a:lnTo>
                    <a:lnTo>
                      <a:pt x="399" y="906"/>
                    </a:lnTo>
                    <a:lnTo>
                      <a:pt x="399" y="908"/>
                    </a:lnTo>
                    <a:lnTo>
                      <a:pt x="398" y="908"/>
                    </a:lnTo>
                    <a:lnTo>
                      <a:pt x="399" y="908"/>
                    </a:lnTo>
                    <a:lnTo>
                      <a:pt x="399" y="910"/>
                    </a:lnTo>
                    <a:lnTo>
                      <a:pt x="399" y="912"/>
                    </a:lnTo>
                    <a:lnTo>
                      <a:pt x="398" y="912"/>
                    </a:lnTo>
                    <a:lnTo>
                      <a:pt x="398" y="910"/>
                    </a:lnTo>
                    <a:lnTo>
                      <a:pt x="396" y="910"/>
                    </a:lnTo>
                    <a:lnTo>
                      <a:pt x="396" y="908"/>
                    </a:lnTo>
                    <a:lnTo>
                      <a:pt x="394" y="908"/>
                    </a:lnTo>
                    <a:lnTo>
                      <a:pt x="394" y="906"/>
                    </a:lnTo>
                    <a:lnTo>
                      <a:pt x="394" y="904"/>
                    </a:lnTo>
                    <a:lnTo>
                      <a:pt x="396" y="904"/>
                    </a:lnTo>
                    <a:lnTo>
                      <a:pt x="396" y="906"/>
                    </a:lnTo>
                    <a:lnTo>
                      <a:pt x="396" y="904"/>
                    </a:lnTo>
                    <a:lnTo>
                      <a:pt x="398" y="904"/>
                    </a:lnTo>
                    <a:lnTo>
                      <a:pt x="396" y="904"/>
                    </a:lnTo>
                    <a:lnTo>
                      <a:pt x="396" y="902"/>
                    </a:lnTo>
                    <a:lnTo>
                      <a:pt x="398" y="902"/>
                    </a:lnTo>
                    <a:lnTo>
                      <a:pt x="396" y="902"/>
                    </a:lnTo>
                    <a:lnTo>
                      <a:pt x="396" y="900"/>
                    </a:lnTo>
                    <a:lnTo>
                      <a:pt x="396" y="898"/>
                    </a:lnTo>
                    <a:lnTo>
                      <a:pt x="396" y="897"/>
                    </a:lnTo>
                    <a:lnTo>
                      <a:pt x="394" y="897"/>
                    </a:lnTo>
                    <a:lnTo>
                      <a:pt x="396" y="897"/>
                    </a:lnTo>
                    <a:lnTo>
                      <a:pt x="396" y="895"/>
                    </a:lnTo>
                    <a:lnTo>
                      <a:pt x="398" y="895"/>
                    </a:lnTo>
                    <a:lnTo>
                      <a:pt x="396" y="895"/>
                    </a:lnTo>
                    <a:lnTo>
                      <a:pt x="394" y="893"/>
                    </a:lnTo>
                    <a:lnTo>
                      <a:pt x="384" y="891"/>
                    </a:lnTo>
                    <a:lnTo>
                      <a:pt x="382" y="891"/>
                    </a:lnTo>
                    <a:lnTo>
                      <a:pt x="380" y="891"/>
                    </a:lnTo>
                    <a:lnTo>
                      <a:pt x="378" y="889"/>
                    </a:lnTo>
                    <a:lnTo>
                      <a:pt x="376" y="887"/>
                    </a:lnTo>
                    <a:lnTo>
                      <a:pt x="369" y="879"/>
                    </a:lnTo>
                    <a:lnTo>
                      <a:pt x="365" y="877"/>
                    </a:lnTo>
                    <a:lnTo>
                      <a:pt x="365" y="875"/>
                    </a:lnTo>
                    <a:lnTo>
                      <a:pt x="367" y="873"/>
                    </a:lnTo>
                    <a:lnTo>
                      <a:pt x="369" y="872"/>
                    </a:lnTo>
                    <a:lnTo>
                      <a:pt x="369" y="870"/>
                    </a:lnTo>
                    <a:lnTo>
                      <a:pt x="369" y="868"/>
                    </a:lnTo>
                    <a:lnTo>
                      <a:pt x="363" y="866"/>
                    </a:lnTo>
                    <a:lnTo>
                      <a:pt x="363" y="862"/>
                    </a:lnTo>
                    <a:lnTo>
                      <a:pt x="363" y="860"/>
                    </a:lnTo>
                    <a:lnTo>
                      <a:pt x="361" y="860"/>
                    </a:lnTo>
                    <a:lnTo>
                      <a:pt x="361" y="858"/>
                    </a:lnTo>
                    <a:lnTo>
                      <a:pt x="365" y="856"/>
                    </a:lnTo>
                    <a:lnTo>
                      <a:pt x="363" y="854"/>
                    </a:lnTo>
                    <a:lnTo>
                      <a:pt x="359" y="854"/>
                    </a:lnTo>
                    <a:lnTo>
                      <a:pt x="359" y="852"/>
                    </a:lnTo>
                    <a:lnTo>
                      <a:pt x="359" y="850"/>
                    </a:lnTo>
                    <a:lnTo>
                      <a:pt x="357" y="850"/>
                    </a:lnTo>
                    <a:lnTo>
                      <a:pt x="355" y="849"/>
                    </a:lnTo>
                    <a:lnTo>
                      <a:pt x="353" y="845"/>
                    </a:lnTo>
                    <a:lnTo>
                      <a:pt x="351" y="845"/>
                    </a:lnTo>
                    <a:lnTo>
                      <a:pt x="350" y="845"/>
                    </a:lnTo>
                    <a:lnTo>
                      <a:pt x="348" y="843"/>
                    </a:lnTo>
                    <a:lnTo>
                      <a:pt x="344" y="839"/>
                    </a:lnTo>
                    <a:lnTo>
                      <a:pt x="338" y="835"/>
                    </a:lnTo>
                    <a:lnTo>
                      <a:pt x="336" y="833"/>
                    </a:lnTo>
                    <a:lnTo>
                      <a:pt x="336" y="831"/>
                    </a:lnTo>
                    <a:lnTo>
                      <a:pt x="334" y="829"/>
                    </a:lnTo>
                    <a:lnTo>
                      <a:pt x="334" y="827"/>
                    </a:lnTo>
                    <a:lnTo>
                      <a:pt x="334" y="825"/>
                    </a:lnTo>
                    <a:lnTo>
                      <a:pt x="332" y="825"/>
                    </a:lnTo>
                    <a:lnTo>
                      <a:pt x="330" y="825"/>
                    </a:lnTo>
                    <a:lnTo>
                      <a:pt x="330" y="824"/>
                    </a:lnTo>
                    <a:lnTo>
                      <a:pt x="328" y="822"/>
                    </a:lnTo>
                    <a:lnTo>
                      <a:pt x="328" y="820"/>
                    </a:lnTo>
                    <a:lnTo>
                      <a:pt x="328" y="818"/>
                    </a:lnTo>
                    <a:lnTo>
                      <a:pt x="328" y="816"/>
                    </a:lnTo>
                    <a:lnTo>
                      <a:pt x="328" y="814"/>
                    </a:lnTo>
                    <a:lnTo>
                      <a:pt x="330" y="810"/>
                    </a:lnTo>
                    <a:lnTo>
                      <a:pt x="330" y="804"/>
                    </a:lnTo>
                    <a:lnTo>
                      <a:pt x="330" y="802"/>
                    </a:lnTo>
                    <a:lnTo>
                      <a:pt x="330" y="799"/>
                    </a:lnTo>
                    <a:lnTo>
                      <a:pt x="330" y="793"/>
                    </a:lnTo>
                    <a:lnTo>
                      <a:pt x="330" y="791"/>
                    </a:lnTo>
                    <a:lnTo>
                      <a:pt x="330" y="789"/>
                    </a:lnTo>
                    <a:lnTo>
                      <a:pt x="330" y="787"/>
                    </a:lnTo>
                    <a:lnTo>
                      <a:pt x="328" y="787"/>
                    </a:lnTo>
                    <a:lnTo>
                      <a:pt x="325" y="785"/>
                    </a:lnTo>
                    <a:lnTo>
                      <a:pt x="325" y="787"/>
                    </a:lnTo>
                    <a:lnTo>
                      <a:pt x="323" y="783"/>
                    </a:lnTo>
                    <a:lnTo>
                      <a:pt x="319" y="785"/>
                    </a:lnTo>
                    <a:lnTo>
                      <a:pt x="319" y="787"/>
                    </a:lnTo>
                    <a:lnTo>
                      <a:pt x="315" y="787"/>
                    </a:lnTo>
                    <a:lnTo>
                      <a:pt x="315" y="785"/>
                    </a:lnTo>
                    <a:lnTo>
                      <a:pt x="311" y="785"/>
                    </a:lnTo>
                    <a:lnTo>
                      <a:pt x="305" y="787"/>
                    </a:lnTo>
                    <a:lnTo>
                      <a:pt x="303" y="787"/>
                    </a:lnTo>
                    <a:lnTo>
                      <a:pt x="303" y="789"/>
                    </a:lnTo>
                    <a:lnTo>
                      <a:pt x="302" y="789"/>
                    </a:lnTo>
                    <a:lnTo>
                      <a:pt x="296" y="791"/>
                    </a:lnTo>
                    <a:lnTo>
                      <a:pt x="296" y="793"/>
                    </a:lnTo>
                    <a:lnTo>
                      <a:pt x="294" y="795"/>
                    </a:lnTo>
                    <a:lnTo>
                      <a:pt x="294" y="797"/>
                    </a:lnTo>
                    <a:lnTo>
                      <a:pt x="294" y="799"/>
                    </a:lnTo>
                    <a:lnTo>
                      <a:pt x="292" y="801"/>
                    </a:lnTo>
                    <a:lnTo>
                      <a:pt x="292" y="802"/>
                    </a:lnTo>
                    <a:lnTo>
                      <a:pt x="290" y="802"/>
                    </a:lnTo>
                    <a:lnTo>
                      <a:pt x="288" y="802"/>
                    </a:lnTo>
                    <a:lnTo>
                      <a:pt x="286" y="801"/>
                    </a:lnTo>
                    <a:lnTo>
                      <a:pt x="284" y="799"/>
                    </a:lnTo>
                    <a:lnTo>
                      <a:pt x="286" y="799"/>
                    </a:lnTo>
                    <a:lnTo>
                      <a:pt x="288" y="799"/>
                    </a:lnTo>
                    <a:lnTo>
                      <a:pt x="288" y="797"/>
                    </a:lnTo>
                    <a:lnTo>
                      <a:pt x="292" y="793"/>
                    </a:lnTo>
                    <a:lnTo>
                      <a:pt x="290" y="793"/>
                    </a:lnTo>
                    <a:lnTo>
                      <a:pt x="288" y="791"/>
                    </a:lnTo>
                    <a:lnTo>
                      <a:pt x="286" y="791"/>
                    </a:lnTo>
                    <a:lnTo>
                      <a:pt x="286" y="789"/>
                    </a:lnTo>
                    <a:lnTo>
                      <a:pt x="284" y="789"/>
                    </a:lnTo>
                    <a:lnTo>
                      <a:pt x="282" y="789"/>
                    </a:lnTo>
                    <a:lnTo>
                      <a:pt x="282" y="787"/>
                    </a:lnTo>
                    <a:lnTo>
                      <a:pt x="280" y="787"/>
                    </a:lnTo>
                    <a:lnTo>
                      <a:pt x="279" y="787"/>
                    </a:lnTo>
                    <a:lnTo>
                      <a:pt x="279" y="789"/>
                    </a:lnTo>
                    <a:lnTo>
                      <a:pt x="279" y="791"/>
                    </a:lnTo>
                    <a:lnTo>
                      <a:pt x="277" y="791"/>
                    </a:lnTo>
                    <a:lnTo>
                      <a:pt x="275" y="791"/>
                    </a:lnTo>
                    <a:lnTo>
                      <a:pt x="273" y="791"/>
                    </a:lnTo>
                    <a:lnTo>
                      <a:pt x="273" y="793"/>
                    </a:lnTo>
                    <a:lnTo>
                      <a:pt x="271" y="793"/>
                    </a:lnTo>
                    <a:lnTo>
                      <a:pt x="271" y="795"/>
                    </a:lnTo>
                    <a:lnTo>
                      <a:pt x="271" y="793"/>
                    </a:lnTo>
                    <a:lnTo>
                      <a:pt x="271" y="791"/>
                    </a:lnTo>
                    <a:lnTo>
                      <a:pt x="273" y="789"/>
                    </a:lnTo>
                    <a:lnTo>
                      <a:pt x="271" y="789"/>
                    </a:lnTo>
                    <a:lnTo>
                      <a:pt x="269" y="789"/>
                    </a:lnTo>
                    <a:lnTo>
                      <a:pt x="269" y="787"/>
                    </a:lnTo>
                    <a:lnTo>
                      <a:pt x="267" y="787"/>
                    </a:lnTo>
                    <a:lnTo>
                      <a:pt x="265" y="785"/>
                    </a:lnTo>
                    <a:lnTo>
                      <a:pt x="261" y="781"/>
                    </a:lnTo>
                    <a:lnTo>
                      <a:pt x="261" y="779"/>
                    </a:lnTo>
                    <a:lnTo>
                      <a:pt x="257" y="776"/>
                    </a:lnTo>
                    <a:lnTo>
                      <a:pt x="252" y="772"/>
                    </a:lnTo>
                    <a:lnTo>
                      <a:pt x="248" y="777"/>
                    </a:lnTo>
                    <a:lnTo>
                      <a:pt x="244" y="781"/>
                    </a:lnTo>
                    <a:lnTo>
                      <a:pt x="244" y="783"/>
                    </a:lnTo>
                    <a:lnTo>
                      <a:pt x="242" y="783"/>
                    </a:lnTo>
                    <a:lnTo>
                      <a:pt x="242" y="785"/>
                    </a:lnTo>
                    <a:lnTo>
                      <a:pt x="240" y="785"/>
                    </a:lnTo>
                    <a:lnTo>
                      <a:pt x="238" y="785"/>
                    </a:lnTo>
                    <a:lnTo>
                      <a:pt x="238" y="783"/>
                    </a:lnTo>
                    <a:lnTo>
                      <a:pt x="236" y="781"/>
                    </a:lnTo>
                    <a:lnTo>
                      <a:pt x="236" y="779"/>
                    </a:lnTo>
                    <a:lnTo>
                      <a:pt x="234" y="777"/>
                    </a:lnTo>
                    <a:lnTo>
                      <a:pt x="232" y="777"/>
                    </a:lnTo>
                    <a:lnTo>
                      <a:pt x="231" y="777"/>
                    </a:lnTo>
                    <a:lnTo>
                      <a:pt x="229" y="777"/>
                    </a:lnTo>
                    <a:lnTo>
                      <a:pt x="225" y="779"/>
                    </a:lnTo>
                    <a:lnTo>
                      <a:pt x="223" y="779"/>
                    </a:lnTo>
                    <a:lnTo>
                      <a:pt x="221" y="781"/>
                    </a:lnTo>
                    <a:lnTo>
                      <a:pt x="219" y="781"/>
                    </a:lnTo>
                    <a:lnTo>
                      <a:pt x="217" y="783"/>
                    </a:lnTo>
                    <a:lnTo>
                      <a:pt x="215" y="783"/>
                    </a:lnTo>
                    <a:lnTo>
                      <a:pt x="213" y="783"/>
                    </a:lnTo>
                    <a:lnTo>
                      <a:pt x="213" y="785"/>
                    </a:lnTo>
                    <a:lnTo>
                      <a:pt x="213" y="787"/>
                    </a:lnTo>
                    <a:lnTo>
                      <a:pt x="215" y="787"/>
                    </a:lnTo>
                    <a:lnTo>
                      <a:pt x="217" y="787"/>
                    </a:lnTo>
                    <a:lnTo>
                      <a:pt x="221" y="787"/>
                    </a:lnTo>
                    <a:lnTo>
                      <a:pt x="221" y="789"/>
                    </a:lnTo>
                    <a:lnTo>
                      <a:pt x="223" y="789"/>
                    </a:lnTo>
                    <a:lnTo>
                      <a:pt x="223" y="791"/>
                    </a:lnTo>
                    <a:lnTo>
                      <a:pt x="221" y="795"/>
                    </a:lnTo>
                    <a:lnTo>
                      <a:pt x="221" y="793"/>
                    </a:lnTo>
                    <a:lnTo>
                      <a:pt x="219" y="793"/>
                    </a:lnTo>
                    <a:lnTo>
                      <a:pt x="217" y="795"/>
                    </a:lnTo>
                    <a:lnTo>
                      <a:pt x="215" y="795"/>
                    </a:lnTo>
                    <a:lnTo>
                      <a:pt x="217" y="797"/>
                    </a:lnTo>
                    <a:lnTo>
                      <a:pt x="215" y="799"/>
                    </a:lnTo>
                    <a:lnTo>
                      <a:pt x="211" y="799"/>
                    </a:lnTo>
                    <a:lnTo>
                      <a:pt x="209" y="799"/>
                    </a:lnTo>
                    <a:lnTo>
                      <a:pt x="207" y="799"/>
                    </a:lnTo>
                    <a:lnTo>
                      <a:pt x="206" y="799"/>
                    </a:lnTo>
                    <a:lnTo>
                      <a:pt x="206" y="801"/>
                    </a:lnTo>
                    <a:lnTo>
                      <a:pt x="206" y="802"/>
                    </a:lnTo>
                    <a:lnTo>
                      <a:pt x="206" y="804"/>
                    </a:lnTo>
                    <a:lnTo>
                      <a:pt x="204" y="804"/>
                    </a:lnTo>
                    <a:lnTo>
                      <a:pt x="206" y="806"/>
                    </a:lnTo>
                    <a:lnTo>
                      <a:pt x="198" y="806"/>
                    </a:lnTo>
                    <a:lnTo>
                      <a:pt x="192" y="806"/>
                    </a:lnTo>
                    <a:lnTo>
                      <a:pt x="190" y="806"/>
                    </a:lnTo>
                    <a:lnTo>
                      <a:pt x="186" y="802"/>
                    </a:lnTo>
                    <a:lnTo>
                      <a:pt x="186" y="801"/>
                    </a:lnTo>
                    <a:lnTo>
                      <a:pt x="184" y="801"/>
                    </a:lnTo>
                    <a:lnTo>
                      <a:pt x="182" y="801"/>
                    </a:lnTo>
                    <a:lnTo>
                      <a:pt x="179" y="799"/>
                    </a:lnTo>
                    <a:lnTo>
                      <a:pt x="177" y="799"/>
                    </a:lnTo>
                    <a:lnTo>
                      <a:pt x="175" y="799"/>
                    </a:lnTo>
                    <a:lnTo>
                      <a:pt x="169" y="797"/>
                    </a:lnTo>
                    <a:lnTo>
                      <a:pt x="167" y="795"/>
                    </a:lnTo>
                    <a:lnTo>
                      <a:pt x="163" y="795"/>
                    </a:lnTo>
                    <a:lnTo>
                      <a:pt x="161" y="793"/>
                    </a:lnTo>
                    <a:lnTo>
                      <a:pt x="159" y="793"/>
                    </a:lnTo>
                    <a:lnTo>
                      <a:pt x="159" y="791"/>
                    </a:lnTo>
                    <a:lnTo>
                      <a:pt x="158" y="791"/>
                    </a:lnTo>
                    <a:lnTo>
                      <a:pt x="156" y="789"/>
                    </a:lnTo>
                    <a:lnTo>
                      <a:pt x="154" y="789"/>
                    </a:lnTo>
                    <a:lnTo>
                      <a:pt x="152" y="789"/>
                    </a:lnTo>
                    <a:lnTo>
                      <a:pt x="150" y="789"/>
                    </a:lnTo>
                    <a:lnTo>
                      <a:pt x="148" y="787"/>
                    </a:lnTo>
                    <a:lnTo>
                      <a:pt x="146" y="787"/>
                    </a:lnTo>
                    <a:lnTo>
                      <a:pt x="146" y="789"/>
                    </a:lnTo>
                    <a:lnTo>
                      <a:pt x="142" y="789"/>
                    </a:lnTo>
                    <a:lnTo>
                      <a:pt x="138" y="789"/>
                    </a:lnTo>
                    <a:lnTo>
                      <a:pt x="138" y="791"/>
                    </a:lnTo>
                    <a:lnTo>
                      <a:pt x="136" y="791"/>
                    </a:lnTo>
                    <a:lnTo>
                      <a:pt x="136" y="793"/>
                    </a:lnTo>
                    <a:lnTo>
                      <a:pt x="134" y="793"/>
                    </a:lnTo>
                    <a:lnTo>
                      <a:pt x="134" y="791"/>
                    </a:lnTo>
                    <a:lnTo>
                      <a:pt x="133" y="791"/>
                    </a:lnTo>
                    <a:lnTo>
                      <a:pt x="133" y="789"/>
                    </a:lnTo>
                    <a:lnTo>
                      <a:pt x="131" y="789"/>
                    </a:lnTo>
                    <a:lnTo>
                      <a:pt x="131" y="787"/>
                    </a:lnTo>
                    <a:lnTo>
                      <a:pt x="131" y="785"/>
                    </a:lnTo>
                    <a:lnTo>
                      <a:pt x="129" y="785"/>
                    </a:lnTo>
                    <a:lnTo>
                      <a:pt x="129" y="787"/>
                    </a:lnTo>
                    <a:lnTo>
                      <a:pt x="127" y="787"/>
                    </a:lnTo>
                    <a:lnTo>
                      <a:pt x="127" y="789"/>
                    </a:lnTo>
                    <a:lnTo>
                      <a:pt x="127" y="791"/>
                    </a:lnTo>
                    <a:lnTo>
                      <a:pt x="125" y="791"/>
                    </a:lnTo>
                    <a:lnTo>
                      <a:pt x="123" y="791"/>
                    </a:lnTo>
                    <a:lnTo>
                      <a:pt x="123" y="787"/>
                    </a:lnTo>
                    <a:lnTo>
                      <a:pt x="121" y="787"/>
                    </a:lnTo>
                    <a:lnTo>
                      <a:pt x="119" y="785"/>
                    </a:lnTo>
                    <a:lnTo>
                      <a:pt x="117" y="787"/>
                    </a:lnTo>
                    <a:lnTo>
                      <a:pt x="115" y="787"/>
                    </a:lnTo>
                    <a:lnTo>
                      <a:pt x="111" y="789"/>
                    </a:lnTo>
                    <a:lnTo>
                      <a:pt x="111" y="791"/>
                    </a:lnTo>
                    <a:lnTo>
                      <a:pt x="111" y="793"/>
                    </a:lnTo>
                    <a:lnTo>
                      <a:pt x="110" y="791"/>
                    </a:lnTo>
                    <a:lnTo>
                      <a:pt x="108" y="791"/>
                    </a:lnTo>
                    <a:lnTo>
                      <a:pt x="108" y="789"/>
                    </a:lnTo>
                    <a:lnTo>
                      <a:pt x="108" y="785"/>
                    </a:lnTo>
                    <a:lnTo>
                      <a:pt x="106" y="785"/>
                    </a:lnTo>
                    <a:lnTo>
                      <a:pt x="106" y="783"/>
                    </a:lnTo>
                    <a:lnTo>
                      <a:pt x="106" y="781"/>
                    </a:lnTo>
                    <a:lnTo>
                      <a:pt x="104" y="781"/>
                    </a:lnTo>
                    <a:lnTo>
                      <a:pt x="100" y="781"/>
                    </a:lnTo>
                    <a:lnTo>
                      <a:pt x="98" y="783"/>
                    </a:lnTo>
                    <a:lnTo>
                      <a:pt x="98" y="781"/>
                    </a:lnTo>
                    <a:lnTo>
                      <a:pt x="96" y="781"/>
                    </a:lnTo>
                    <a:lnTo>
                      <a:pt x="96" y="777"/>
                    </a:lnTo>
                    <a:lnTo>
                      <a:pt x="96" y="772"/>
                    </a:lnTo>
                    <a:lnTo>
                      <a:pt x="90" y="772"/>
                    </a:lnTo>
                    <a:lnTo>
                      <a:pt x="86" y="772"/>
                    </a:lnTo>
                    <a:lnTo>
                      <a:pt x="83" y="772"/>
                    </a:lnTo>
                    <a:lnTo>
                      <a:pt x="81" y="772"/>
                    </a:lnTo>
                    <a:lnTo>
                      <a:pt x="81" y="770"/>
                    </a:lnTo>
                    <a:lnTo>
                      <a:pt x="81" y="766"/>
                    </a:lnTo>
                    <a:lnTo>
                      <a:pt x="77" y="764"/>
                    </a:lnTo>
                    <a:lnTo>
                      <a:pt x="75" y="762"/>
                    </a:lnTo>
                    <a:lnTo>
                      <a:pt x="75" y="760"/>
                    </a:lnTo>
                    <a:lnTo>
                      <a:pt x="73" y="760"/>
                    </a:lnTo>
                    <a:lnTo>
                      <a:pt x="73" y="758"/>
                    </a:lnTo>
                    <a:lnTo>
                      <a:pt x="71" y="756"/>
                    </a:lnTo>
                    <a:lnTo>
                      <a:pt x="69" y="756"/>
                    </a:lnTo>
                    <a:lnTo>
                      <a:pt x="67" y="758"/>
                    </a:lnTo>
                    <a:lnTo>
                      <a:pt x="67" y="760"/>
                    </a:lnTo>
                    <a:lnTo>
                      <a:pt x="67" y="758"/>
                    </a:lnTo>
                    <a:lnTo>
                      <a:pt x="65" y="758"/>
                    </a:lnTo>
                    <a:lnTo>
                      <a:pt x="65" y="760"/>
                    </a:lnTo>
                    <a:lnTo>
                      <a:pt x="63" y="760"/>
                    </a:lnTo>
                    <a:lnTo>
                      <a:pt x="63" y="762"/>
                    </a:lnTo>
                    <a:lnTo>
                      <a:pt x="62" y="762"/>
                    </a:lnTo>
                    <a:lnTo>
                      <a:pt x="62" y="764"/>
                    </a:lnTo>
                    <a:lnTo>
                      <a:pt x="62" y="766"/>
                    </a:lnTo>
                    <a:lnTo>
                      <a:pt x="62" y="768"/>
                    </a:lnTo>
                    <a:lnTo>
                      <a:pt x="60" y="768"/>
                    </a:lnTo>
                    <a:lnTo>
                      <a:pt x="60" y="770"/>
                    </a:lnTo>
                    <a:lnTo>
                      <a:pt x="60" y="772"/>
                    </a:lnTo>
                    <a:lnTo>
                      <a:pt x="58" y="772"/>
                    </a:lnTo>
                    <a:lnTo>
                      <a:pt x="60" y="774"/>
                    </a:lnTo>
                    <a:lnTo>
                      <a:pt x="58" y="774"/>
                    </a:lnTo>
                    <a:lnTo>
                      <a:pt x="56" y="774"/>
                    </a:lnTo>
                    <a:lnTo>
                      <a:pt x="54" y="776"/>
                    </a:lnTo>
                    <a:lnTo>
                      <a:pt x="52" y="776"/>
                    </a:lnTo>
                    <a:lnTo>
                      <a:pt x="52" y="774"/>
                    </a:lnTo>
                    <a:lnTo>
                      <a:pt x="50" y="774"/>
                    </a:lnTo>
                    <a:lnTo>
                      <a:pt x="48" y="774"/>
                    </a:lnTo>
                    <a:lnTo>
                      <a:pt x="46" y="774"/>
                    </a:lnTo>
                    <a:lnTo>
                      <a:pt x="46" y="772"/>
                    </a:lnTo>
                    <a:lnTo>
                      <a:pt x="44" y="772"/>
                    </a:lnTo>
                    <a:lnTo>
                      <a:pt x="44" y="770"/>
                    </a:lnTo>
                    <a:lnTo>
                      <a:pt x="44" y="768"/>
                    </a:lnTo>
                    <a:lnTo>
                      <a:pt x="42" y="768"/>
                    </a:lnTo>
                    <a:lnTo>
                      <a:pt x="40" y="768"/>
                    </a:lnTo>
                    <a:lnTo>
                      <a:pt x="38" y="768"/>
                    </a:lnTo>
                    <a:lnTo>
                      <a:pt x="37" y="768"/>
                    </a:lnTo>
                    <a:lnTo>
                      <a:pt x="35" y="772"/>
                    </a:lnTo>
                    <a:lnTo>
                      <a:pt x="31" y="772"/>
                    </a:lnTo>
                    <a:lnTo>
                      <a:pt x="29" y="772"/>
                    </a:lnTo>
                    <a:lnTo>
                      <a:pt x="27" y="774"/>
                    </a:lnTo>
                    <a:lnTo>
                      <a:pt x="25" y="770"/>
                    </a:lnTo>
                    <a:lnTo>
                      <a:pt x="23" y="768"/>
                    </a:lnTo>
                    <a:lnTo>
                      <a:pt x="19" y="768"/>
                    </a:lnTo>
                    <a:lnTo>
                      <a:pt x="17" y="768"/>
                    </a:lnTo>
                    <a:lnTo>
                      <a:pt x="15" y="768"/>
                    </a:lnTo>
                    <a:lnTo>
                      <a:pt x="15" y="766"/>
                    </a:lnTo>
                    <a:lnTo>
                      <a:pt x="15" y="768"/>
                    </a:lnTo>
                    <a:lnTo>
                      <a:pt x="14" y="768"/>
                    </a:lnTo>
                    <a:lnTo>
                      <a:pt x="14" y="766"/>
                    </a:lnTo>
                    <a:lnTo>
                      <a:pt x="12" y="766"/>
                    </a:lnTo>
                    <a:lnTo>
                      <a:pt x="12" y="764"/>
                    </a:lnTo>
                    <a:lnTo>
                      <a:pt x="12" y="762"/>
                    </a:lnTo>
                    <a:lnTo>
                      <a:pt x="10" y="758"/>
                    </a:lnTo>
                    <a:lnTo>
                      <a:pt x="10" y="756"/>
                    </a:lnTo>
                    <a:lnTo>
                      <a:pt x="12" y="756"/>
                    </a:lnTo>
                    <a:lnTo>
                      <a:pt x="12" y="754"/>
                    </a:lnTo>
                    <a:lnTo>
                      <a:pt x="14" y="754"/>
                    </a:lnTo>
                    <a:lnTo>
                      <a:pt x="15" y="753"/>
                    </a:lnTo>
                    <a:lnTo>
                      <a:pt x="15" y="751"/>
                    </a:lnTo>
                    <a:lnTo>
                      <a:pt x="17" y="751"/>
                    </a:lnTo>
                    <a:lnTo>
                      <a:pt x="17" y="749"/>
                    </a:lnTo>
                    <a:lnTo>
                      <a:pt x="17" y="747"/>
                    </a:lnTo>
                    <a:lnTo>
                      <a:pt x="19" y="747"/>
                    </a:lnTo>
                    <a:lnTo>
                      <a:pt x="21" y="745"/>
                    </a:lnTo>
                    <a:lnTo>
                      <a:pt x="21" y="743"/>
                    </a:lnTo>
                    <a:lnTo>
                      <a:pt x="23" y="743"/>
                    </a:lnTo>
                    <a:lnTo>
                      <a:pt x="23" y="741"/>
                    </a:lnTo>
                    <a:lnTo>
                      <a:pt x="23" y="739"/>
                    </a:lnTo>
                    <a:lnTo>
                      <a:pt x="25" y="737"/>
                    </a:lnTo>
                    <a:lnTo>
                      <a:pt x="27" y="735"/>
                    </a:lnTo>
                    <a:lnTo>
                      <a:pt x="29" y="737"/>
                    </a:lnTo>
                    <a:lnTo>
                      <a:pt x="31" y="737"/>
                    </a:lnTo>
                    <a:lnTo>
                      <a:pt x="31" y="735"/>
                    </a:lnTo>
                    <a:lnTo>
                      <a:pt x="31" y="733"/>
                    </a:lnTo>
                    <a:lnTo>
                      <a:pt x="29" y="733"/>
                    </a:lnTo>
                    <a:lnTo>
                      <a:pt x="27" y="733"/>
                    </a:lnTo>
                    <a:lnTo>
                      <a:pt x="27" y="731"/>
                    </a:lnTo>
                    <a:lnTo>
                      <a:pt x="27" y="729"/>
                    </a:lnTo>
                    <a:lnTo>
                      <a:pt x="29" y="729"/>
                    </a:lnTo>
                    <a:lnTo>
                      <a:pt x="29" y="728"/>
                    </a:lnTo>
                    <a:lnTo>
                      <a:pt x="31" y="724"/>
                    </a:lnTo>
                    <a:lnTo>
                      <a:pt x="31" y="722"/>
                    </a:lnTo>
                    <a:lnTo>
                      <a:pt x="33" y="718"/>
                    </a:lnTo>
                    <a:lnTo>
                      <a:pt x="33" y="716"/>
                    </a:lnTo>
                    <a:lnTo>
                      <a:pt x="31" y="716"/>
                    </a:lnTo>
                    <a:lnTo>
                      <a:pt x="31" y="714"/>
                    </a:lnTo>
                    <a:lnTo>
                      <a:pt x="33" y="714"/>
                    </a:lnTo>
                    <a:lnTo>
                      <a:pt x="33" y="712"/>
                    </a:lnTo>
                    <a:lnTo>
                      <a:pt x="35" y="712"/>
                    </a:lnTo>
                    <a:lnTo>
                      <a:pt x="35" y="714"/>
                    </a:lnTo>
                    <a:lnTo>
                      <a:pt x="37" y="714"/>
                    </a:lnTo>
                    <a:lnTo>
                      <a:pt x="37" y="712"/>
                    </a:lnTo>
                    <a:lnTo>
                      <a:pt x="38" y="712"/>
                    </a:lnTo>
                    <a:lnTo>
                      <a:pt x="40" y="712"/>
                    </a:lnTo>
                    <a:lnTo>
                      <a:pt x="40" y="708"/>
                    </a:lnTo>
                    <a:lnTo>
                      <a:pt x="40" y="706"/>
                    </a:lnTo>
                    <a:lnTo>
                      <a:pt x="40" y="705"/>
                    </a:lnTo>
                    <a:lnTo>
                      <a:pt x="40" y="703"/>
                    </a:lnTo>
                    <a:lnTo>
                      <a:pt x="40" y="701"/>
                    </a:lnTo>
                    <a:lnTo>
                      <a:pt x="42" y="699"/>
                    </a:lnTo>
                    <a:lnTo>
                      <a:pt x="42" y="697"/>
                    </a:lnTo>
                    <a:lnTo>
                      <a:pt x="42" y="695"/>
                    </a:lnTo>
                    <a:lnTo>
                      <a:pt x="42" y="693"/>
                    </a:lnTo>
                    <a:lnTo>
                      <a:pt x="40" y="693"/>
                    </a:lnTo>
                    <a:lnTo>
                      <a:pt x="40" y="691"/>
                    </a:lnTo>
                    <a:lnTo>
                      <a:pt x="40" y="689"/>
                    </a:lnTo>
                    <a:lnTo>
                      <a:pt x="38" y="689"/>
                    </a:lnTo>
                    <a:lnTo>
                      <a:pt x="38" y="687"/>
                    </a:lnTo>
                    <a:lnTo>
                      <a:pt x="40" y="687"/>
                    </a:lnTo>
                    <a:lnTo>
                      <a:pt x="42" y="687"/>
                    </a:lnTo>
                    <a:lnTo>
                      <a:pt x="42" y="689"/>
                    </a:lnTo>
                    <a:lnTo>
                      <a:pt x="44" y="689"/>
                    </a:lnTo>
                    <a:lnTo>
                      <a:pt x="44" y="687"/>
                    </a:lnTo>
                    <a:lnTo>
                      <a:pt x="44" y="685"/>
                    </a:lnTo>
                    <a:lnTo>
                      <a:pt x="46" y="687"/>
                    </a:lnTo>
                    <a:lnTo>
                      <a:pt x="46" y="685"/>
                    </a:lnTo>
                    <a:lnTo>
                      <a:pt x="48" y="685"/>
                    </a:lnTo>
                    <a:lnTo>
                      <a:pt x="50" y="685"/>
                    </a:lnTo>
                    <a:lnTo>
                      <a:pt x="52" y="685"/>
                    </a:lnTo>
                    <a:lnTo>
                      <a:pt x="54" y="685"/>
                    </a:lnTo>
                    <a:lnTo>
                      <a:pt x="54" y="683"/>
                    </a:lnTo>
                    <a:lnTo>
                      <a:pt x="56" y="683"/>
                    </a:lnTo>
                    <a:lnTo>
                      <a:pt x="58" y="683"/>
                    </a:lnTo>
                    <a:lnTo>
                      <a:pt x="58" y="685"/>
                    </a:lnTo>
                    <a:lnTo>
                      <a:pt x="60" y="685"/>
                    </a:lnTo>
                    <a:lnTo>
                      <a:pt x="60" y="683"/>
                    </a:lnTo>
                    <a:lnTo>
                      <a:pt x="60" y="681"/>
                    </a:lnTo>
                    <a:lnTo>
                      <a:pt x="62" y="681"/>
                    </a:lnTo>
                    <a:lnTo>
                      <a:pt x="63" y="681"/>
                    </a:lnTo>
                    <a:lnTo>
                      <a:pt x="65" y="681"/>
                    </a:lnTo>
                    <a:lnTo>
                      <a:pt x="67" y="681"/>
                    </a:lnTo>
                    <a:lnTo>
                      <a:pt x="65" y="680"/>
                    </a:lnTo>
                    <a:lnTo>
                      <a:pt x="65" y="678"/>
                    </a:lnTo>
                    <a:lnTo>
                      <a:pt x="60" y="678"/>
                    </a:lnTo>
                    <a:lnTo>
                      <a:pt x="60" y="676"/>
                    </a:lnTo>
                    <a:lnTo>
                      <a:pt x="60" y="674"/>
                    </a:lnTo>
                    <a:lnTo>
                      <a:pt x="58" y="674"/>
                    </a:lnTo>
                    <a:lnTo>
                      <a:pt x="56" y="674"/>
                    </a:lnTo>
                    <a:lnTo>
                      <a:pt x="54" y="674"/>
                    </a:lnTo>
                    <a:lnTo>
                      <a:pt x="54" y="672"/>
                    </a:lnTo>
                    <a:lnTo>
                      <a:pt x="52" y="670"/>
                    </a:lnTo>
                    <a:lnTo>
                      <a:pt x="52" y="666"/>
                    </a:lnTo>
                    <a:lnTo>
                      <a:pt x="50" y="662"/>
                    </a:lnTo>
                    <a:lnTo>
                      <a:pt x="48" y="660"/>
                    </a:lnTo>
                    <a:lnTo>
                      <a:pt x="46" y="657"/>
                    </a:lnTo>
                    <a:lnTo>
                      <a:pt x="46" y="653"/>
                    </a:lnTo>
                    <a:lnTo>
                      <a:pt x="48" y="653"/>
                    </a:lnTo>
                    <a:lnTo>
                      <a:pt x="48" y="655"/>
                    </a:lnTo>
                    <a:lnTo>
                      <a:pt x="50" y="651"/>
                    </a:lnTo>
                    <a:lnTo>
                      <a:pt x="50" y="649"/>
                    </a:lnTo>
                    <a:lnTo>
                      <a:pt x="50" y="647"/>
                    </a:lnTo>
                    <a:lnTo>
                      <a:pt x="50" y="645"/>
                    </a:lnTo>
                    <a:lnTo>
                      <a:pt x="48" y="645"/>
                    </a:lnTo>
                    <a:lnTo>
                      <a:pt x="48" y="643"/>
                    </a:lnTo>
                    <a:lnTo>
                      <a:pt x="48" y="641"/>
                    </a:lnTo>
                    <a:lnTo>
                      <a:pt x="48" y="639"/>
                    </a:lnTo>
                    <a:lnTo>
                      <a:pt x="50" y="639"/>
                    </a:lnTo>
                    <a:lnTo>
                      <a:pt x="50" y="637"/>
                    </a:lnTo>
                    <a:lnTo>
                      <a:pt x="52" y="637"/>
                    </a:lnTo>
                    <a:lnTo>
                      <a:pt x="52" y="635"/>
                    </a:lnTo>
                    <a:lnTo>
                      <a:pt x="52" y="633"/>
                    </a:lnTo>
                    <a:lnTo>
                      <a:pt x="54" y="633"/>
                    </a:lnTo>
                    <a:lnTo>
                      <a:pt x="54" y="632"/>
                    </a:lnTo>
                    <a:lnTo>
                      <a:pt x="54" y="633"/>
                    </a:lnTo>
                    <a:lnTo>
                      <a:pt x="56" y="632"/>
                    </a:lnTo>
                    <a:lnTo>
                      <a:pt x="56" y="630"/>
                    </a:lnTo>
                    <a:lnTo>
                      <a:pt x="54" y="630"/>
                    </a:lnTo>
                    <a:lnTo>
                      <a:pt x="52" y="630"/>
                    </a:lnTo>
                    <a:lnTo>
                      <a:pt x="52" y="628"/>
                    </a:lnTo>
                    <a:lnTo>
                      <a:pt x="54" y="628"/>
                    </a:lnTo>
                    <a:lnTo>
                      <a:pt x="54" y="624"/>
                    </a:lnTo>
                    <a:lnTo>
                      <a:pt x="56" y="622"/>
                    </a:lnTo>
                    <a:lnTo>
                      <a:pt x="54" y="622"/>
                    </a:lnTo>
                    <a:lnTo>
                      <a:pt x="54" y="620"/>
                    </a:lnTo>
                    <a:lnTo>
                      <a:pt x="54" y="618"/>
                    </a:lnTo>
                    <a:lnTo>
                      <a:pt x="54" y="616"/>
                    </a:lnTo>
                    <a:lnTo>
                      <a:pt x="54" y="614"/>
                    </a:lnTo>
                    <a:lnTo>
                      <a:pt x="54" y="612"/>
                    </a:lnTo>
                    <a:lnTo>
                      <a:pt x="56" y="612"/>
                    </a:lnTo>
                    <a:lnTo>
                      <a:pt x="56" y="610"/>
                    </a:lnTo>
                    <a:lnTo>
                      <a:pt x="58" y="612"/>
                    </a:lnTo>
                    <a:lnTo>
                      <a:pt x="58" y="610"/>
                    </a:lnTo>
                    <a:lnTo>
                      <a:pt x="60" y="612"/>
                    </a:lnTo>
                    <a:lnTo>
                      <a:pt x="58" y="612"/>
                    </a:lnTo>
                    <a:lnTo>
                      <a:pt x="60" y="612"/>
                    </a:lnTo>
                    <a:lnTo>
                      <a:pt x="62" y="612"/>
                    </a:lnTo>
                    <a:lnTo>
                      <a:pt x="62" y="610"/>
                    </a:lnTo>
                    <a:lnTo>
                      <a:pt x="62" y="612"/>
                    </a:lnTo>
                    <a:lnTo>
                      <a:pt x="63" y="612"/>
                    </a:lnTo>
                    <a:lnTo>
                      <a:pt x="63" y="610"/>
                    </a:lnTo>
                    <a:lnTo>
                      <a:pt x="63" y="609"/>
                    </a:lnTo>
                    <a:lnTo>
                      <a:pt x="65" y="609"/>
                    </a:lnTo>
                    <a:lnTo>
                      <a:pt x="63" y="609"/>
                    </a:lnTo>
                    <a:lnTo>
                      <a:pt x="63" y="607"/>
                    </a:lnTo>
                    <a:lnTo>
                      <a:pt x="63" y="605"/>
                    </a:lnTo>
                    <a:lnTo>
                      <a:pt x="62" y="601"/>
                    </a:lnTo>
                    <a:lnTo>
                      <a:pt x="62" y="599"/>
                    </a:lnTo>
                    <a:lnTo>
                      <a:pt x="62" y="597"/>
                    </a:lnTo>
                    <a:lnTo>
                      <a:pt x="63" y="595"/>
                    </a:lnTo>
                    <a:lnTo>
                      <a:pt x="63" y="593"/>
                    </a:lnTo>
                    <a:lnTo>
                      <a:pt x="63" y="589"/>
                    </a:lnTo>
                    <a:lnTo>
                      <a:pt x="63" y="584"/>
                    </a:lnTo>
                    <a:lnTo>
                      <a:pt x="62" y="584"/>
                    </a:lnTo>
                    <a:lnTo>
                      <a:pt x="60" y="584"/>
                    </a:lnTo>
                    <a:lnTo>
                      <a:pt x="58" y="584"/>
                    </a:lnTo>
                    <a:lnTo>
                      <a:pt x="56" y="584"/>
                    </a:lnTo>
                    <a:lnTo>
                      <a:pt x="54" y="584"/>
                    </a:lnTo>
                    <a:lnTo>
                      <a:pt x="50" y="582"/>
                    </a:lnTo>
                    <a:lnTo>
                      <a:pt x="48" y="582"/>
                    </a:lnTo>
                    <a:lnTo>
                      <a:pt x="48" y="580"/>
                    </a:lnTo>
                    <a:lnTo>
                      <a:pt x="48" y="578"/>
                    </a:lnTo>
                    <a:lnTo>
                      <a:pt x="46" y="574"/>
                    </a:lnTo>
                    <a:lnTo>
                      <a:pt x="46" y="572"/>
                    </a:lnTo>
                    <a:lnTo>
                      <a:pt x="44" y="568"/>
                    </a:lnTo>
                    <a:lnTo>
                      <a:pt x="44" y="566"/>
                    </a:lnTo>
                    <a:lnTo>
                      <a:pt x="46" y="566"/>
                    </a:lnTo>
                    <a:lnTo>
                      <a:pt x="46" y="564"/>
                    </a:lnTo>
                    <a:lnTo>
                      <a:pt x="44" y="564"/>
                    </a:lnTo>
                    <a:lnTo>
                      <a:pt x="44" y="562"/>
                    </a:lnTo>
                    <a:lnTo>
                      <a:pt x="42" y="564"/>
                    </a:lnTo>
                    <a:lnTo>
                      <a:pt x="40" y="564"/>
                    </a:lnTo>
                    <a:lnTo>
                      <a:pt x="38" y="564"/>
                    </a:lnTo>
                    <a:lnTo>
                      <a:pt x="38" y="566"/>
                    </a:lnTo>
                    <a:lnTo>
                      <a:pt x="35" y="568"/>
                    </a:lnTo>
                    <a:lnTo>
                      <a:pt x="33" y="568"/>
                    </a:lnTo>
                    <a:lnTo>
                      <a:pt x="33" y="570"/>
                    </a:lnTo>
                    <a:lnTo>
                      <a:pt x="33" y="572"/>
                    </a:lnTo>
                    <a:lnTo>
                      <a:pt x="33" y="574"/>
                    </a:lnTo>
                    <a:lnTo>
                      <a:pt x="33" y="572"/>
                    </a:lnTo>
                    <a:lnTo>
                      <a:pt x="31" y="572"/>
                    </a:lnTo>
                    <a:lnTo>
                      <a:pt x="29" y="572"/>
                    </a:lnTo>
                    <a:lnTo>
                      <a:pt x="29" y="570"/>
                    </a:lnTo>
                    <a:lnTo>
                      <a:pt x="27" y="570"/>
                    </a:lnTo>
                    <a:lnTo>
                      <a:pt x="25" y="570"/>
                    </a:lnTo>
                    <a:lnTo>
                      <a:pt x="25" y="568"/>
                    </a:lnTo>
                    <a:lnTo>
                      <a:pt x="23" y="568"/>
                    </a:lnTo>
                    <a:lnTo>
                      <a:pt x="23" y="566"/>
                    </a:lnTo>
                    <a:lnTo>
                      <a:pt x="21" y="566"/>
                    </a:lnTo>
                    <a:lnTo>
                      <a:pt x="23" y="566"/>
                    </a:lnTo>
                    <a:lnTo>
                      <a:pt x="23" y="564"/>
                    </a:lnTo>
                    <a:lnTo>
                      <a:pt x="25" y="562"/>
                    </a:lnTo>
                    <a:lnTo>
                      <a:pt x="25" y="561"/>
                    </a:lnTo>
                    <a:lnTo>
                      <a:pt x="27" y="559"/>
                    </a:lnTo>
                    <a:lnTo>
                      <a:pt x="29" y="559"/>
                    </a:lnTo>
                    <a:lnTo>
                      <a:pt x="29" y="557"/>
                    </a:lnTo>
                    <a:lnTo>
                      <a:pt x="29" y="555"/>
                    </a:lnTo>
                    <a:lnTo>
                      <a:pt x="31" y="555"/>
                    </a:lnTo>
                    <a:lnTo>
                      <a:pt x="31" y="553"/>
                    </a:lnTo>
                    <a:lnTo>
                      <a:pt x="33" y="551"/>
                    </a:lnTo>
                    <a:lnTo>
                      <a:pt x="33" y="553"/>
                    </a:lnTo>
                    <a:lnTo>
                      <a:pt x="35" y="551"/>
                    </a:lnTo>
                    <a:lnTo>
                      <a:pt x="37" y="549"/>
                    </a:lnTo>
                    <a:lnTo>
                      <a:pt x="33" y="547"/>
                    </a:lnTo>
                    <a:lnTo>
                      <a:pt x="29" y="543"/>
                    </a:lnTo>
                    <a:lnTo>
                      <a:pt x="33" y="541"/>
                    </a:lnTo>
                    <a:lnTo>
                      <a:pt x="33" y="537"/>
                    </a:lnTo>
                    <a:lnTo>
                      <a:pt x="33" y="536"/>
                    </a:lnTo>
                    <a:lnTo>
                      <a:pt x="31" y="536"/>
                    </a:lnTo>
                    <a:lnTo>
                      <a:pt x="29" y="536"/>
                    </a:lnTo>
                    <a:lnTo>
                      <a:pt x="25" y="534"/>
                    </a:lnTo>
                    <a:lnTo>
                      <a:pt x="25" y="530"/>
                    </a:lnTo>
                    <a:lnTo>
                      <a:pt x="23" y="530"/>
                    </a:lnTo>
                    <a:lnTo>
                      <a:pt x="17" y="528"/>
                    </a:lnTo>
                    <a:lnTo>
                      <a:pt x="14" y="528"/>
                    </a:lnTo>
                    <a:lnTo>
                      <a:pt x="12" y="526"/>
                    </a:lnTo>
                    <a:lnTo>
                      <a:pt x="6" y="526"/>
                    </a:lnTo>
                    <a:lnTo>
                      <a:pt x="4" y="526"/>
                    </a:lnTo>
                    <a:lnTo>
                      <a:pt x="2" y="526"/>
                    </a:lnTo>
                    <a:lnTo>
                      <a:pt x="0" y="524"/>
                    </a:lnTo>
                    <a:lnTo>
                      <a:pt x="2" y="522"/>
                    </a:lnTo>
                    <a:lnTo>
                      <a:pt x="2" y="520"/>
                    </a:lnTo>
                    <a:lnTo>
                      <a:pt x="6" y="516"/>
                    </a:lnTo>
                    <a:lnTo>
                      <a:pt x="6" y="514"/>
                    </a:lnTo>
                    <a:lnTo>
                      <a:pt x="8" y="514"/>
                    </a:lnTo>
                    <a:lnTo>
                      <a:pt x="8" y="513"/>
                    </a:lnTo>
                    <a:lnTo>
                      <a:pt x="10" y="511"/>
                    </a:lnTo>
                    <a:lnTo>
                      <a:pt x="14" y="505"/>
                    </a:lnTo>
                    <a:lnTo>
                      <a:pt x="15" y="503"/>
                    </a:lnTo>
                    <a:lnTo>
                      <a:pt x="14" y="501"/>
                    </a:lnTo>
                    <a:lnTo>
                      <a:pt x="12" y="501"/>
                    </a:lnTo>
                    <a:lnTo>
                      <a:pt x="12" y="499"/>
                    </a:lnTo>
                    <a:lnTo>
                      <a:pt x="10" y="497"/>
                    </a:lnTo>
                    <a:lnTo>
                      <a:pt x="8" y="493"/>
                    </a:lnTo>
                    <a:lnTo>
                      <a:pt x="10" y="491"/>
                    </a:lnTo>
                    <a:lnTo>
                      <a:pt x="12" y="489"/>
                    </a:lnTo>
                    <a:lnTo>
                      <a:pt x="14" y="486"/>
                    </a:lnTo>
                    <a:lnTo>
                      <a:pt x="15" y="486"/>
                    </a:lnTo>
                    <a:lnTo>
                      <a:pt x="14" y="486"/>
                    </a:lnTo>
                    <a:lnTo>
                      <a:pt x="14" y="484"/>
                    </a:lnTo>
                    <a:lnTo>
                      <a:pt x="15" y="480"/>
                    </a:lnTo>
                    <a:lnTo>
                      <a:pt x="17" y="480"/>
                    </a:lnTo>
                    <a:lnTo>
                      <a:pt x="19" y="480"/>
                    </a:lnTo>
                    <a:lnTo>
                      <a:pt x="21" y="480"/>
                    </a:lnTo>
                    <a:lnTo>
                      <a:pt x="23" y="480"/>
                    </a:lnTo>
                    <a:lnTo>
                      <a:pt x="25" y="480"/>
                    </a:lnTo>
                    <a:lnTo>
                      <a:pt x="27" y="480"/>
                    </a:lnTo>
                    <a:lnTo>
                      <a:pt x="27" y="478"/>
                    </a:lnTo>
                    <a:lnTo>
                      <a:pt x="31" y="478"/>
                    </a:lnTo>
                    <a:lnTo>
                      <a:pt x="31" y="476"/>
                    </a:lnTo>
                    <a:lnTo>
                      <a:pt x="31" y="474"/>
                    </a:lnTo>
                    <a:lnTo>
                      <a:pt x="31" y="472"/>
                    </a:lnTo>
                    <a:lnTo>
                      <a:pt x="29" y="470"/>
                    </a:lnTo>
                    <a:lnTo>
                      <a:pt x="27" y="468"/>
                    </a:lnTo>
                    <a:lnTo>
                      <a:pt x="29" y="466"/>
                    </a:lnTo>
                    <a:lnTo>
                      <a:pt x="31" y="465"/>
                    </a:lnTo>
                    <a:lnTo>
                      <a:pt x="33" y="463"/>
                    </a:lnTo>
                    <a:lnTo>
                      <a:pt x="38" y="459"/>
                    </a:lnTo>
                    <a:lnTo>
                      <a:pt x="38" y="457"/>
                    </a:lnTo>
                    <a:lnTo>
                      <a:pt x="37" y="457"/>
                    </a:lnTo>
                    <a:lnTo>
                      <a:pt x="37" y="455"/>
                    </a:lnTo>
                    <a:lnTo>
                      <a:pt x="37" y="453"/>
                    </a:lnTo>
                    <a:lnTo>
                      <a:pt x="38" y="451"/>
                    </a:lnTo>
                    <a:lnTo>
                      <a:pt x="38" y="449"/>
                    </a:lnTo>
                    <a:lnTo>
                      <a:pt x="40" y="449"/>
                    </a:lnTo>
                    <a:lnTo>
                      <a:pt x="40" y="445"/>
                    </a:lnTo>
                    <a:lnTo>
                      <a:pt x="38" y="445"/>
                    </a:lnTo>
                    <a:lnTo>
                      <a:pt x="40" y="445"/>
                    </a:lnTo>
                    <a:lnTo>
                      <a:pt x="42" y="445"/>
                    </a:lnTo>
                    <a:lnTo>
                      <a:pt x="40" y="445"/>
                    </a:lnTo>
                    <a:lnTo>
                      <a:pt x="40" y="443"/>
                    </a:lnTo>
                    <a:lnTo>
                      <a:pt x="42" y="443"/>
                    </a:lnTo>
                    <a:lnTo>
                      <a:pt x="40" y="443"/>
                    </a:lnTo>
                    <a:lnTo>
                      <a:pt x="38" y="443"/>
                    </a:lnTo>
                    <a:lnTo>
                      <a:pt x="38" y="441"/>
                    </a:lnTo>
                    <a:lnTo>
                      <a:pt x="37" y="443"/>
                    </a:lnTo>
                    <a:lnTo>
                      <a:pt x="35" y="443"/>
                    </a:lnTo>
                    <a:lnTo>
                      <a:pt x="33" y="443"/>
                    </a:lnTo>
                    <a:lnTo>
                      <a:pt x="33" y="441"/>
                    </a:lnTo>
                    <a:lnTo>
                      <a:pt x="35" y="440"/>
                    </a:lnTo>
                    <a:lnTo>
                      <a:pt x="37" y="440"/>
                    </a:lnTo>
                    <a:lnTo>
                      <a:pt x="38" y="440"/>
                    </a:lnTo>
                    <a:lnTo>
                      <a:pt x="38" y="438"/>
                    </a:lnTo>
                    <a:lnTo>
                      <a:pt x="37" y="440"/>
                    </a:lnTo>
                    <a:lnTo>
                      <a:pt x="37" y="438"/>
                    </a:lnTo>
                    <a:lnTo>
                      <a:pt x="35" y="438"/>
                    </a:lnTo>
                    <a:lnTo>
                      <a:pt x="35" y="436"/>
                    </a:lnTo>
                    <a:lnTo>
                      <a:pt x="37" y="436"/>
                    </a:lnTo>
                    <a:lnTo>
                      <a:pt x="37" y="438"/>
                    </a:lnTo>
                    <a:lnTo>
                      <a:pt x="38" y="436"/>
                    </a:lnTo>
                    <a:lnTo>
                      <a:pt x="40" y="436"/>
                    </a:lnTo>
                    <a:lnTo>
                      <a:pt x="42" y="434"/>
                    </a:lnTo>
                    <a:lnTo>
                      <a:pt x="40" y="434"/>
                    </a:lnTo>
                    <a:lnTo>
                      <a:pt x="42" y="434"/>
                    </a:lnTo>
                    <a:lnTo>
                      <a:pt x="42" y="432"/>
                    </a:lnTo>
                    <a:lnTo>
                      <a:pt x="42" y="430"/>
                    </a:lnTo>
                    <a:lnTo>
                      <a:pt x="44" y="430"/>
                    </a:lnTo>
                    <a:lnTo>
                      <a:pt x="44" y="428"/>
                    </a:lnTo>
                    <a:lnTo>
                      <a:pt x="42" y="428"/>
                    </a:lnTo>
                    <a:lnTo>
                      <a:pt x="42" y="426"/>
                    </a:lnTo>
                    <a:lnTo>
                      <a:pt x="42" y="424"/>
                    </a:lnTo>
                    <a:lnTo>
                      <a:pt x="44" y="422"/>
                    </a:lnTo>
                    <a:lnTo>
                      <a:pt x="40" y="418"/>
                    </a:lnTo>
                    <a:lnTo>
                      <a:pt x="38" y="418"/>
                    </a:lnTo>
                    <a:lnTo>
                      <a:pt x="38" y="420"/>
                    </a:lnTo>
                    <a:lnTo>
                      <a:pt x="37" y="420"/>
                    </a:lnTo>
                    <a:lnTo>
                      <a:pt x="37" y="418"/>
                    </a:lnTo>
                    <a:lnTo>
                      <a:pt x="37" y="420"/>
                    </a:lnTo>
                    <a:lnTo>
                      <a:pt x="35" y="420"/>
                    </a:lnTo>
                    <a:lnTo>
                      <a:pt x="35" y="418"/>
                    </a:lnTo>
                    <a:lnTo>
                      <a:pt x="35" y="417"/>
                    </a:lnTo>
                    <a:lnTo>
                      <a:pt x="35" y="413"/>
                    </a:lnTo>
                    <a:lnTo>
                      <a:pt x="35" y="411"/>
                    </a:lnTo>
                    <a:lnTo>
                      <a:pt x="37" y="409"/>
                    </a:lnTo>
                    <a:lnTo>
                      <a:pt x="35" y="409"/>
                    </a:lnTo>
                    <a:lnTo>
                      <a:pt x="33" y="407"/>
                    </a:lnTo>
                    <a:lnTo>
                      <a:pt x="33" y="403"/>
                    </a:lnTo>
                    <a:lnTo>
                      <a:pt x="31" y="403"/>
                    </a:lnTo>
                    <a:lnTo>
                      <a:pt x="31" y="401"/>
                    </a:lnTo>
                    <a:lnTo>
                      <a:pt x="31" y="399"/>
                    </a:lnTo>
                    <a:lnTo>
                      <a:pt x="31" y="397"/>
                    </a:lnTo>
                    <a:lnTo>
                      <a:pt x="33" y="397"/>
                    </a:lnTo>
                    <a:lnTo>
                      <a:pt x="37" y="395"/>
                    </a:lnTo>
                    <a:lnTo>
                      <a:pt x="37" y="393"/>
                    </a:lnTo>
                    <a:lnTo>
                      <a:pt x="38" y="393"/>
                    </a:lnTo>
                    <a:lnTo>
                      <a:pt x="38" y="392"/>
                    </a:lnTo>
                    <a:lnTo>
                      <a:pt x="40" y="395"/>
                    </a:lnTo>
                    <a:lnTo>
                      <a:pt x="40" y="397"/>
                    </a:lnTo>
                    <a:lnTo>
                      <a:pt x="37" y="399"/>
                    </a:lnTo>
                    <a:lnTo>
                      <a:pt x="37" y="397"/>
                    </a:lnTo>
                    <a:lnTo>
                      <a:pt x="37" y="399"/>
                    </a:lnTo>
                    <a:lnTo>
                      <a:pt x="37" y="401"/>
                    </a:lnTo>
                    <a:lnTo>
                      <a:pt x="38" y="401"/>
                    </a:lnTo>
                    <a:lnTo>
                      <a:pt x="38" y="403"/>
                    </a:lnTo>
                    <a:lnTo>
                      <a:pt x="40" y="403"/>
                    </a:lnTo>
                    <a:lnTo>
                      <a:pt x="40" y="405"/>
                    </a:lnTo>
                    <a:lnTo>
                      <a:pt x="42" y="405"/>
                    </a:lnTo>
                    <a:lnTo>
                      <a:pt x="42" y="407"/>
                    </a:lnTo>
                    <a:lnTo>
                      <a:pt x="40" y="407"/>
                    </a:lnTo>
                    <a:lnTo>
                      <a:pt x="40" y="409"/>
                    </a:lnTo>
                    <a:lnTo>
                      <a:pt x="42" y="409"/>
                    </a:lnTo>
                    <a:lnTo>
                      <a:pt x="44" y="409"/>
                    </a:lnTo>
                    <a:lnTo>
                      <a:pt x="46" y="411"/>
                    </a:lnTo>
                    <a:lnTo>
                      <a:pt x="46" y="409"/>
                    </a:lnTo>
                    <a:lnTo>
                      <a:pt x="48" y="409"/>
                    </a:lnTo>
                    <a:lnTo>
                      <a:pt x="48" y="411"/>
                    </a:lnTo>
                    <a:lnTo>
                      <a:pt x="50" y="411"/>
                    </a:lnTo>
                    <a:lnTo>
                      <a:pt x="52" y="411"/>
                    </a:lnTo>
                    <a:lnTo>
                      <a:pt x="52" y="413"/>
                    </a:lnTo>
                    <a:lnTo>
                      <a:pt x="54" y="411"/>
                    </a:lnTo>
                    <a:lnTo>
                      <a:pt x="54" y="409"/>
                    </a:lnTo>
                    <a:lnTo>
                      <a:pt x="52" y="407"/>
                    </a:lnTo>
                    <a:lnTo>
                      <a:pt x="54" y="407"/>
                    </a:lnTo>
                    <a:lnTo>
                      <a:pt x="54" y="405"/>
                    </a:lnTo>
                    <a:lnTo>
                      <a:pt x="52" y="405"/>
                    </a:lnTo>
                    <a:lnTo>
                      <a:pt x="52" y="403"/>
                    </a:lnTo>
                    <a:lnTo>
                      <a:pt x="50" y="403"/>
                    </a:lnTo>
                    <a:lnTo>
                      <a:pt x="48" y="403"/>
                    </a:lnTo>
                    <a:lnTo>
                      <a:pt x="50" y="401"/>
                    </a:lnTo>
                    <a:lnTo>
                      <a:pt x="52" y="401"/>
                    </a:lnTo>
                    <a:lnTo>
                      <a:pt x="54" y="401"/>
                    </a:lnTo>
                    <a:lnTo>
                      <a:pt x="54" y="403"/>
                    </a:lnTo>
                    <a:lnTo>
                      <a:pt x="56" y="403"/>
                    </a:lnTo>
                    <a:lnTo>
                      <a:pt x="56" y="405"/>
                    </a:lnTo>
                    <a:lnTo>
                      <a:pt x="58" y="405"/>
                    </a:lnTo>
                    <a:lnTo>
                      <a:pt x="60" y="405"/>
                    </a:lnTo>
                    <a:lnTo>
                      <a:pt x="60" y="403"/>
                    </a:lnTo>
                    <a:lnTo>
                      <a:pt x="60" y="401"/>
                    </a:lnTo>
                    <a:lnTo>
                      <a:pt x="62" y="399"/>
                    </a:lnTo>
                    <a:lnTo>
                      <a:pt x="62" y="397"/>
                    </a:lnTo>
                    <a:lnTo>
                      <a:pt x="60" y="397"/>
                    </a:lnTo>
                    <a:lnTo>
                      <a:pt x="58" y="397"/>
                    </a:lnTo>
                    <a:lnTo>
                      <a:pt x="58" y="395"/>
                    </a:lnTo>
                    <a:lnTo>
                      <a:pt x="60" y="395"/>
                    </a:lnTo>
                    <a:lnTo>
                      <a:pt x="62" y="392"/>
                    </a:lnTo>
                    <a:lnTo>
                      <a:pt x="62" y="390"/>
                    </a:lnTo>
                    <a:lnTo>
                      <a:pt x="56" y="386"/>
                    </a:lnTo>
                    <a:lnTo>
                      <a:pt x="58" y="386"/>
                    </a:lnTo>
                    <a:lnTo>
                      <a:pt x="58" y="380"/>
                    </a:lnTo>
                    <a:lnTo>
                      <a:pt x="60" y="378"/>
                    </a:lnTo>
                    <a:lnTo>
                      <a:pt x="60" y="374"/>
                    </a:lnTo>
                    <a:lnTo>
                      <a:pt x="62" y="372"/>
                    </a:lnTo>
                    <a:lnTo>
                      <a:pt x="63" y="370"/>
                    </a:lnTo>
                    <a:lnTo>
                      <a:pt x="63" y="367"/>
                    </a:lnTo>
                    <a:lnTo>
                      <a:pt x="63" y="365"/>
                    </a:lnTo>
                    <a:lnTo>
                      <a:pt x="63" y="363"/>
                    </a:lnTo>
                    <a:lnTo>
                      <a:pt x="63" y="361"/>
                    </a:lnTo>
                    <a:lnTo>
                      <a:pt x="63" y="359"/>
                    </a:lnTo>
                    <a:lnTo>
                      <a:pt x="65" y="359"/>
                    </a:lnTo>
                    <a:lnTo>
                      <a:pt x="65" y="357"/>
                    </a:lnTo>
                    <a:lnTo>
                      <a:pt x="67" y="357"/>
                    </a:lnTo>
                    <a:lnTo>
                      <a:pt x="69" y="357"/>
                    </a:lnTo>
                    <a:lnTo>
                      <a:pt x="69" y="359"/>
                    </a:lnTo>
                    <a:lnTo>
                      <a:pt x="67" y="359"/>
                    </a:lnTo>
                    <a:lnTo>
                      <a:pt x="69" y="359"/>
                    </a:lnTo>
                    <a:lnTo>
                      <a:pt x="71" y="359"/>
                    </a:lnTo>
                    <a:lnTo>
                      <a:pt x="73" y="357"/>
                    </a:lnTo>
                    <a:lnTo>
                      <a:pt x="75" y="357"/>
                    </a:lnTo>
                    <a:lnTo>
                      <a:pt x="77" y="353"/>
                    </a:lnTo>
                    <a:lnTo>
                      <a:pt x="81" y="355"/>
                    </a:lnTo>
                    <a:lnTo>
                      <a:pt x="81" y="353"/>
                    </a:lnTo>
                    <a:lnTo>
                      <a:pt x="81" y="351"/>
                    </a:lnTo>
                    <a:lnTo>
                      <a:pt x="81" y="347"/>
                    </a:lnTo>
                    <a:lnTo>
                      <a:pt x="81" y="346"/>
                    </a:lnTo>
                    <a:lnTo>
                      <a:pt x="79" y="346"/>
                    </a:lnTo>
                    <a:lnTo>
                      <a:pt x="79" y="344"/>
                    </a:lnTo>
                    <a:lnTo>
                      <a:pt x="79" y="342"/>
                    </a:lnTo>
                    <a:lnTo>
                      <a:pt x="79" y="340"/>
                    </a:lnTo>
                    <a:lnTo>
                      <a:pt x="77" y="340"/>
                    </a:lnTo>
                    <a:lnTo>
                      <a:pt x="75" y="338"/>
                    </a:lnTo>
                    <a:lnTo>
                      <a:pt x="75" y="336"/>
                    </a:lnTo>
                    <a:lnTo>
                      <a:pt x="75" y="334"/>
                    </a:lnTo>
                    <a:lnTo>
                      <a:pt x="73" y="334"/>
                    </a:lnTo>
                    <a:lnTo>
                      <a:pt x="73" y="332"/>
                    </a:lnTo>
                    <a:lnTo>
                      <a:pt x="73" y="330"/>
                    </a:lnTo>
                    <a:lnTo>
                      <a:pt x="73" y="328"/>
                    </a:lnTo>
                    <a:lnTo>
                      <a:pt x="73" y="326"/>
                    </a:lnTo>
                    <a:lnTo>
                      <a:pt x="75" y="326"/>
                    </a:lnTo>
                    <a:lnTo>
                      <a:pt x="77" y="326"/>
                    </a:lnTo>
                    <a:lnTo>
                      <a:pt x="81" y="326"/>
                    </a:lnTo>
                    <a:lnTo>
                      <a:pt x="83" y="326"/>
                    </a:lnTo>
                    <a:lnTo>
                      <a:pt x="86" y="328"/>
                    </a:lnTo>
                    <a:lnTo>
                      <a:pt x="86" y="326"/>
                    </a:lnTo>
                    <a:lnTo>
                      <a:pt x="88" y="324"/>
                    </a:lnTo>
                    <a:lnTo>
                      <a:pt x="90" y="324"/>
                    </a:lnTo>
                    <a:lnTo>
                      <a:pt x="88" y="322"/>
                    </a:lnTo>
                    <a:lnTo>
                      <a:pt x="86" y="322"/>
                    </a:lnTo>
                    <a:lnTo>
                      <a:pt x="83" y="322"/>
                    </a:lnTo>
                    <a:lnTo>
                      <a:pt x="81" y="321"/>
                    </a:lnTo>
                    <a:lnTo>
                      <a:pt x="81" y="319"/>
                    </a:lnTo>
                    <a:lnTo>
                      <a:pt x="81" y="317"/>
                    </a:lnTo>
                    <a:lnTo>
                      <a:pt x="79" y="317"/>
                    </a:lnTo>
                    <a:lnTo>
                      <a:pt x="75" y="313"/>
                    </a:lnTo>
                    <a:lnTo>
                      <a:pt x="75" y="311"/>
                    </a:lnTo>
                    <a:lnTo>
                      <a:pt x="73" y="311"/>
                    </a:lnTo>
                    <a:lnTo>
                      <a:pt x="73" y="305"/>
                    </a:lnTo>
                    <a:lnTo>
                      <a:pt x="75" y="303"/>
                    </a:lnTo>
                    <a:lnTo>
                      <a:pt x="75" y="301"/>
                    </a:lnTo>
                    <a:lnTo>
                      <a:pt x="75" y="298"/>
                    </a:lnTo>
                    <a:lnTo>
                      <a:pt x="71" y="298"/>
                    </a:lnTo>
                    <a:lnTo>
                      <a:pt x="69" y="296"/>
                    </a:lnTo>
                    <a:lnTo>
                      <a:pt x="67" y="296"/>
                    </a:lnTo>
                    <a:lnTo>
                      <a:pt x="67" y="294"/>
                    </a:lnTo>
                    <a:lnTo>
                      <a:pt x="67" y="292"/>
                    </a:lnTo>
                    <a:lnTo>
                      <a:pt x="69" y="290"/>
                    </a:lnTo>
                    <a:lnTo>
                      <a:pt x="69" y="288"/>
                    </a:lnTo>
                    <a:lnTo>
                      <a:pt x="71" y="288"/>
                    </a:lnTo>
                    <a:lnTo>
                      <a:pt x="73" y="286"/>
                    </a:lnTo>
                    <a:lnTo>
                      <a:pt x="73" y="284"/>
                    </a:lnTo>
                    <a:lnTo>
                      <a:pt x="71" y="284"/>
                    </a:lnTo>
                    <a:lnTo>
                      <a:pt x="71" y="282"/>
                    </a:lnTo>
                    <a:lnTo>
                      <a:pt x="73" y="282"/>
                    </a:lnTo>
                    <a:lnTo>
                      <a:pt x="73" y="280"/>
                    </a:lnTo>
                    <a:lnTo>
                      <a:pt x="75" y="280"/>
                    </a:lnTo>
                    <a:lnTo>
                      <a:pt x="75" y="282"/>
                    </a:lnTo>
                    <a:lnTo>
                      <a:pt x="77" y="282"/>
                    </a:lnTo>
                    <a:lnTo>
                      <a:pt x="79" y="282"/>
                    </a:lnTo>
                    <a:lnTo>
                      <a:pt x="79" y="280"/>
                    </a:lnTo>
                    <a:lnTo>
                      <a:pt x="77" y="280"/>
                    </a:lnTo>
                    <a:lnTo>
                      <a:pt x="75" y="280"/>
                    </a:lnTo>
                    <a:lnTo>
                      <a:pt x="73" y="278"/>
                    </a:lnTo>
                    <a:lnTo>
                      <a:pt x="73" y="276"/>
                    </a:lnTo>
                    <a:lnTo>
                      <a:pt x="75" y="276"/>
                    </a:lnTo>
                    <a:lnTo>
                      <a:pt x="77" y="276"/>
                    </a:lnTo>
                    <a:lnTo>
                      <a:pt x="79" y="276"/>
                    </a:lnTo>
                    <a:lnTo>
                      <a:pt x="81" y="276"/>
                    </a:lnTo>
                    <a:lnTo>
                      <a:pt x="81" y="274"/>
                    </a:lnTo>
                    <a:lnTo>
                      <a:pt x="81" y="273"/>
                    </a:lnTo>
                    <a:lnTo>
                      <a:pt x="79" y="273"/>
                    </a:lnTo>
                    <a:lnTo>
                      <a:pt x="77" y="273"/>
                    </a:lnTo>
                    <a:lnTo>
                      <a:pt x="77" y="271"/>
                    </a:lnTo>
                    <a:lnTo>
                      <a:pt x="77" y="269"/>
                    </a:lnTo>
                    <a:lnTo>
                      <a:pt x="75" y="267"/>
                    </a:lnTo>
                    <a:lnTo>
                      <a:pt x="75" y="265"/>
                    </a:lnTo>
                    <a:lnTo>
                      <a:pt x="73" y="265"/>
                    </a:lnTo>
                    <a:lnTo>
                      <a:pt x="71" y="263"/>
                    </a:lnTo>
                    <a:lnTo>
                      <a:pt x="73" y="261"/>
                    </a:lnTo>
                    <a:lnTo>
                      <a:pt x="71" y="259"/>
                    </a:lnTo>
                    <a:lnTo>
                      <a:pt x="71" y="257"/>
                    </a:lnTo>
                    <a:lnTo>
                      <a:pt x="69" y="257"/>
                    </a:lnTo>
                    <a:lnTo>
                      <a:pt x="69" y="255"/>
                    </a:lnTo>
                    <a:lnTo>
                      <a:pt x="67" y="255"/>
                    </a:lnTo>
                    <a:lnTo>
                      <a:pt x="67" y="253"/>
                    </a:lnTo>
                    <a:lnTo>
                      <a:pt x="65" y="253"/>
                    </a:lnTo>
                    <a:lnTo>
                      <a:pt x="65" y="251"/>
                    </a:lnTo>
                    <a:lnTo>
                      <a:pt x="63" y="251"/>
                    </a:lnTo>
                    <a:lnTo>
                      <a:pt x="63" y="250"/>
                    </a:lnTo>
                    <a:lnTo>
                      <a:pt x="63" y="248"/>
                    </a:lnTo>
                    <a:lnTo>
                      <a:pt x="63" y="246"/>
                    </a:lnTo>
                    <a:lnTo>
                      <a:pt x="63" y="244"/>
                    </a:lnTo>
                    <a:lnTo>
                      <a:pt x="63" y="242"/>
                    </a:lnTo>
                    <a:lnTo>
                      <a:pt x="63" y="240"/>
                    </a:lnTo>
                    <a:lnTo>
                      <a:pt x="62" y="240"/>
                    </a:lnTo>
                    <a:lnTo>
                      <a:pt x="62" y="242"/>
                    </a:lnTo>
                    <a:lnTo>
                      <a:pt x="60" y="242"/>
                    </a:lnTo>
                    <a:lnTo>
                      <a:pt x="60" y="240"/>
                    </a:lnTo>
                    <a:lnTo>
                      <a:pt x="60" y="238"/>
                    </a:lnTo>
                    <a:lnTo>
                      <a:pt x="62" y="238"/>
                    </a:lnTo>
                    <a:lnTo>
                      <a:pt x="62" y="236"/>
                    </a:lnTo>
                    <a:lnTo>
                      <a:pt x="63" y="238"/>
                    </a:lnTo>
                    <a:lnTo>
                      <a:pt x="63" y="236"/>
                    </a:lnTo>
                    <a:lnTo>
                      <a:pt x="65" y="238"/>
                    </a:lnTo>
                    <a:lnTo>
                      <a:pt x="65" y="236"/>
                    </a:lnTo>
                    <a:lnTo>
                      <a:pt x="65" y="234"/>
                    </a:lnTo>
                    <a:lnTo>
                      <a:pt x="67" y="232"/>
                    </a:lnTo>
                    <a:lnTo>
                      <a:pt x="69" y="230"/>
                    </a:lnTo>
                    <a:lnTo>
                      <a:pt x="69" y="228"/>
                    </a:lnTo>
                    <a:lnTo>
                      <a:pt x="71" y="228"/>
                    </a:lnTo>
                    <a:lnTo>
                      <a:pt x="71" y="226"/>
                    </a:lnTo>
                    <a:lnTo>
                      <a:pt x="71" y="225"/>
                    </a:lnTo>
                    <a:lnTo>
                      <a:pt x="73" y="225"/>
                    </a:lnTo>
                    <a:lnTo>
                      <a:pt x="75" y="225"/>
                    </a:lnTo>
                    <a:lnTo>
                      <a:pt x="75" y="223"/>
                    </a:lnTo>
                    <a:lnTo>
                      <a:pt x="77" y="225"/>
                    </a:lnTo>
                    <a:lnTo>
                      <a:pt x="79" y="225"/>
                    </a:lnTo>
                    <a:lnTo>
                      <a:pt x="79" y="223"/>
                    </a:lnTo>
                    <a:lnTo>
                      <a:pt x="79" y="221"/>
                    </a:lnTo>
                    <a:lnTo>
                      <a:pt x="79" y="219"/>
                    </a:lnTo>
                    <a:lnTo>
                      <a:pt x="77" y="219"/>
                    </a:lnTo>
                    <a:lnTo>
                      <a:pt x="77" y="217"/>
                    </a:lnTo>
                    <a:lnTo>
                      <a:pt x="75" y="215"/>
                    </a:lnTo>
                    <a:lnTo>
                      <a:pt x="75" y="213"/>
                    </a:lnTo>
                    <a:lnTo>
                      <a:pt x="75" y="211"/>
                    </a:lnTo>
                    <a:lnTo>
                      <a:pt x="73" y="211"/>
                    </a:lnTo>
                    <a:lnTo>
                      <a:pt x="73" y="209"/>
                    </a:lnTo>
                    <a:lnTo>
                      <a:pt x="73" y="207"/>
                    </a:lnTo>
                    <a:lnTo>
                      <a:pt x="75" y="207"/>
                    </a:lnTo>
                    <a:lnTo>
                      <a:pt x="77" y="207"/>
                    </a:lnTo>
                    <a:lnTo>
                      <a:pt x="77" y="205"/>
                    </a:lnTo>
                    <a:lnTo>
                      <a:pt x="75" y="205"/>
                    </a:lnTo>
                    <a:lnTo>
                      <a:pt x="75" y="203"/>
                    </a:lnTo>
                    <a:lnTo>
                      <a:pt x="73" y="203"/>
                    </a:lnTo>
                    <a:lnTo>
                      <a:pt x="75" y="203"/>
                    </a:lnTo>
                    <a:lnTo>
                      <a:pt x="77" y="203"/>
                    </a:lnTo>
                    <a:lnTo>
                      <a:pt x="77" y="202"/>
                    </a:lnTo>
                    <a:lnTo>
                      <a:pt x="77" y="200"/>
                    </a:lnTo>
                    <a:lnTo>
                      <a:pt x="79" y="200"/>
                    </a:lnTo>
                    <a:lnTo>
                      <a:pt x="81" y="200"/>
                    </a:lnTo>
                    <a:lnTo>
                      <a:pt x="81" y="198"/>
                    </a:lnTo>
                    <a:lnTo>
                      <a:pt x="83" y="198"/>
                    </a:lnTo>
                    <a:lnTo>
                      <a:pt x="85" y="198"/>
                    </a:lnTo>
                    <a:lnTo>
                      <a:pt x="86" y="198"/>
                    </a:lnTo>
                    <a:lnTo>
                      <a:pt x="86" y="196"/>
                    </a:lnTo>
                    <a:lnTo>
                      <a:pt x="88" y="196"/>
                    </a:lnTo>
                    <a:lnTo>
                      <a:pt x="90" y="196"/>
                    </a:lnTo>
                    <a:lnTo>
                      <a:pt x="90" y="194"/>
                    </a:lnTo>
                    <a:lnTo>
                      <a:pt x="90" y="192"/>
                    </a:lnTo>
                    <a:lnTo>
                      <a:pt x="90" y="190"/>
                    </a:lnTo>
                    <a:lnTo>
                      <a:pt x="88" y="190"/>
                    </a:lnTo>
                    <a:lnTo>
                      <a:pt x="88" y="188"/>
                    </a:lnTo>
                    <a:lnTo>
                      <a:pt x="88" y="186"/>
                    </a:lnTo>
                    <a:lnTo>
                      <a:pt x="90" y="186"/>
                    </a:lnTo>
                    <a:lnTo>
                      <a:pt x="90" y="188"/>
                    </a:lnTo>
                    <a:lnTo>
                      <a:pt x="92" y="188"/>
                    </a:lnTo>
                    <a:lnTo>
                      <a:pt x="92" y="186"/>
                    </a:lnTo>
                    <a:lnTo>
                      <a:pt x="92" y="184"/>
                    </a:lnTo>
                    <a:lnTo>
                      <a:pt x="94" y="184"/>
                    </a:lnTo>
                    <a:lnTo>
                      <a:pt x="94" y="186"/>
                    </a:lnTo>
                    <a:lnTo>
                      <a:pt x="96" y="186"/>
                    </a:lnTo>
                    <a:lnTo>
                      <a:pt x="96" y="184"/>
                    </a:lnTo>
                    <a:lnTo>
                      <a:pt x="98" y="184"/>
                    </a:lnTo>
                    <a:lnTo>
                      <a:pt x="100" y="184"/>
                    </a:lnTo>
                    <a:lnTo>
                      <a:pt x="100" y="186"/>
                    </a:lnTo>
                    <a:lnTo>
                      <a:pt x="100" y="188"/>
                    </a:lnTo>
                    <a:lnTo>
                      <a:pt x="102" y="188"/>
                    </a:lnTo>
                    <a:lnTo>
                      <a:pt x="102" y="186"/>
                    </a:lnTo>
                    <a:lnTo>
                      <a:pt x="100" y="186"/>
                    </a:lnTo>
                    <a:lnTo>
                      <a:pt x="100" y="184"/>
                    </a:lnTo>
                    <a:lnTo>
                      <a:pt x="102" y="184"/>
                    </a:lnTo>
                    <a:lnTo>
                      <a:pt x="102" y="186"/>
                    </a:lnTo>
                    <a:lnTo>
                      <a:pt x="104" y="186"/>
                    </a:lnTo>
                    <a:lnTo>
                      <a:pt x="106" y="186"/>
                    </a:lnTo>
                    <a:lnTo>
                      <a:pt x="106" y="184"/>
                    </a:lnTo>
                    <a:lnTo>
                      <a:pt x="108" y="184"/>
                    </a:lnTo>
                    <a:lnTo>
                      <a:pt x="110" y="184"/>
                    </a:lnTo>
                    <a:lnTo>
                      <a:pt x="110" y="182"/>
                    </a:lnTo>
                    <a:lnTo>
                      <a:pt x="108" y="182"/>
                    </a:lnTo>
                    <a:lnTo>
                      <a:pt x="110" y="182"/>
                    </a:lnTo>
                    <a:lnTo>
                      <a:pt x="110" y="180"/>
                    </a:lnTo>
                    <a:lnTo>
                      <a:pt x="111" y="180"/>
                    </a:lnTo>
                    <a:lnTo>
                      <a:pt x="111" y="182"/>
                    </a:lnTo>
                    <a:lnTo>
                      <a:pt x="113" y="182"/>
                    </a:lnTo>
                    <a:lnTo>
                      <a:pt x="113" y="180"/>
                    </a:lnTo>
                    <a:lnTo>
                      <a:pt x="115" y="180"/>
                    </a:lnTo>
                    <a:lnTo>
                      <a:pt x="117" y="182"/>
                    </a:lnTo>
                    <a:lnTo>
                      <a:pt x="119" y="182"/>
                    </a:lnTo>
                    <a:lnTo>
                      <a:pt x="119" y="180"/>
                    </a:lnTo>
                    <a:lnTo>
                      <a:pt x="121" y="180"/>
                    </a:lnTo>
                    <a:lnTo>
                      <a:pt x="121" y="178"/>
                    </a:lnTo>
                    <a:lnTo>
                      <a:pt x="121" y="177"/>
                    </a:lnTo>
                    <a:lnTo>
                      <a:pt x="123" y="177"/>
                    </a:lnTo>
                    <a:lnTo>
                      <a:pt x="125" y="177"/>
                    </a:lnTo>
                    <a:lnTo>
                      <a:pt x="127" y="177"/>
                    </a:lnTo>
                    <a:lnTo>
                      <a:pt x="127" y="178"/>
                    </a:lnTo>
                    <a:lnTo>
                      <a:pt x="129" y="178"/>
                    </a:lnTo>
                    <a:lnTo>
                      <a:pt x="131" y="178"/>
                    </a:lnTo>
                    <a:lnTo>
                      <a:pt x="131" y="180"/>
                    </a:lnTo>
                    <a:lnTo>
                      <a:pt x="133" y="180"/>
                    </a:lnTo>
                    <a:lnTo>
                      <a:pt x="134" y="180"/>
                    </a:lnTo>
                    <a:lnTo>
                      <a:pt x="136" y="180"/>
                    </a:lnTo>
                    <a:lnTo>
                      <a:pt x="136" y="178"/>
                    </a:lnTo>
                    <a:lnTo>
                      <a:pt x="138" y="178"/>
                    </a:lnTo>
                    <a:lnTo>
                      <a:pt x="138" y="177"/>
                    </a:lnTo>
                    <a:lnTo>
                      <a:pt x="138" y="175"/>
                    </a:lnTo>
                    <a:lnTo>
                      <a:pt x="138" y="173"/>
                    </a:lnTo>
                    <a:lnTo>
                      <a:pt x="140" y="173"/>
                    </a:lnTo>
                    <a:lnTo>
                      <a:pt x="140" y="175"/>
                    </a:lnTo>
                    <a:lnTo>
                      <a:pt x="140" y="173"/>
                    </a:lnTo>
                    <a:lnTo>
                      <a:pt x="142" y="173"/>
                    </a:lnTo>
                    <a:lnTo>
                      <a:pt x="140" y="173"/>
                    </a:lnTo>
                    <a:lnTo>
                      <a:pt x="140" y="171"/>
                    </a:lnTo>
                    <a:lnTo>
                      <a:pt x="142" y="171"/>
                    </a:lnTo>
                    <a:lnTo>
                      <a:pt x="144" y="171"/>
                    </a:lnTo>
                    <a:lnTo>
                      <a:pt x="146" y="171"/>
                    </a:lnTo>
                    <a:lnTo>
                      <a:pt x="148" y="171"/>
                    </a:lnTo>
                    <a:lnTo>
                      <a:pt x="148" y="169"/>
                    </a:lnTo>
                    <a:lnTo>
                      <a:pt x="148" y="167"/>
                    </a:lnTo>
                    <a:lnTo>
                      <a:pt x="148" y="165"/>
                    </a:lnTo>
                    <a:lnTo>
                      <a:pt x="146" y="165"/>
                    </a:lnTo>
                    <a:lnTo>
                      <a:pt x="146" y="163"/>
                    </a:lnTo>
                    <a:lnTo>
                      <a:pt x="144" y="163"/>
                    </a:lnTo>
                    <a:lnTo>
                      <a:pt x="142" y="163"/>
                    </a:lnTo>
                    <a:lnTo>
                      <a:pt x="142" y="161"/>
                    </a:lnTo>
                    <a:lnTo>
                      <a:pt x="142" y="159"/>
                    </a:lnTo>
                    <a:lnTo>
                      <a:pt x="140" y="159"/>
                    </a:lnTo>
                    <a:lnTo>
                      <a:pt x="138" y="159"/>
                    </a:lnTo>
                    <a:lnTo>
                      <a:pt x="138" y="157"/>
                    </a:lnTo>
                    <a:lnTo>
                      <a:pt x="136" y="157"/>
                    </a:lnTo>
                    <a:lnTo>
                      <a:pt x="136" y="155"/>
                    </a:lnTo>
                    <a:lnTo>
                      <a:pt x="136" y="154"/>
                    </a:lnTo>
                    <a:lnTo>
                      <a:pt x="136" y="152"/>
                    </a:lnTo>
                    <a:lnTo>
                      <a:pt x="136" y="150"/>
                    </a:lnTo>
                    <a:lnTo>
                      <a:pt x="134" y="150"/>
                    </a:lnTo>
                    <a:lnTo>
                      <a:pt x="134" y="148"/>
                    </a:lnTo>
                    <a:lnTo>
                      <a:pt x="133" y="148"/>
                    </a:lnTo>
                    <a:lnTo>
                      <a:pt x="133" y="146"/>
                    </a:lnTo>
                    <a:lnTo>
                      <a:pt x="131" y="146"/>
                    </a:lnTo>
                    <a:lnTo>
                      <a:pt x="129" y="146"/>
                    </a:lnTo>
                    <a:lnTo>
                      <a:pt x="129" y="144"/>
                    </a:lnTo>
                    <a:lnTo>
                      <a:pt x="127" y="144"/>
                    </a:lnTo>
                    <a:lnTo>
                      <a:pt x="127" y="142"/>
                    </a:lnTo>
                    <a:lnTo>
                      <a:pt x="127" y="144"/>
                    </a:lnTo>
                    <a:lnTo>
                      <a:pt x="129" y="144"/>
                    </a:lnTo>
                    <a:lnTo>
                      <a:pt x="129" y="142"/>
                    </a:lnTo>
                    <a:lnTo>
                      <a:pt x="131" y="142"/>
                    </a:lnTo>
                    <a:lnTo>
                      <a:pt x="129" y="142"/>
                    </a:lnTo>
                    <a:lnTo>
                      <a:pt x="129" y="140"/>
                    </a:lnTo>
                    <a:lnTo>
                      <a:pt x="129" y="138"/>
                    </a:lnTo>
                    <a:lnTo>
                      <a:pt x="129" y="136"/>
                    </a:lnTo>
                    <a:lnTo>
                      <a:pt x="131" y="136"/>
                    </a:lnTo>
                    <a:lnTo>
                      <a:pt x="133" y="136"/>
                    </a:lnTo>
                    <a:lnTo>
                      <a:pt x="134" y="136"/>
                    </a:lnTo>
                    <a:lnTo>
                      <a:pt x="134" y="138"/>
                    </a:lnTo>
                    <a:lnTo>
                      <a:pt x="136" y="138"/>
                    </a:lnTo>
                    <a:lnTo>
                      <a:pt x="138" y="138"/>
                    </a:lnTo>
                    <a:lnTo>
                      <a:pt x="140" y="138"/>
                    </a:lnTo>
                    <a:lnTo>
                      <a:pt x="140" y="136"/>
                    </a:lnTo>
                    <a:lnTo>
                      <a:pt x="142" y="136"/>
                    </a:lnTo>
                    <a:lnTo>
                      <a:pt x="142" y="134"/>
                    </a:lnTo>
                    <a:lnTo>
                      <a:pt x="144" y="134"/>
                    </a:lnTo>
                    <a:lnTo>
                      <a:pt x="146" y="132"/>
                    </a:lnTo>
                    <a:lnTo>
                      <a:pt x="150" y="130"/>
                    </a:lnTo>
                    <a:lnTo>
                      <a:pt x="152" y="130"/>
                    </a:lnTo>
                    <a:lnTo>
                      <a:pt x="154" y="130"/>
                    </a:lnTo>
                    <a:lnTo>
                      <a:pt x="154" y="134"/>
                    </a:lnTo>
                    <a:lnTo>
                      <a:pt x="154" y="136"/>
                    </a:lnTo>
                    <a:lnTo>
                      <a:pt x="156" y="138"/>
                    </a:lnTo>
                    <a:lnTo>
                      <a:pt x="158" y="140"/>
                    </a:lnTo>
                    <a:lnTo>
                      <a:pt x="159" y="142"/>
                    </a:lnTo>
                    <a:lnTo>
                      <a:pt x="159" y="140"/>
                    </a:lnTo>
                    <a:lnTo>
                      <a:pt x="161" y="140"/>
                    </a:lnTo>
                    <a:lnTo>
                      <a:pt x="161" y="138"/>
                    </a:lnTo>
                    <a:lnTo>
                      <a:pt x="163" y="138"/>
                    </a:lnTo>
                    <a:lnTo>
                      <a:pt x="165" y="138"/>
                    </a:lnTo>
                    <a:lnTo>
                      <a:pt x="167" y="138"/>
                    </a:lnTo>
                    <a:lnTo>
                      <a:pt x="167" y="136"/>
                    </a:lnTo>
                    <a:lnTo>
                      <a:pt x="169" y="136"/>
                    </a:lnTo>
                    <a:lnTo>
                      <a:pt x="171" y="136"/>
                    </a:lnTo>
                    <a:lnTo>
                      <a:pt x="173" y="136"/>
                    </a:lnTo>
                    <a:lnTo>
                      <a:pt x="179" y="138"/>
                    </a:lnTo>
                    <a:lnTo>
                      <a:pt x="179" y="129"/>
                    </a:lnTo>
                    <a:lnTo>
                      <a:pt x="179" y="125"/>
                    </a:lnTo>
                    <a:lnTo>
                      <a:pt x="179" y="119"/>
                    </a:lnTo>
                    <a:lnTo>
                      <a:pt x="179" y="117"/>
                    </a:lnTo>
                    <a:lnTo>
                      <a:pt x="179" y="115"/>
                    </a:lnTo>
                    <a:lnTo>
                      <a:pt x="179" y="117"/>
                    </a:lnTo>
                    <a:lnTo>
                      <a:pt x="177" y="117"/>
                    </a:lnTo>
                    <a:lnTo>
                      <a:pt x="177" y="119"/>
                    </a:lnTo>
                    <a:lnTo>
                      <a:pt x="173" y="117"/>
                    </a:lnTo>
                    <a:lnTo>
                      <a:pt x="169" y="115"/>
                    </a:lnTo>
                    <a:lnTo>
                      <a:pt x="167" y="115"/>
                    </a:lnTo>
                    <a:lnTo>
                      <a:pt x="165" y="115"/>
                    </a:lnTo>
                    <a:lnTo>
                      <a:pt x="163" y="115"/>
                    </a:lnTo>
                    <a:lnTo>
                      <a:pt x="165" y="113"/>
                    </a:lnTo>
                    <a:lnTo>
                      <a:pt x="165" y="111"/>
                    </a:lnTo>
                    <a:lnTo>
                      <a:pt x="165" y="109"/>
                    </a:lnTo>
                    <a:lnTo>
                      <a:pt x="163" y="107"/>
                    </a:lnTo>
                    <a:lnTo>
                      <a:pt x="163" y="106"/>
                    </a:lnTo>
                    <a:lnTo>
                      <a:pt x="159" y="104"/>
                    </a:lnTo>
                    <a:lnTo>
                      <a:pt x="158" y="104"/>
                    </a:lnTo>
                    <a:lnTo>
                      <a:pt x="159" y="100"/>
                    </a:lnTo>
                    <a:lnTo>
                      <a:pt x="156" y="98"/>
                    </a:lnTo>
                    <a:lnTo>
                      <a:pt x="152" y="96"/>
                    </a:lnTo>
                    <a:lnTo>
                      <a:pt x="150" y="96"/>
                    </a:lnTo>
                    <a:lnTo>
                      <a:pt x="148" y="94"/>
                    </a:lnTo>
                    <a:lnTo>
                      <a:pt x="148" y="92"/>
                    </a:lnTo>
                    <a:lnTo>
                      <a:pt x="146" y="92"/>
                    </a:lnTo>
                    <a:lnTo>
                      <a:pt x="142" y="90"/>
                    </a:lnTo>
                    <a:lnTo>
                      <a:pt x="140" y="90"/>
                    </a:lnTo>
                    <a:lnTo>
                      <a:pt x="140" y="88"/>
                    </a:lnTo>
                    <a:lnTo>
                      <a:pt x="140" y="90"/>
                    </a:lnTo>
                    <a:lnTo>
                      <a:pt x="138" y="90"/>
                    </a:lnTo>
                    <a:lnTo>
                      <a:pt x="136" y="90"/>
                    </a:lnTo>
                    <a:lnTo>
                      <a:pt x="136" y="92"/>
                    </a:lnTo>
                    <a:lnTo>
                      <a:pt x="138" y="92"/>
                    </a:lnTo>
                    <a:lnTo>
                      <a:pt x="140" y="92"/>
                    </a:lnTo>
                    <a:lnTo>
                      <a:pt x="140" y="94"/>
                    </a:lnTo>
                    <a:lnTo>
                      <a:pt x="134" y="92"/>
                    </a:lnTo>
                    <a:lnTo>
                      <a:pt x="134" y="90"/>
                    </a:lnTo>
                    <a:lnTo>
                      <a:pt x="136" y="88"/>
                    </a:lnTo>
                    <a:lnTo>
                      <a:pt x="136" y="86"/>
                    </a:lnTo>
                    <a:lnTo>
                      <a:pt x="136" y="84"/>
                    </a:lnTo>
                    <a:lnTo>
                      <a:pt x="140" y="84"/>
                    </a:lnTo>
                    <a:lnTo>
                      <a:pt x="140" y="82"/>
                    </a:lnTo>
                    <a:lnTo>
                      <a:pt x="138" y="82"/>
                    </a:lnTo>
                    <a:lnTo>
                      <a:pt x="138" y="81"/>
                    </a:lnTo>
                    <a:lnTo>
                      <a:pt x="138" y="79"/>
                    </a:lnTo>
                    <a:lnTo>
                      <a:pt x="136" y="79"/>
                    </a:lnTo>
                    <a:lnTo>
                      <a:pt x="136" y="77"/>
                    </a:lnTo>
                    <a:lnTo>
                      <a:pt x="134" y="77"/>
                    </a:lnTo>
                    <a:lnTo>
                      <a:pt x="134" y="75"/>
                    </a:lnTo>
                    <a:lnTo>
                      <a:pt x="134" y="73"/>
                    </a:lnTo>
                    <a:lnTo>
                      <a:pt x="133" y="73"/>
                    </a:lnTo>
                    <a:lnTo>
                      <a:pt x="133" y="71"/>
                    </a:lnTo>
                    <a:lnTo>
                      <a:pt x="134" y="71"/>
                    </a:lnTo>
                    <a:lnTo>
                      <a:pt x="134" y="73"/>
                    </a:lnTo>
                    <a:lnTo>
                      <a:pt x="134" y="71"/>
                    </a:lnTo>
                    <a:lnTo>
                      <a:pt x="134" y="69"/>
                    </a:lnTo>
                    <a:lnTo>
                      <a:pt x="136" y="69"/>
                    </a:lnTo>
                    <a:lnTo>
                      <a:pt x="136" y="71"/>
                    </a:lnTo>
                    <a:lnTo>
                      <a:pt x="136" y="69"/>
                    </a:lnTo>
                    <a:lnTo>
                      <a:pt x="136" y="67"/>
                    </a:lnTo>
                    <a:lnTo>
                      <a:pt x="136" y="69"/>
                    </a:lnTo>
                    <a:lnTo>
                      <a:pt x="136" y="67"/>
                    </a:lnTo>
                    <a:lnTo>
                      <a:pt x="138" y="67"/>
                    </a:lnTo>
                    <a:lnTo>
                      <a:pt x="138" y="65"/>
                    </a:lnTo>
                    <a:lnTo>
                      <a:pt x="138" y="63"/>
                    </a:lnTo>
                    <a:lnTo>
                      <a:pt x="138" y="61"/>
                    </a:lnTo>
                    <a:lnTo>
                      <a:pt x="136" y="61"/>
                    </a:lnTo>
                    <a:lnTo>
                      <a:pt x="136" y="59"/>
                    </a:lnTo>
                    <a:lnTo>
                      <a:pt x="134" y="59"/>
                    </a:lnTo>
                    <a:lnTo>
                      <a:pt x="136" y="58"/>
                    </a:lnTo>
                    <a:lnTo>
                      <a:pt x="138" y="58"/>
                    </a:lnTo>
                    <a:lnTo>
                      <a:pt x="138" y="59"/>
                    </a:lnTo>
                    <a:lnTo>
                      <a:pt x="140" y="59"/>
                    </a:lnTo>
                    <a:lnTo>
                      <a:pt x="142" y="59"/>
                    </a:lnTo>
                    <a:lnTo>
                      <a:pt x="142" y="58"/>
                    </a:lnTo>
                    <a:lnTo>
                      <a:pt x="144" y="58"/>
                    </a:lnTo>
                    <a:lnTo>
                      <a:pt x="146" y="58"/>
                    </a:lnTo>
                    <a:lnTo>
                      <a:pt x="146" y="56"/>
                    </a:lnTo>
                    <a:lnTo>
                      <a:pt x="146" y="54"/>
                    </a:lnTo>
                    <a:lnTo>
                      <a:pt x="148" y="54"/>
                    </a:lnTo>
                    <a:lnTo>
                      <a:pt x="150" y="54"/>
                    </a:lnTo>
                    <a:lnTo>
                      <a:pt x="150" y="52"/>
                    </a:lnTo>
                    <a:lnTo>
                      <a:pt x="148" y="52"/>
                    </a:lnTo>
                    <a:lnTo>
                      <a:pt x="148" y="50"/>
                    </a:lnTo>
                    <a:lnTo>
                      <a:pt x="150" y="50"/>
                    </a:lnTo>
                    <a:lnTo>
                      <a:pt x="150" y="48"/>
                    </a:lnTo>
                    <a:lnTo>
                      <a:pt x="148" y="48"/>
                    </a:lnTo>
                    <a:lnTo>
                      <a:pt x="148" y="46"/>
                    </a:lnTo>
                    <a:lnTo>
                      <a:pt x="148" y="44"/>
                    </a:lnTo>
                    <a:lnTo>
                      <a:pt x="148" y="42"/>
                    </a:lnTo>
                    <a:lnTo>
                      <a:pt x="150" y="44"/>
                    </a:lnTo>
                    <a:lnTo>
                      <a:pt x="150" y="42"/>
                    </a:lnTo>
                    <a:lnTo>
                      <a:pt x="152" y="42"/>
                    </a:lnTo>
                    <a:lnTo>
                      <a:pt x="154" y="40"/>
                    </a:lnTo>
                    <a:lnTo>
                      <a:pt x="156" y="38"/>
                    </a:lnTo>
                    <a:lnTo>
                      <a:pt x="156" y="36"/>
                    </a:lnTo>
                    <a:lnTo>
                      <a:pt x="154" y="36"/>
                    </a:lnTo>
                    <a:lnTo>
                      <a:pt x="156" y="36"/>
                    </a:lnTo>
                    <a:lnTo>
                      <a:pt x="154" y="36"/>
                    </a:lnTo>
                    <a:lnTo>
                      <a:pt x="154" y="34"/>
                    </a:lnTo>
                    <a:lnTo>
                      <a:pt x="156" y="34"/>
                    </a:lnTo>
                    <a:lnTo>
                      <a:pt x="156" y="33"/>
                    </a:lnTo>
                    <a:lnTo>
                      <a:pt x="156" y="34"/>
                    </a:lnTo>
                    <a:lnTo>
                      <a:pt x="156" y="33"/>
                    </a:lnTo>
                    <a:lnTo>
                      <a:pt x="156" y="31"/>
                    </a:lnTo>
                    <a:lnTo>
                      <a:pt x="156" y="29"/>
                    </a:lnTo>
                    <a:lnTo>
                      <a:pt x="158" y="29"/>
                    </a:lnTo>
                    <a:lnTo>
                      <a:pt x="158" y="27"/>
                    </a:lnTo>
                    <a:lnTo>
                      <a:pt x="159" y="25"/>
                    </a:lnTo>
                    <a:lnTo>
                      <a:pt x="161" y="25"/>
                    </a:lnTo>
                    <a:lnTo>
                      <a:pt x="159" y="25"/>
                    </a:lnTo>
                    <a:lnTo>
                      <a:pt x="161" y="25"/>
                    </a:lnTo>
                    <a:lnTo>
                      <a:pt x="159" y="25"/>
                    </a:lnTo>
                    <a:lnTo>
                      <a:pt x="161" y="25"/>
                    </a:lnTo>
                    <a:lnTo>
                      <a:pt x="161" y="23"/>
                    </a:lnTo>
                    <a:lnTo>
                      <a:pt x="159" y="23"/>
                    </a:lnTo>
                    <a:lnTo>
                      <a:pt x="159" y="21"/>
                    </a:lnTo>
                    <a:lnTo>
                      <a:pt x="158" y="21"/>
                    </a:lnTo>
                    <a:lnTo>
                      <a:pt x="158" y="19"/>
                    </a:lnTo>
                    <a:lnTo>
                      <a:pt x="159" y="19"/>
                    </a:lnTo>
                    <a:lnTo>
                      <a:pt x="161" y="19"/>
                    </a:lnTo>
                    <a:lnTo>
                      <a:pt x="161" y="17"/>
                    </a:lnTo>
                    <a:lnTo>
                      <a:pt x="163" y="17"/>
                    </a:lnTo>
                    <a:lnTo>
                      <a:pt x="163" y="15"/>
                    </a:lnTo>
                    <a:lnTo>
                      <a:pt x="165" y="15"/>
                    </a:lnTo>
                    <a:lnTo>
                      <a:pt x="165" y="13"/>
                    </a:lnTo>
                    <a:lnTo>
                      <a:pt x="167" y="10"/>
                    </a:lnTo>
                    <a:lnTo>
                      <a:pt x="169" y="8"/>
                    </a:lnTo>
                    <a:lnTo>
                      <a:pt x="173" y="10"/>
                    </a:lnTo>
                    <a:lnTo>
                      <a:pt x="173" y="6"/>
                    </a:lnTo>
                    <a:lnTo>
                      <a:pt x="173" y="4"/>
                    </a:lnTo>
                    <a:lnTo>
                      <a:pt x="173" y="2"/>
                    </a:lnTo>
                    <a:lnTo>
                      <a:pt x="175" y="2"/>
                    </a:lnTo>
                    <a:lnTo>
                      <a:pt x="177" y="2"/>
                    </a:lnTo>
                    <a:lnTo>
                      <a:pt x="175" y="2"/>
                    </a:lnTo>
                    <a:lnTo>
                      <a:pt x="177" y="0"/>
                    </a:lnTo>
                    <a:lnTo>
                      <a:pt x="179" y="0"/>
                    </a:lnTo>
                    <a:lnTo>
                      <a:pt x="181" y="2"/>
                    </a:lnTo>
                    <a:lnTo>
                      <a:pt x="182" y="2"/>
                    </a:lnTo>
                    <a:lnTo>
                      <a:pt x="184" y="2"/>
                    </a:lnTo>
                    <a:lnTo>
                      <a:pt x="184" y="4"/>
                    </a:lnTo>
                    <a:lnTo>
                      <a:pt x="186" y="4"/>
                    </a:lnTo>
                    <a:lnTo>
                      <a:pt x="188" y="4"/>
                    </a:lnTo>
                    <a:lnTo>
                      <a:pt x="190" y="4"/>
                    </a:lnTo>
                    <a:lnTo>
                      <a:pt x="192" y="4"/>
                    </a:lnTo>
                    <a:lnTo>
                      <a:pt x="192" y="6"/>
                    </a:lnTo>
                    <a:lnTo>
                      <a:pt x="192" y="8"/>
                    </a:lnTo>
                    <a:lnTo>
                      <a:pt x="192" y="10"/>
                    </a:lnTo>
                    <a:lnTo>
                      <a:pt x="192" y="11"/>
                    </a:lnTo>
                    <a:lnTo>
                      <a:pt x="190" y="11"/>
                    </a:lnTo>
                    <a:lnTo>
                      <a:pt x="190" y="13"/>
                    </a:lnTo>
                    <a:lnTo>
                      <a:pt x="188" y="13"/>
                    </a:lnTo>
                    <a:lnTo>
                      <a:pt x="186" y="13"/>
                    </a:lnTo>
                    <a:lnTo>
                      <a:pt x="186" y="15"/>
                    </a:lnTo>
                    <a:lnTo>
                      <a:pt x="184" y="13"/>
                    </a:lnTo>
                    <a:lnTo>
                      <a:pt x="184" y="15"/>
                    </a:lnTo>
                    <a:lnTo>
                      <a:pt x="184" y="17"/>
                    </a:lnTo>
                    <a:lnTo>
                      <a:pt x="182" y="17"/>
                    </a:lnTo>
                    <a:lnTo>
                      <a:pt x="182" y="19"/>
                    </a:lnTo>
                    <a:lnTo>
                      <a:pt x="182" y="21"/>
                    </a:lnTo>
                    <a:lnTo>
                      <a:pt x="184" y="23"/>
                    </a:lnTo>
                    <a:lnTo>
                      <a:pt x="186" y="23"/>
                    </a:lnTo>
                    <a:lnTo>
                      <a:pt x="188" y="25"/>
                    </a:lnTo>
                    <a:lnTo>
                      <a:pt x="192" y="25"/>
                    </a:lnTo>
                    <a:lnTo>
                      <a:pt x="194" y="27"/>
                    </a:lnTo>
                    <a:lnTo>
                      <a:pt x="202" y="27"/>
                    </a:lnTo>
                    <a:lnTo>
                      <a:pt x="204" y="25"/>
                    </a:lnTo>
                    <a:lnTo>
                      <a:pt x="204" y="23"/>
                    </a:lnTo>
                    <a:lnTo>
                      <a:pt x="202" y="23"/>
                    </a:lnTo>
                    <a:lnTo>
                      <a:pt x="202" y="21"/>
                    </a:lnTo>
                    <a:lnTo>
                      <a:pt x="200" y="21"/>
                    </a:lnTo>
                    <a:lnTo>
                      <a:pt x="200" y="19"/>
                    </a:lnTo>
                    <a:lnTo>
                      <a:pt x="198" y="19"/>
                    </a:lnTo>
                    <a:lnTo>
                      <a:pt x="200" y="19"/>
                    </a:lnTo>
                    <a:lnTo>
                      <a:pt x="202" y="21"/>
                    </a:lnTo>
                    <a:lnTo>
                      <a:pt x="204" y="21"/>
                    </a:lnTo>
                    <a:lnTo>
                      <a:pt x="204" y="23"/>
                    </a:lnTo>
                    <a:lnTo>
                      <a:pt x="206" y="25"/>
                    </a:lnTo>
                    <a:lnTo>
                      <a:pt x="207" y="25"/>
                    </a:lnTo>
                    <a:lnTo>
                      <a:pt x="206" y="21"/>
                    </a:lnTo>
                    <a:lnTo>
                      <a:pt x="207" y="21"/>
                    </a:lnTo>
                    <a:lnTo>
                      <a:pt x="207" y="19"/>
                    </a:lnTo>
                    <a:lnTo>
                      <a:pt x="209" y="19"/>
                    </a:lnTo>
                    <a:lnTo>
                      <a:pt x="211" y="19"/>
                    </a:lnTo>
                    <a:lnTo>
                      <a:pt x="211" y="17"/>
                    </a:lnTo>
                    <a:lnTo>
                      <a:pt x="213" y="17"/>
                    </a:lnTo>
                    <a:lnTo>
                      <a:pt x="213" y="15"/>
                    </a:lnTo>
                    <a:lnTo>
                      <a:pt x="215" y="15"/>
                    </a:lnTo>
                    <a:lnTo>
                      <a:pt x="217" y="15"/>
                    </a:lnTo>
                    <a:lnTo>
                      <a:pt x="219" y="13"/>
                    </a:lnTo>
                    <a:lnTo>
                      <a:pt x="221" y="13"/>
                    </a:lnTo>
                    <a:lnTo>
                      <a:pt x="223" y="13"/>
                    </a:lnTo>
                    <a:lnTo>
                      <a:pt x="225" y="13"/>
                    </a:lnTo>
                    <a:lnTo>
                      <a:pt x="227" y="13"/>
                    </a:lnTo>
                    <a:lnTo>
                      <a:pt x="229" y="13"/>
                    </a:lnTo>
                    <a:lnTo>
                      <a:pt x="229" y="11"/>
                    </a:lnTo>
                    <a:lnTo>
                      <a:pt x="231" y="11"/>
                    </a:lnTo>
                    <a:lnTo>
                      <a:pt x="232" y="11"/>
                    </a:lnTo>
                    <a:lnTo>
                      <a:pt x="234" y="11"/>
                    </a:lnTo>
                    <a:lnTo>
                      <a:pt x="234" y="10"/>
                    </a:lnTo>
                    <a:lnTo>
                      <a:pt x="234" y="8"/>
                    </a:lnTo>
                    <a:lnTo>
                      <a:pt x="234" y="6"/>
                    </a:lnTo>
                    <a:lnTo>
                      <a:pt x="236" y="6"/>
                    </a:lnTo>
                    <a:lnTo>
                      <a:pt x="236" y="8"/>
                    </a:lnTo>
                    <a:lnTo>
                      <a:pt x="238" y="8"/>
                    </a:lnTo>
                    <a:lnTo>
                      <a:pt x="238" y="6"/>
                    </a:lnTo>
                    <a:lnTo>
                      <a:pt x="240" y="6"/>
                    </a:lnTo>
                    <a:lnTo>
                      <a:pt x="242" y="6"/>
                    </a:lnTo>
                    <a:lnTo>
                      <a:pt x="244" y="6"/>
                    </a:lnTo>
                    <a:lnTo>
                      <a:pt x="246" y="10"/>
                    </a:lnTo>
                    <a:lnTo>
                      <a:pt x="248" y="10"/>
                    </a:lnTo>
                    <a:lnTo>
                      <a:pt x="250" y="8"/>
                    </a:lnTo>
                    <a:lnTo>
                      <a:pt x="252" y="8"/>
                    </a:lnTo>
                    <a:lnTo>
                      <a:pt x="252" y="6"/>
                    </a:lnTo>
                    <a:lnTo>
                      <a:pt x="255" y="6"/>
                    </a:lnTo>
                    <a:lnTo>
                      <a:pt x="257" y="6"/>
                    </a:lnTo>
                    <a:lnTo>
                      <a:pt x="259" y="6"/>
                    </a:lnTo>
                    <a:lnTo>
                      <a:pt x="261" y="6"/>
                    </a:lnTo>
                    <a:lnTo>
                      <a:pt x="263" y="6"/>
                    </a:lnTo>
                    <a:lnTo>
                      <a:pt x="265" y="6"/>
                    </a:lnTo>
                    <a:lnTo>
                      <a:pt x="267" y="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1" name="Freeform 190">
                <a:extLst>
                  <a:ext uri="{FF2B5EF4-FFF2-40B4-BE49-F238E27FC236}">
                    <a16:creationId xmlns:a16="http://schemas.microsoft.com/office/drawing/2014/main" id="{DFA0FC98-2356-46D4-AB11-EB655303DE7C}"/>
                  </a:ext>
                </a:extLst>
              </p:cNvPr>
              <p:cNvSpPr>
                <a:spLocks/>
              </p:cNvSpPr>
              <p:nvPr/>
            </p:nvSpPr>
            <p:spPr bwMode="auto">
              <a:xfrm>
                <a:off x="3696900" y="2447091"/>
                <a:ext cx="694519" cy="1115980"/>
              </a:xfrm>
              <a:custGeom>
                <a:avLst/>
                <a:gdLst>
                  <a:gd name="T0" fmla="*/ 455 w 468"/>
                  <a:gd name="T1" fmla="*/ 55 h 752"/>
                  <a:gd name="T2" fmla="*/ 447 w 468"/>
                  <a:gd name="T3" fmla="*/ 80 h 752"/>
                  <a:gd name="T4" fmla="*/ 441 w 468"/>
                  <a:gd name="T5" fmla="*/ 111 h 752"/>
                  <a:gd name="T6" fmla="*/ 424 w 468"/>
                  <a:gd name="T7" fmla="*/ 147 h 752"/>
                  <a:gd name="T8" fmla="*/ 424 w 468"/>
                  <a:gd name="T9" fmla="*/ 184 h 752"/>
                  <a:gd name="T10" fmla="*/ 432 w 468"/>
                  <a:gd name="T11" fmla="*/ 230 h 752"/>
                  <a:gd name="T12" fmla="*/ 434 w 468"/>
                  <a:gd name="T13" fmla="*/ 267 h 752"/>
                  <a:gd name="T14" fmla="*/ 414 w 468"/>
                  <a:gd name="T15" fmla="*/ 291 h 752"/>
                  <a:gd name="T16" fmla="*/ 393 w 468"/>
                  <a:gd name="T17" fmla="*/ 316 h 752"/>
                  <a:gd name="T18" fmla="*/ 397 w 468"/>
                  <a:gd name="T19" fmla="*/ 359 h 752"/>
                  <a:gd name="T20" fmla="*/ 403 w 468"/>
                  <a:gd name="T21" fmla="*/ 389 h 752"/>
                  <a:gd name="T22" fmla="*/ 403 w 468"/>
                  <a:gd name="T23" fmla="*/ 426 h 752"/>
                  <a:gd name="T24" fmla="*/ 384 w 468"/>
                  <a:gd name="T25" fmla="*/ 445 h 752"/>
                  <a:gd name="T26" fmla="*/ 382 w 468"/>
                  <a:gd name="T27" fmla="*/ 468 h 752"/>
                  <a:gd name="T28" fmla="*/ 372 w 468"/>
                  <a:gd name="T29" fmla="*/ 503 h 752"/>
                  <a:gd name="T30" fmla="*/ 372 w 468"/>
                  <a:gd name="T31" fmla="*/ 533 h 752"/>
                  <a:gd name="T32" fmla="*/ 364 w 468"/>
                  <a:gd name="T33" fmla="*/ 554 h 752"/>
                  <a:gd name="T34" fmla="*/ 361 w 468"/>
                  <a:gd name="T35" fmla="*/ 583 h 752"/>
                  <a:gd name="T36" fmla="*/ 368 w 468"/>
                  <a:gd name="T37" fmla="*/ 616 h 752"/>
                  <a:gd name="T38" fmla="*/ 359 w 468"/>
                  <a:gd name="T39" fmla="*/ 631 h 752"/>
                  <a:gd name="T40" fmla="*/ 355 w 468"/>
                  <a:gd name="T41" fmla="*/ 662 h 752"/>
                  <a:gd name="T42" fmla="*/ 364 w 468"/>
                  <a:gd name="T43" fmla="*/ 681 h 752"/>
                  <a:gd name="T44" fmla="*/ 370 w 468"/>
                  <a:gd name="T45" fmla="*/ 700 h 752"/>
                  <a:gd name="T46" fmla="*/ 374 w 468"/>
                  <a:gd name="T47" fmla="*/ 725 h 752"/>
                  <a:gd name="T48" fmla="*/ 391 w 468"/>
                  <a:gd name="T49" fmla="*/ 737 h 752"/>
                  <a:gd name="T50" fmla="*/ 374 w 468"/>
                  <a:gd name="T51" fmla="*/ 752 h 752"/>
                  <a:gd name="T52" fmla="*/ 328 w 468"/>
                  <a:gd name="T53" fmla="*/ 737 h 752"/>
                  <a:gd name="T54" fmla="*/ 313 w 468"/>
                  <a:gd name="T55" fmla="*/ 697 h 752"/>
                  <a:gd name="T56" fmla="*/ 299 w 468"/>
                  <a:gd name="T57" fmla="*/ 714 h 752"/>
                  <a:gd name="T58" fmla="*/ 293 w 468"/>
                  <a:gd name="T59" fmla="*/ 683 h 752"/>
                  <a:gd name="T60" fmla="*/ 251 w 468"/>
                  <a:gd name="T61" fmla="*/ 695 h 752"/>
                  <a:gd name="T62" fmla="*/ 230 w 468"/>
                  <a:gd name="T63" fmla="*/ 656 h 752"/>
                  <a:gd name="T64" fmla="*/ 197 w 468"/>
                  <a:gd name="T65" fmla="*/ 654 h 752"/>
                  <a:gd name="T66" fmla="*/ 188 w 468"/>
                  <a:gd name="T67" fmla="*/ 622 h 752"/>
                  <a:gd name="T68" fmla="*/ 163 w 468"/>
                  <a:gd name="T69" fmla="*/ 587 h 752"/>
                  <a:gd name="T70" fmla="*/ 145 w 468"/>
                  <a:gd name="T71" fmla="*/ 562 h 752"/>
                  <a:gd name="T72" fmla="*/ 105 w 468"/>
                  <a:gd name="T73" fmla="*/ 558 h 752"/>
                  <a:gd name="T74" fmla="*/ 92 w 468"/>
                  <a:gd name="T75" fmla="*/ 537 h 752"/>
                  <a:gd name="T76" fmla="*/ 74 w 468"/>
                  <a:gd name="T77" fmla="*/ 539 h 752"/>
                  <a:gd name="T78" fmla="*/ 69 w 468"/>
                  <a:gd name="T79" fmla="*/ 503 h 752"/>
                  <a:gd name="T80" fmla="*/ 46 w 468"/>
                  <a:gd name="T81" fmla="*/ 478 h 752"/>
                  <a:gd name="T82" fmla="*/ 17 w 468"/>
                  <a:gd name="T83" fmla="*/ 455 h 752"/>
                  <a:gd name="T84" fmla="*/ 38 w 468"/>
                  <a:gd name="T85" fmla="*/ 437 h 752"/>
                  <a:gd name="T86" fmla="*/ 11 w 468"/>
                  <a:gd name="T87" fmla="*/ 403 h 752"/>
                  <a:gd name="T88" fmla="*/ 26 w 468"/>
                  <a:gd name="T89" fmla="*/ 368 h 752"/>
                  <a:gd name="T90" fmla="*/ 23 w 468"/>
                  <a:gd name="T91" fmla="*/ 330 h 752"/>
                  <a:gd name="T92" fmla="*/ 7 w 468"/>
                  <a:gd name="T93" fmla="*/ 293 h 752"/>
                  <a:gd name="T94" fmla="*/ 1 w 468"/>
                  <a:gd name="T95" fmla="*/ 243 h 752"/>
                  <a:gd name="T96" fmla="*/ 28 w 468"/>
                  <a:gd name="T97" fmla="*/ 224 h 752"/>
                  <a:gd name="T98" fmla="*/ 59 w 468"/>
                  <a:gd name="T99" fmla="*/ 222 h 752"/>
                  <a:gd name="T100" fmla="*/ 82 w 468"/>
                  <a:gd name="T101" fmla="*/ 211 h 752"/>
                  <a:gd name="T102" fmla="*/ 111 w 468"/>
                  <a:gd name="T103" fmla="*/ 186 h 752"/>
                  <a:gd name="T104" fmla="*/ 124 w 468"/>
                  <a:gd name="T105" fmla="*/ 144 h 752"/>
                  <a:gd name="T106" fmla="*/ 165 w 468"/>
                  <a:gd name="T107" fmla="*/ 146 h 752"/>
                  <a:gd name="T108" fmla="*/ 201 w 468"/>
                  <a:gd name="T109" fmla="*/ 136 h 752"/>
                  <a:gd name="T110" fmla="*/ 224 w 468"/>
                  <a:gd name="T111" fmla="*/ 107 h 752"/>
                  <a:gd name="T112" fmla="*/ 224 w 468"/>
                  <a:gd name="T113" fmla="*/ 61 h 752"/>
                  <a:gd name="T114" fmla="*/ 247 w 468"/>
                  <a:gd name="T115" fmla="*/ 30 h 752"/>
                  <a:gd name="T116" fmla="*/ 286 w 468"/>
                  <a:gd name="T117" fmla="*/ 17 h 752"/>
                  <a:gd name="T118" fmla="*/ 334 w 468"/>
                  <a:gd name="T119" fmla="*/ 23 h 752"/>
                  <a:gd name="T120" fmla="*/ 384 w 468"/>
                  <a:gd name="T121" fmla="*/ 3 h 752"/>
                  <a:gd name="T122" fmla="*/ 428 w 468"/>
                  <a:gd name="T123" fmla="*/ 11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752">
                    <a:moveTo>
                      <a:pt x="462" y="21"/>
                    </a:moveTo>
                    <a:lnTo>
                      <a:pt x="460" y="25"/>
                    </a:lnTo>
                    <a:lnTo>
                      <a:pt x="458" y="25"/>
                    </a:lnTo>
                    <a:lnTo>
                      <a:pt x="458" y="23"/>
                    </a:lnTo>
                    <a:lnTo>
                      <a:pt x="457" y="23"/>
                    </a:lnTo>
                    <a:lnTo>
                      <a:pt x="457" y="25"/>
                    </a:lnTo>
                    <a:lnTo>
                      <a:pt x="455" y="25"/>
                    </a:lnTo>
                    <a:lnTo>
                      <a:pt x="453" y="23"/>
                    </a:lnTo>
                    <a:lnTo>
                      <a:pt x="453" y="25"/>
                    </a:lnTo>
                    <a:lnTo>
                      <a:pt x="453" y="27"/>
                    </a:lnTo>
                    <a:lnTo>
                      <a:pt x="451" y="28"/>
                    </a:lnTo>
                    <a:lnTo>
                      <a:pt x="453" y="28"/>
                    </a:lnTo>
                    <a:lnTo>
                      <a:pt x="451" y="32"/>
                    </a:lnTo>
                    <a:lnTo>
                      <a:pt x="449" y="36"/>
                    </a:lnTo>
                    <a:lnTo>
                      <a:pt x="453" y="38"/>
                    </a:lnTo>
                    <a:lnTo>
                      <a:pt x="451" y="40"/>
                    </a:lnTo>
                    <a:lnTo>
                      <a:pt x="453" y="40"/>
                    </a:lnTo>
                    <a:lnTo>
                      <a:pt x="453" y="42"/>
                    </a:lnTo>
                    <a:lnTo>
                      <a:pt x="455" y="42"/>
                    </a:lnTo>
                    <a:lnTo>
                      <a:pt x="457" y="42"/>
                    </a:lnTo>
                    <a:lnTo>
                      <a:pt x="457" y="44"/>
                    </a:lnTo>
                    <a:lnTo>
                      <a:pt x="458" y="46"/>
                    </a:lnTo>
                    <a:lnTo>
                      <a:pt x="457" y="46"/>
                    </a:lnTo>
                    <a:lnTo>
                      <a:pt x="457" y="48"/>
                    </a:lnTo>
                    <a:lnTo>
                      <a:pt x="455" y="48"/>
                    </a:lnTo>
                    <a:lnTo>
                      <a:pt x="457" y="48"/>
                    </a:lnTo>
                    <a:lnTo>
                      <a:pt x="457" y="50"/>
                    </a:lnTo>
                    <a:lnTo>
                      <a:pt x="457" y="51"/>
                    </a:lnTo>
                    <a:lnTo>
                      <a:pt x="457" y="53"/>
                    </a:lnTo>
                    <a:lnTo>
                      <a:pt x="457" y="51"/>
                    </a:lnTo>
                    <a:lnTo>
                      <a:pt x="457" y="53"/>
                    </a:lnTo>
                    <a:lnTo>
                      <a:pt x="457" y="55"/>
                    </a:lnTo>
                    <a:lnTo>
                      <a:pt x="455" y="55"/>
                    </a:lnTo>
                    <a:lnTo>
                      <a:pt x="453" y="55"/>
                    </a:lnTo>
                    <a:lnTo>
                      <a:pt x="453" y="57"/>
                    </a:lnTo>
                    <a:lnTo>
                      <a:pt x="455" y="57"/>
                    </a:lnTo>
                    <a:lnTo>
                      <a:pt x="455" y="59"/>
                    </a:lnTo>
                    <a:lnTo>
                      <a:pt x="457" y="59"/>
                    </a:lnTo>
                    <a:lnTo>
                      <a:pt x="457" y="61"/>
                    </a:lnTo>
                    <a:lnTo>
                      <a:pt x="458" y="61"/>
                    </a:lnTo>
                    <a:lnTo>
                      <a:pt x="460" y="61"/>
                    </a:lnTo>
                    <a:lnTo>
                      <a:pt x="462" y="61"/>
                    </a:lnTo>
                    <a:lnTo>
                      <a:pt x="460" y="65"/>
                    </a:lnTo>
                    <a:lnTo>
                      <a:pt x="458" y="65"/>
                    </a:lnTo>
                    <a:lnTo>
                      <a:pt x="458" y="67"/>
                    </a:lnTo>
                    <a:lnTo>
                      <a:pt x="460" y="67"/>
                    </a:lnTo>
                    <a:lnTo>
                      <a:pt x="460" y="69"/>
                    </a:lnTo>
                    <a:lnTo>
                      <a:pt x="462" y="69"/>
                    </a:lnTo>
                    <a:lnTo>
                      <a:pt x="462" y="71"/>
                    </a:lnTo>
                    <a:lnTo>
                      <a:pt x="464" y="71"/>
                    </a:lnTo>
                    <a:lnTo>
                      <a:pt x="464" y="73"/>
                    </a:lnTo>
                    <a:lnTo>
                      <a:pt x="466" y="75"/>
                    </a:lnTo>
                    <a:lnTo>
                      <a:pt x="468" y="76"/>
                    </a:lnTo>
                    <a:lnTo>
                      <a:pt x="468" y="78"/>
                    </a:lnTo>
                    <a:lnTo>
                      <a:pt x="466" y="80"/>
                    </a:lnTo>
                    <a:lnTo>
                      <a:pt x="464" y="80"/>
                    </a:lnTo>
                    <a:lnTo>
                      <a:pt x="462" y="80"/>
                    </a:lnTo>
                    <a:lnTo>
                      <a:pt x="460" y="80"/>
                    </a:lnTo>
                    <a:lnTo>
                      <a:pt x="458" y="80"/>
                    </a:lnTo>
                    <a:lnTo>
                      <a:pt x="457" y="80"/>
                    </a:lnTo>
                    <a:lnTo>
                      <a:pt x="455" y="78"/>
                    </a:lnTo>
                    <a:lnTo>
                      <a:pt x="453" y="78"/>
                    </a:lnTo>
                    <a:lnTo>
                      <a:pt x="451" y="78"/>
                    </a:lnTo>
                    <a:lnTo>
                      <a:pt x="449" y="78"/>
                    </a:lnTo>
                    <a:lnTo>
                      <a:pt x="447" y="78"/>
                    </a:lnTo>
                    <a:lnTo>
                      <a:pt x="447" y="80"/>
                    </a:lnTo>
                    <a:lnTo>
                      <a:pt x="447" y="82"/>
                    </a:lnTo>
                    <a:lnTo>
                      <a:pt x="447" y="84"/>
                    </a:lnTo>
                    <a:lnTo>
                      <a:pt x="447" y="86"/>
                    </a:lnTo>
                    <a:lnTo>
                      <a:pt x="445" y="86"/>
                    </a:lnTo>
                    <a:lnTo>
                      <a:pt x="447" y="88"/>
                    </a:lnTo>
                    <a:lnTo>
                      <a:pt x="445" y="90"/>
                    </a:lnTo>
                    <a:lnTo>
                      <a:pt x="445" y="92"/>
                    </a:lnTo>
                    <a:lnTo>
                      <a:pt x="445" y="94"/>
                    </a:lnTo>
                    <a:lnTo>
                      <a:pt x="447" y="94"/>
                    </a:lnTo>
                    <a:lnTo>
                      <a:pt x="449" y="94"/>
                    </a:lnTo>
                    <a:lnTo>
                      <a:pt x="449" y="96"/>
                    </a:lnTo>
                    <a:lnTo>
                      <a:pt x="451" y="96"/>
                    </a:lnTo>
                    <a:lnTo>
                      <a:pt x="449" y="96"/>
                    </a:lnTo>
                    <a:lnTo>
                      <a:pt x="449" y="98"/>
                    </a:lnTo>
                    <a:lnTo>
                      <a:pt x="451" y="98"/>
                    </a:lnTo>
                    <a:lnTo>
                      <a:pt x="451" y="99"/>
                    </a:lnTo>
                    <a:lnTo>
                      <a:pt x="451" y="101"/>
                    </a:lnTo>
                    <a:lnTo>
                      <a:pt x="449" y="101"/>
                    </a:lnTo>
                    <a:lnTo>
                      <a:pt x="447" y="101"/>
                    </a:lnTo>
                    <a:lnTo>
                      <a:pt x="447" y="103"/>
                    </a:lnTo>
                    <a:lnTo>
                      <a:pt x="447" y="105"/>
                    </a:lnTo>
                    <a:lnTo>
                      <a:pt x="445" y="105"/>
                    </a:lnTo>
                    <a:lnTo>
                      <a:pt x="443" y="105"/>
                    </a:lnTo>
                    <a:lnTo>
                      <a:pt x="441" y="105"/>
                    </a:lnTo>
                    <a:lnTo>
                      <a:pt x="439" y="105"/>
                    </a:lnTo>
                    <a:lnTo>
                      <a:pt x="439" y="107"/>
                    </a:lnTo>
                    <a:lnTo>
                      <a:pt x="437" y="107"/>
                    </a:lnTo>
                    <a:lnTo>
                      <a:pt x="435" y="107"/>
                    </a:lnTo>
                    <a:lnTo>
                      <a:pt x="435" y="109"/>
                    </a:lnTo>
                    <a:lnTo>
                      <a:pt x="437" y="109"/>
                    </a:lnTo>
                    <a:lnTo>
                      <a:pt x="437" y="111"/>
                    </a:lnTo>
                    <a:lnTo>
                      <a:pt x="439" y="111"/>
                    </a:lnTo>
                    <a:lnTo>
                      <a:pt x="441" y="111"/>
                    </a:lnTo>
                    <a:lnTo>
                      <a:pt x="441" y="113"/>
                    </a:lnTo>
                    <a:lnTo>
                      <a:pt x="443" y="113"/>
                    </a:lnTo>
                    <a:lnTo>
                      <a:pt x="441" y="113"/>
                    </a:lnTo>
                    <a:lnTo>
                      <a:pt x="443" y="113"/>
                    </a:lnTo>
                    <a:lnTo>
                      <a:pt x="443" y="115"/>
                    </a:lnTo>
                    <a:lnTo>
                      <a:pt x="443" y="117"/>
                    </a:lnTo>
                    <a:lnTo>
                      <a:pt x="441" y="117"/>
                    </a:lnTo>
                    <a:lnTo>
                      <a:pt x="441" y="119"/>
                    </a:lnTo>
                    <a:lnTo>
                      <a:pt x="441" y="121"/>
                    </a:lnTo>
                    <a:lnTo>
                      <a:pt x="439" y="123"/>
                    </a:lnTo>
                    <a:lnTo>
                      <a:pt x="437" y="123"/>
                    </a:lnTo>
                    <a:lnTo>
                      <a:pt x="435" y="123"/>
                    </a:lnTo>
                    <a:lnTo>
                      <a:pt x="434" y="123"/>
                    </a:lnTo>
                    <a:lnTo>
                      <a:pt x="434" y="121"/>
                    </a:lnTo>
                    <a:lnTo>
                      <a:pt x="432" y="121"/>
                    </a:lnTo>
                    <a:lnTo>
                      <a:pt x="432" y="123"/>
                    </a:lnTo>
                    <a:lnTo>
                      <a:pt x="430" y="123"/>
                    </a:lnTo>
                    <a:lnTo>
                      <a:pt x="430" y="124"/>
                    </a:lnTo>
                    <a:lnTo>
                      <a:pt x="428" y="124"/>
                    </a:lnTo>
                    <a:lnTo>
                      <a:pt x="426" y="124"/>
                    </a:lnTo>
                    <a:lnTo>
                      <a:pt x="426" y="126"/>
                    </a:lnTo>
                    <a:lnTo>
                      <a:pt x="426" y="128"/>
                    </a:lnTo>
                    <a:lnTo>
                      <a:pt x="424" y="128"/>
                    </a:lnTo>
                    <a:lnTo>
                      <a:pt x="424" y="130"/>
                    </a:lnTo>
                    <a:lnTo>
                      <a:pt x="424" y="132"/>
                    </a:lnTo>
                    <a:lnTo>
                      <a:pt x="422" y="132"/>
                    </a:lnTo>
                    <a:lnTo>
                      <a:pt x="422" y="134"/>
                    </a:lnTo>
                    <a:lnTo>
                      <a:pt x="422" y="136"/>
                    </a:lnTo>
                    <a:lnTo>
                      <a:pt x="422" y="138"/>
                    </a:lnTo>
                    <a:lnTo>
                      <a:pt x="422" y="142"/>
                    </a:lnTo>
                    <a:lnTo>
                      <a:pt x="424" y="144"/>
                    </a:lnTo>
                    <a:lnTo>
                      <a:pt x="424" y="146"/>
                    </a:lnTo>
                    <a:lnTo>
                      <a:pt x="424" y="147"/>
                    </a:lnTo>
                    <a:lnTo>
                      <a:pt x="424" y="149"/>
                    </a:lnTo>
                    <a:lnTo>
                      <a:pt x="424" y="151"/>
                    </a:lnTo>
                    <a:lnTo>
                      <a:pt x="422" y="151"/>
                    </a:lnTo>
                    <a:lnTo>
                      <a:pt x="420" y="151"/>
                    </a:lnTo>
                    <a:lnTo>
                      <a:pt x="420" y="153"/>
                    </a:lnTo>
                    <a:lnTo>
                      <a:pt x="418" y="153"/>
                    </a:lnTo>
                    <a:lnTo>
                      <a:pt x="416" y="153"/>
                    </a:lnTo>
                    <a:lnTo>
                      <a:pt x="416" y="155"/>
                    </a:lnTo>
                    <a:lnTo>
                      <a:pt x="414" y="155"/>
                    </a:lnTo>
                    <a:lnTo>
                      <a:pt x="414" y="157"/>
                    </a:lnTo>
                    <a:lnTo>
                      <a:pt x="414" y="159"/>
                    </a:lnTo>
                    <a:lnTo>
                      <a:pt x="416" y="161"/>
                    </a:lnTo>
                    <a:lnTo>
                      <a:pt x="418" y="163"/>
                    </a:lnTo>
                    <a:lnTo>
                      <a:pt x="420" y="163"/>
                    </a:lnTo>
                    <a:lnTo>
                      <a:pt x="422" y="165"/>
                    </a:lnTo>
                    <a:lnTo>
                      <a:pt x="422" y="167"/>
                    </a:lnTo>
                    <a:lnTo>
                      <a:pt x="420" y="167"/>
                    </a:lnTo>
                    <a:lnTo>
                      <a:pt x="422" y="167"/>
                    </a:lnTo>
                    <a:lnTo>
                      <a:pt x="420" y="169"/>
                    </a:lnTo>
                    <a:lnTo>
                      <a:pt x="422" y="169"/>
                    </a:lnTo>
                    <a:lnTo>
                      <a:pt x="422" y="171"/>
                    </a:lnTo>
                    <a:lnTo>
                      <a:pt x="424" y="171"/>
                    </a:lnTo>
                    <a:lnTo>
                      <a:pt x="426" y="171"/>
                    </a:lnTo>
                    <a:lnTo>
                      <a:pt x="426" y="172"/>
                    </a:lnTo>
                    <a:lnTo>
                      <a:pt x="428" y="172"/>
                    </a:lnTo>
                    <a:lnTo>
                      <a:pt x="430" y="174"/>
                    </a:lnTo>
                    <a:lnTo>
                      <a:pt x="430" y="176"/>
                    </a:lnTo>
                    <a:lnTo>
                      <a:pt x="428" y="178"/>
                    </a:lnTo>
                    <a:lnTo>
                      <a:pt x="426" y="178"/>
                    </a:lnTo>
                    <a:lnTo>
                      <a:pt x="426" y="180"/>
                    </a:lnTo>
                    <a:lnTo>
                      <a:pt x="424" y="182"/>
                    </a:lnTo>
                    <a:lnTo>
                      <a:pt x="422" y="182"/>
                    </a:lnTo>
                    <a:lnTo>
                      <a:pt x="424" y="184"/>
                    </a:lnTo>
                    <a:lnTo>
                      <a:pt x="424" y="186"/>
                    </a:lnTo>
                    <a:lnTo>
                      <a:pt x="424" y="188"/>
                    </a:lnTo>
                    <a:lnTo>
                      <a:pt x="424" y="190"/>
                    </a:lnTo>
                    <a:lnTo>
                      <a:pt x="424" y="192"/>
                    </a:lnTo>
                    <a:lnTo>
                      <a:pt x="426" y="192"/>
                    </a:lnTo>
                    <a:lnTo>
                      <a:pt x="426" y="194"/>
                    </a:lnTo>
                    <a:lnTo>
                      <a:pt x="426" y="195"/>
                    </a:lnTo>
                    <a:lnTo>
                      <a:pt x="428" y="195"/>
                    </a:lnTo>
                    <a:lnTo>
                      <a:pt x="428" y="197"/>
                    </a:lnTo>
                    <a:lnTo>
                      <a:pt x="428" y="199"/>
                    </a:lnTo>
                    <a:lnTo>
                      <a:pt x="430" y="199"/>
                    </a:lnTo>
                    <a:lnTo>
                      <a:pt x="428" y="199"/>
                    </a:lnTo>
                    <a:lnTo>
                      <a:pt x="430" y="199"/>
                    </a:lnTo>
                    <a:lnTo>
                      <a:pt x="430" y="201"/>
                    </a:lnTo>
                    <a:lnTo>
                      <a:pt x="430" y="203"/>
                    </a:lnTo>
                    <a:lnTo>
                      <a:pt x="430" y="205"/>
                    </a:lnTo>
                    <a:lnTo>
                      <a:pt x="432" y="205"/>
                    </a:lnTo>
                    <a:lnTo>
                      <a:pt x="432" y="207"/>
                    </a:lnTo>
                    <a:lnTo>
                      <a:pt x="432" y="209"/>
                    </a:lnTo>
                    <a:lnTo>
                      <a:pt x="430" y="211"/>
                    </a:lnTo>
                    <a:lnTo>
                      <a:pt x="430" y="213"/>
                    </a:lnTo>
                    <a:lnTo>
                      <a:pt x="432" y="213"/>
                    </a:lnTo>
                    <a:lnTo>
                      <a:pt x="432" y="215"/>
                    </a:lnTo>
                    <a:lnTo>
                      <a:pt x="434" y="215"/>
                    </a:lnTo>
                    <a:lnTo>
                      <a:pt x="434" y="217"/>
                    </a:lnTo>
                    <a:lnTo>
                      <a:pt x="434" y="219"/>
                    </a:lnTo>
                    <a:lnTo>
                      <a:pt x="434" y="220"/>
                    </a:lnTo>
                    <a:lnTo>
                      <a:pt x="434" y="222"/>
                    </a:lnTo>
                    <a:lnTo>
                      <a:pt x="434" y="224"/>
                    </a:lnTo>
                    <a:lnTo>
                      <a:pt x="434" y="226"/>
                    </a:lnTo>
                    <a:lnTo>
                      <a:pt x="434" y="228"/>
                    </a:lnTo>
                    <a:lnTo>
                      <a:pt x="432" y="228"/>
                    </a:lnTo>
                    <a:lnTo>
                      <a:pt x="432" y="230"/>
                    </a:lnTo>
                    <a:lnTo>
                      <a:pt x="430" y="230"/>
                    </a:lnTo>
                    <a:lnTo>
                      <a:pt x="428" y="230"/>
                    </a:lnTo>
                    <a:lnTo>
                      <a:pt x="426" y="230"/>
                    </a:lnTo>
                    <a:lnTo>
                      <a:pt x="426" y="232"/>
                    </a:lnTo>
                    <a:lnTo>
                      <a:pt x="424" y="232"/>
                    </a:lnTo>
                    <a:lnTo>
                      <a:pt x="424" y="234"/>
                    </a:lnTo>
                    <a:lnTo>
                      <a:pt x="422" y="234"/>
                    </a:lnTo>
                    <a:lnTo>
                      <a:pt x="422" y="236"/>
                    </a:lnTo>
                    <a:lnTo>
                      <a:pt x="420" y="236"/>
                    </a:lnTo>
                    <a:lnTo>
                      <a:pt x="418" y="238"/>
                    </a:lnTo>
                    <a:lnTo>
                      <a:pt x="418" y="240"/>
                    </a:lnTo>
                    <a:lnTo>
                      <a:pt x="416" y="240"/>
                    </a:lnTo>
                    <a:lnTo>
                      <a:pt x="416" y="242"/>
                    </a:lnTo>
                    <a:lnTo>
                      <a:pt x="418" y="242"/>
                    </a:lnTo>
                    <a:lnTo>
                      <a:pt x="420" y="242"/>
                    </a:lnTo>
                    <a:lnTo>
                      <a:pt x="420" y="243"/>
                    </a:lnTo>
                    <a:lnTo>
                      <a:pt x="422" y="243"/>
                    </a:lnTo>
                    <a:lnTo>
                      <a:pt x="424" y="243"/>
                    </a:lnTo>
                    <a:lnTo>
                      <a:pt x="424" y="245"/>
                    </a:lnTo>
                    <a:lnTo>
                      <a:pt x="426" y="247"/>
                    </a:lnTo>
                    <a:lnTo>
                      <a:pt x="426" y="249"/>
                    </a:lnTo>
                    <a:lnTo>
                      <a:pt x="428" y="249"/>
                    </a:lnTo>
                    <a:lnTo>
                      <a:pt x="430" y="251"/>
                    </a:lnTo>
                    <a:lnTo>
                      <a:pt x="430" y="253"/>
                    </a:lnTo>
                    <a:lnTo>
                      <a:pt x="430" y="255"/>
                    </a:lnTo>
                    <a:lnTo>
                      <a:pt x="430" y="257"/>
                    </a:lnTo>
                    <a:lnTo>
                      <a:pt x="432" y="257"/>
                    </a:lnTo>
                    <a:lnTo>
                      <a:pt x="432" y="259"/>
                    </a:lnTo>
                    <a:lnTo>
                      <a:pt x="434" y="259"/>
                    </a:lnTo>
                    <a:lnTo>
                      <a:pt x="434" y="261"/>
                    </a:lnTo>
                    <a:lnTo>
                      <a:pt x="434" y="263"/>
                    </a:lnTo>
                    <a:lnTo>
                      <a:pt x="434" y="265"/>
                    </a:lnTo>
                    <a:lnTo>
                      <a:pt x="434" y="267"/>
                    </a:lnTo>
                    <a:lnTo>
                      <a:pt x="434" y="268"/>
                    </a:lnTo>
                    <a:lnTo>
                      <a:pt x="434" y="267"/>
                    </a:lnTo>
                    <a:lnTo>
                      <a:pt x="432" y="267"/>
                    </a:lnTo>
                    <a:lnTo>
                      <a:pt x="432" y="268"/>
                    </a:lnTo>
                    <a:lnTo>
                      <a:pt x="430" y="268"/>
                    </a:lnTo>
                    <a:lnTo>
                      <a:pt x="432" y="268"/>
                    </a:lnTo>
                    <a:lnTo>
                      <a:pt x="432" y="270"/>
                    </a:lnTo>
                    <a:lnTo>
                      <a:pt x="432" y="272"/>
                    </a:lnTo>
                    <a:lnTo>
                      <a:pt x="432" y="274"/>
                    </a:lnTo>
                    <a:lnTo>
                      <a:pt x="430" y="274"/>
                    </a:lnTo>
                    <a:lnTo>
                      <a:pt x="430" y="276"/>
                    </a:lnTo>
                    <a:lnTo>
                      <a:pt x="428" y="276"/>
                    </a:lnTo>
                    <a:lnTo>
                      <a:pt x="426" y="276"/>
                    </a:lnTo>
                    <a:lnTo>
                      <a:pt x="426" y="274"/>
                    </a:lnTo>
                    <a:lnTo>
                      <a:pt x="424" y="274"/>
                    </a:lnTo>
                    <a:lnTo>
                      <a:pt x="422" y="274"/>
                    </a:lnTo>
                    <a:lnTo>
                      <a:pt x="422" y="276"/>
                    </a:lnTo>
                    <a:lnTo>
                      <a:pt x="420" y="276"/>
                    </a:lnTo>
                    <a:lnTo>
                      <a:pt x="420" y="278"/>
                    </a:lnTo>
                    <a:lnTo>
                      <a:pt x="418" y="278"/>
                    </a:lnTo>
                    <a:lnTo>
                      <a:pt x="418" y="280"/>
                    </a:lnTo>
                    <a:lnTo>
                      <a:pt x="416" y="280"/>
                    </a:lnTo>
                    <a:lnTo>
                      <a:pt x="416" y="282"/>
                    </a:lnTo>
                    <a:lnTo>
                      <a:pt x="414" y="282"/>
                    </a:lnTo>
                    <a:lnTo>
                      <a:pt x="414" y="284"/>
                    </a:lnTo>
                    <a:lnTo>
                      <a:pt x="412" y="284"/>
                    </a:lnTo>
                    <a:lnTo>
                      <a:pt x="410" y="284"/>
                    </a:lnTo>
                    <a:lnTo>
                      <a:pt x="410" y="286"/>
                    </a:lnTo>
                    <a:lnTo>
                      <a:pt x="410" y="288"/>
                    </a:lnTo>
                    <a:lnTo>
                      <a:pt x="412" y="288"/>
                    </a:lnTo>
                    <a:lnTo>
                      <a:pt x="412" y="290"/>
                    </a:lnTo>
                    <a:lnTo>
                      <a:pt x="412" y="291"/>
                    </a:lnTo>
                    <a:lnTo>
                      <a:pt x="414" y="291"/>
                    </a:lnTo>
                    <a:lnTo>
                      <a:pt x="414" y="293"/>
                    </a:lnTo>
                    <a:lnTo>
                      <a:pt x="412" y="293"/>
                    </a:lnTo>
                    <a:lnTo>
                      <a:pt x="412" y="295"/>
                    </a:lnTo>
                    <a:lnTo>
                      <a:pt x="410" y="295"/>
                    </a:lnTo>
                    <a:lnTo>
                      <a:pt x="410" y="297"/>
                    </a:lnTo>
                    <a:lnTo>
                      <a:pt x="412" y="297"/>
                    </a:lnTo>
                    <a:lnTo>
                      <a:pt x="412" y="299"/>
                    </a:lnTo>
                    <a:lnTo>
                      <a:pt x="412" y="301"/>
                    </a:lnTo>
                    <a:lnTo>
                      <a:pt x="412" y="303"/>
                    </a:lnTo>
                    <a:lnTo>
                      <a:pt x="412" y="305"/>
                    </a:lnTo>
                    <a:lnTo>
                      <a:pt x="412" y="307"/>
                    </a:lnTo>
                    <a:lnTo>
                      <a:pt x="412" y="309"/>
                    </a:lnTo>
                    <a:lnTo>
                      <a:pt x="410" y="309"/>
                    </a:lnTo>
                    <a:lnTo>
                      <a:pt x="410" y="311"/>
                    </a:lnTo>
                    <a:lnTo>
                      <a:pt x="409" y="311"/>
                    </a:lnTo>
                    <a:lnTo>
                      <a:pt x="407" y="311"/>
                    </a:lnTo>
                    <a:lnTo>
                      <a:pt x="407" y="309"/>
                    </a:lnTo>
                    <a:lnTo>
                      <a:pt x="407" y="307"/>
                    </a:lnTo>
                    <a:lnTo>
                      <a:pt x="409" y="307"/>
                    </a:lnTo>
                    <a:lnTo>
                      <a:pt x="407" y="307"/>
                    </a:lnTo>
                    <a:lnTo>
                      <a:pt x="407" y="305"/>
                    </a:lnTo>
                    <a:lnTo>
                      <a:pt x="405" y="305"/>
                    </a:lnTo>
                    <a:lnTo>
                      <a:pt x="405" y="307"/>
                    </a:lnTo>
                    <a:lnTo>
                      <a:pt x="403" y="307"/>
                    </a:lnTo>
                    <a:lnTo>
                      <a:pt x="401" y="307"/>
                    </a:lnTo>
                    <a:lnTo>
                      <a:pt x="399" y="309"/>
                    </a:lnTo>
                    <a:lnTo>
                      <a:pt x="399" y="311"/>
                    </a:lnTo>
                    <a:lnTo>
                      <a:pt x="397" y="311"/>
                    </a:lnTo>
                    <a:lnTo>
                      <a:pt x="397" y="313"/>
                    </a:lnTo>
                    <a:lnTo>
                      <a:pt x="395" y="313"/>
                    </a:lnTo>
                    <a:lnTo>
                      <a:pt x="395" y="314"/>
                    </a:lnTo>
                    <a:lnTo>
                      <a:pt x="393" y="314"/>
                    </a:lnTo>
                    <a:lnTo>
                      <a:pt x="393" y="316"/>
                    </a:lnTo>
                    <a:lnTo>
                      <a:pt x="393" y="318"/>
                    </a:lnTo>
                    <a:lnTo>
                      <a:pt x="391" y="318"/>
                    </a:lnTo>
                    <a:lnTo>
                      <a:pt x="391" y="320"/>
                    </a:lnTo>
                    <a:lnTo>
                      <a:pt x="389" y="320"/>
                    </a:lnTo>
                    <a:lnTo>
                      <a:pt x="389" y="322"/>
                    </a:lnTo>
                    <a:lnTo>
                      <a:pt x="387" y="322"/>
                    </a:lnTo>
                    <a:lnTo>
                      <a:pt x="389" y="322"/>
                    </a:lnTo>
                    <a:lnTo>
                      <a:pt x="389" y="324"/>
                    </a:lnTo>
                    <a:lnTo>
                      <a:pt x="391" y="324"/>
                    </a:lnTo>
                    <a:lnTo>
                      <a:pt x="391" y="326"/>
                    </a:lnTo>
                    <a:lnTo>
                      <a:pt x="391" y="328"/>
                    </a:lnTo>
                    <a:lnTo>
                      <a:pt x="393" y="328"/>
                    </a:lnTo>
                    <a:lnTo>
                      <a:pt x="393" y="330"/>
                    </a:lnTo>
                    <a:lnTo>
                      <a:pt x="393" y="332"/>
                    </a:lnTo>
                    <a:lnTo>
                      <a:pt x="395" y="332"/>
                    </a:lnTo>
                    <a:lnTo>
                      <a:pt x="395" y="334"/>
                    </a:lnTo>
                    <a:lnTo>
                      <a:pt x="397" y="334"/>
                    </a:lnTo>
                    <a:lnTo>
                      <a:pt x="397" y="336"/>
                    </a:lnTo>
                    <a:lnTo>
                      <a:pt x="399" y="336"/>
                    </a:lnTo>
                    <a:lnTo>
                      <a:pt x="399" y="338"/>
                    </a:lnTo>
                    <a:lnTo>
                      <a:pt x="399" y="339"/>
                    </a:lnTo>
                    <a:lnTo>
                      <a:pt x="399" y="341"/>
                    </a:lnTo>
                    <a:lnTo>
                      <a:pt x="399" y="343"/>
                    </a:lnTo>
                    <a:lnTo>
                      <a:pt x="397" y="343"/>
                    </a:lnTo>
                    <a:lnTo>
                      <a:pt x="397" y="345"/>
                    </a:lnTo>
                    <a:lnTo>
                      <a:pt x="397" y="347"/>
                    </a:lnTo>
                    <a:lnTo>
                      <a:pt x="397" y="349"/>
                    </a:lnTo>
                    <a:lnTo>
                      <a:pt x="397" y="351"/>
                    </a:lnTo>
                    <a:lnTo>
                      <a:pt x="399" y="351"/>
                    </a:lnTo>
                    <a:lnTo>
                      <a:pt x="399" y="353"/>
                    </a:lnTo>
                    <a:lnTo>
                      <a:pt x="399" y="355"/>
                    </a:lnTo>
                    <a:lnTo>
                      <a:pt x="397" y="357"/>
                    </a:lnTo>
                    <a:lnTo>
                      <a:pt x="397" y="359"/>
                    </a:lnTo>
                    <a:lnTo>
                      <a:pt x="397" y="361"/>
                    </a:lnTo>
                    <a:lnTo>
                      <a:pt x="397" y="362"/>
                    </a:lnTo>
                    <a:lnTo>
                      <a:pt x="399" y="362"/>
                    </a:lnTo>
                    <a:lnTo>
                      <a:pt x="399" y="364"/>
                    </a:lnTo>
                    <a:lnTo>
                      <a:pt x="401" y="364"/>
                    </a:lnTo>
                    <a:lnTo>
                      <a:pt x="403" y="364"/>
                    </a:lnTo>
                    <a:lnTo>
                      <a:pt x="403" y="366"/>
                    </a:lnTo>
                    <a:lnTo>
                      <a:pt x="403" y="368"/>
                    </a:lnTo>
                    <a:lnTo>
                      <a:pt x="405" y="368"/>
                    </a:lnTo>
                    <a:lnTo>
                      <a:pt x="405" y="370"/>
                    </a:lnTo>
                    <a:lnTo>
                      <a:pt x="403" y="370"/>
                    </a:lnTo>
                    <a:lnTo>
                      <a:pt x="405" y="370"/>
                    </a:lnTo>
                    <a:lnTo>
                      <a:pt x="405" y="372"/>
                    </a:lnTo>
                    <a:lnTo>
                      <a:pt x="407" y="372"/>
                    </a:lnTo>
                    <a:lnTo>
                      <a:pt x="405" y="372"/>
                    </a:lnTo>
                    <a:lnTo>
                      <a:pt x="405" y="374"/>
                    </a:lnTo>
                    <a:lnTo>
                      <a:pt x="405" y="376"/>
                    </a:lnTo>
                    <a:lnTo>
                      <a:pt x="403" y="376"/>
                    </a:lnTo>
                    <a:lnTo>
                      <a:pt x="403" y="378"/>
                    </a:lnTo>
                    <a:lnTo>
                      <a:pt x="403" y="380"/>
                    </a:lnTo>
                    <a:lnTo>
                      <a:pt x="401" y="380"/>
                    </a:lnTo>
                    <a:lnTo>
                      <a:pt x="401" y="382"/>
                    </a:lnTo>
                    <a:lnTo>
                      <a:pt x="399" y="382"/>
                    </a:lnTo>
                    <a:lnTo>
                      <a:pt x="401" y="382"/>
                    </a:lnTo>
                    <a:lnTo>
                      <a:pt x="401" y="384"/>
                    </a:lnTo>
                    <a:lnTo>
                      <a:pt x="403" y="384"/>
                    </a:lnTo>
                    <a:lnTo>
                      <a:pt x="405" y="384"/>
                    </a:lnTo>
                    <a:lnTo>
                      <a:pt x="405" y="386"/>
                    </a:lnTo>
                    <a:lnTo>
                      <a:pt x="407" y="386"/>
                    </a:lnTo>
                    <a:lnTo>
                      <a:pt x="405" y="386"/>
                    </a:lnTo>
                    <a:lnTo>
                      <a:pt x="405" y="387"/>
                    </a:lnTo>
                    <a:lnTo>
                      <a:pt x="405" y="389"/>
                    </a:lnTo>
                    <a:lnTo>
                      <a:pt x="403" y="389"/>
                    </a:lnTo>
                    <a:lnTo>
                      <a:pt x="401" y="389"/>
                    </a:lnTo>
                    <a:lnTo>
                      <a:pt x="403" y="391"/>
                    </a:lnTo>
                    <a:lnTo>
                      <a:pt x="405" y="391"/>
                    </a:lnTo>
                    <a:lnTo>
                      <a:pt x="405" y="393"/>
                    </a:lnTo>
                    <a:lnTo>
                      <a:pt x="405" y="395"/>
                    </a:lnTo>
                    <a:lnTo>
                      <a:pt x="403" y="395"/>
                    </a:lnTo>
                    <a:lnTo>
                      <a:pt x="403" y="393"/>
                    </a:lnTo>
                    <a:lnTo>
                      <a:pt x="401" y="393"/>
                    </a:lnTo>
                    <a:lnTo>
                      <a:pt x="401" y="395"/>
                    </a:lnTo>
                    <a:lnTo>
                      <a:pt x="399" y="395"/>
                    </a:lnTo>
                    <a:lnTo>
                      <a:pt x="399" y="397"/>
                    </a:lnTo>
                    <a:lnTo>
                      <a:pt x="399" y="399"/>
                    </a:lnTo>
                    <a:lnTo>
                      <a:pt x="399" y="401"/>
                    </a:lnTo>
                    <a:lnTo>
                      <a:pt x="397" y="403"/>
                    </a:lnTo>
                    <a:lnTo>
                      <a:pt x="399" y="403"/>
                    </a:lnTo>
                    <a:lnTo>
                      <a:pt x="399" y="405"/>
                    </a:lnTo>
                    <a:lnTo>
                      <a:pt x="401" y="407"/>
                    </a:lnTo>
                    <a:lnTo>
                      <a:pt x="403" y="409"/>
                    </a:lnTo>
                    <a:lnTo>
                      <a:pt x="403" y="410"/>
                    </a:lnTo>
                    <a:lnTo>
                      <a:pt x="403" y="412"/>
                    </a:lnTo>
                    <a:lnTo>
                      <a:pt x="403" y="414"/>
                    </a:lnTo>
                    <a:lnTo>
                      <a:pt x="401" y="414"/>
                    </a:lnTo>
                    <a:lnTo>
                      <a:pt x="401" y="416"/>
                    </a:lnTo>
                    <a:lnTo>
                      <a:pt x="403" y="416"/>
                    </a:lnTo>
                    <a:lnTo>
                      <a:pt x="403" y="418"/>
                    </a:lnTo>
                    <a:lnTo>
                      <a:pt x="405" y="418"/>
                    </a:lnTo>
                    <a:lnTo>
                      <a:pt x="405" y="420"/>
                    </a:lnTo>
                    <a:lnTo>
                      <a:pt x="403" y="420"/>
                    </a:lnTo>
                    <a:lnTo>
                      <a:pt x="401" y="420"/>
                    </a:lnTo>
                    <a:lnTo>
                      <a:pt x="401" y="422"/>
                    </a:lnTo>
                    <a:lnTo>
                      <a:pt x="403" y="422"/>
                    </a:lnTo>
                    <a:lnTo>
                      <a:pt x="403" y="424"/>
                    </a:lnTo>
                    <a:lnTo>
                      <a:pt x="403" y="426"/>
                    </a:lnTo>
                    <a:lnTo>
                      <a:pt x="401" y="426"/>
                    </a:lnTo>
                    <a:lnTo>
                      <a:pt x="401" y="424"/>
                    </a:lnTo>
                    <a:lnTo>
                      <a:pt x="399" y="424"/>
                    </a:lnTo>
                    <a:lnTo>
                      <a:pt x="399" y="426"/>
                    </a:lnTo>
                    <a:lnTo>
                      <a:pt x="399" y="428"/>
                    </a:lnTo>
                    <a:lnTo>
                      <a:pt x="401" y="428"/>
                    </a:lnTo>
                    <a:lnTo>
                      <a:pt x="401" y="430"/>
                    </a:lnTo>
                    <a:lnTo>
                      <a:pt x="403" y="430"/>
                    </a:lnTo>
                    <a:lnTo>
                      <a:pt x="403" y="432"/>
                    </a:lnTo>
                    <a:lnTo>
                      <a:pt x="401" y="432"/>
                    </a:lnTo>
                    <a:lnTo>
                      <a:pt x="399" y="434"/>
                    </a:lnTo>
                    <a:lnTo>
                      <a:pt x="397" y="434"/>
                    </a:lnTo>
                    <a:lnTo>
                      <a:pt x="397" y="435"/>
                    </a:lnTo>
                    <a:lnTo>
                      <a:pt x="399" y="435"/>
                    </a:lnTo>
                    <a:lnTo>
                      <a:pt x="399" y="437"/>
                    </a:lnTo>
                    <a:lnTo>
                      <a:pt x="397" y="437"/>
                    </a:lnTo>
                    <a:lnTo>
                      <a:pt x="397" y="439"/>
                    </a:lnTo>
                    <a:lnTo>
                      <a:pt x="395" y="439"/>
                    </a:lnTo>
                    <a:lnTo>
                      <a:pt x="395" y="437"/>
                    </a:lnTo>
                    <a:lnTo>
                      <a:pt x="393" y="437"/>
                    </a:lnTo>
                    <a:lnTo>
                      <a:pt x="391" y="437"/>
                    </a:lnTo>
                    <a:lnTo>
                      <a:pt x="391" y="435"/>
                    </a:lnTo>
                    <a:lnTo>
                      <a:pt x="391" y="437"/>
                    </a:lnTo>
                    <a:lnTo>
                      <a:pt x="389" y="437"/>
                    </a:lnTo>
                    <a:lnTo>
                      <a:pt x="389" y="435"/>
                    </a:lnTo>
                    <a:lnTo>
                      <a:pt x="387" y="435"/>
                    </a:lnTo>
                    <a:lnTo>
                      <a:pt x="386" y="435"/>
                    </a:lnTo>
                    <a:lnTo>
                      <a:pt x="386" y="437"/>
                    </a:lnTo>
                    <a:lnTo>
                      <a:pt x="386" y="439"/>
                    </a:lnTo>
                    <a:lnTo>
                      <a:pt x="386" y="441"/>
                    </a:lnTo>
                    <a:lnTo>
                      <a:pt x="386" y="443"/>
                    </a:lnTo>
                    <a:lnTo>
                      <a:pt x="384" y="443"/>
                    </a:lnTo>
                    <a:lnTo>
                      <a:pt x="384" y="445"/>
                    </a:lnTo>
                    <a:lnTo>
                      <a:pt x="384" y="447"/>
                    </a:lnTo>
                    <a:lnTo>
                      <a:pt x="382" y="447"/>
                    </a:lnTo>
                    <a:lnTo>
                      <a:pt x="382" y="445"/>
                    </a:lnTo>
                    <a:lnTo>
                      <a:pt x="380" y="445"/>
                    </a:lnTo>
                    <a:lnTo>
                      <a:pt x="380" y="447"/>
                    </a:lnTo>
                    <a:lnTo>
                      <a:pt x="382" y="447"/>
                    </a:lnTo>
                    <a:lnTo>
                      <a:pt x="382" y="449"/>
                    </a:lnTo>
                    <a:lnTo>
                      <a:pt x="382" y="451"/>
                    </a:lnTo>
                    <a:lnTo>
                      <a:pt x="382" y="449"/>
                    </a:lnTo>
                    <a:lnTo>
                      <a:pt x="380" y="449"/>
                    </a:lnTo>
                    <a:lnTo>
                      <a:pt x="380" y="451"/>
                    </a:lnTo>
                    <a:lnTo>
                      <a:pt x="380" y="453"/>
                    </a:lnTo>
                    <a:lnTo>
                      <a:pt x="378" y="453"/>
                    </a:lnTo>
                    <a:lnTo>
                      <a:pt x="378" y="455"/>
                    </a:lnTo>
                    <a:lnTo>
                      <a:pt x="376" y="455"/>
                    </a:lnTo>
                    <a:lnTo>
                      <a:pt x="376" y="457"/>
                    </a:lnTo>
                    <a:lnTo>
                      <a:pt x="378" y="457"/>
                    </a:lnTo>
                    <a:lnTo>
                      <a:pt x="376" y="457"/>
                    </a:lnTo>
                    <a:lnTo>
                      <a:pt x="378" y="457"/>
                    </a:lnTo>
                    <a:lnTo>
                      <a:pt x="378" y="458"/>
                    </a:lnTo>
                    <a:lnTo>
                      <a:pt x="378" y="460"/>
                    </a:lnTo>
                    <a:lnTo>
                      <a:pt x="380" y="460"/>
                    </a:lnTo>
                    <a:lnTo>
                      <a:pt x="380" y="462"/>
                    </a:lnTo>
                    <a:lnTo>
                      <a:pt x="380" y="464"/>
                    </a:lnTo>
                    <a:lnTo>
                      <a:pt x="378" y="464"/>
                    </a:lnTo>
                    <a:lnTo>
                      <a:pt x="378" y="466"/>
                    </a:lnTo>
                    <a:lnTo>
                      <a:pt x="376" y="466"/>
                    </a:lnTo>
                    <a:lnTo>
                      <a:pt x="378" y="466"/>
                    </a:lnTo>
                    <a:lnTo>
                      <a:pt x="376" y="466"/>
                    </a:lnTo>
                    <a:lnTo>
                      <a:pt x="378" y="466"/>
                    </a:lnTo>
                    <a:lnTo>
                      <a:pt x="380" y="466"/>
                    </a:lnTo>
                    <a:lnTo>
                      <a:pt x="380" y="468"/>
                    </a:lnTo>
                    <a:lnTo>
                      <a:pt x="382" y="468"/>
                    </a:lnTo>
                    <a:lnTo>
                      <a:pt x="382" y="470"/>
                    </a:lnTo>
                    <a:lnTo>
                      <a:pt x="382" y="472"/>
                    </a:lnTo>
                    <a:lnTo>
                      <a:pt x="380" y="472"/>
                    </a:lnTo>
                    <a:lnTo>
                      <a:pt x="378" y="472"/>
                    </a:lnTo>
                    <a:lnTo>
                      <a:pt x="378" y="470"/>
                    </a:lnTo>
                    <a:lnTo>
                      <a:pt x="376" y="470"/>
                    </a:lnTo>
                    <a:lnTo>
                      <a:pt x="376" y="472"/>
                    </a:lnTo>
                    <a:lnTo>
                      <a:pt x="376" y="474"/>
                    </a:lnTo>
                    <a:lnTo>
                      <a:pt x="376" y="476"/>
                    </a:lnTo>
                    <a:lnTo>
                      <a:pt x="378" y="476"/>
                    </a:lnTo>
                    <a:lnTo>
                      <a:pt x="378" y="478"/>
                    </a:lnTo>
                    <a:lnTo>
                      <a:pt x="376" y="478"/>
                    </a:lnTo>
                    <a:lnTo>
                      <a:pt x="376" y="480"/>
                    </a:lnTo>
                    <a:lnTo>
                      <a:pt x="376" y="482"/>
                    </a:lnTo>
                    <a:lnTo>
                      <a:pt x="378" y="482"/>
                    </a:lnTo>
                    <a:lnTo>
                      <a:pt x="378" y="483"/>
                    </a:lnTo>
                    <a:lnTo>
                      <a:pt x="376" y="483"/>
                    </a:lnTo>
                    <a:lnTo>
                      <a:pt x="376" y="485"/>
                    </a:lnTo>
                    <a:lnTo>
                      <a:pt x="376" y="483"/>
                    </a:lnTo>
                    <a:lnTo>
                      <a:pt x="376" y="485"/>
                    </a:lnTo>
                    <a:lnTo>
                      <a:pt x="376" y="487"/>
                    </a:lnTo>
                    <a:lnTo>
                      <a:pt x="376" y="489"/>
                    </a:lnTo>
                    <a:lnTo>
                      <a:pt x="376" y="491"/>
                    </a:lnTo>
                    <a:lnTo>
                      <a:pt x="376" y="493"/>
                    </a:lnTo>
                    <a:lnTo>
                      <a:pt x="376" y="495"/>
                    </a:lnTo>
                    <a:lnTo>
                      <a:pt x="376" y="497"/>
                    </a:lnTo>
                    <a:lnTo>
                      <a:pt x="376" y="499"/>
                    </a:lnTo>
                    <a:lnTo>
                      <a:pt x="374" y="499"/>
                    </a:lnTo>
                    <a:lnTo>
                      <a:pt x="374" y="501"/>
                    </a:lnTo>
                    <a:lnTo>
                      <a:pt x="372" y="501"/>
                    </a:lnTo>
                    <a:lnTo>
                      <a:pt x="374" y="501"/>
                    </a:lnTo>
                    <a:lnTo>
                      <a:pt x="372" y="501"/>
                    </a:lnTo>
                    <a:lnTo>
                      <a:pt x="372" y="503"/>
                    </a:lnTo>
                    <a:lnTo>
                      <a:pt x="372" y="505"/>
                    </a:lnTo>
                    <a:lnTo>
                      <a:pt x="370" y="505"/>
                    </a:lnTo>
                    <a:lnTo>
                      <a:pt x="370" y="506"/>
                    </a:lnTo>
                    <a:lnTo>
                      <a:pt x="372" y="506"/>
                    </a:lnTo>
                    <a:lnTo>
                      <a:pt x="372" y="508"/>
                    </a:lnTo>
                    <a:lnTo>
                      <a:pt x="374" y="508"/>
                    </a:lnTo>
                    <a:lnTo>
                      <a:pt x="376" y="508"/>
                    </a:lnTo>
                    <a:lnTo>
                      <a:pt x="376" y="510"/>
                    </a:lnTo>
                    <a:lnTo>
                      <a:pt x="374" y="510"/>
                    </a:lnTo>
                    <a:lnTo>
                      <a:pt x="372" y="510"/>
                    </a:lnTo>
                    <a:lnTo>
                      <a:pt x="370" y="510"/>
                    </a:lnTo>
                    <a:lnTo>
                      <a:pt x="370" y="512"/>
                    </a:lnTo>
                    <a:lnTo>
                      <a:pt x="368" y="512"/>
                    </a:lnTo>
                    <a:lnTo>
                      <a:pt x="366" y="514"/>
                    </a:lnTo>
                    <a:lnTo>
                      <a:pt x="366" y="516"/>
                    </a:lnTo>
                    <a:lnTo>
                      <a:pt x="368" y="516"/>
                    </a:lnTo>
                    <a:lnTo>
                      <a:pt x="368" y="518"/>
                    </a:lnTo>
                    <a:lnTo>
                      <a:pt x="368" y="520"/>
                    </a:lnTo>
                    <a:lnTo>
                      <a:pt x="370" y="520"/>
                    </a:lnTo>
                    <a:lnTo>
                      <a:pt x="370" y="522"/>
                    </a:lnTo>
                    <a:lnTo>
                      <a:pt x="372" y="522"/>
                    </a:lnTo>
                    <a:lnTo>
                      <a:pt x="372" y="524"/>
                    </a:lnTo>
                    <a:lnTo>
                      <a:pt x="372" y="526"/>
                    </a:lnTo>
                    <a:lnTo>
                      <a:pt x="370" y="526"/>
                    </a:lnTo>
                    <a:lnTo>
                      <a:pt x="368" y="526"/>
                    </a:lnTo>
                    <a:lnTo>
                      <a:pt x="368" y="528"/>
                    </a:lnTo>
                    <a:lnTo>
                      <a:pt x="370" y="528"/>
                    </a:lnTo>
                    <a:lnTo>
                      <a:pt x="368" y="528"/>
                    </a:lnTo>
                    <a:lnTo>
                      <a:pt x="368" y="530"/>
                    </a:lnTo>
                    <a:lnTo>
                      <a:pt x="370" y="530"/>
                    </a:lnTo>
                    <a:lnTo>
                      <a:pt x="370" y="531"/>
                    </a:lnTo>
                    <a:lnTo>
                      <a:pt x="370" y="533"/>
                    </a:lnTo>
                    <a:lnTo>
                      <a:pt x="372" y="533"/>
                    </a:lnTo>
                    <a:lnTo>
                      <a:pt x="372" y="535"/>
                    </a:lnTo>
                    <a:lnTo>
                      <a:pt x="372" y="537"/>
                    </a:lnTo>
                    <a:lnTo>
                      <a:pt x="372" y="539"/>
                    </a:lnTo>
                    <a:lnTo>
                      <a:pt x="370" y="539"/>
                    </a:lnTo>
                    <a:lnTo>
                      <a:pt x="368" y="539"/>
                    </a:lnTo>
                    <a:lnTo>
                      <a:pt x="366" y="539"/>
                    </a:lnTo>
                    <a:lnTo>
                      <a:pt x="366" y="537"/>
                    </a:lnTo>
                    <a:lnTo>
                      <a:pt x="364" y="537"/>
                    </a:lnTo>
                    <a:lnTo>
                      <a:pt x="362" y="537"/>
                    </a:lnTo>
                    <a:lnTo>
                      <a:pt x="361" y="537"/>
                    </a:lnTo>
                    <a:lnTo>
                      <a:pt x="361" y="539"/>
                    </a:lnTo>
                    <a:lnTo>
                      <a:pt x="361" y="541"/>
                    </a:lnTo>
                    <a:lnTo>
                      <a:pt x="362" y="541"/>
                    </a:lnTo>
                    <a:lnTo>
                      <a:pt x="362" y="543"/>
                    </a:lnTo>
                    <a:lnTo>
                      <a:pt x="364" y="543"/>
                    </a:lnTo>
                    <a:lnTo>
                      <a:pt x="366" y="543"/>
                    </a:lnTo>
                    <a:lnTo>
                      <a:pt x="368" y="543"/>
                    </a:lnTo>
                    <a:lnTo>
                      <a:pt x="368" y="545"/>
                    </a:lnTo>
                    <a:lnTo>
                      <a:pt x="370" y="545"/>
                    </a:lnTo>
                    <a:lnTo>
                      <a:pt x="370" y="547"/>
                    </a:lnTo>
                    <a:lnTo>
                      <a:pt x="368" y="547"/>
                    </a:lnTo>
                    <a:lnTo>
                      <a:pt x="368" y="549"/>
                    </a:lnTo>
                    <a:lnTo>
                      <a:pt x="366" y="549"/>
                    </a:lnTo>
                    <a:lnTo>
                      <a:pt x="364" y="549"/>
                    </a:lnTo>
                    <a:lnTo>
                      <a:pt x="362" y="549"/>
                    </a:lnTo>
                    <a:lnTo>
                      <a:pt x="362" y="547"/>
                    </a:lnTo>
                    <a:lnTo>
                      <a:pt x="361" y="547"/>
                    </a:lnTo>
                    <a:lnTo>
                      <a:pt x="359" y="549"/>
                    </a:lnTo>
                    <a:lnTo>
                      <a:pt x="359" y="551"/>
                    </a:lnTo>
                    <a:lnTo>
                      <a:pt x="359" y="553"/>
                    </a:lnTo>
                    <a:lnTo>
                      <a:pt x="361" y="553"/>
                    </a:lnTo>
                    <a:lnTo>
                      <a:pt x="362" y="554"/>
                    </a:lnTo>
                    <a:lnTo>
                      <a:pt x="364" y="554"/>
                    </a:lnTo>
                    <a:lnTo>
                      <a:pt x="364" y="556"/>
                    </a:lnTo>
                    <a:lnTo>
                      <a:pt x="366" y="556"/>
                    </a:lnTo>
                    <a:lnTo>
                      <a:pt x="366" y="558"/>
                    </a:lnTo>
                    <a:lnTo>
                      <a:pt x="366" y="560"/>
                    </a:lnTo>
                    <a:lnTo>
                      <a:pt x="364" y="560"/>
                    </a:lnTo>
                    <a:lnTo>
                      <a:pt x="364" y="562"/>
                    </a:lnTo>
                    <a:lnTo>
                      <a:pt x="364" y="564"/>
                    </a:lnTo>
                    <a:lnTo>
                      <a:pt x="362" y="564"/>
                    </a:lnTo>
                    <a:lnTo>
                      <a:pt x="362" y="566"/>
                    </a:lnTo>
                    <a:lnTo>
                      <a:pt x="361" y="566"/>
                    </a:lnTo>
                    <a:lnTo>
                      <a:pt x="361" y="568"/>
                    </a:lnTo>
                    <a:lnTo>
                      <a:pt x="361" y="570"/>
                    </a:lnTo>
                    <a:lnTo>
                      <a:pt x="361" y="572"/>
                    </a:lnTo>
                    <a:lnTo>
                      <a:pt x="361" y="574"/>
                    </a:lnTo>
                    <a:lnTo>
                      <a:pt x="359" y="572"/>
                    </a:lnTo>
                    <a:lnTo>
                      <a:pt x="357" y="572"/>
                    </a:lnTo>
                    <a:lnTo>
                      <a:pt x="357" y="574"/>
                    </a:lnTo>
                    <a:lnTo>
                      <a:pt x="357" y="576"/>
                    </a:lnTo>
                    <a:lnTo>
                      <a:pt x="359" y="578"/>
                    </a:lnTo>
                    <a:lnTo>
                      <a:pt x="359" y="579"/>
                    </a:lnTo>
                    <a:lnTo>
                      <a:pt x="361" y="579"/>
                    </a:lnTo>
                    <a:lnTo>
                      <a:pt x="361" y="578"/>
                    </a:lnTo>
                    <a:lnTo>
                      <a:pt x="362" y="578"/>
                    </a:lnTo>
                    <a:lnTo>
                      <a:pt x="362" y="576"/>
                    </a:lnTo>
                    <a:lnTo>
                      <a:pt x="364" y="576"/>
                    </a:lnTo>
                    <a:lnTo>
                      <a:pt x="366" y="576"/>
                    </a:lnTo>
                    <a:lnTo>
                      <a:pt x="368" y="578"/>
                    </a:lnTo>
                    <a:lnTo>
                      <a:pt x="368" y="579"/>
                    </a:lnTo>
                    <a:lnTo>
                      <a:pt x="366" y="579"/>
                    </a:lnTo>
                    <a:lnTo>
                      <a:pt x="364" y="581"/>
                    </a:lnTo>
                    <a:lnTo>
                      <a:pt x="362" y="581"/>
                    </a:lnTo>
                    <a:lnTo>
                      <a:pt x="361" y="581"/>
                    </a:lnTo>
                    <a:lnTo>
                      <a:pt x="361" y="583"/>
                    </a:lnTo>
                    <a:lnTo>
                      <a:pt x="361" y="585"/>
                    </a:lnTo>
                    <a:lnTo>
                      <a:pt x="362" y="585"/>
                    </a:lnTo>
                    <a:lnTo>
                      <a:pt x="362" y="587"/>
                    </a:lnTo>
                    <a:lnTo>
                      <a:pt x="362" y="589"/>
                    </a:lnTo>
                    <a:lnTo>
                      <a:pt x="361" y="589"/>
                    </a:lnTo>
                    <a:lnTo>
                      <a:pt x="361" y="591"/>
                    </a:lnTo>
                    <a:lnTo>
                      <a:pt x="361" y="593"/>
                    </a:lnTo>
                    <a:lnTo>
                      <a:pt x="361" y="595"/>
                    </a:lnTo>
                    <a:lnTo>
                      <a:pt x="361" y="597"/>
                    </a:lnTo>
                    <a:lnTo>
                      <a:pt x="359" y="597"/>
                    </a:lnTo>
                    <a:lnTo>
                      <a:pt x="357" y="597"/>
                    </a:lnTo>
                    <a:lnTo>
                      <a:pt x="357" y="599"/>
                    </a:lnTo>
                    <a:lnTo>
                      <a:pt x="359" y="599"/>
                    </a:lnTo>
                    <a:lnTo>
                      <a:pt x="357" y="599"/>
                    </a:lnTo>
                    <a:lnTo>
                      <a:pt x="359" y="599"/>
                    </a:lnTo>
                    <a:lnTo>
                      <a:pt x="359" y="601"/>
                    </a:lnTo>
                    <a:lnTo>
                      <a:pt x="361" y="601"/>
                    </a:lnTo>
                    <a:lnTo>
                      <a:pt x="362" y="601"/>
                    </a:lnTo>
                    <a:lnTo>
                      <a:pt x="362" y="602"/>
                    </a:lnTo>
                    <a:lnTo>
                      <a:pt x="361" y="602"/>
                    </a:lnTo>
                    <a:lnTo>
                      <a:pt x="362" y="602"/>
                    </a:lnTo>
                    <a:lnTo>
                      <a:pt x="362" y="604"/>
                    </a:lnTo>
                    <a:lnTo>
                      <a:pt x="362" y="606"/>
                    </a:lnTo>
                    <a:lnTo>
                      <a:pt x="361" y="606"/>
                    </a:lnTo>
                    <a:lnTo>
                      <a:pt x="361" y="608"/>
                    </a:lnTo>
                    <a:lnTo>
                      <a:pt x="361" y="610"/>
                    </a:lnTo>
                    <a:lnTo>
                      <a:pt x="362" y="610"/>
                    </a:lnTo>
                    <a:lnTo>
                      <a:pt x="362" y="612"/>
                    </a:lnTo>
                    <a:lnTo>
                      <a:pt x="364" y="612"/>
                    </a:lnTo>
                    <a:lnTo>
                      <a:pt x="364" y="614"/>
                    </a:lnTo>
                    <a:lnTo>
                      <a:pt x="364" y="616"/>
                    </a:lnTo>
                    <a:lnTo>
                      <a:pt x="366" y="616"/>
                    </a:lnTo>
                    <a:lnTo>
                      <a:pt x="368" y="616"/>
                    </a:lnTo>
                    <a:lnTo>
                      <a:pt x="370" y="616"/>
                    </a:lnTo>
                    <a:lnTo>
                      <a:pt x="370" y="618"/>
                    </a:lnTo>
                    <a:lnTo>
                      <a:pt x="370" y="620"/>
                    </a:lnTo>
                    <a:lnTo>
                      <a:pt x="368" y="620"/>
                    </a:lnTo>
                    <a:lnTo>
                      <a:pt x="368" y="622"/>
                    </a:lnTo>
                    <a:lnTo>
                      <a:pt x="366" y="622"/>
                    </a:lnTo>
                    <a:lnTo>
                      <a:pt x="366" y="620"/>
                    </a:lnTo>
                    <a:lnTo>
                      <a:pt x="364" y="620"/>
                    </a:lnTo>
                    <a:lnTo>
                      <a:pt x="364" y="618"/>
                    </a:lnTo>
                    <a:lnTo>
                      <a:pt x="362" y="618"/>
                    </a:lnTo>
                    <a:lnTo>
                      <a:pt x="361" y="618"/>
                    </a:lnTo>
                    <a:lnTo>
                      <a:pt x="361" y="620"/>
                    </a:lnTo>
                    <a:lnTo>
                      <a:pt x="361" y="622"/>
                    </a:lnTo>
                    <a:lnTo>
                      <a:pt x="361" y="624"/>
                    </a:lnTo>
                    <a:lnTo>
                      <a:pt x="362" y="624"/>
                    </a:lnTo>
                    <a:lnTo>
                      <a:pt x="362" y="626"/>
                    </a:lnTo>
                    <a:lnTo>
                      <a:pt x="362" y="627"/>
                    </a:lnTo>
                    <a:lnTo>
                      <a:pt x="361" y="627"/>
                    </a:lnTo>
                    <a:lnTo>
                      <a:pt x="359" y="627"/>
                    </a:lnTo>
                    <a:lnTo>
                      <a:pt x="359" y="626"/>
                    </a:lnTo>
                    <a:lnTo>
                      <a:pt x="357" y="626"/>
                    </a:lnTo>
                    <a:lnTo>
                      <a:pt x="357" y="624"/>
                    </a:lnTo>
                    <a:lnTo>
                      <a:pt x="359" y="624"/>
                    </a:lnTo>
                    <a:lnTo>
                      <a:pt x="359" y="622"/>
                    </a:lnTo>
                    <a:lnTo>
                      <a:pt x="357" y="622"/>
                    </a:lnTo>
                    <a:lnTo>
                      <a:pt x="357" y="624"/>
                    </a:lnTo>
                    <a:lnTo>
                      <a:pt x="355" y="624"/>
                    </a:lnTo>
                    <a:lnTo>
                      <a:pt x="355" y="626"/>
                    </a:lnTo>
                    <a:lnTo>
                      <a:pt x="355" y="627"/>
                    </a:lnTo>
                    <a:lnTo>
                      <a:pt x="355" y="629"/>
                    </a:lnTo>
                    <a:lnTo>
                      <a:pt x="355" y="631"/>
                    </a:lnTo>
                    <a:lnTo>
                      <a:pt x="357" y="631"/>
                    </a:lnTo>
                    <a:lnTo>
                      <a:pt x="359" y="631"/>
                    </a:lnTo>
                    <a:lnTo>
                      <a:pt x="361" y="631"/>
                    </a:lnTo>
                    <a:lnTo>
                      <a:pt x="361" y="633"/>
                    </a:lnTo>
                    <a:lnTo>
                      <a:pt x="362" y="633"/>
                    </a:lnTo>
                    <a:lnTo>
                      <a:pt x="362" y="635"/>
                    </a:lnTo>
                    <a:lnTo>
                      <a:pt x="362" y="637"/>
                    </a:lnTo>
                    <a:lnTo>
                      <a:pt x="361" y="637"/>
                    </a:lnTo>
                    <a:lnTo>
                      <a:pt x="361" y="639"/>
                    </a:lnTo>
                    <a:lnTo>
                      <a:pt x="359" y="639"/>
                    </a:lnTo>
                    <a:lnTo>
                      <a:pt x="359" y="641"/>
                    </a:lnTo>
                    <a:lnTo>
                      <a:pt x="361" y="641"/>
                    </a:lnTo>
                    <a:lnTo>
                      <a:pt x="361" y="643"/>
                    </a:lnTo>
                    <a:lnTo>
                      <a:pt x="362" y="643"/>
                    </a:lnTo>
                    <a:lnTo>
                      <a:pt x="362" y="645"/>
                    </a:lnTo>
                    <a:lnTo>
                      <a:pt x="361" y="645"/>
                    </a:lnTo>
                    <a:lnTo>
                      <a:pt x="359" y="645"/>
                    </a:lnTo>
                    <a:lnTo>
                      <a:pt x="359" y="643"/>
                    </a:lnTo>
                    <a:lnTo>
                      <a:pt x="357" y="643"/>
                    </a:lnTo>
                    <a:lnTo>
                      <a:pt x="357" y="645"/>
                    </a:lnTo>
                    <a:lnTo>
                      <a:pt x="357" y="647"/>
                    </a:lnTo>
                    <a:lnTo>
                      <a:pt x="359" y="647"/>
                    </a:lnTo>
                    <a:lnTo>
                      <a:pt x="359" y="649"/>
                    </a:lnTo>
                    <a:lnTo>
                      <a:pt x="361" y="649"/>
                    </a:lnTo>
                    <a:lnTo>
                      <a:pt x="361" y="650"/>
                    </a:lnTo>
                    <a:lnTo>
                      <a:pt x="361" y="652"/>
                    </a:lnTo>
                    <a:lnTo>
                      <a:pt x="359" y="652"/>
                    </a:lnTo>
                    <a:lnTo>
                      <a:pt x="359" y="654"/>
                    </a:lnTo>
                    <a:lnTo>
                      <a:pt x="357" y="654"/>
                    </a:lnTo>
                    <a:lnTo>
                      <a:pt x="359" y="656"/>
                    </a:lnTo>
                    <a:lnTo>
                      <a:pt x="359" y="658"/>
                    </a:lnTo>
                    <a:lnTo>
                      <a:pt x="357" y="658"/>
                    </a:lnTo>
                    <a:lnTo>
                      <a:pt x="357" y="660"/>
                    </a:lnTo>
                    <a:lnTo>
                      <a:pt x="355" y="660"/>
                    </a:lnTo>
                    <a:lnTo>
                      <a:pt x="355" y="662"/>
                    </a:lnTo>
                    <a:lnTo>
                      <a:pt x="355" y="664"/>
                    </a:lnTo>
                    <a:lnTo>
                      <a:pt x="355" y="666"/>
                    </a:lnTo>
                    <a:lnTo>
                      <a:pt x="357" y="666"/>
                    </a:lnTo>
                    <a:lnTo>
                      <a:pt x="357" y="668"/>
                    </a:lnTo>
                    <a:lnTo>
                      <a:pt x="355" y="668"/>
                    </a:lnTo>
                    <a:lnTo>
                      <a:pt x="355" y="670"/>
                    </a:lnTo>
                    <a:lnTo>
                      <a:pt x="355" y="668"/>
                    </a:lnTo>
                    <a:lnTo>
                      <a:pt x="353" y="668"/>
                    </a:lnTo>
                    <a:lnTo>
                      <a:pt x="351" y="668"/>
                    </a:lnTo>
                    <a:lnTo>
                      <a:pt x="351" y="670"/>
                    </a:lnTo>
                    <a:lnTo>
                      <a:pt x="351" y="672"/>
                    </a:lnTo>
                    <a:lnTo>
                      <a:pt x="351" y="674"/>
                    </a:lnTo>
                    <a:lnTo>
                      <a:pt x="353" y="674"/>
                    </a:lnTo>
                    <a:lnTo>
                      <a:pt x="355" y="674"/>
                    </a:lnTo>
                    <a:lnTo>
                      <a:pt x="357" y="674"/>
                    </a:lnTo>
                    <a:lnTo>
                      <a:pt x="357" y="675"/>
                    </a:lnTo>
                    <a:lnTo>
                      <a:pt x="355" y="675"/>
                    </a:lnTo>
                    <a:lnTo>
                      <a:pt x="355" y="677"/>
                    </a:lnTo>
                    <a:lnTo>
                      <a:pt x="357" y="677"/>
                    </a:lnTo>
                    <a:lnTo>
                      <a:pt x="355" y="677"/>
                    </a:lnTo>
                    <a:lnTo>
                      <a:pt x="357" y="677"/>
                    </a:lnTo>
                    <a:lnTo>
                      <a:pt x="357" y="679"/>
                    </a:lnTo>
                    <a:lnTo>
                      <a:pt x="359" y="679"/>
                    </a:lnTo>
                    <a:lnTo>
                      <a:pt x="359" y="681"/>
                    </a:lnTo>
                    <a:lnTo>
                      <a:pt x="361" y="681"/>
                    </a:lnTo>
                    <a:lnTo>
                      <a:pt x="361" y="679"/>
                    </a:lnTo>
                    <a:lnTo>
                      <a:pt x="362" y="679"/>
                    </a:lnTo>
                    <a:lnTo>
                      <a:pt x="362" y="677"/>
                    </a:lnTo>
                    <a:lnTo>
                      <a:pt x="364" y="677"/>
                    </a:lnTo>
                    <a:lnTo>
                      <a:pt x="364" y="679"/>
                    </a:lnTo>
                    <a:lnTo>
                      <a:pt x="366" y="679"/>
                    </a:lnTo>
                    <a:lnTo>
                      <a:pt x="366" y="681"/>
                    </a:lnTo>
                    <a:lnTo>
                      <a:pt x="364" y="681"/>
                    </a:lnTo>
                    <a:lnTo>
                      <a:pt x="364" y="683"/>
                    </a:lnTo>
                    <a:lnTo>
                      <a:pt x="364" y="685"/>
                    </a:lnTo>
                    <a:lnTo>
                      <a:pt x="362" y="685"/>
                    </a:lnTo>
                    <a:lnTo>
                      <a:pt x="362" y="687"/>
                    </a:lnTo>
                    <a:lnTo>
                      <a:pt x="361" y="687"/>
                    </a:lnTo>
                    <a:lnTo>
                      <a:pt x="361" y="689"/>
                    </a:lnTo>
                    <a:lnTo>
                      <a:pt x="362" y="689"/>
                    </a:lnTo>
                    <a:lnTo>
                      <a:pt x="364" y="689"/>
                    </a:lnTo>
                    <a:lnTo>
                      <a:pt x="364" y="691"/>
                    </a:lnTo>
                    <a:lnTo>
                      <a:pt x="364" y="689"/>
                    </a:lnTo>
                    <a:lnTo>
                      <a:pt x="366" y="689"/>
                    </a:lnTo>
                    <a:lnTo>
                      <a:pt x="368" y="689"/>
                    </a:lnTo>
                    <a:lnTo>
                      <a:pt x="370" y="689"/>
                    </a:lnTo>
                    <a:lnTo>
                      <a:pt x="370" y="687"/>
                    </a:lnTo>
                    <a:lnTo>
                      <a:pt x="372" y="687"/>
                    </a:lnTo>
                    <a:lnTo>
                      <a:pt x="372" y="689"/>
                    </a:lnTo>
                    <a:lnTo>
                      <a:pt x="372" y="691"/>
                    </a:lnTo>
                    <a:lnTo>
                      <a:pt x="370" y="691"/>
                    </a:lnTo>
                    <a:lnTo>
                      <a:pt x="370" y="693"/>
                    </a:lnTo>
                    <a:lnTo>
                      <a:pt x="368" y="693"/>
                    </a:lnTo>
                    <a:lnTo>
                      <a:pt x="366" y="693"/>
                    </a:lnTo>
                    <a:lnTo>
                      <a:pt x="366" y="695"/>
                    </a:lnTo>
                    <a:lnTo>
                      <a:pt x="368" y="695"/>
                    </a:lnTo>
                    <a:lnTo>
                      <a:pt x="368" y="697"/>
                    </a:lnTo>
                    <a:lnTo>
                      <a:pt x="370" y="697"/>
                    </a:lnTo>
                    <a:lnTo>
                      <a:pt x="372" y="697"/>
                    </a:lnTo>
                    <a:lnTo>
                      <a:pt x="374" y="697"/>
                    </a:lnTo>
                    <a:lnTo>
                      <a:pt x="376" y="697"/>
                    </a:lnTo>
                    <a:lnTo>
                      <a:pt x="376" y="698"/>
                    </a:lnTo>
                    <a:lnTo>
                      <a:pt x="376" y="700"/>
                    </a:lnTo>
                    <a:lnTo>
                      <a:pt x="374" y="700"/>
                    </a:lnTo>
                    <a:lnTo>
                      <a:pt x="372" y="700"/>
                    </a:lnTo>
                    <a:lnTo>
                      <a:pt x="370" y="700"/>
                    </a:lnTo>
                    <a:lnTo>
                      <a:pt x="368" y="700"/>
                    </a:lnTo>
                    <a:lnTo>
                      <a:pt x="368" y="698"/>
                    </a:lnTo>
                    <a:lnTo>
                      <a:pt x="366" y="698"/>
                    </a:lnTo>
                    <a:lnTo>
                      <a:pt x="366" y="700"/>
                    </a:lnTo>
                    <a:lnTo>
                      <a:pt x="366" y="702"/>
                    </a:lnTo>
                    <a:lnTo>
                      <a:pt x="368" y="702"/>
                    </a:lnTo>
                    <a:lnTo>
                      <a:pt x="368" y="704"/>
                    </a:lnTo>
                    <a:lnTo>
                      <a:pt x="370" y="704"/>
                    </a:lnTo>
                    <a:lnTo>
                      <a:pt x="372" y="704"/>
                    </a:lnTo>
                    <a:lnTo>
                      <a:pt x="372" y="706"/>
                    </a:lnTo>
                    <a:lnTo>
                      <a:pt x="374" y="706"/>
                    </a:lnTo>
                    <a:lnTo>
                      <a:pt x="374" y="708"/>
                    </a:lnTo>
                    <a:lnTo>
                      <a:pt x="374" y="710"/>
                    </a:lnTo>
                    <a:lnTo>
                      <a:pt x="374" y="712"/>
                    </a:lnTo>
                    <a:lnTo>
                      <a:pt x="374" y="714"/>
                    </a:lnTo>
                    <a:lnTo>
                      <a:pt x="376" y="714"/>
                    </a:lnTo>
                    <a:lnTo>
                      <a:pt x="378" y="714"/>
                    </a:lnTo>
                    <a:lnTo>
                      <a:pt x="378" y="716"/>
                    </a:lnTo>
                    <a:lnTo>
                      <a:pt x="378" y="718"/>
                    </a:lnTo>
                    <a:lnTo>
                      <a:pt x="378" y="720"/>
                    </a:lnTo>
                    <a:lnTo>
                      <a:pt x="380" y="720"/>
                    </a:lnTo>
                    <a:lnTo>
                      <a:pt x="380" y="718"/>
                    </a:lnTo>
                    <a:lnTo>
                      <a:pt x="382" y="718"/>
                    </a:lnTo>
                    <a:lnTo>
                      <a:pt x="382" y="720"/>
                    </a:lnTo>
                    <a:lnTo>
                      <a:pt x="382" y="722"/>
                    </a:lnTo>
                    <a:lnTo>
                      <a:pt x="380" y="722"/>
                    </a:lnTo>
                    <a:lnTo>
                      <a:pt x="380" y="723"/>
                    </a:lnTo>
                    <a:lnTo>
                      <a:pt x="380" y="722"/>
                    </a:lnTo>
                    <a:lnTo>
                      <a:pt x="380" y="723"/>
                    </a:lnTo>
                    <a:lnTo>
                      <a:pt x="378" y="723"/>
                    </a:lnTo>
                    <a:lnTo>
                      <a:pt x="376" y="723"/>
                    </a:lnTo>
                    <a:lnTo>
                      <a:pt x="376" y="725"/>
                    </a:lnTo>
                    <a:lnTo>
                      <a:pt x="374" y="725"/>
                    </a:lnTo>
                    <a:lnTo>
                      <a:pt x="374" y="727"/>
                    </a:lnTo>
                    <a:lnTo>
                      <a:pt x="376" y="727"/>
                    </a:lnTo>
                    <a:lnTo>
                      <a:pt x="376" y="729"/>
                    </a:lnTo>
                    <a:lnTo>
                      <a:pt x="378" y="729"/>
                    </a:lnTo>
                    <a:lnTo>
                      <a:pt x="380" y="729"/>
                    </a:lnTo>
                    <a:lnTo>
                      <a:pt x="382" y="729"/>
                    </a:lnTo>
                    <a:lnTo>
                      <a:pt x="382" y="731"/>
                    </a:lnTo>
                    <a:lnTo>
                      <a:pt x="382" y="733"/>
                    </a:lnTo>
                    <a:lnTo>
                      <a:pt x="382" y="735"/>
                    </a:lnTo>
                    <a:lnTo>
                      <a:pt x="380" y="735"/>
                    </a:lnTo>
                    <a:lnTo>
                      <a:pt x="380" y="737"/>
                    </a:lnTo>
                    <a:lnTo>
                      <a:pt x="378" y="737"/>
                    </a:lnTo>
                    <a:lnTo>
                      <a:pt x="380" y="737"/>
                    </a:lnTo>
                    <a:lnTo>
                      <a:pt x="380" y="739"/>
                    </a:lnTo>
                    <a:lnTo>
                      <a:pt x="382" y="739"/>
                    </a:lnTo>
                    <a:lnTo>
                      <a:pt x="382" y="737"/>
                    </a:lnTo>
                    <a:lnTo>
                      <a:pt x="384" y="737"/>
                    </a:lnTo>
                    <a:lnTo>
                      <a:pt x="384" y="735"/>
                    </a:lnTo>
                    <a:lnTo>
                      <a:pt x="386" y="735"/>
                    </a:lnTo>
                    <a:lnTo>
                      <a:pt x="386" y="733"/>
                    </a:lnTo>
                    <a:lnTo>
                      <a:pt x="386" y="731"/>
                    </a:lnTo>
                    <a:lnTo>
                      <a:pt x="384" y="731"/>
                    </a:lnTo>
                    <a:lnTo>
                      <a:pt x="386" y="731"/>
                    </a:lnTo>
                    <a:lnTo>
                      <a:pt x="386" y="729"/>
                    </a:lnTo>
                    <a:lnTo>
                      <a:pt x="387" y="729"/>
                    </a:lnTo>
                    <a:lnTo>
                      <a:pt x="387" y="731"/>
                    </a:lnTo>
                    <a:lnTo>
                      <a:pt x="389" y="731"/>
                    </a:lnTo>
                    <a:lnTo>
                      <a:pt x="389" y="733"/>
                    </a:lnTo>
                    <a:lnTo>
                      <a:pt x="389" y="735"/>
                    </a:lnTo>
                    <a:lnTo>
                      <a:pt x="391" y="735"/>
                    </a:lnTo>
                    <a:lnTo>
                      <a:pt x="389" y="735"/>
                    </a:lnTo>
                    <a:lnTo>
                      <a:pt x="391" y="735"/>
                    </a:lnTo>
                    <a:lnTo>
                      <a:pt x="391" y="737"/>
                    </a:lnTo>
                    <a:lnTo>
                      <a:pt x="391" y="739"/>
                    </a:lnTo>
                    <a:lnTo>
                      <a:pt x="393" y="739"/>
                    </a:lnTo>
                    <a:lnTo>
                      <a:pt x="393" y="741"/>
                    </a:lnTo>
                    <a:lnTo>
                      <a:pt x="395" y="741"/>
                    </a:lnTo>
                    <a:lnTo>
                      <a:pt x="397" y="741"/>
                    </a:lnTo>
                    <a:lnTo>
                      <a:pt x="397" y="739"/>
                    </a:lnTo>
                    <a:lnTo>
                      <a:pt x="399" y="739"/>
                    </a:lnTo>
                    <a:lnTo>
                      <a:pt x="401" y="739"/>
                    </a:lnTo>
                    <a:lnTo>
                      <a:pt x="401" y="741"/>
                    </a:lnTo>
                    <a:lnTo>
                      <a:pt x="403" y="741"/>
                    </a:lnTo>
                    <a:lnTo>
                      <a:pt x="403" y="743"/>
                    </a:lnTo>
                    <a:lnTo>
                      <a:pt x="401" y="743"/>
                    </a:lnTo>
                    <a:lnTo>
                      <a:pt x="401" y="745"/>
                    </a:lnTo>
                    <a:lnTo>
                      <a:pt x="399" y="745"/>
                    </a:lnTo>
                    <a:lnTo>
                      <a:pt x="397" y="745"/>
                    </a:lnTo>
                    <a:lnTo>
                      <a:pt x="397" y="743"/>
                    </a:lnTo>
                    <a:lnTo>
                      <a:pt x="395" y="743"/>
                    </a:lnTo>
                    <a:lnTo>
                      <a:pt x="393" y="743"/>
                    </a:lnTo>
                    <a:lnTo>
                      <a:pt x="391" y="743"/>
                    </a:lnTo>
                    <a:lnTo>
                      <a:pt x="389" y="743"/>
                    </a:lnTo>
                    <a:lnTo>
                      <a:pt x="387" y="743"/>
                    </a:lnTo>
                    <a:lnTo>
                      <a:pt x="386" y="743"/>
                    </a:lnTo>
                    <a:lnTo>
                      <a:pt x="386" y="745"/>
                    </a:lnTo>
                    <a:lnTo>
                      <a:pt x="384" y="745"/>
                    </a:lnTo>
                    <a:lnTo>
                      <a:pt x="384" y="746"/>
                    </a:lnTo>
                    <a:lnTo>
                      <a:pt x="382" y="746"/>
                    </a:lnTo>
                    <a:lnTo>
                      <a:pt x="382" y="748"/>
                    </a:lnTo>
                    <a:lnTo>
                      <a:pt x="380" y="748"/>
                    </a:lnTo>
                    <a:lnTo>
                      <a:pt x="380" y="750"/>
                    </a:lnTo>
                    <a:lnTo>
                      <a:pt x="378" y="750"/>
                    </a:lnTo>
                    <a:lnTo>
                      <a:pt x="378" y="752"/>
                    </a:lnTo>
                    <a:lnTo>
                      <a:pt x="376" y="752"/>
                    </a:lnTo>
                    <a:lnTo>
                      <a:pt x="374" y="752"/>
                    </a:lnTo>
                    <a:lnTo>
                      <a:pt x="372" y="750"/>
                    </a:lnTo>
                    <a:lnTo>
                      <a:pt x="370" y="750"/>
                    </a:lnTo>
                    <a:lnTo>
                      <a:pt x="370" y="748"/>
                    </a:lnTo>
                    <a:lnTo>
                      <a:pt x="368" y="748"/>
                    </a:lnTo>
                    <a:lnTo>
                      <a:pt x="368" y="746"/>
                    </a:lnTo>
                    <a:lnTo>
                      <a:pt x="366" y="746"/>
                    </a:lnTo>
                    <a:lnTo>
                      <a:pt x="364" y="748"/>
                    </a:lnTo>
                    <a:lnTo>
                      <a:pt x="362" y="748"/>
                    </a:lnTo>
                    <a:lnTo>
                      <a:pt x="362" y="750"/>
                    </a:lnTo>
                    <a:lnTo>
                      <a:pt x="361" y="748"/>
                    </a:lnTo>
                    <a:lnTo>
                      <a:pt x="359" y="748"/>
                    </a:lnTo>
                    <a:lnTo>
                      <a:pt x="359" y="746"/>
                    </a:lnTo>
                    <a:lnTo>
                      <a:pt x="359" y="745"/>
                    </a:lnTo>
                    <a:lnTo>
                      <a:pt x="359" y="743"/>
                    </a:lnTo>
                    <a:lnTo>
                      <a:pt x="357" y="741"/>
                    </a:lnTo>
                    <a:lnTo>
                      <a:pt x="357" y="739"/>
                    </a:lnTo>
                    <a:lnTo>
                      <a:pt x="357" y="737"/>
                    </a:lnTo>
                    <a:lnTo>
                      <a:pt x="357" y="735"/>
                    </a:lnTo>
                    <a:lnTo>
                      <a:pt x="355" y="735"/>
                    </a:lnTo>
                    <a:lnTo>
                      <a:pt x="353" y="735"/>
                    </a:lnTo>
                    <a:lnTo>
                      <a:pt x="351" y="735"/>
                    </a:lnTo>
                    <a:lnTo>
                      <a:pt x="349" y="735"/>
                    </a:lnTo>
                    <a:lnTo>
                      <a:pt x="347" y="735"/>
                    </a:lnTo>
                    <a:lnTo>
                      <a:pt x="345" y="735"/>
                    </a:lnTo>
                    <a:lnTo>
                      <a:pt x="343" y="737"/>
                    </a:lnTo>
                    <a:lnTo>
                      <a:pt x="341" y="737"/>
                    </a:lnTo>
                    <a:lnTo>
                      <a:pt x="339" y="737"/>
                    </a:lnTo>
                    <a:lnTo>
                      <a:pt x="338" y="737"/>
                    </a:lnTo>
                    <a:lnTo>
                      <a:pt x="336" y="737"/>
                    </a:lnTo>
                    <a:lnTo>
                      <a:pt x="334" y="737"/>
                    </a:lnTo>
                    <a:lnTo>
                      <a:pt x="332" y="737"/>
                    </a:lnTo>
                    <a:lnTo>
                      <a:pt x="330" y="737"/>
                    </a:lnTo>
                    <a:lnTo>
                      <a:pt x="328" y="737"/>
                    </a:lnTo>
                    <a:lnTo>
                      <a:pt x="328" y="735"/>
                    </a:lnTo>
                    <a:lnTo>
                      <a:pt x="326" y="735"/>
                    </a:lnTo>
                    <a:lnTo>
                      <a:pt x="324" y="735"/>
                    </a:lnTo>
                    <a:lnTo>
                      <a:pt x="324" y="733"/>
                    </a:lnTo>
                    <a:lnTo>
                      <a:pt x="322" y="733"/>
                    </a:lnTo>
                    <a:lnTo>
                      <a:pt x="322" y="731"/>
                    </a:lnTo>
                    <a:lnTo>
                      <a:pt x="320" y="729"/>
                    </a:lnTo>
                    <a:lnTo>
                      <a:pt x="320" y="727"/>
                    </a:lnTo>
                    <a:lnTo>
                      <a:pt x="320" y="725"/>
                    </a:lnTo>
                    <a:lnTo>
                      <a:pt x="320" y="723"/>
                    </a:lnTo>
                    <a:lnTo>
                      <a:pt x="320" y="722"/>
                    </a:lnTo>
                    <a:lnTo>
                      <a:pt x="320" y="720"/>
                    </a:lnTo>
                    <a:lnTo>
                      <a:pt x="320" y="718"/>
                    </a:lnTo>
                    <a:lnTo>
                      <a:pt x="320" y="716"/>
                    </a:lnTo>
                    <a:lnTo>
                      <a:pt x="320" y="714"/>
                    </a:lnTo>
                    <a:lnTo>
                      <a:pt x="322" y="714"/>
                    </a:lnTo>
                    <a:lnTo>
                      <a:pt x="322" y="712"/>
                    </a:lnTo>
                    <a:lnTo>
                      <a:pt x="322" y="710"/>
                    </a:lnTo>
                    <a:lnTo>
                      <a:pt x="322" y="708"/>
                    </a:lnTo>
                    <a:lnTo>
                      <a:pt x="322" y="706"/>
                    </a:lnTo>
                    <a:lnTo>
                      <a:pt x="324" y="706"/>
                    </a:lnTo>
                    <a:lnTo>
                      <a:pt x="324" y="704"/>
                    </a:lnTo>
                    <a:lnTo>
                      <a:pt x="322" y="704"/>
                    </a:lnTo>
                    <a:lnTo>
                      <a:pt x="322" y="702"/>
                    </a:lnTo>
                    <a:lnTo>
                      <a:pt x="322" y="700"/>
                    </a:lnTo>
                    <a:lnTo>
                      <a:pt x="320" y="700"/>
                    </a:lnTo>
                    <a:lnTo>
                      <a:pt x="320" y="698"/>
                    </a:lnTo>
                    <a:lnTo>
                      <a:pt x="320" y="697"/>
                    </a:lnTo>
                    <a:lnTo>
                      <a:pt x="318" y="695"/>
                    </a:lnTo>
                    <a:lnTo>
                      <a:pt x="316" y="693"/>
                    </a:lnTo>
                    <a:lnTo>
                      <a:pt x="314" y="695"/>
                    </a:lnTo>
                    <a:lnTo>
                      <a:pt x="313" y="695"/>
                    </a:lnTo>
                    <a:lnTo>
                      <a:pt x="313" y="697"/>
                    </a:lnTo>
                    <a:lnTo>
                      <a:pt x="311" y="697"/>
                    </a:lnTo>
                    <a:lnTo>
                      <a:pt x="311" y="698"/>
                    </a:lnTo>
                    <a:lnTo>
                      <a:pt x="311" y="700"/>
                    </a:lnTo>
                    <a:lnTo>
                      <a:pt x="311" y="702"/>
                    </a:lnTo>
                    <a:lnTo>
                      <a:pt x="311" y="704"/>
                    </a:lnTo>
                    <a:lnTo>
                      <a:pt x="311" y="706"/>
                    </a:lnTo>
                    <a:lnTo>
                      <a:pt x="311" y="708"/>
                    </a:lnTo>
                    <a:lnTo>
                      <a:pt x="311" y="710"/>
                    </a:lnTo>
                    <a:lnTo>
                      <a:pt x="313" y="710"/>
                    </a:lnTo>
                    <a:lnTo>
                      <a:pt x="313" y="712"/>
                    </a:lnTo>
                    <a:lnTo>
                      <a:pt x="314" y="712"/>
                    </a:lnTo>
                    <a:lnTo>
                      <a:pt x="314" y="714"/>
                    </a:lnTo>
                    <a:lnTo>
                      <a:pt x="314" y="716"/>
                    </a:lnTo>
                    <a:lnTo>
                      <a:pt x="316" y="716"/>
                    </a:lnTo>
                    <a:lnTo>
                      <a:pt x="316" y="718"/>
                    </a:lnTo>
                    <a:lnTo>
                      <a:pt x="316" y="720"/>
                    </a:lnTo>
                    <a:lnTo>
                      <a:pt x="314" y="722"/>
                    </a:lnTo>
                    <a:lnTo>
                      <a:pt x="314" y="723"/>
                    </a:lnTo>
                    <a:lnTo>
                      <a:pt x="313" y="723"/>
                    </a:lnTo>
                    <a:lnTo>
                      <a:pt x="313" y="725"/>
                    </a:lnTo>
                    <a:lnTo>
                      <a:pt x="311" y="725"/>
                    </a:lnTo>
                    <a:lnTo>
                      <a:pt x="309" y="727"/>
                    </a:lnTo>
                    <a:lnTo>
                      <a:pt x="307" y="727"/>
                    </a:lnTo>
                    <a:lnTo>
                      <a:pt x="305" y="727"/>
                    </a:lnTo>
                    <a:lnTo>
                      <a:pt x="305" y="725"/>
                    </a:lnTo>
                    <a:lnTo>
                      <a:pt x="303" y="725"/>
                    </a:lnTo>
                    <a:lnTo>
                      <a:pt x="303" y="723"/>
                    </a:lnTo>
                    <a:lnTo>
                      <a:pt x="303" y="722"/>
                    </a:lnTo>
                    <a:lnTo>
                      <a:pt x="303" y="720"/>
                    </a:lnTo>
                    <a:lnTo>
                      <a:pt x="303" y="718"/>
                    </a:lnTo>
                    <a:lnTo>
                      <a:pt x="301" y="718"/>
                    </a:lnTo>
                    <a:lnTo>
                      <a:pt x="301" y="716"/>
                    </a:lnTo>
                    <a:lnTo>
                      <a:pt x="299" y="714"/>
                    </a:lnTo>
                    <a:lnTo>
                      <a:pt x="297" y="712"/>
                    </a:lnTo>
                    <a:lnTo>
                      <a:pt x="297" y="710"/>
                    </a:lnTo>
                    <a:lnTo>
                      <a:pt x="295" y="710"/>
                    </a:lnTo>
                    <a:lnTo>
                      <a:pt x="295" y="708"/>
                    </a:lnTo>
                    <a:lnTo>
                      <a:pt x="295" y="706"/>
                    </a:lnTo>
                    <a:lnTo>
                      <a:pt x="295" y="704"/>
                    </a:lnTo>
                    <a:lnTo>
                      <a:pt x="293" y="704"/>
                    </a:lnTo>
                    <a:lnTo>
                      <a:pt x="295" y="704"/>
                    </a:lnTo>
                    <a:lnTo>
                      <a:pt x="295" y="702"/>
                    </a:lnTo>
                    <a:lnTo>
                      <a:pt x="295" y="700"/>
                    </a:lnTo>
                    <a:lnTo>
                      <a:pt x="297" y="700"/>
                    </a:lnTo>
                    <a:lnTo>
                      <a:pt x="299" y="700"/>
                    </a:lnTo>
                    <a:lnTo>
                      <a:pt x="299" y="698"/>
                    </a:lnTo>
                    <a:lnTo>
                      <a:pt x="301" y="698"/>
                    </a:lnTo>
                    <a:lnTo>
                      <a:pt x="301" y="697"/>
                    </a:lnTo>
                    <a:lnTo>
                      <a:pt x="303" y="697"/>
                    </a:lnTo>
                    <a:lnTo>
                      <a:pt x="301" y="695"/>
                    </a:lnTo>
                    <a:lnTo>
                      <a:pt x="301" y="693"/>
                    </a:lnTo>
                    <a:lnTo>
                      <a:pt x="301" y="691"/>
                    </a:lnTo>
                    <a:lnTo>
                      <a:pt x="301" y="689"/>
                    </a:lnTo>
                    <a:lnTo>
                      <a:pt x="303" y="687"/>
                    </a:lnTo>
                    <a:lnTo>
                      <a:pt x="303" y="685"/>
                    </a:lnTo>
                    <a:lnTo>
                      <a:pt x="303" y="683"/>
                    </a:lnTo>
                    <a:lnTo>
                      <a:pt x="303" y="681"/>
                    </a:lnTo>
                    <a:lnTo>
                      <a:pt x="303" y="679"/>
                    </a:lnTo>
                    <a:lnTo>
                      <a:pt x="301" y="679"/>
                    </a:lnTo>
                    <a:lnTo>
                      <a:pt x="299" y="677"/>
                    </a:lnTo>
                    <a:lnTo>
                      <a:pt x="297" y="677"/>
                    </a:lnTo>
                    <a:lnTo>
                      <a:pt x="297" y="679"/>
                    </a:lnTo>
                    <a:lnTo>
                      <a:pt x="295" y="679"/>
                    </a:lnTo>
                    <a:lnTo>
                      <a:pt x="295" y="681"/>
                    </a:lnTo>
                    <a:lnTo>
                      <a:pt x="293" y="681"/>
                    </a:lnTo>
                    <a:lnTo>
                      <a:pt x="293" y="683"/>
                    </a:lnTo>
                    <a:lnTo>
                      <a:pt x="293" y="685"/>
                    </a:lnTo>
                    <a:lnTo>
                      <a:pt x="293" y="687"/>
                    </a:lnTo>
                    <a:lnTo>
                      <a:pt x="293" y="689"/>
                    </a:lnTo>
                    <a:lnTo>
                      <a:pt x="293" y="691"/>
                    </a:lnTo>
                    <a:lnTo>
                      <a:pt x="291" y="691"/>
                    </a:lnTo>
                    <a:lnTo>
                      <a:pt x="291" y="693"/>
                    </a:lnTo>
                    <a:lnTo>
                      <a:pt x="290" y="693"/>
                    </a:lnTo>
                    <a:lnTo>
                      <a:pt x="288" y="693"/>
                    </a:lnTo>
                    <a:lnTo>
                      <a:pt x="286" y="693"/>
                    </a:lnTo>
                    <a:lnTo>
                      <a:pt x="286" y="691"/>
                    </a:lnTo>
                    <a:lnTo>
                      <a:pt x="284" y="689"/>
                    </a:lnTo>
                    <a:lnTo>
                      <a:pt x="282" y="689"/>
                    </a:lnTo>
                    <a:lnTo>
                      <a:pt x="282" y="687"/>
                    </a:lnTo>
                    <a:lnTo>
                      <a:pt x="280" y="687"/>
                    </a:lnTo>
                    <a:lnTo>
                      <a:pt x="278" y="687"/>
                    </a:lnTo>
                    <a:lnTo>
                      <a:pt x="276" y="687"/>
                    </a:lnTo>
                    <a:lnTo>
                      <a:pt x="274" y="689"/>
                    </a:lnTo>
                    <a:lnTo>
                      <a:pt x="272" y="691"/>
                    </a:lnTo>
                    <a:lnTo>
                      <a:pt x="270" y="691"/>
                    </a:lnTo>
                    <a:lnTo>
                      <a:pt x="270" y="693"/>
                    </a:lnTo>
                    <a:lnTo>
                      <a:pt x="268" y="693"/>
                    </a:lnTo>
                    <a:lnTo>
                      <a:pt x="268" y="695"/>
                    </a:lnTo>
                    <a:lnTo>
                      <a:pt x="266" y="695"/>
                    </a:lnTo>
                    <a:lnTo>
                      <a:pt x="265" y="697"/>
                    </a:lnTo>
                    <a:lnTo>
                      <a:pt x="263" y="697"/>
                    </a:lnTo>
                    <a:lnTo>
                      <a:pt x="263" y="698"/>
                    </a:lnTo>
                    <a:lnTo>
                      <a:pt x="261" y="698"/>
                    </a:lnTo>
                    <a:lnTo>
                      <a:pt x="259" y="698"/>
                    </a:lnTo>
                    <a:lnTo>
                      <a:pt x="257" y="698"/>
                    </a:lnTo>
                    <a:lnTo>
                      <a:pt x="257" y="697"/>
                    </a:lnTo>
                    <a:lnTo>
                      <a:pt x="255" y="697"/>
                    </a:lnTo>
                    <a:lnTo>
                      <a:pt x="253" y="695"/>
                    </a:lnTo>
                    <a:lnTo>
                      <a:pt x="251" y="695"/>
                    </a:lnTo>
                    <a:lnTo>
                      <a:pt x="251" y="693"/>
                    </a:lnTo>
                    <a:lnTo>
                      <a:pt x="249" y="693"/>
                    </a:lnTo>
                    <a:lnTo>
                      <a:pt x="249" y="691"/>
                    </a:lnTo>
                    <a:lnTo>
                      <a:pt x="247" y="691"/>
                    </a:lnTo>
                    <a:lnTo>
                      <a:pt x="245" y="691"/>
                    </a:lnTo>
                    <a:lnTo>
                      <a:pt x="243" y="691"/>
                    </a:lnTo>
                    <a:lnTo>
                      <a:pt x="242" y="691"/>
                    </a:lnTo>
                    <a:lnTo>
                      <a:pt x="242" y="689"/>
                    </a:lnTo>
                    <a:lnTo>
                      <a:pt x="242" y="687"/>
                    </a:lnTo>
                    <a:lnTo>
                      <a:pt x="242" y="685"/>
                    </a:lnTo>
                    <a:lnTo>
                      <a:pt x="243" y="685"/>
                    </a:lnTo>
                    <a:lnTo>
                      <a:pt x="243" y="683"/>
                    </a:lnTo>
                    <a:lnTo>
                      <a:pt x="245" y="683"/>
                    </a:lnTo>
                    <a:lnTo>
                      <a:pt x="245" y="681"/>
                    </a:lnTo>
                    <a:lnTo>
                      <a:pt x="243" y="681"/>
                    </a:lnTo>
                    <a:lnTo>
                      <a:pt x="243" y="679"/>
                    </a:lnTo>
                    <a:lnTo>
                      <a:pt x="243" y="677"/>
                    </a:lnTo>
                    <a:lnTo>
                      <a:pt x="242" y="677"/>
                    </a:lnTo>
                    <a:lnTo>
                      <a:pt x="242" y="675"/>
                    </a:lnTo>
                    <a:lnTo>
                      <a:pt x="242" y="674"/>
                    </a:lnTo>
                    <a:lnTo>
                      <a:pt x="240" y="674"/>
                    </a:lnTo>
                    <a:lnTo>
                      <a:pt x="240" y="672"/>
                    </a:lnTo>
                    <a:lnTo>
                      <a:pt x="240" y="670"/>
                    </a:lnTo>
                    <a:lnTo>
                      <a:pt x="238" y="670"/>
                    </a:lnTo>
                    <a:lnTo>
                      <a:pt x="238" y="668"/>
                    </a:lnTo>
                    <a:lnTo>
                      <a:pt x="238" y="666"/>
                    </a:lnTo>
                    <a:lnTo>
                      <a:pt x="236" y="664"/>
                    </a:lnTo>
                    <a:lnTo>
                      <a:pt x="236" y="660"/>
                    </a:lnTo>
                    <a:lnTo>
                      <a:pt x="234" y="660"/>
                    </a:lnTo>
                    <a:lnTo>
                      <a:pt x="234" y="658"/>
                    </a:lnTo>
                    <a:lnTo>
                      <a:pt x="232" y="658"/>
                    </a:lnTo>
                    <a:lnTo>
                      <a:pt x="232" y="656"/>
                    </a:lnTo>
                    <a:lnTo>
                      <a:pt x="230" y="656"/>
                    </a:lnTo>
                    <a:lnTo>
                      <a:pt x="230" y="654"/>
                    </a:lnTo>
                    <a:lnTo>
                      <a:pt x="228" y="654"/>
                    </a:lnTo>
                    <a:lnTo>
                      <a:pt x="226" y="654"/>
                    </a:lnTo>
                    <a:lnTo>
                      <a:pt x="224" y="654"/>
                    </a:lnTo>
                    <a:lnTo>
                      <a:pt x="224" y="656"/>
                    </a:lnTo>
                    <a:lnTo>
                      <a:pt x="222" y="656"/>
                    </a:lnTo>
                    <a:lnTo>
                      <a:pt x="220" y="658"/>
                    </a:lnTo>
                    <a:lnTo>
                      <a:pt x="218" y="660"/>
                    </a:lnTo>
                    <a:lnTo>
                      <a:pt x="218" y="662"/>
                    </a:lnTo>
                    <a:lnTo>
                      <a:pt x="217" y="662"/>
                    </a:lnTo>
                    <a:lnTo>
                      <a:pt x="217" y="664"/>
                    </a:lnTo>
                    <a:lnTo>
                      <a:pt x="217" y="666"/>
                    </a:lnTo>
                    <a:lnTo>
                      <a:pt x="217" y="668"/>
                    </a:lnTo>
                    <a:lnTo>
                      <a:pt x="215" y="668"/>
                    </a:lnTo>
                    <a:lnTo>
                      <a:pt x="215" y="670"/>
                    </a:lnTo>
                    <a:lnTo>
                      <a:pt x="213" y="670"/>
                    </a:lnTo>
                    <a:lnTo>
                      <a:pt x="211" y="670"/>
                    </a:lnTo>
                    <a:lnTo>
                      <a:pt x="211" y="668"/>
                    </a:lnTo>
                    <a:lnTo>
                      <a:pt x="211" y="666"/>
                    </a:lnTo>
                    <a:lnTo>
                      <a:pt x="209" y="666"/>
                    </a:lnTo>
                    <a:lnTo>
                      <a:pt x="211" y="664"/>
                    </a:lnTo>
                    <a:lnTo>
                      <a:pt x="211" y="662"/>
                    </a:lnTo>
                    <a:lnTo>
                      <a:pt x="211" y="660"/>
                    </a:lnTo>
                    <a:lnTo>
                      <a:pt x="209" y="660"/>
                    </a:lnTo>
                    <a:lnTo>
                      <a:pt x="209" y="658"/>
                    </a:lnTo>
                    <a:lnTo>
                      <a:pt x="209" y="656"/>
                    </a:lnTo>
                    <a:lnTo>
                      <a:pt x="207" y="656"/>
                    </a:lnTo>
                    <a:lnTo>
                      <a:pt x="207" y="654"/>
                    </a:lnTo>
                    <a:lnTo>
                      <a:pt x="205" y="654"/>
                    </a:lnTo>
                    <a:lnTo>
                      <a:pt x="203" y="654"/>
                    </a:lnTo>
                    <a:lnTo>
                      <a:pt x="201" y="654"/>
                    </a:lnTo>
                    <a:lnTo>
                      <a:pt x="199" y="654"/>
                    </a:lnTo>
                    <a:lnTo>
                      <a:pt x="197" y="654"/>
                    </a:lnTo>
                    <a:lnTo>
                      <a:pt x="197" y="652"/>
                    </a:lnTo>
                    <a:lnTo>
                      <a:pt x="195" y="652"/>
                    </a:lnTo>
                    <a:lnTo>
                      <a:pt x="193" y="652"/>
                    </a:lnTo>
                    <a:lnTo>
                      <a:pt x="192" y="652"/>
                    </a:lnTo>
                    <a:lnTo>
                      <a:pt x="192" y="650"/>
                    </a:lnTo>
                    <a:lnTo>
                      <a:pt x="190" y="650"/>
                    </a:lnTo>
                    <a:lnTo>
                      <a:pt x="188" y="650"/>
                    </a:lnTo>
                    <a:lnTo>
                      <a:pt x="188" y="649"/>
                    </a:lnTo>
                    <a:lnTo>
                      <a:pt x="186" y="649"/>
                    </a:lnTo>
                    <a:lnTo>
                      <a:pt x="186" y="647"/>
                    </a:lnTo>
                    <a:lnTo>
                      <a:pt x="184" y="647"/>
                    </a:lnTo>
                    <a:lnTo>
                      <a:pt x="184" y="645"/>
                    </a:lnTo>
                    <a:lnTo>
                      <a:pt x="184" y="643"/>
                    </a:lnTo>
                    <a:lnTo>
                      <a:pt x="186" y="643"/>
                    </a:lnTo>
                    <a:lnTo>
                      <a:pt x="188" y="641"/>
                    </a:lnTo>
                    <a:lnTo>
                      <a:pt x="190" y="641"/>
                    </a:lnTo>
                    <a:lnTo>
                      <a:pt x="192" y="641"/>
                    </a:lnTo>
                    <a:lnTo>
                      <a:pt x="192" y="639"/>
                    </a:lnTo>
                    <a:lnTo>
                      <a:pt x="193" y="639"/>
                    </a:lnTo>
                    <a:lnTo>
                      <a:pt x="193" y="637"/>
                    </a:lnTo>
                    <a:lnTo>
                      <a:pt x="195" y="635"/>
                    </a:lnTo>
                    <a:lnTo>
                      <a:pt x="193" y="635"/>
                    </a:lnTo>
                    <a:lnTo>
                      <a:pt x="193" y="633"/>
                    </a:lnTo>
                    <a:lnTo>
                      <a:pt x="192" y="631"/>
                    </a:lnTo>
                    <a:lnTo>
                      <a:pt x="190" y="631"/>
                    </a:lnTo>
                    <a:lnTo>
                      <a:pt x="188" y="629"/>
                    </a:lnTo>
                    <a:lnTo>
                      <a:pt x="186" y="629"/>
                    </a:lnTo>
                    <a:lnTo>
                      <a:pt x="184" y="629"/>
                    </a:lnTo>
                    <a:lnTo>
                      <a:pt x="184" y="627"/>
                    </a:lnTo>
                    <a:lnTo>
                      <a:pt x="184" y="626"/>
                    </a:lnTo>
                    <a:lnTo>
                      <a:pt x="184" y="624"/>
                    </a:lnTo>
                    <a:lnTo>
                      <a:pt x="186" y="624"/>
                    </a:lnTo>
                    <a:lnTo>
                      <a:pt x="188" y="622"/>
                    </a:lnTo>
                    <a:lnTo>
                      <a:pt x="190" y="622"/>
                    </a:lnTo>
                    <a:lnTo>
                      <a:pt x="192" y="622"/>
                    </a:lnTo>
                    <a:lnTo>
                      <a:pt x="192" y="620"/>
                    </a:lnTo>
                    <a:lnTo>
                      <a:pt x="193" y="620"/>
                    </a:lnTo>
                    <a:lnTo>
                      <a:pt x="193" y="618"/>
                    </a:lnTo>
                    <a:lnTo>
                      <a:pt x="193" y="616"/>
                    </a:lnTo>
                    <a:lnTo>
                      <a:pt x="193" y="614"/>
                    </a:lnTo>
                    <a:lnTo>
                      <a:pt x="192" y="614"/>
                    </a:lnTo>
                    <a:lnTo>
                      <a:pt x="190" y="612"/>
                    </a:lnTo>
                    <a:lnTo>
                      <a:pt x="188" y="610"/>
                    </a:lnTo>
                    <a:lnTo>
                      <a:pt x="186" y="608"/>
                    </a:lnTo>
                    <a:lnTo>
                      <a:pt x="184" y="608"/>
                    </a:lnTo>
                    <a:lnTo>
                      <a:pt x="184" y="606"/>
                    </a:lnTo>
                    <a:lnTo>
                      <a:pt x="182" y="604"/>
                    </a:lnTo>
                    <a:lnTo>
                      <a:pt x="182" y="602"/>
                    </a:lnTo>
                    <a:lnTo>
                      <a:pt x="180" y="602"/>
                    </a:lnTo>
                    <a:lnTo>
                      <a:pt x="180" y="601"/>
                    </a:lnTo>
                    <a:lnTo>
                      <a:pt x="180" y="599"/>
                    </a:lnTo>
                    <a:lnTo>
                      <a:pt x="178" y="599"/>
                    </a:lnTo>
                    <a:lnTo>
                      <a:pt x="178" y="597"/>
                    </a:lnTo>
                    <a:lnTo>
                      <a:pt x="178" y="595"/>
                    </a:lnTo>
                    <a:lnTo>
                      <a:pt x="176" y="595"/>
                    </a:lnTo>
                    <a:lnTo>
                      <a:pt x="176" y="593"/>
                    </a:lnTo>
                    <a:lnTo>
                      <a:pt x="174" y="593"/>
                    </a:lnTo>
                    <a:lnTo>
                      <a:pt x="174" y="591"/>
                    </a:lnTo>
                    <a:lnTo>
                      <a:pt x="172" y="591"/>
                    </a:lnTo>
                    <a:lnTo>
                      <a:pt x="172" y="589"/>
                    </a:lnTo>
                    <a:lnTo>
                      <a:pt x="170" y="589"/>
                    </a:lnTo>
                    <a:lnTo>
                      <a:pt x="169" y="589"/>
                    </a:lnTo>
                    <a:lnTo>
                      <a:pt x="167" y="589"/>
                    </a:lnTo>
                    <a:lnTo>
                      <a:pt x="167" y="587"/>
                    </a:lnTo>
                    <a:lnTo>
                      <a:pt x="165" y="587"/>
                    </a:lnTo>
                    <a:lnTo>
                      <a:pt x="163" y="587"/>
                    </a:lnTo>
                    <a:lnTo>
                      <a:pt x="161" y="585"/>
                    </a:lnTo>
                    <a:lnTo>
                      <a:pt x="159" y="585"/>
                    </a:lnTo>
                    <a:lnTo>
                      <a:pt x="159" y="583"/>
                    </a:lnTo>
                    <a:lnTo>
                      <a:pt x="159" y="581"/>
                    </a:lnTo>
                    <a:lnTo>
                      <a:pt x="157" y="579"/>
                    </a:lnTo>
                    <a:lnTo>
                      <a:pt x="157" y="578"/>
                    </a:lnTo>
                    <a:lnTo>
                      <a:pt x="155" y="578"/>
                    </a:lnTo>
                    <a:lnTo>
                      <a:pt x="153" y="576"/>
                    </a:lnTo>
                    <a:lnTo>
                      <a:pt x="151" y="576"/>
                    </a:lnTo>
                    <a:lnTo>
                      <a:pt x="151" y="574"/>
                    </a:lnTo>
                    <a:lnTo>
                      <a:pt x="149" y="574"/>
                    </a:lnTo>
                    <a:lnTo>
                      <a:pt x="149" y="572"/>
                    </a:lnTo>
                    <a:lnTo>
                      <a:pt x="147" y="570"/>
                    </a:lnTo>
                    <a:lnTo>
                      <a:pt x="149" y="570"/>
                    </a:lnTo>
                    <a:lnTo>
                      <a:pt x="149" y="568"/>
                    </a:lnTo>
                    <a:lnTo>
                      <a:pt x="151" y="568"/>
                    </a:lnTo>
                    <a:lnTo>
                      <a:pt x="151" y="566"/>
                    </a:lnTo>
                    <a:lnTo>
                      <a:pt x="153" y="566"/>
                    </a:lnTo>
                    <a:lnTo>
                      <a:pt x="153" y="564"/>
                    </a:lnTo>
                    <a:lnTo>
                      <a:pt x="155" y="564"/>
                    </a:lnTo>
                    <a:lnTo>
                      <a:pt x="155" y="562"/>
                    </a:lnTo>
                    <a:lnTo>
                      <a:pt x="155" y="560"/>
                    </a:lnTo>
                    <a:lnTo>
                      <a:pt x="153" y="560"/>
                    </a:lnTo>
                    <a:lnTo>
                      <a:pt x="153" y="558"/>
                    </a:lnTo>
                    <a:lnTo>
                      <a:pt x="151" y="558"/>
                    </a:lnTo>
                    <a:lnTo>
                      <a:pt x="151" y="556"/>
                    </a:lnTo>
                    <a:lnTo>
                      <a:pt x="149" y="556"/>
                    </a:lnTo>
                    <a:lnTo>
                      <a:pt x="147" y="554"/>
                    </a:lnTo>
                    <a:lnTo>
                      <a:pt x="145" y="554"/>
                    </a:lnTo>
                    <a:lnTo>
                      <a:pt x="144" y="556"/>
                    </a:lnTo>
                    <a:lnTo>
                      <a:pt x="144" y="558"/>
                    </a:lnTo>
                    <a:lnTo>
                      <a:pt x="145" y="560"/>
                    </a:lnTo>
                    <a:lnTo>
                      <a:pt x="145" y="562"/>
                    </a:lnTo>
                    <a:lnTo>
                      <a:pt x="145" y="564"/>
                    </a:lnTo>
                    <a:lnTo>
                      <a:pt x="145" y="566"/>
                    </a:lnTo>
                    <a:lnTo>
                      <a:pt x="144" y="566"/>
                    </a:lnTo>
                    <a:lnTo>
                      <a:pt x="142" y="566"/>
                    </a:lnTo>
                    <a:lnTo>
                      <a:pt x="140" y="566"/>
                    </a:lnTo>
                    <a:lnTo>
                      <a:pt x="138" y="564"/>
                    </a:lnTo>
                    <a:lnTo>
                      <a:pt x="136" y="564"/>
                    </a:lnTo>
                    <a:lnTo>
                      <a:pt x="136" y="562"/>
                    </a:lnTo>
                    <a:lnTo>
                      <a:pt x="134" y="562"/>
                    </a:lnTo>
                    <a:lnTo>
                      <a:pt x="132" y="560"/>
                    </a:lnTo>
                    <a:lnTo>
                      <a:pt x="130" y="560"/>
                    </a:lnTo>
                    <a:lnTo>
                      <a:pt x="130" y="558"/>
                    </a:lnTo>
                    <a:lnTo>
                      <a:pt x="128" y="558"/>
                    </a:lnTo>
                    <a:lnTo>
                      <a:pt x="128" y="556"/>
                    </a:lnTo>
                    <a:lnTo>
                      <a:pt x="126" y="556"/>
                    </a:lnTo>
                    <a:lnTo>
                      <a:pt x="124" y="556"/>
                    </a:lnTo>
                    <a:lnTo>
                      <a:pt x="122" y="556"/>
                    </a:lnTo>
                    <a:lnTo>
                      <a:pt x="121" y="556"/>
                    </a:lnTo>
                    <a:lnTo>
                      <a:pt x="119" y="558"/>
                    </a:lnTo>
                    <a:lnTo>
                      <a:pt x="119" y="560"/>
                    </a:lnTo>
                    <a:lnTo>
                      <a:pt x="119" y="562"/>
                    </a:lnTo>
                    <a:lnTo>
                      <a:pt x="119" y="564"/>
                    </a:lnTo>
                    <a:lnTo>
                      <a:pt x="117" y="564"/>
                    </a:lnTo>
                    <a:lnTo>
                      <a:pt x="115" y="564"/>
                    </a:lnTo>
                    <a:lnTo>
                      <a:pt x="115" y="562"/>
                    </a:lnTo>
                    <a:lnTo>
                      <a:pt x="115" y="560"/>
                    </a:lnTo>
                    <a:lnTo>
                      <a:pt x="113" y="560"/>
                    </a:lnTo>
                    <a:lnTo>
                      <a:pt x="113" y="558"/>
                    </a:lnTo>
                    <a:lnTo>
                      <a:pt x="111" y="558"/>
                    </a:lnTo>
                    <a:lnTo>
                      <a:pt x="111" y="560"/>
                    </a:lnTo>
                    <a:lnTo>
                      <a:pt x="109" y="560"/>
                    </a:lnTo>
                    <a:lnTo>
                      <a:pt x="107" y="560"/>
                    </a:lnTo>
                    <a:lnTo>
                      <a:pt x="105" y="558"/>
                    </a:lnTo>
                    <a:lnTo>
                      <a:pt x="105" y="556"/>
                    </a:lnTo>
                    <a:lnTo>
                      <a:pt x="105" y="554"/>
                    </a:lnTo>
                    <a:lnTo>
                      <a:pt x="105" y="553"/>
                    </a:lnTo>
                    <a:lnTo>
                      <a:pt x="105" y="551"/>
                    </a:lnTo>
                    <a:lnTo>
                      <a:pt x="103" y="551"/>
                    </a:lnTo>
                    <a:lnTo>
                      <a:pt x="101" y="549"/>
                    </a:lnTo>
                    <a:lnTo>
                      <a:pt x="99" y="549"/>
                    </a:lnTo>
                    <a:lnTo>
                      <a:pt x="97" y="549"/>
                    </a:lnTo>
                    <a:lnTo>
                      <a:pt x="96" y="549"/>
                    </a:lnTo>
                    <a:lnTo>
                      <a:pt x="96" y="547"/>
                    </a:lnTo>
                    <a:lnTo>
                      <a:pt x="94" y="547"/>
                    </a:lnTo>
                    <a:lnTo>
                      <a:pt x="92" y="547"/>
                    </a:lnTo>
                    <a:lnTo>
                      <a:pt x="92" y="549"/>
                    </a:lnTo>
                    <a:lnTo>
                      <a:pt x="90" y="549"/>
                    </a:lnTo>
                    <a:lnTo>
                      <a:pt x="90" y="551"/>
                    </a:lnTo>
                    <a:lnTo>
                      <a:pt x="90" y="553"/>
                    </a:lnTo>
                    <a:lnTo>
                      <a:pt x="88" y="554"/>
                    </a:lnTo>
                    <a:lnTo>
                      <a:pt x="86" y="554"/>
                    </a:lnTo>
                    <a:lnTo>
                      <a:pt x="84" y="554"/>
                    </a:lnTo>
                    <a:lnTo>
                      <a:pt x="82" y="554"/>
                    </a:lnTo>
                    <a:lnTo>
                      <a:pt x="82" y="553"/>
                    </a:lnTo>
                    <a:lnTo>
                      <a:pt x="84" y="551"/>
                    </a:lnTo>
                    <a:lnTo>
                      <a:pt x="84" y="549"/>
                    </a:lnTo>
                    <a:lnTo>
                      <a:pt x="86" y="549"/>
                    </a:lnTo>
                    <a:lnTo>
                      <a:pt x="86" y="547"/>
                    </a:lnTo>
                    <a:lnTo>
                      <a:pt x="88" y="547"/>
                    </a:lnTo>
                    <a:lnTo>
                      <a:pt x="88" y="545"/>
                    </a:lnTo>
                    <a:lnTo>
                      <a:pt x="88" y="543"/>
                    </a:lnTo>
                    <a:lnTo>
                      <a:pt x="90" y="543"/>
                    </a:lnTo>
                    <a:lnTo>
                      <a:pt x="90" y="541"/>
                    </a:lnTo>
                    <a:lnTo>
                      <a:pt x="90" y="539"/>
                    </a:lnTo>
                    <a:lnTo>
                      <a:pt x="92" y="539"/>
                    </a:lnTo>
                    <a:lnTo>
                      <a:pt x="92" y="537"/>
                    </a:lnTo>
                    <a:lnTo>
                      <a:pt x="92" y="535"/>
                    </a:lnTo>
                    <a:lnTo>
                      <a:pt x="92" y="533"/>
                    </a:lnTo>
                    <a:lnTo>
                      <a:pt x="92" y="531"/>
                    </a:lnTo>
                    <a:lnTo>
                      <a:pt x="94" y="531"/>
                    </a:lnTo>
                    <a:lnTo>
                      <a:pt x="94" y="530"/>
                    </a:lnTo>
                    <a:lnTo>
                      <a:pt x="94" y="528"/>
                    </a:lnTo>
                    <a:lnTo>
                      <a:pt x="96" y="526"/>
                    </a:lnTo>
                    <a:lnTo>
                      <a:pt x="96" y="524"/>
                    </a:lnTo>
                    <a:lnTo>
                      <a:pt x="97" y="522"/>
                    </a:lnTo>
                    <a:lnTo>
                      <a:pt x="96" y="520"/>
                    </a:lnTo>
                    <a:lnTo>
                      <a:pt x="94" y="520"/>
                    </a:lnTo>
                    <a:lnTo>
                      <a:pt x="92" y="520"/>
                    </a:lnTo>
                    <a:lnTo>
                      <a:pt x="92" y="522"/>
                    </a:lnTo>
                    <a:lnTo>
                      <a:pt x="90" y="522"/>
                    </a:lnTo>
                    <a:lnTo>
                      <a:pt x="88" y="522"/>
                    </a:lnTo>
                    <a:lnTo>
                      <a:pt x="86" y="522"/>
                    </a:lnTo>
                    <a:lnTo>
                      <a:pt x="86" y="520"/>
                    </a:lnTo>
                    <a:lnTo>
                      <a:pt x="84" y="520"/>
                    </a:lnTo>
                    <a:lnTo>
                      <a:pt x="84" y="522"/>
                    </a:lnTo>
                    <a:lnTo>
                      <a:pt x="84" y="524"/>
                    </a:lnTo>
                    <a:lnTo>
                      <a:pt x="84" y="526"/>
                    </a:lnTo>
                    <a:lnTo>
                      <a:pt x="82" y="528"/>
                    </a:lnTo>
                    <a:lnTo>
                      <a:pt x="80" y="530"/>
                    </a:lnTo>
                    <a:lnTo>
                      <a:pt x="78" y="530"/>
                    </a:lnTo>
                    <a:lnTo>
                      <a:pt x="76" y="530"/>
                    </a:lnTo>
                    <a:lnTo>
                      <a:pt x="76" y="531"/>
                    </a:lnTo>
                    <a:lnTo>
                      <a:pt x="74" y="531"/>
                    </a:lnTo>
                    <a:lnTo>
                      <a:pt x="74" y="533"/>
                    </a:lnTo>
                    <a:lnTo>
                      <a:pt x="74" y="535"/>
                    </a:lnTo>
                    <a:lnTo>
                      <a:pt x="76" y="535"/>
                    </a:lnTo>
                    <a:lnTo>
                      <a:pt x="76" y="537"/>
                    </a:lnTo>
                    <a:lnTo>
                      <a:pt x="74" y="537"/>
                    </a:lnTo>
                    <a:lnTo>
                      <a:pt x="74" y="539"/>
                    </a:lnTo>
                    <a:lnTo>
                      <a:pt x="74" y="541"/>
                    </a:lnTo>
                    <a:lnTo>
                      <a:pt x="74" y="543"/>
                    </a:lnTo>
                    <a:lnTo>
                      <a:pt x="73" y="543"/>
                    </a:lnTo>
                    <a:lnTo>
                      <a:pt x="71" y="543"/>
                    </a:lnTo>
                    <a:lnTo>
                      <a:pt x="69" y="543"/>
                    </a:lnTo>
                    <a:lnTo>
                      <a:pt x="69" y="541"/>
                    </a:lnTo>
                    <a:lnTo>
                      <a:pt x="67" y="541"/>
                    </a:lnTo>
                    <a:lnTo>
                      <a:pt x="67" y="539"/>
                    </a:lnTo>
                    <a:lnTo>
                      <a:pt x="65" y="539"/>
                    </a:lnTo>
                    <a:lnTo>
                      <a:pt x="65" y="537"/>
                    </a:lnTo>
                    <a:lnTo>
                      <a:pt x="65" y="535"/>
                    </a:lnTo>
                    <a:lnTo>
                      <a:pt x="65" y="533"/>
                    </a:lnTo>
                    <a:lnTo>
                      <a:pt x="65" y="531"/>
                    </a:lnTo>
                    <a:lnTo>
                      <a:pt x="65" y="530"/>
                    </a:lnTo>
                    <a:lnTo>
                      <a:pt x="65" y="528"/>
                    </a:lnTo>
                    <a:lnTo>
                      <a:pt x="65" y="526"/>
                    </a:lnTo>
                    <a:lnTo>
                      <a:pt x="65" y="524"/>
                    </a:lnTo>
                    <a:lnTo>
                      <a:pt x="65" y="522"/>
                    </a:lnTo>
                    <a:lnTo>
                      <a:pt x="63" y="520"/>
                    </a:lnTo>
                    <a:lnTo>
                      <a:pt x="63" y="518"/>
                    </a:lnTo>
                    <a:lnTo>
                      <a:pt x="63" y="516"/>
                    </a:lnTo>
                    <a:lnTo>
                      <a:pt x="65" y="516"/>
                    </a:lnTo>
                    <a:lnTo>
                      <a:pt x="67" y="514"/>
                    </a:lnTo>
                    <a:lnTo>
                      <a:pt x="69" y="514"/>
                    </a:lnTo>
                    <a:lnTo>
                      <a:pt x="71" y="514"/>
                    </a:lnTo>
                    <a:lnTo>
                      <a:pt x="71" y="512"/>
                    </a:lnTo>
                    <a:lnTo>
                      <a:pt x="73" y="512"/>
                    </a:lnTo>
                    <a:lnTo>
                      <a:pt x="73" y="510"/>
                    </a:lnTo>
                    <a:lnTo>
                      <a:pt x="73" y="508"/>
                    </a:lnTo>
                    <a:lnTo>
                      <a:pt x="71" y="508"/>
                    </a:lnTo>
                    <a:lnTo>
                      <a:pt x="71" y="506"/>
                    </a:lnTo>
                    <a:lnTo>
                      <a:pt x="69" y="505"/>
                    </a:lnTo>
                    <a:lnTo>
                      <a:pt x="69" y="503"/>
                    </a:lnTo>
                    <a:lnTo>
                      <a:pt x="67" y="503"/>
                    </a:lnTo>
                    <a:lnTo>
                      <a:pt x="65" y="501"/>
                    </a:lnTo>
                    <a:lnTo>
                      <a:pt x="65" y="499"/>
                    </a:lnTo>
                    <a:lnTo>
                      <a:pt x="65" y="497"/>
                    </a:lnTo>
                    <a:lnTo>
                      <a:pt x="65" y="495"/>
                    </a:lnTo>
                    <a:lnTo>
                      <a:pt x="65" y="493"/>
                    </a:lnTo>
                    <a:lnTo>
                      <a:pt x="65" y="491"/>
                    </a:lnTo>
                    <a:lnTo>
                      <a:pt x="67" y="491"/>
                    </a:lnTo>
                    <a:lnTo>
                      <a:pt x="67" y="489"/>
                    </a:lnTo>
                    <a:lnTo>
                      <a:pt x="69" y="489"/>
                    </a:lnTo>
                    <a:lnTo>
                      <a:pt x="69" y="487"/>
                    </a:lnTo>
                    <a:lnTo>
                      <a:pt x="69" y="485"/>
                    </a:lnTo>
                    <a:lnTo>
                      <a:pt x="67" y="485"/>
                    </a:lnTo>
                    <a:lnTo>
                      <a:pt x="67" y="487"/>
                    </a:lnTo>
                    <a:lnTo>
                      <a:pt x="65" y="487"/>
                    </a:lnTo>
                    <a:lnTo>
                      <a:pt x="65" y="489"/>
                    </a:lnTo>
                    <a:lnTo>
                      <a:pt x="63" y="489"/>
                    </a:lnTo>
                    <a:lnTo>
                      <a:pt x="63" y="491"/>
                    </a:lnTo>
                    <a:lnTo>
                      <a:pt x="61" y="491"/>
                    </a:lnTo>
                    <a:lnTo>
                      <a:pt x="61" y="493"/>
                    </a:lnTo>
                    <a:lnTo>
                      <a:pt x="59" y="493"/>
                    </a:lnTo>
                    <a:lnTo>
                      <a:pt x="59" y="491"/>
                    </a:lnTo>
                    <a:lnTo>
                      <a:pt x="57" y="489"/>
                    </a:lnTo>
                    <a:lnTo>
                      <a:pt x="57" y="487"/>
                    </a:lnTo>
                    <a:lnTo>
                      <a:pt x="55" y="487"/>
                    </a:lnTo>
                    <a:lnTo>
                      <a:pt x="53" y="487"/>
                    </a:lnTo>
                    <a:lnTo>
                      <a:pt x="53" y="485"/>
                    </a:lnTo>
                    <a:lnTo>
                      <a:pt x="51" y="485"/>
                    </a:lnTo>
                    <a:lnTo>
                      <a:pt x="49" y="483"/>
                    </a:lnTo>
                    <a:lnTo>
                      <a:pt x="49" y="482"/>
                    </a:lnTo>
                    <a:lnTo>
                      <a:pt x="48" y="482"/>
                    </a:lnTo>
                    <a:lnTo>
                      <a:pt x="46" y="480"/>
                    </a:lnTo>
                    <a:lnTo>
                      <a:pt x="46" y="478"/>
                    </a:lnTo>
                    <a:lnTo>
                      <a:pt x="44" y="478"/>
                    </a:lnTo>
                    <a:lnTo>
                      <a:pt x="44" y="476"/>
                    </a:lnTo>
                    <a:lnTo>
                      <a:pt x="42" y="476"/>
                    </a:lnTo>
                    <a:lnTo>
                      <a:pt x="40" y="476"/>
                    </a:lnTo>
                    <a:lnTo>
                      <a:pt x="40" y="478"/>
                    </a:lnTo>
                    <a:lnTo>
                      <a:pt x="38" y="478"/>
                    </a:lnTo>
                    <a:lnTo>
                      <a:pt x="36" y="478"/>
                    </a:lnTo>
                    <a:lnTo>
                      <a:pt x="34" y="478"/>
                    </a:lnTo>
                    <a:lnTo>
                      <a:pt x="34" y="480"/>
                    </a:lnTo>
                    <a:lnTo>
                      <a:pt x="32" y="480"/>
                    </a:lnTo>
                    <a:lnTo>
                      <a:pt x="30" y="480"/>
                    </a:lnTo>
                    <a:lnTo>
                      <a:pt x="28" y="480"/>
                    </a:lnTo>
                    <a:lnTo>
                      <a:pt x="26" y="480"/>
                    </a:lnTo>
                    <a:lnTo>
                      <a:pt x="26" y="478"/>
                    </a:lnTo>
                    <a:lnTo>
                      <a:pt x="28" y="478"/>
                    </a:lnTo>
                    <a:lnTo>
                      <a:pt x="28" y="476"/>
                    </a:lnTo>
                    <a:lnTo>
                      <a:pt x="30" y="476"/>
                    </a:lnTo>
                    <a:lnTo>
                      <a:pt x="30" y="474"/>
                    </a:lnTo>
                    <a:lnTo>
                      <a:pt x="28" y="472"/>
                    </a:lnTo>
                    <a:lnTo>
                      <a:pt x="28" y="470"/>
                    </a:lnTo>
                    <a:lnTo>
                      <a:pt x="28" y="468"/>
                    </a:lnTo>
                    <a:lnTo>
                      <a:pt x="26" y="468"/>
                    </a:lnTo>
                    <a:lnTo>
                      <a:pt x="26" y="466"/>
                    </a:lnTo>
                    <a:lnTo>
                      <a:pt x="25" y="466"/>
                    </a:lnTo>
                    <a:lnTo>
                      <a:pt x="25" y="464"/>
                    </a:lnTo>
                    <a:lnTo>
                      <a:pt x="23" y="464"/>
                    </a:lnTo>
                    <a:lnTo>
                      <a:pt x="23" y="462"/>
                    </a:lnTo>
                    <a:lnTo>
                      <a:pt x="21" y="462"/>
                    </a:lnTo>
                    <a:lnTo>
                      <a:pt x="21" y="460"/>
                    </a:lnTo>
                    <a:lnTo>
                      <a:pt x="19" y="458"/>
                    </a:lnTo>
                    <a:lnTo>
                      <a:pt x="19" y="457"/>
                    </a:lnTo>
                    <a:lnTo>
                      <a:pt x="17" y="457"/>
                    </a:lnTo>
                    <a:lnTo>
                      <a:pt x="17" y="455"/>
                    </a:lnTo>
                    <a:lnTo>
                      <a:pt x="17" y="453"/>
                    </a:lnTo>
                    <a:lnTo>
                      <a:pt x="15" y="453"/>
                    </a:lnTo>
                    <a:lnTo>
                      <a:pt x="15" y="451"/>
                    </a:lnTo>
                    <a:lnTo>
                      <a:pt x="15" y="449"/>
                    </a:lnTo>
                    <a:lnTo>
                      <a:pt x="15" y="447"/>
                    </a:lnTo>
                    <a:lnTo>
                      <a:pt x="17" y="447"/>
                    </a:lnTo>
                    <a:lnTo>
                      <a:pt x="19" y="447"/>
                    </a:lnTo>
                    <a:lnTo>
                      <a:pt x="19" y="445"/>
                    </a:lnTo>
                    <a:lnTo>
                      <a:pt x="19" y="443"/>
                    </a:lnTo>
                    <a:lnTo>
                      <a:pt x="19" y="441"/>
                    </a:lnTo>
                    <a:lnTo>
                      <a:pt x="21" y="441"/>
                    </a:lnTo>
                    <a:lnTo>
                      <a:pt x="21" y="439"/>
                    </a:lnTo>
                    <a:lnTo>
                      <a:pt x="21" y="441"/>
                    </a:lnTo>
                    <a:lnTo>
                      <a:pt x="23" y="441"/>
                    </a:lnTo>
                    <a:lnTo>
                      <a:pt x="25" y="441"/>
                    </a:lnTo>
                    <a:lnTo>
                      <a:pt x="26" y="443"/>
                    </a:lnTo>
                    <a:lnTo>
                      <a:pt x="28" y="443"/>
                    </a:lnTo>
                    <a:lnTo>
                      <a:pt x="30" y="443"/>
                    </a:lnTo>
                    <a:lnTo>
                      <a:pt x="32" y="445"/>
                    </a:lnTo>
                    <a:lnTo>
                      <a:pt x="32" y="447"/>
                    </a:lnTo>
                    <a:lnTo>
                      <a:pt x="34" y="447"/>
                    </a:lnTo>
                    <a:lnTo>
                      <a:pt x="38" y="449"/>
                    </a:lnTo>
                    <a:lnTo>
                      <a:pt x="40" y="449"/>
                    </a:lnTo>
                    <a:lnTo>
                      <a:pt x="40" y="447"/>
                    </a:lnTo>
                    <a:lnTo>
                      <a:pt x="40" y="445"/>
                    </a:lnTo>
                    <a:lnTo>
                      <a:pt x="40" y="443"/>
                    </a:lnTo>
                    <a:lnTo>
                      <a:pt x="40" y="445"/>
                    </a:lnTo>
                    <a:lnTo>
                      <a:pt x="38" y="445"/>
                    </a:lnTo>
                    <a:lnTo>
                      <a:pt x="36" y="443"/>
                    </a:lnTo>
                    <a:lnTo>
                      <a:pt x="36" y="441"/>
                    </a:lnTo>
                    <a:lnTo>
                      <a:pt x="38" y="441"/>
                    </a:lnTo>
                    <a:lnTo>
                      <a:pt x="38" y="439"/>
                    </a:lnTo>
                    <a:lnTo>
                      <a:pt x="38" y="437"/>
                    </a:lnTo>
                    <a:lnTo>
                      <a:pt x="38" y="435"/>
                    </a:lnTo>
                    <a:lnTo>
                      <a:pt x="38" y="434"/>
                    </a:lnTo>
                    <a:lnTo>
                      <a:pt x="40" y="434"/>
                    </a:lnTo>
                    <a:lnTo>
                      <a:pt x="40" y="432"/>
                    </a:lnTo>
                    <a:lnTo>
                      <a:pt x="42" y="432"/>
                    </a:lnTo>
                    <a:lnTo>
                      <a:pt x="42" y="430"/>
                    </a:lnTo>
                    <a:lnTo>
                      <a:pt x="40" y="428"/>
                    </a:lnTo>
                    <a:lnTo>
                      <a:pt x="38" y="428"/>
                    </a:lnTo>
                    <a:lnTo>
                      <a:pt x="38" y="426"/>
                    </a:lnTo>
                    <a:lnTo>
                      <a:pt x="36" y="424"/>
                    </a:lnTo>
                    <a:lnTo>
                      <a:pt x="34" y="424"/>
                    </a:lnTo>
                    <a:lnTo>
                      <a:pt x="32" y="424"/>
                    </a:lnTo>
                    <a:lnTo>
                      <a:pt x="30" y="424"/>
                    </a:lnTo>
                    <a:lnTo>
                      <a:pt x="30" y="422"/>
                    </a:lnTo>
                    <a:lnTo>
                      <a:pt x="28" y="422"/>
                    </a:lnTo>
                    <a:lnTo>
                      <a:pt x="26" y="422"/>
                    </a:lnTo>
                    <a:lnTo>
                      <a:pt x="25" y="422"/>
                    </a:lnTo>
                    <a:lnTo>
                      <a:pt x="23" y="420"/>
                    </a:lnTo>
                    <a:lnTo>
                      <a:pt x="21" y="420"/>
                    </a:lnTo>
                    <a:lnTo>
                      <a:pt x="19" y="420"/>
                    </a:lnTo>
                    <a:lnTo>
                      <a:pt x="19" y="418"/>
                    </a:lnTo>
                    <a:lnTo>
                      <a:pt x="19" y="416"/>
                    </a:lnTo>
                    <a:lnTo>
                      <a:pt x="19" y="414"/>
                    </a:lnTo>
                    <a:lnTo>
                      <a:pt x="17" y="414"/>
                    </a:lnTo>
                    <a:lnTo>
                      <a:pt x="17" y="412"/>
                    </a:lnTo>
                    <a:lnTo>
                      <a:pt x="15" y="412"/>
                    </a:lnTo>
                    <a:lnTo>
                      <a:pt x="15" y="410"/>
                    </a:lnTo>
                    <a:lnTo>
                      <a:pt x="15" y="409"/>
                    </a:lnTo>
                    <a:lnTo>
                      <a:pt x="15" y="407"/>
                    </a:lnTo>
                    <a:lnTo>
                      <a:pt x="13" y="407"/>
                    </a:lnTo>
                    <a:lnTo>
                      <a:pt x="13" y="405"/>
                    </a:lnTo>
                    <a:lnTo>
                      <a:pt x="11" y="405"/>
                    </a:lnTo>
                    <a:lnTo>
                      <a:pt x="11" y="403"/>
                    </a:lnTo>
                    <a:lnTo>
                      <a:pt x="11" y="401"/>
                    </a:lnTo>
                    <a:lnTo>
                      <a:pt x="11" y="399"/>
                    </a:lnTo>
                    <a:lnTo>
                      <a:pt x="11" y="397"/>
                    </a:lnTo>
                    <a:lnTo>
                      <a:pt x="13" y="397"/>
                    </a:lnTo>
                    <a:lnTo>
                      <a:pt x="13" y="395"/>
                    </a:lnTo>
                    <a:lnTo>
                      <a:pt x="15" y="395"/>
                    </a:lnTo>
                    <a:lnTo>
                      <a:pt x="17" y="393"/>
                    </a:lnTo>
                    <a:lnTo>
                      <a:pt x="19" y="393"/>
                    </a:lnTo>
                    <a:lnTo>
                      <a:pt x="21" y="391"/>
                    </a:lnTo>
                    <a:lnTo>
                      <a:pt x="21" y="389"/>
                    </a:lnTo>
                    <a:lnTo>
                      <a:pt x="23" y="389"/>
                    </a:lnTo>
                    <a:lnTo>
                      <a:pt x="23" y="387"/>
                    </a:lnTo>
                    <a:lnTo>
                      <a:pt x="25" y="386"/>
                    </a:lnTo>
                    <a:lnTo>
                      <a:pt x="26" y="384"/>
                    </a:lnTo>
                    <a:lnTo>
                      <a:pt x="28" y="384"/>
                    </a:lnTo>
                    <a:lnTo>
                      <a:pt x="30" y="382"/>
                    </a:lnTo>
                    <a:lnTo>
                      <a:pt x="32" y="382"/>
                    </a:lnTo>
                    <a:lnTo>
                      <a:pt x="32" y="380"/>
                    </a:lnTo>
                    <a:lnTo>
                      <a:pt x="34" y="380"/>
                    </a:lnTo>
                    <a:lnTo>
                      <a:pt x="36" y="380"/>
                    </a:lnTo>
                    <a:lnTo>
                      <a:pt x="36" y="378"/>
                    </a:lnTo>
                    <a:lnTo>
                      <a:pt x="38" y="378"/>
                    </a:lnTo>
                    <a:lnTo>
                      <a:pt x="38" y="376"/>
                    </a:lnTo>
                    <a:lnTo>
                      <a:pt x="36" y="376"/>
                    </a:lnTo>
                    <a:lnTo>
                      <a:pt x="34" y="376"/>
                    </a:lnTo>
                    <a:lnTo>
                      <a:pt x="34" y="374"/>
                    </a:lnTo>
                    <a:lnTo>
                      <a:pt x="32" y="374"/>
                    </a:lnTo>
                    <a:lnTo>
                      <a:pt x="30" y="374"/>
                    </a:lnTo>
                    <a:lnTo>
                      <a:pt x="30" y="372"/>
                    </a:lnTo>
                    <a:lnTo>
                      <a:pt x="28" y="372"/>
                    </a:lnTo>
                    <a:lnTo>
                      <a:pt x="28" y="370"/>
                    </a:lnTo>
                    <a:lnTo>
                      <a:pt x="26" y="370"/>
                    </a:lnTo>
                    <a:lnTo>
                      <a:pt x="26" y="368"/>
                    </a:lnTo>
                    <a:lnTo>
                      <a:pt x="25" y="368"/>
                    </a:lnTo>
                    <a:lnTo>
                      <a:pt x="25" y="366"/>
                    </a:lnTo>
                    <a:lnTo>
                      <a:pt x="23" y="366"/>
                    </a:lnTo>
                    <a:lnTo>
                      <a:pt x="23" y="364"/>
                    </a:lnTo>
                    <a:lnTo>
                      <a:pt x="21" y="364"/>
                    </a:lnTo>
                    <a:lnTo>
                      <a:pt x="19" y="364"/>
                    </a:lnTo>
                    <a:lnTo>
                      <a:pt x="19" y="362"/>
                    </a:lnTo>
                    <a:lnTo>
                      <a:pt x="17" y="362"/>
                    </a:lnTo>
                    <a:lnTo>
                      <a:pt x="15" y="362"/>
                    </a:lnTo>
                    <a:lnTo>
                      <a:pt x="15" y="361"/>
                    </a:lnTo>
                    <a:lnTo>
                      <a:pt x="15" y="359"/>
                    </a:lnTo>
                    <a:lnTo>
                      <a:pt x="15" y="357"/>
                    </a:lnTo>
                    <a:lnTo>
                      <a:pt x="15" y="355"/>
                    </a:lnTo>
                    <a:lnTo>
                      <a:pt x="15" y="353"/>
                    </a:lnTo>
                    <a:lnTo>
                      <a:pt x="15" y="351"/>
                    </a:lnTo>
                    <a:lnTo>
                      <a:pt x="13" y="351"/>
                    </a:lnTo>
                    <a:lnTo>
                      <a:pt x="13" y="349"/>
                    </a:lnTo>
                    <a:lnTo>
                      <a:pt x="13" y="347"/>
                    </a:lnTo>
                    <a:lnTo>
                      <a:pt x="13" y="345"/>
                    </a:lnTo>
                    <a:lnTo>
                      <a:pt x="15" y="343"/>
                    </a:lnTo>
                    <a:lnTo>
                      <a:pt x="15" y="341"/>
                    </a:lnTo>
                    <a:lnTo>
                      <a:pt x="15" y="339"/>
                    </a:lnTo>
                    <a:lnTo>
                      <a:pt x="15" y="338"/>
                    </a:lnTo>
                    <a:lnTo>
                      <a:pt x="15" y="336"/>
                    </a:lnTo>
                    <a:lnTo>
                      <a:pt x="17" y="338"/>
                    </a:lnTo>
                    <a:lnTo>
                      <a:pt x="17" y="336"/>
                    </a:lnTo>
                    <a:lnTo>
                      <a:pt x="19" y="334"/>
                    </a:lnTo>
                    <a:lnTo>
                      <a:pt x="19" y="336"/>
                    </a:lnTo>
                    <a:lnTo>
                      <a:pt x="19" y="334"/>
                    </a:lnTo>
                    <a:lnTo>
                      <a:pt x="21" y="334"/>
                    </a:lnTo>
                    <a:lnTo>
                      <a:pt x="21" y="332"/>
                    </a:lnTo>
                    <a:lnTo>
                      <a:pt x="21" y="330"/>
                    </a:lnTo>
                    <a:lnTo>
                      <a:pt x="23" y="330"/>
                    </a:lnTo>
                    <a:lnTo>
                      <a:pt x="23" y="328"/>
                    </a:lnTo>
                    <a:lnTo>
                      <a:pt x="25" y="326"/>
                    </a:lnTo>
                    <a:lnTo>
                      <a:pt x="25" y="328"/>
                    </a:lnTo>
                    <a:lnTo>
                      <a:pt x="26" y="326"/>
                    </a:lnTo>
                    <a:lnTo>
                      <a:pt x="25" y="326"/>
                    </a:lnTo>
                    <a:lnTo>
                      <a:pt x="25" y="324"/>
                    </a:lnTo>
                    <a:lnTo>
                      <a:pt x="23" y="324"/>
                    </a:lnTo>
                    <a:lnTo>
                      <a:pt x="23" y="322"/>
                    </a:lnTo>
                    <a:lnTo>
                      <a:pt x="21" y="322"/>
                    </a:lnTo>
                    <a:lnTo>
                      <a:pt x="21" y="320"/>
                    </a:lnTo>
                    <a:lnTo>
                      <a:pt x="21" y="318"/>
                    </a:lnTo>
                    <a:lnTo>
                      <a:pt x="21" y="316"/>
                    </a:lnTo>
                    <a:lnTo>
                      <a:pt x="21" y="314"/>
                    </a:lnTo>
                    <a:lnTo>
                      <a:pt x="21" y="313"/>
                    </a:lnTo>
                    <a:lnTo>
                      <a:pt x="21" y="311"/>
                    </a:lnTo>
                    <a:lnTo>
                      <a:pt x="21" y="309"/>
                    </a:lnTo>
                    <a:lnTo>
                      <a:pt x="19" y="309"/>
                    </a:lnTo>
                    <a:lnTo>
                      <a:pt x="17" y="307"/>
                    </a:lnTo>
                    <a:lnTo>
                      <a:pt x="17" y="305"/>
                    </a:lnTo>
                    <a:lnTo>
                      <a:pt x="11" y="309"/>
                    </a:lnTo>
                    <a:lnTo>
                      <a:pt x="9" y="309"/>
                    </a:lnTo>
                    <a:lnTo>
                      <a:pt x="7" y="309"/>
                    </a:lnTo>
                    <a:lnTo>
                      <a:pt x="7" y="307"/>
                    </a:lnTo>
                    <a:lnTo>
                      <a:pt x="7" y="305"/>
                    </a:lnTo>
                    <a:lnTo>
                      <a:pt x="5" y="307"/>
                    </a:lnTo>
                    <a:lnTo>
                      <a:pt x="5" y="305"/>
                    </a:lnTo>
                    <a:lnTo>
                      <a:pt x="5" y="303"/>
                    </a:lnTo>
                    <a:lnTo>
                      <a:pt x="5" y="301"/>
                    </a:lnTo>
                    <a:lnTo>
                      <a:pt x="7" y="301"/>
                    </a:lnTo>
                    <a:lnTo>
                      <a:pt x="7" y="299"/>
                    </a:lnTo>
                    <a:lnTo>
                      <a:pt x="7" y="297"/>
                    </a:lnTo>
                    <a:lnTo>
                      <a:pt x="7" y="295"/>
                    </a:lnTo>
                    <a:lnTo>
                      <a:pt x="7" y="293"/>
                    </a:lnTo>
                    <a:lnTo>
                      <a:pt x="7" y="291"/>
                    </a:lnTo>
                    <a:lnTo>
                      <a:pt x="7" y="290"/>
                    </a:lnTo>
                    <a:lnTo>
                      <a:pt x="7" y="288"/>
                    </a:lnTo>
                    <a:lnTo>
                      <a:pt x="9" y="288"/>
                    </a:lnTo>
                    <a:lnTo>
                      <a:pt x="9" y="286"/>
                    </a:lnTo>
                    <a:lnTo>
                      <a:pt x="7" y="286"/>
                    </a:lnTo>
                    <a:lnTo>
                      <a:pt x="7" y="284"/>
                    </a:lnTo>
                    <a:lnTo>
                      <a:pt x="7" y="282"/>
                    </a:lnTo>
                    <a:lnTo>
                      <a:pt x="5" y="280"/>
                    </a:lnTo>
                    <a:lnTo>
                      <a:pt x="5" y="278"/>
                    </a:lnTo>
                    <a:lnTo>
                      <a:pt x="3" y="278"/>
                    </a:lnTo>
                    <a:lnTo>
                      <a:pt x="5" y="278"/>
                    </a:lnTo>
                    <a:lnTo>
                      <a:pt x="5" y="276"/>
                    </a:lnTo>
                    <a:lnTo>
                      <a:pt x="3" y="276"/>
                    </a:lnTo>
                    <a:lnTo>
                      <a:pt x="3" y="274"/>
                    </a:lnTo>
                    <a:lnTo>
                      <a:pt x="3" y="272"/>
                    </a:lnTo>
                    <a:lnTo>
                      <a:pt x="3" y="270"/>
                    </a:lnTo>
                    <a:lnTo>
                      <a:pt x="3" y="268"/>
                    </a:lnTo>
                    <a:lnTo>
                      <a:pt x="1" y="267"/>
                    </a:lnTo>
                    <a:lnTo>
                      <a:pt x="1" y="265"/>
                    </a:lnTo>
                    <a:lnTo>
                      <a:pt x="0" y="263"/>
                    </a:lnTo>
                    <a:lnTo>
                      <a:pt x="1" y="263"/>
                    </a:lnTo>
                    <a:lnTo>
                      <a:pt x="1" y="261"/>
                    </a:lnTo>
                    <a:lnTo>
                      <a:pt x="1" y="259"/>
                    </a:lnTo>
                    <a:lnTo>
                      <a:pt x="0" y="257"/>
                    </a:lnTo>
                    <a:lnTo>
                      <a:pt x="0" y="255"/>
                    </a:lnTo>
                    <a:lnTo>
                      <a:pt x="1" y="255"/>
                    </a:lnTo>
                    <a:lnTo>
                      <a:pt x="1" y="253"/>
                    </a:lnTo>
                    <a:lnTo>
                      <a:pt x="1" y="251"/>
                    </a:lnTo>
                    <a:lnTo>
                      <a:pt x="1" y="249"/>
                    </a:lnTo>
                    <a:lnTo>
                      <a:pt x="1" y="247"/>
                    </a:lnTo>
                    <a:lnTo>
                      <a:pt x="1" y="245"/>
                    </a:lnTo>
                    <a:lnTo>
                      <a:pt x="1" y="243"/>
                    </a:lnTo>
                    <a:lnTo>
                      <a:pt x="1" y="242"/>
                    </a:lnTo>
                    <a:lnTo>
                      <a:pt x="3" y="242"/>
                    </a:lnTo>
                    <a:lnTo>
                      <a:pt x="3" y="240"/>
                    </a:lnTo>
                    <a:lnTo>
                      <a:pt x="3" y="238"/>
                    </a:lnTo>
                    <a:lnTo>
                      <a:pt x="5" y="238"/>
                    </a:lnTo>
                    <a:lnTo>
                      <a:pt x="5" y="236"/>
                    </a:lnTo>
                    <a:lnTo>
                      <a:pt x="7" y="236"/>
                    </a:lnTo>
                    <a:lnTo>
                      <a:pt x="5" y="236"/>
                    </a:lnTo>
                    <a:lnTo>
                      <a:pt x="5" y="234"/>
                    </a:lnTo>
                    <a:lnTo>
                      <a:pt x="5" y="232"/>
                    </a:lnTo>
                    <a:lnTo>
                      <a:pt x="5" y="230"/>
                    </a:lnTo>
                    <a:lnTo>
                      <a:pt x="5" y="228"/>
                    </a:lnTo>
                    <a:lnTo>
                      <a:pt x="5" y="226"/>
                    </a:lnTo>
                    <a:lnTo>
                      <a:pt x="7" y="226"/>
                    </a:lnTo>
                    <a:lnTo>
                      <a:pt x="7" y="224"/>
                    </a:lnTo>
                    <a:lnTo>
                      <a:pt x="7" y="226"/>
                    </a:lnTo>
                    <a:lnTo>
                      <a:pt x="9" y="226"/>
                    </a:lnTo>
                    <a:lnTo>
                      <a:pt x="7" y="226"/>
                    </a:lnTo>
                    <a:lnTo>
                      <a:pt x="9" y="226"/>
                    </a:lnTo>
                    <a:lnTo>
                      <a:pt x="11" y="226"/>
                    </a:lnTo>
                    <a:lnTo>
                      <a:pt x="13" y="226"/>
                    </a:lnTo>
                    <a:lnTo>
                      <a:pt x="15" y="226"/>
                    </a:lnTo>
                    <a:lnTo>
                      <a:pt x="17" y="228"/>
                    </a:lnTo>
                    <a:lnTo>
                      <a:pt x="17" y="226"/>
                    </a:lnTo>
                    <a:lnTo>
                      <a:pt x="19" y="226"/>
                    </a:lnTo>
                    <a:lnTo>
                      <a:pt x="19" y="228"/>
                    </a:lnTo>
                    <a:lnTo>
                      <a:pt x="21" y="228"/>
                    </a:lnTo>
                    <a:lnTo>
                      <a:pt x="23" y="228"/>
                    </a:lnTo>
                    <a:lnTo>
                      <a:pt x="25" y="228"/>
                    </a:lnTo>
                    <a:lnTo>
                      <a:pt x="26" y="228"/>
                    </a:lnTo>
                    <a:lnTo>
                      <a:pt x="26" y="226"/>
                    </a:lnTo>
                    <a:lnTo>
                      <a:pt x="26" y="224"/>
                    </a:lnTo>
                    <a:lnTo>
                      <a:pt x="28" y="224"/>
                    </a:lnTo>
                    <a:lnTo>
                      <a:pt x="28" y="222"/>
                    </a:lnTo>
                    <a:lnTo>
                      <a:pt x="30" y="222"/>
                    </a:lnTo>
                    <a:lnTo>
                      <a:pt x="32" y="224"/>
                    </a:lnTo>
                    <a:lnTo>
                      <a:pt x="34" y="224"/>
                    </a:lnTo>
                    <a:lnTo>
                      <a:pt x="34" y="222"/>
                    </a:lnTo>
                    <a:lnTo>
                      <a:pt x="36" y="222"/>
                    </a:lnTo>
                    <a:lnTo>
                      <a:pt x="38" y="222"/>
                    </a:lnTo>
                    <a:lnTo>
                      <a:pt x="38" y="224"/>
                    </a:lnTo>
                    <a:lnTo>
                      <a:pt x="38" y="226"/>
                    </a:lnTo>
                    <a:lnTo>
                      <a:pt x="38" y="228"/>
                    </a:lnTo>
                    <a:lnTo>
                      <a:pt x="40" y="228"/>
                    </a:lnTo>
                    <a:lnTo>
                      <a:pt x="40" y="226"/>
                    </a:lnTo>
                    <a:lnTo>
                      <a:pt x="40" y="224"/>
                    </a:lnTo>
                    <a:lnTo>
                      <a:pt x="40" y="222"/>
                    </a:lnTo>
                    <a:lnTo>
                      <a:pt x="38" y="220"/>
                    </a:lnTo>
                    <a:lnTo>
                      <a:pt x="40" y="220"/>
                    </a:lnTo>
                    <a:lnTo>
                      <a:pt x="42" y="220"/>
                    </a:lnTo>
                    <a:lnTo>
                      <a:pt x="44" y="220"/>
                    </a:lnTo>
                    <a:lnTo>
                      <a:pt x="46" y="220"/>
                    </a:lnTo>
                    <a:lnTo>
                      <a:pt x="48" y="220"/>
                    </a:lnTo>
                    <a:lnTo>
                      <a:pt x="48" y="219"/>
                    </a:lnTo>
                    <a:lnTo>
                      <a:pt x="49" y="219"/>
                    </a:lnTo>
                    <a:lnTo>
                      <a:pt x="49" y="217"/>
                    </a:lnTo>
                    <a:lnTo>
                      <a:pt x="49" y="219"/>
                    </a:lnTo>
                    <a:lnTo>
                      <a:pt x="51" y="219"/>
                    </a:lnTo>
                    <a:lnTo>
                      <a:pt x="53" y="219"/>
                    </a:lnTo>
                    <a:lnTo>
                      <a:pt x="53" y="220"/>
                    </a:lnTo>
                    <a:lnTo>
                      <a:pt x="53" y="222"/>
                    </a:lnTo>
                    <a:lnTo>
                      <a:pt x="55" y="222"/>
                    </a:lnTo>
                    <a:lnTo>
                      <a:pt x="57" y="222"/>
                    </a:lnTo>
                    <a:lnTo>
                      <a:pt x="57" y="224"/>
                    </a:lnTo>
                    <a:lnTo>
                      <a:pt x="57" y="222"/>
                    </a:lnTo>
                    <a:lnTo>
                      <a:pt x="59" y="222"/>
                    </a:lnTo>
                    <a:lnTo>
                      <a:pt x="57" y="222"/>
                    </a:lnTo>
                    <a:lnTo>
                      <a:pt x="57" y="220"/>
                    </a:lnTo>
                    <a:lnTo>
                      <a:pt x="59" y="220"/>
                    </a:lnTo>
                    <a:lnTo>
                      <a:pt x="59" y="219"/>
                    </a:lnTo>
                    <a:lnTo>
                      <a:pt x="57" y="219"/>
                    </a:lnTo>
                    <a:lnTo>
                      <a:pt x="59" y="219"/>
                    </a:lnTo>
                    <a:lnTo>
                      <a:pt x="59" y="217"/>
                    </a:lnTo>
                    <a:lnTo>
                      <a:pt x="61" y="217"/>
                    </a:lnTo>
                    <a:lnTo>
                      <a:pt x="63" y="219"/>
                    </a:lnTo>
                    <a:lnTo>
                      <a:pt x="65" y="220"/>
                    </a:lnTo>
                    <a:lnTo>
                      <a:pt x="67" y="220"/>
                    </a:lnTo>
                    <a:lnTo>
                      <a:pt x="69" y="222"/>
                    </a:lnTo>
                    <a:lnTo>
                      <a:pt x="69" y="220"/>
                    </a:lnTo>
                    <a:lnTo>
                      <a:pt x="69" y="219"/>
                    </a:lnTo>
                    <a:lnTo>
                      <a:pt x="67" y="219"/>
                    </a:lnTo>
                    <a:lnTo>
                      <a:pt x="67" y="217"/>
                    </a:lnTo>
                    <a:lnTo>
                      <a:pt x="69" y="217"/>
                    </a:lnTo>
                    <a:lnTo>
                      <a:pt x="69" y="219"/>
                    </a:lnTo>
                    <a:lnTo>
                      <a:pt x="71" y="219"/>
                    </a:lnTo>
                    <a:lnTo>
                      <a:pt x="73" y="219"/>
                    </a:lnTo>
                    <a:lnTo>
                      <a:pt x="73" y="220"/>
                    </a:lnTo>
                    <a:lnTo>
                      <a:pt x="73" y="219"/>
                    </a:lnTo>
                    <a:lnTo>
                      <a:pt x="74" y="219"/>
                    </a:lnTo>
                    <a:lnTo>
                      <a:pt x="74" y="217"/>
                    </a:lnTo>
                    <a:lnTo>
                      <a:pt x="74" y="215"/>
                    </a:lnTo>
                    <a:lnTo>
                      <a:pt x="76" y="215"/>
                    </a:lnTo>
                    <a:lnTo>
                      <a:pt x="76" y="213"/>
                    </a:lnTo>
                    <a:lnTo>
                      <a:pt x="78" y="213"/>
                    </a:lnTo>
                    <a:lnTo>
                      <a:pt x="78" y="211"/>
                    </a:lnTo>
                    <a:lnTo>
                      <a:pt x="78" y="209"/>
                    </a:lnTo>
                    <a:lnTo>
                      <a:pt x="80" y="211"/>
                    </a:lnTo>
                    <a:lnTo>
                      <a:pt x="82" y="213"/>
                    </a:lnTo>
                    <a:lnTo>
                      <a:pt x="82" y="211"/>
                    </a:lnTo>
                    <a:lnTo>
                      <a:pt x="84" y="211"/>
                    </a:lnTo>
                    <a:lnTo>
                      <a:pt x="84" y="209"/>
                    </a:lnTo>
                    <a:lnTo>
                      <a:pt x="86" y="209"/>
                    </a:lnTo>
                    <a:lnTo>
                      <a:pt x="84" y="207"/>
                    </a:lnTo>
                    <a:lnTo>
                      <a:pt x="84" y="205"/>
                    </a:lnTo>
                    <a:lnTo>
                      <a:pt x="86" y="205"/>
                    </a:lnTo>
                    <a:lnTo>
                      <a:pt x="86" y="203"/>
                    </a:lnTo>
                    <a:lnTo>
                      <a:pt x="86" y="201"/>
                    </a:lnTo>
                    <a:lnTo>
                      <a:pt x="88" y="201"/>
                    </a:lnTo>
                    <a:lnTo>
                      <a:pt x="88" y="199"/>
                    </a:lnTo>
                    <a:lnTo>
                      <a:pt x="88" y="197"/>
                    </a:lnTo>
                    <a:lnTo>
                      <a:pt x="90" y="194"/>
                    </a:lnTo>
                    <a:lnTo>
                      <a:pt x="90" y="192"/>
                    </a:lnTo>
                    <a:lnTo>
                      <a:pt x="92" y="190"/>
                    </a:lnTo>
                    <a:lnTo>
                      <a:pt x="92" y="188"/>
                    </a:lnTo>
                    <a:lnTo>
                      <a:pt x="92" y="186"/>
                    </a:lnTo>
                    <a:lnTo>
                      <a:pt x="94" y="184"/>
                    </a:lnTo>
                    <a:lnTo>
                      <a:pt x="96" y="180"/>
                    </a:lnTo>
                    <a:lnTo>
                      <a:pt x="97" y="178"/>
                    </a:lnTo>
                    <a:lnTo>
                      <a:pt x="99" y="176"/>
                    </a:lnTo>
                    <a:lnTo>
                      <a:pt x="99" y="174"/>
                    </a:lnTo>
                    <a:lnTo>
                      <a:pt x="101" y="174"/>
                    </a:lnTo>
                    <a:lnTo>
                      <a:pt x="101" y="172"/>
                    </a:lnTo>
                    <a:lnTo>
                      <a:pt x="103" y="172"/>
                    </a:lnTo>
                    <a:lnTo>
                      <a:pt x="103" y="174"/>
                    </a:lnTo>
                    <a:lnTo>
                      <a:pt x="105" y="174"/>
                    </a:lnTo>
                    <a:lnTo>
                      <a:pt x="105" y="176"/>
                    </a:lnTo>
                    <a:lnTo>
                      <a:pt x="107" y="176"/>
                    </a:lnTo>
                    <a:lnTo>
                      <a:pt x="109" y="178"/>
                    </a:lnTo>
                    <a:lnTo>
                      <a:pt x="109" y="180"/>
                    </a:lnTo>
                    <a:lnTo>
                      <a:pt x="109" y="182"/>
                    </a:lnTo>
                    <a:lnTo>
                      <a:pt x="111" y="184"/>
                    </a:lnTo>
                    <a:lnTo>
                      <a:pt x="111" y="186"/>
                    </a:lnTo>
                    <a:lnTo>
                      <a:pt x="111" y="184"/>
                    </a:lnTo>
                    <a:lnTo>
                      <a:pt x="113" y="184"/>
                    </a:lnTo>
                    <a:lnTo>
                      <a:pt x="113" y="182"/>
                    </a:lnTo>
                    <a:lnTo>
                      <a:pt x="115" y="182"/>
                    </a:lnTo>
                    <a:lnTo>
                      <a:pt x="117" y="180"/>
                    </a:lnTo>
                    <a:lnTo>
                      <a:pt x="119" y="180"/>
                    </a:lnTo>
                    <a:lnTo>
                      <a:pt x="121" y="178"/>
                    </a:lnTo>
                    <a:lnTo>
                      <a:pt x="122" y="178"/>
                    </a:lnTo>
                    <a:lnTo>
                      <a:pt x="124" y="176"/>
                    </a:lnTo>
                    <a:lnTo>
                      <a:pt x="124" y="174"/>
                    </a:lnTo>
                    <a:lnTo>
                      <a:pt x="126" y="174"/>
                    </a:lnTo>
                    <a:lnTo>
                      <a:pt x="126" y="172"/>
                    </a:lnTo>
                    <a:lnTo>
                      <a:pt x="126" y="171"/>
                    </a:lnTo>
                    <a:lnTo>
                      <a:pt x="124" y="169"/>
                    </a:lnTo>
                    <a:lnTo>
                      <a:pt x="122" y="167"/>
                    </a:lnTo>
                    <a:lnTo>
                      <a:pt x="121" y="165"/>
                    </a:lnTo>
                    <a:lnTo>
                      <a:pt x="119" y="163"/>
                    </a:lnTo>
                    <a:lnTo>
                      <a:pt x="119" y="161"/>
                    </a:lnTo>
                    <a:lnTo>
                      <a:pt x="117" y="161"/>
                    </a:lnTo>
                    <a:lnTo>
                      <a:pt x="119" y="161"/>
                    </a:lnTo>
                    <a:lnTo>
                      <a:pt x="119" y="159"/>
                    </a:lnTo>
                    <a:lnTo>
                      <a:pt x="119" y="157"/>
                    </a:lnTo>
                    <a:lnTo>
                      <a:pt x="122" y="159"/>
                    </a:lnTo>
                    <a:lnTo>
                      <a:pt x="122" y="157"/>
                    </a:lnTo>
                    <a:lnTo>
                      <a:pt x="122" y="155"/>
                    </a:lnTo>
                    <a:lnTo>
                      <a:pt x="124" y="153"/>
                    </a:lnTo>
                    <a:lnTo>
                      <a:pt x="122" y="153"/>
                    </a:lnTo>
                    <a:lnTo>
                      <a:pt x="122" y="151"/>
                    </a:lnTo>
                    <a:lnTo>
                      <a:pt x="122" y="149"/>
                    </a:lnTo>
                    <a:lnTo>
                      <a:pt x="122" y="147"/>
                    </a:lnTo>
                    <a:lnTo>
                      <a:pt x="122" y="146"/>
                    </a:lnTo>
                    <a:lnTo>
                      <a:pt x="124" y="146"/>
                    </a:lnTo>
                    <a:lnTo>
                      <a:pt x="124" y="144"/>
                    </a:lnTo>
                    <a:lnTo>
                      <a:pt x="124" y="142"/>
                    </a:lnTo>
                    <a:lnTo>
                      <a:pt x="124" y="140"/>
                    </a:lnTo>
                    <a:lnTo>
                      <a:pt x="124" y="138"/>
                    </a:lnTo>
                    <a:lnTo>
                      <a:pt x="126" y="138"/>
                    </a:lnTo>
                    <a:lnTo>
                      <a:pt x="128" y="140"/>
                    </a:lnTo>
                    <a:lnTo>
                      <a:pt x="130" y="142"/>
                    </a:lnTo>
                    <a:lnTo>
                      <a:pt x="132" y="142"/>
                    </a:lnTo>
                    <a:lnTo>
                      <a:pt x="132" y="144"/>
                    </a:lnTo>
                    <a:lnTo>
                      <a:pt x="134" y="144"/>
                    </a:lnTo>
                    <a:lnTo>
                      <a:pt x="136" y="144"/>
                    </a:lnTo>
                    <a:lnTo>
                      <a:pt x="138" y="144"/>
                    </a:lnTo>
                    <a:lnTo>
                      <a:pt x="138" y="146"/>
                    </a:lnTo>
                    <a:lnTo>
                      <a:pt x="140" y="146"/>
                    </a:lnTo>
                    <a:lnTo>
                      <a:pt x="140" y="144"/>
                    </a:lnTo>
                    <a:lnTo>
                      <a:pt x="142" y="142"/>
                    </a:lnTo>
                    <a:lnTo>
                      <a:pt x="142" y="140"/>
                    </a:lnTo>
                    <a:lnTo>
                      <a:pt x="144" y="140"/>
                    </a:lnTo>
                    <a:lnTo>
                      <a:pt x="144" y="138"/>
                    </a:lnTo>
                    <a:lnTo>
                      <a:pt x="145" y="138"/>
                    </a:lnTo>
                    <a:lnTo>
                      <a:pt x="147" y="138"/>
                    </a:lnTo>
                    <a:lnTo>
                      <a:pt x="147" y="140"/>
                    </a:lnTo>
                    <a:lnTo>
                      <a:pt x="149" y="140"/>
                    </a:lnTo>
                    <a:lnTo>
                      <a:pt x="151" y="138"/>
                    </a:lnTo>
                    <a:lnTo>
                      <a:pt x="153" y="138"/>
                    </a:lnTo>
                    <a:lnTo>
                      <a:pt x="153" y="140"/>
                    </a:lnTo>
                    <a:lnTo>
                      <a:pt x="155" y="140"/>
                    </a:lnTo>
                    <a:lnTo>
                      <a:pt x="157" y="142"/>
                    </a:lnTo>
                    <a:lnTo>
                      <a:pt x="159" y="142"/>
                    </a:lnTo>
                    <a:lnTo>
                      <a:pt x="159" y="144"/>
                    </a:lnTo>
                    <a:lnTo>
                      <a:pt x="161" y="144"/>
                    </a:lnTo>
                    <a:lnTo>
                      <a:pt x="161" y="146"/>
                    </a:lnTo>
                    <a:lnTo>
                      <a:pt x="163" y="146"/>
                    </a:lnTo>
                    <a:lnTo>
                      <a:pt x="165" y="146"/>
                    </a:lnTo>
                    <a:lnTo>
                      <a:pt x="167" y="146"/>
                    </a:lnTo>
                    <a:lnTo>
                      <a:pt x="169" y="146"/>
                    </a:lnTo>
                    <a:lnTo>
                      <a:pt x="170" y="146"/>
                    </a:lnTo>
                    <a:lnTo>
                      <a:pt x="170" y="144"/>
                    </a:lnTo>
                    <a:lnTo>
                      <a:pt x="172" y="144"/>
                    </a:lnTo>
                    <a:lnTo>
                      <a:pt x="172" y="142"/>
                    </a:lnTo>
                    <a:lnTo>
                      <a:pt x="174" y="142"/>
                    </a:lnTo>
                    <a:lnTo>
                      <a:pt x="174" y="144"/>
                    </a:lnTo>
                    <a:lnTo>
                      <a:pt x="174" y="146"/>
                    </a:lnTo>
                    <a:lnTo>
                      <a:pt x="176" y="146"/>
                    </a:lnTo>
                    <a:lnTo>
                      <a:pt x="176" y="144"/>
                    </a:lnTo>
                    <a:lnTo>
                      <a:pt x="176" y="146"/>
                    </a:lnTo>
                    <a:lnTo>
                      <a:pt x="178" y="146"/>
                    </a:lnTo>
                    <a:lnTo>
                      <a:pt x="178" y="147"/>
                    </a:lnTo>
                    <a:lnTo>
                      <a:pt x="180" y="147"/>
                    </a:lnTo>
                    <a:lnTo>
                      <a:pt x="180" y="146"/>
                    </a:lnTo>
                    <a:lnTo>
                      <a:pt x="182" y="146"/>
                    </a:lnTo>
                    <a:lnTo>
                      <a:pt x="182" y="144"/>
                    </a:lnTo>
                    <a:lnTo>
                      <a:pt x="182" y="142"/>
                    </a:lnTo>
                    <a:lnTo>
                      <a:pt x="184" y="142"/>
                    </a:lnTo>
                    <a:lnTo>
                      <a:pt x="184" y="140"/>
                    </a:lnTo>
                    <a:lnTo>
                      <a:pt x="186" y="140"/>
                    </a:lnTo>
                    <a:lnTo>
                      <a:pt x="184" y="140"/>
                    </a:lnTo>
                    <a:lnTo>
                      <a:pt x="184" y="138"/>
                    </a:lnTo>
                    <a:lnTo>
                      <a:pt x="186" y="138"/>
                    </a:lnTo>
                    <a:lnTo>
                      <a:pt x="188" y="138"/>
                    </a:lnTo>
                    <a:lnTo>
                      <a:pt x="190" y="138"/>
                    </a:lnTo>
                    <a:lnTo>
                      <a:pt x="192" y="138"/>
                    </a:lnTo>
                    <a:lnTo>
                      <a:pt x="193" y="138"/>
                    </a:lnTo>
                    <a:lnTo>
                      <a:pt x="195" y="136"/>
                    </a:lnTo>
                    <a:lnTo>
                      <a:pt x="197" y="136"/>
                    </a:lnTo>
                    <a:lnTo>
                      <a:pt x="199" y="136"/>
                    </a:lnTo>
                    <a:lnTo>
                      <a:pt x="201" y="136"/>
                    </a:lnTo>
                    <a:lnTo>
                      <a:pt x="203" y="136"/>
                    </a:lnTo>
                    <a:lnTo>
                      <a:pt x="205" y="136"/>
                    </a:lnTo>
                    <a:lnTo>
                      <a:pt x="207" y="136"/>
                    </a:lnTo>
                    <a:lnTo>
                      <a:pt x="207" y="134"/>
                    </a:lnTo>
                    <a:lnTo>
                      <a:pt x="207" y="132"/>
                    </a:lnTo>
                    <a:lnTo>
                      <a:pt x="209" y="132"/>
                    </a:lnTo>
                    <a:lnTo>
                      <a:pt x="209" y="130"/>
                    </a:lnTo>
                    <a:lnTo>
                      <a:pt x="209" y="128"/>
                    </a:lnTo>
                    <a:lnTo>
                      <a:pt x="211" y="128"/>
                    </a:lnTo>
                    <a:lnTo>
                      <a:pt x="211" y="126"/>
                    </a:lnTo>
                    <a:lnTo>
                      <a:pt x="213" y="126"/>
                    </a:lnTo>
                    <a:lnTo>
                      <a:pt x="213" y="124"/>
                    </a:lnTo>
                    <a:lnTo>
                      <a:pt x="213" y="123"/>
                    </a:lnTo>
                    <a:lnTo>
                      <a:pt x="213" y="121"/>
                    </a:lnTo>
                    <a:lnTo>
                      <a:pt x="211" y="121"/>
                    </a:lnTo>
                    <a:lnTo>
                      <a:pt x="211" y="119"/>
                    </a:lnTo>
                    <a:lnTo>
                      <a:pt x="211" y="117"/>
                    </a:lnTo>
                    <a:lnTo>
                      <a:pt x="211" y="115"/>
                    </a:lnTo>
                    <a:lnTo>
                      <a:pt x="213" y="115"/>
                    </a:lnTo>
                    <a:lnTo>
                      <a:pt x="213" y="113"/>
                    </a:lnTo>
                    <a:lnTo>
                      <a:pt x="215" y="113"/>
                    </a:lnTo>
                    <a:lnTo>
                      <a:pt x="215" y="111"/>
                    </a:lnTo>
                    <a:lnTo>
                      <a:pt x="215" y="109"/>
                    </a:lnTo>
                    <a:lnTo>
                      <a:pt x="217" y="109"/>
                    </a:lnTo>
                    <a:lnTo>
                      <a:pt x="217" y="107"/>
                    </a:lnTo>
                    <a:lnTo>
                      <a:pt x="217" y="109"/>
                    </a:lnTo>
                    <a:lnTo>
                      <a:pt x="218" y="109"/>
                    </a:lnTo>
                    <a:lnTo>
                      <a:pt x="218" y="107"/>
                    </a:lnTo>
                    <a:lnTo>
                      <a:pt x="220" y="107"/>
                    </a:lnTo>
                    <a:lnTo>
                      <a:pt x="220" y="109"/>
                    </a:lnTo>
                    <a:lnTo>
                      <a:pt x="222" y="109"/>
                    </a:lnTo>
                    <a:lnTo>
                      <a:pt x="224" y="109"/>
                    </a:lnTo>
                    <a:lnTo>
                      <a:pt x="224" y="107"/>
                    </a:lnTo>
                    <a:lnTo>
                      <a:pt x="226" y="107"/>
                    </a:lnTo>
                    <a:lnTo>
                      <a:pt x="226" y="105"/>
                    </a:lnTo>
                    <a:lnTo>
                      <a:pt x="224" y="105"/>
                    </a:lnTo>
                    <a:lnTo>
                      <a:pt x="222" y="105"/>
                    </a:lnTo>
                    <a:lnTo>
                      <a:pt x="222" y="103"/>
                    </a:lnTo>
                    <a:lnTo>
                      <a:pt x="220" y="103"/>
                    </a:lnTo>
                    <a:lnTo>
                      <a:pt x="220" y="101"/>
                    </a:lnTo>
                    <a:lnTo>
                      <a:pt x="220" y="99"/>
                    </a:lnTo>
                    <a:lnTo>
                      <a:pt x="222" y="98"/>
                    </a:lnTo>
                    <a:lnTo>
                      <a:pt x="224" y="96"/>
                    </a:lnTo>
                    <a:lnTo>
                      <a:pt x="224" y="94"/>
                    </a:lnTo>
                    <a:lnTo>
                      <a:pt x="224" y="92"/>
                    </a:lnTo>
                    <a:lnTo>
                      <a:pt x="224" y="90"/>
                    </a:lnTo>
                    <a:lnTo>
                      <a:pt x="224" y="88"/>
                    </a:lnTo>
                    <a:lnTo>
                      <a:pt x="222" y="86"/>
                    </a:lnTo>
                    <a:lnTo>
                      <a:pt x="220" y="86"/>
                    </a:lnTo>
                    <a:lnTo>
                      <a:pt x="218" y="84"/>
                    </a:lnTo>
                    <a:lnTo>
                      <a:pt x="217" y="84"/>
                    </a:lnTo>
                    <a:lnTo>
                      <a:pt x="217" y="82"/>
                    </a:lnTo>
                    <a:lnTo>
                      <a:pt x="215" y="82"/>
                    </a:lnTo>
                    <a:lnTo>
                      <a:pt x="213" y="80"/>
                    </a:lnTo>
                    <a:lnTo>
                      <a:pt x="211" y="78"/>
                    </a:lnTo>
                    <a:lnTo>
                      <a:pt x="211" y="76"/>
                    </a:lnTo>
                    <a:lnTo>
                      <a:pt x="213" y="71"/>
                    </a:lnTo>
                    <a:lnTo>
                      <a:pt x="213" y="73"/>
                    </a:lnTo>
                    <a:lnTo>
                      <a:pt x="215" y="73"/>
                    </a:lnTo>
                    <a:lnTo>
                      <a:pt x="215" y="71"/>
                    </a:lnTo>
                    <a:lnTo>
                      <a:pt x="217" y="65"/>
                    </a:lnTo>
                    <a:lnTo>
                      <a:pt x="218" y="59"/>
                    </a:lnTo>
                    <a:lnTo>
                      <a:pt x="220" y="59"/>
                    </a:lnTo>
                    <a:lnTo>
                      <a:pt x="222" y="59"/>
                    </a:lnTo>
                    <a:lnTo>
                      <a:pt x="224" y="59"/>
                    </a:lnTo>
                    <a:lnTo>
                      <a:pt x="224" y="61"/>
                    </a:lnTo>
                    <a:lnTo>
                      <a:pt x="226" y="61"/>
                    </a:lnTo>
                    <a:lnTo>
                      <a:pt x="228" y="61"/>
                    </a:lnTo>
                    <a:lnTo>
                      <a:pt x="230" y="61"/>
                    </a:lnTo>
                    <a:lnTo>
                      <a:pt x="232" y="61"/>
                    </a:lnTo>
                    <a:lnTo>
                      <a:pt x="234" y="61"/>
                    </a:lnTo>
                    <a:lnTo>
                      <a:pt x="236" y="61"/>
                    </a:lnTo>
                    <a:lnTo>
                      <a:pt x="238" y="59"/>
                    </a:lnTo>
                    <a:lnTo>
                      <a:pt x="238" y="57"/>
                    </a:lnTo>
                    <a:lnTo>
                      <a:pt x="240" y="55"/>
                    </a:lnTo>
                    <a:lnTo>
                      <a:pt x="240" y="53"/>
                    </a:lnTo>
                    <a:lnTo>
                      <a:pt x="242" y="53"/>
                    </a:lnTo>
                    <a:lnTo>
                      <a:pt x="243" y="51"/>
                    </a:lnTo>
                    <a:lnTo>
                      <a:pt x="243" y="50"/>
                    </a:lnTo>
                    <a:lnTo>
                      <a:pt x="245" y="50"/>
                    </a:lnTo>
                    <a:lnTo>
                      <a:pt x="245" y="48"/>
                    </a:lnTo>
                    <a:lnTo>
                      <a:pt x="245" y="46"/>
                    </a:lnTo>
                    <a:lnTo>
                      <a:pt x="245" y="44"/>
                    </a:lnTo>
                    <a:lnTo>
                      <a:pt x="247" y="44"/>
                    </a:lnTo>
                    <a:lnTo>
                      <a:pt x="249" y="46"/>
                    </a:lnTo>
                    <a:lnTo>
                      <a:pt x="249" y="44"/>
                    </a:lnTo>
                    <a:lnTo>
                      <a:pt x="251" y="44"/>
                    </a:lnTo>
                    <a:lnTo>
                      <a:pt x="253" y="44"/>
                    </a:lnTo>
                    <a:lnTo>
                      <a:pt x="255" y="44"/>
                    </a:lnTo>
                    <a:lnTo>
                      <a:pt x="255" y="42"/>
                    </a:lnTo>
                    <a:lnTo>
                      <a:pt x="255" y="40"/>
                    </a:lnTo>
                    <a:lnTo>
                      <a:pt x="255" y="38"/>
                    </a:lnTo>
                    <a:lnTo>
                      <a:pt x="253" y="38"/>
                    </a:lnTo>
                    <a:lnTo>
                      <a:pt x="253" y="36"/>
                    </a:lnTo>
                    <a:lnTo>
                      <a:pt x="251" y="36"/>
                    </a:lnTo>
                    <a:lnTo>
                      <a:pt x="249" y="36"/>
                    </a:lnTo>
                    <a:lnTo>
                      <a:pt x="247" y="34"/>
                    </a:lnTo>
                    <a:lnTo>
                      <a:pt x="247" y="32"/>
                    </a:lnTo>
                    <a:lnTo>
                      <a:pt x="247" y="30"/>
                    </a:lnTo>
                    <a:lnTo>
                      <a:pt x="247" y="28"/>
                    </a:lnTo>
                    <a:lnTo>
                      <a:pt x="247" y="25"/>
                    </a:lnTo>
                    <a:lnTo>
                      <a:pt x="249" y="23"/>
                    </a:lnTo>
                    <a:lnTo>
                      <a:pt x="249" y="21"/>
                    </a:lnTo>
                    <a:lnTo>
                      <a:pt x="251" y="19"/>
                    </a:lnTo>
                    <a:lnTo>
                      <a:pt x="255" y="17"/>
                    </a:lnTo>
                    <a:lnTo>
                      <a:pt x="257" y="15"/>
                    </a:lnTo>
                    <a:lnTo>
                      <a:pt x="259" y="15"/>
                    </a:lnTo>
                    <a:lnTo>
                      <a:pt x="259" y="17"/>
                    </a:lnTo>
                    <a:lnTo>
                      <a:pt x="261" y="17"/>
                    </a:lnTo>
                    <a:lnTo>
                      <a:pt x="263" y="17"/>
                    </a:lnTo>
                    <a:lnTo>
                      <a:pt x="265" y="17"/>
                    </a:lnTo>
                    <a:lnTo>
                      <a:pt x="265" y="19"/>
                    </a:lnTo>
                    <a:lnTo>
                      <a:pt x="263" y="19"/>
                    </a:lnTo>
                    <a:lnTo>
                      <a:pt x="263" y="21"/>
                    </a:lnTo>
                    <a:lnTo>
                      <a:pt x="265" y="21"/>
                    </a:lnTo>
                    <a:lnTo>
                      <a:pt x="266" y="21"/>
                    </a:lnTo>
                    <a:lnTo>
                      <a:pt x="266" y="23"/>
                    </a:lnTo>
                    <a:lnTo>
                      <a:pt x="268" y="23"/>
                    </a:lnTo>
                    <a:lnTo>
                      <a:pt x="270" y="23"/>
                    </a:lnTo>
                    <a:lnTo>
                      <a:pt x="274" y="25"/>
                    </a:lnTo>
                    <a:lnTo>
                      <a:pt x="276" y="25"/>
                    </a:lnTo>
                    <a:lnTo>
                      <a:pt x="276" y="27"/>
                    </a:lnTo>
                    <a:lnTo>
                      <a:pt x="278" y="27"/>
                    </a:lnTo>
                    <a:lnTo>
                      <a:pt x="278" y="25"/>
                    </a:lnTo>
                    <a:lnTo>
                      <a:pt x="278" y="23"/>
                    </a:lnTo>
                    <a:lnTo>
                      <a:pt x="280" y="23"/>
                    </a:lnTo>
                    <a:lnTo>
                      <a:pt x="280" y="21"/>
                    </a:lnTo>
                    <a:lnTo>
                      <a:pt x="282" y="21"/>
                    </a:lnTo>
                    <a:lnTo>
                      <a:pt x="282" y="19"/>
                    </a:lnTo>
                    <a:lnTo>
                      <a:pt x="284" y="19"/>
                    </a:lnTo>
                    <a:lnTo>
                      <a:pt x="284" y="17"/>
                    </a:lnTo>
                    <a:lnTo>
                      <a:pt x="286" y="17"/>
                    </a:lnTo>
                    <a:lnTo>
                      <a:pt x="288" y="19"/>
                    </a:lnTo>
                    <a:lnTo>
                      <a:pt x="290" y="19"/>
                    </a:lnTo>
                    <a:lnTo>
                      <a:pt x="290" y="21"/>
                    </a:lnTo>
                    <a:lnTo>
                      <a:pt x="291" y="21"/>
                    </a:lnTo>
                    <a:lnTo>
                      <a:pt x="291" y="23"/>
                    </a:lnTo>
                    <a:lnTo>
                      <a:pt x="293" y="23"/>
                    </a:lnTo>
                    <a:lnTo>
                      <a:pt x="293" y="25"/>
                    </a:lnTo>
                    <a:lnTo>
                      <a:pt x="295" y="27"/>
                    </a:lnTo>
                    <a:lnTo>
                      <a:pt x="295" y="28"/>
                    </a:lnTo>
                    <a:lnTo>
                      <a:pt x="297" y="28"/>
                    </a:lnTo>
                    <a:lnTo>
                      <a:pt x="299" y="28"/>
                    </a:lnTo>
                    <a:lnTo>
                      <a:pt x="301" y="27"/>
                    </a:lnTo>
                    <a:lnTo>
                      <a:pt x="309" y="25"/>
                    </a:lnTo>
                    <a:lnTo>
                      <a:pt x="309" y="23"/>
                    </a:lnTo>
                    <a:lnTo>
                      <a:pt x="311" y="23"/>
                    </a:lnTo>
                    <a:lnTo>
                      <a:pt x="313" y="23"/>
                    </a:lnTo>
                    <a:lnTo>
                      <a:pt x="313" y="21"/>
                    </a:lnTo>
                    <a:lnTo>
                      <a:pt x="314" y="21"/>
                    </a:lnTo>
                    <a:lnTo>
                      <a:pt x="316" y="21"/>
                    </a:lnTo>
                    <a:lnTo>
                      <a:pt x="316" y="23"/>
                    </a:lnTo>
                    <a:lnTo>
                      <a:pt x="318" y="23"/>
                    </a:lnTo>
                    <a:lnTo>
                      <a:pt x="318" y="25"/>
                    </a:lnTo>
                    <a:lnTo>
                      <a:pt x="320" y="25"/>
                    </a:lnTo>
                    <a:lnTo>
                      <a:pt x="322" y="25"/>
                    </a:lnTo>
                    <a:lnTo>
                      <a:pt x="324" y="25"/>
                    </a:lnTo>
                    <a:lnTo>
                      <a:pt x="324" y="23"/>
                    </a:lnTo>
                    <a:lnTo>
                      <a:pt x="326" y="21"/>
                    </a:lnTo>
                    <a:lnTo>
                      <a:pt x="326" y="19"/>
                    </a:lnTo>
                    <a:lnTo>
                      <a:pt x="328" y="21"/>
                    </a:lnTo>
                    <a:lnTo>
                      <a:pt x="330" y="21"/>
                    </a:lnTo>
                    <a:lnTo>
                      <a:pt x="332" y="21"/>
                    </a:lnTo>
                    <a:lnTo>
                      <a:pt x="332" y="23"/>
                    </a:lnTo>
                    <a:lnTo>
                      <a:pt x="334" y="23"/>
                    </a:lnTo>
                    <a:lnTo>
                      <a:pt x="334" y="25"/>
                    </a:lnTo>
                    <a:lnTo>
                      <a:pt x="336" y="25"/>
                    </a:lnTo>
                    <a:lnTo>
                      <a:pt x="338" y="25"/>
                    </a:lnTo>
                    <a:lnTo>
                      <a:pt x="339" y="25"/>
                    </a:lnTo>
                    <a:lnTo>
                      <a:pt x="341" y="25"/>
                    </a:lnTo>
                    <a:lnTo>
                      <a:pt x="343" y="23"/>
                    </a:lnTo>
                    <a:lnTo>
                      <a:pt x="345" y="23"/>
                    </a:lnTo>
                    <a:lnTo>
                      <a:pt x="345" y="25"/>
                    </a:lnTo>
                    <a:lnTo>
                      <a:pt x="347" y="25"/>
                    </a:lnTo>
                    <a:lnTo>
                      <a:pt x="349" y="25"/>
                    </a:lnTo>
                    <a:lnTo>
                      <a:pt x="351" y="25"/>
                    </a:lnTo>
                    <a:lnTo>
                      <a:pt x="351" y="27"/>
                    </a:lnTo>
                    <a:lnTo>
                      <a:pt x="351" y="25"/>
                    </a:lnTo>
                    <a:lnTo>
                      <a:pt x="353" y="25"/>
                    </a:lnTo>
                    <a:lnTo>
                      <a:pt x="355" y="25"/>
                    </a:lnTo>
                    <a:lnTo>
                      <a:pt x="357" y="25"/>
                    </a:lnTo>
                    <a:lnTo>
                      <a:pt x="359" y="25"/>
                    </a:lnTo>
                    <a:lnTo>
                      <a:pt x="361" y="25"/>
                    </a:lnTo>
                    <a:lnTo>
                      <a:pt x="361" y="23"/>
                    </a:lnTo>
                    <a:lnTo>
                      <a:pt x="362" y="23"/>
                    </a:lnTo>
                    <a:lnTo>
                      <a:pt x="364" y="21"/>
                    </a:lnTo>
                    <a:lnTo>
                      <a:pt x="366" y="19"/>
                    </a:lnTo>
                    <a:lnTo>
                      <a:pt x="366" y="17"/>
                    </a:lnTo>
                    <a:lnTo>
                      <a:pt x="366" y="15"/>
                    </a:lnTo>
                    <a:lnTo>
                      <a:pt x="368" y="15"/>
                    </a:lnTo>
                    <a:lnTo>
                      <a:pt x="368" y="13"/>
                    </a:lnTo>
                    <a:lnTo>
                      <a:pt x="370" y="13"/>
                    </a:lnTo>
                    <a:lnTo>
                      <a:pt x="370" y="11"/>
                    </a:lnTo>
                    <a:lnTo>
                      <a:pt x="372" y="11"/>
                    </a:lnTo>
                    <a:lnTo>
                      <a:pt x="374" y="9"/>
                    </a:lnTo>
                    <a:lnTo>
                      <a:pt x="376" y="7"/>
                    </a:lnTo>
                    <a:lnTo>
                      <a:pt x="380" y="5"/>
                    </a:lnTo>
                    <a:lnTo>
                      <a:pt x="384" y="3"/>
                    </a:lnTo>
                    <a:lnTo>
                      <a:pt x="384" y="2"/>
                    </a:lnTo>
                    <a:lnTo>
                      <a:pt x="384" y="0"/>
                    </a:lnTo>
                    <a:lnTo>
                      <a:pt x="386" y="0"/>
                    </a:lnTo>
                    <a:lnTo>
                      <a:pt x="387" y="0"/>
                    </a:lnTo>
                    <a:lnTo>
                      <a:pt x="389" y="0"/>
                    </a:lnTo>
                    <a:lnTo>
                      <a:pt x="391" y="0"/>
                    </a:lnTo>
                    <a:lnTo>
                      <a:pt x="391" y="2"/>
                    </a:lnTo>
                    <a:lnTo>
                      <a:pt x="393" y="2"/>
                    </a:lnTo>
                    <a:lnTo>
                      <a:pt x="395" y="2"/>
                    </a:lnTo>
                    <a:lnTo>
                      <a:pt x="395" y="3"/>
                    </a:lnTo>
                    <a:lnTo>
                      <a:pt x="395" y="5"/>
                    </a:lnTo>
                    <a:lnTo>
                      <a:pt x="397" y="5"/>
                    </a:lnTo>
                    <a:lnTo>
                      <a:pt x="397" y="7"/>
                    </a:lnTo>
                    <a:lnTo>
                      <a:pt x="399" y="7"/>
                    </a:lnTo>
                    <a:lnTo>
                      <a:pt x="401" y="7"/>
                    </a:lnTo>
                    <a:lnTo>
                      <a:pt x="403" y="9"/>
                    </a:lnTo>
                    <a:lnTo>
                      <a:pt x="405" y="9"/>
                    </a:lnTo>
                    <a:lnTo>
                      <a:pt x="405" y="11"/>
                    </a:lnTo>
                    <a:lnTo>
                      <a:pt x="405" y="13"/>
                    </a:lnTo>
                    <a:lnTo>
                      <a:pt x="405" y="15"/>
                    </a:lnTo>
                    <a:lnTo>
                      <a:pt x="407" y="15"/>
                    </a:lnTo>
                    <a:lnTo>
                      <a:pt x="409" y="15"/>
                    </a:lnTo>
                    <a:lnTo>
                      <a:pt x="410" y="13"/>
                    </a:lnTo>
                    <a:lnTo>
                      <a:pt x="412" y="13"/>
                    </a:lnTo>
                    <a:lnTo>
                      <a:pt x="414" y="11"/>
                    </a:lnTo>
                    <a:lnTo>
                      <a:pt x="416" y="9"/>
                    </a:lnTo>
                    <a:lnTo>
                      <a:pt x="418" y="9"/>
                    </a:lnTo>
                    <a:lnTo>
                      <a:pt x="418" y="7"/>
                    </a:lnTo>
                    <a:lnTo>
                      <a:pt x="420" y="7"/>
                    </a:lnTo>
                    <a:lnTo>
                      <a:pt x="422" y="7"/>
                    </a:lnTo>
                    <a:lnTo>
                      <a:pt x="424" y="9"/>
                    </a:lnTo>
                    <a:lnTo>
                      <a:pt x="426" y="9"/>
                    </a:lnTo>
                    <a:lnTo>
                      <a:pt x="428" y="11"/>
                    </a:lnTo>
                    <a:lnTo>
                      <a:pt x="430" y="13"/>
                    </a:lnTo>
                    <a:lnTo>
                      <a:pt x="432" y="13"/>
                    </a:lnTo>
                    <a:lnTo>
                      <a:pt x="434" y="15"/>
                    </a:lnTo>
                    <a:lnTo>
                      <a:pt x="437" y="17"/>
                    </a:lnTo>
                    <a:lnTo>
                      <a:pt x="439" y="17"/>
                    </a:lnTo>
                    <a:lnTo>
                      <a:pt x="439" y="19"/>
                    </a:lnTo>
                    <a:lnTo>
                      <a:pt x="441" y="19"/>
                    </a:lnTo>
                    <a:lnTo>
                      <a:pt x="443" y="19"/>
                    </a:lnTo>
                    <a:lnTo>
                      <a:pt x="443" y="21"/>
                    </a:lnTo>
                    <a:lnTo>
                      <a:pt x="445" y="21"/>
                    </a:lnTo>
                    <a:lnTo>
                      <a:pt x="447" y="21"/>
                    </a:lnTo>
                    <a:lnTo>
                      <a:pt x="447" y="19"/>
                    </a:lnTo>
                    <a:lnTo>
                      <a:pt x="449" y="19"/>
                    </a:lnTo>
                    <a:lnTo>
                      <a:pt x="449" y="17"/>
                    </a:lnTo>
                    <a:lnTo>
                      <a:pt x="451" y="15"/>
                    </a:lnTo>
                    <a:lnTo>
                      <a:pt x="453" y="13"/>
                    </a:lnTo>
                    <a:lnTo>
                      <a:pt x="455" y="11"/>
                    </a:lnTo>
                    <a:lnTo>
                      <a:pt x="457" y="9"/>
                    </a:lnTo>
                    <a:lnTo>
                      <a:pt x="458" y="9"/>
                    </a:lnTo>
                    <a:lnTo>
                      <a:pt x="460" y="9"/>
                    </a:lnTo>
                    <a:lnTo>
                      <a:pt x="462" y="9"/>
                    </a:lnTo>
                    <a:lnTo>
                      <a:pt x="462" y="11"/>
                    </a:lnTo>
                    <a:lnTo>
                      <a:pt x="464" y="11"/>
                    </a:lnTo>
                    <a:lnTo>
                      <a:pt x="464" y="9"/>
                    </a:lnTo>
                    <a:lnTo>
                      <a:pt x="464" y="11"/>
                    </a:lnTo>
                    <a:lnTo>
                      <a:pt x="464" y="13"/>
                    </a:lnTo>
                    <a:lnTo>
                      <a:pt x="462" y="13"/>
                    </a:lnTo>
                    <a:lnTo>
                      <a:pt x="462" y="15"/>
                    </a:lnTo>
                    <a:lnTo>
                      <a:pt x="462" y="17"/>
                    </a:lnTo>
                    <a:lnTo>
                      <a:pt x="462" y="19"/>
                    </a:lnTo>
                    <a:lnTo>
                      <a:pt x="462" y="21"/>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2" name="Freeform 204">
                <a:extLst>
                  <a:ext uri="{FF2B5EF4-FFF2-40B4-BE49-F238E27FC236}">
                    <a16:creationId xmlns:a16="http://schemas.microsoft.com/office/drawing/2014/main" id="{1D8C4BA8-19A6-4918-9096-32C175F7091D}"/>
                  </a:ext>
                </a:extLst>
              </p:cNvPr>
              <p:cNvSpPr>
                <a:spLocks/>
              </p:cNvSpPr>
              <p:nvPr/>
            </p:nvSpPr>
            <p:spPr bwMode="auto">
              <a:xfrm>
                <a:off x="4217789" y="2315012"/>
                <a:ext cx="761301" cy="1299997"/>
              </a:xfrm>
              <a:custGeom>
                <a:avLst/>
                <a:gdLst>
                  <a:gd name="T0" fmla="*/ 407 w 513"/>
                  <a:gd name="T1" fmla="*/ 41 h 876"/>
                  <a:gd name="T2" fmla="*/ 397 w 513"/>
                  <a:gd name="T3" fmla="*/ 92 h 876"/>
                  <a:gd name="T4" fmla="*/ 436 w 513"/>
                  <a:gd name="T5" fmla="*/ 135 h 876"/>
                  <a:gd name="T6" fmla="*/ 451 w 513"/>
                  <a:gd name="T7" fmla="*/ 158 h 876"/>
                  <a:gd name="T8" fmla="*/ 480 w 513"/>
                  <a:gd name="T9" fmla="*/ 175 h 876"/>
                  <a:gd name="T10" fmla="*/ 495 w 513"/>
                  <a:gd name="T11" fmla="*/ 202 h 876"/>
                  <a:gd name="T12" fmla="*/ 482 w 513"/>
                  <a:gd name="T13" fmla="*/ 238 h 876"/>
                  <a:gd name="T14" fmla="*/ 474 w 513"/>
                  <a:gd name="T15" fmla="*/ 263 h 876"/>
                  <a:gd name="T16" fmla="*/ 451 w 513"/>
                  <a:gd name="T17" fmla="*/ 292 h 876"/>
                  <a:gd name="T18" fmla="*/ 463 w 513"/>
                  <a:gd name="T19" fmla="*/ 323 h 876"/>
                  <a:gd name="T20" fmla="*/ 472 w 513"/>
                  <a:gd name="T21" fmla="*/ 354 h 876"/>
                  <a:gd name="T22" fmla="*/ 497 w 513"/>
                  <a:gd name="T23" fmla="*/ 392 h 876"/>
                  <a:gd name="T24" fmla="*/ 495 w 513"/>
                  <a:gd name="T25" fmla="*/ 423 h 876"/>
                  <a:gd name="T26" fmla="*/ 488 w 513"/>
                  <a:gd name="T27" fmla="*/ 469 h 876"/>
                  <a:gd name="T28" fmla="*/ 484 w 513"/>
                  <a:gd name="T29" fmla="*/ 492 h 876"/>
                  <a:gd name="T30" fmla="*/ 499 w 513"/>
                  <a:gd name="T31" fmla="*/ 521 h 876"/>
                  <a:gd name="T32" fmla="*/ 492 w 513"/>
                  <a:gd name="T33" fmla="*/ 582 h 876"/>
                  <a:gd name="T34" fmla="*/ 488 w 513"/>
                  <a:gd name="T35" fmla="*/ 628 h 876"/>
                  <a:gd name="T36" fmla="*/ 449 w 513"/>
                  <a:gd name="T37" fmla="*/ 636 h 876"/>
                  <a:gd name="T38" fmla="*/ 411 w 513"/>
                  <a:gd name="T39" fmla="*/ 630 h 876"/>
                  <a:gd name="T40" fmla="*/ 380 w 513"/>
                  <a:gd name="T41" fmla="*/ 645 h 876"/>
                  <a:gd name="T42" fmla="*/ 351 w 513"/>
                  <a:gd name="T43" fmla="*/ 667 h 876"/>
                  <a:gd name="T44" fmla="*/ 340 w 513"/>
                  <a:gd name="T45" fmla="*/ 713 h 876"/>
                  <a:gd name="T46" fmla="*/ 334 w 513"/>
                  <a:gd name="T47" fmla="*/ 776 h 876"/>
                  <a:gd name="T48" fmla="*/ 323 w 513"/>
                  <a:gd name="T49" fmla="*/ 820 h 876"/>
                  <a:gd name="T50" fmla="*/ 276 w 513"/>
                  <a:gd name="T51" fmla="*/ 839 h 876"/>
                  <a:gd name="T52" fmla="*/ 228 w 513"/>
                  <a:gd name="T53" fmla="*/ 851 h 876"/>
                  <a:gd name="T54" fmla="*/ 173 w 513"/>
                  <a:gd name="T55" fmla="*/ 851 h 876"/>
                  <a:gd name="T56" fmla="*/ 146 w 513"/>
                  <a:gd name="T57" fmla="*/ 843 h 876"/>
                  <a:gd name="T58" fmla="*/ 125 w 513"/>
                  <a:gd name="T59" fmla="*/ 847 h 876"/>
                  <a:gd name="T60" fmla="*/ 123 w 513"/>
                  <a:gd name="T61" fmla="*/ 862 h 876"/>
                  <a:gd name="T62" fmla="*/ 84 w 513"/>
                  <a:gd name="T63" fmla="*/ 876 h 876"/>
                  <a:gd name="T64" fmla="*/ 50 w 513"/>
                  <a:gd name="T65" fmla="*/ 830 h 876"/>
                  <a:gd name="T66" fmla="*/ 27 w 513"/>
                  <a:gd name="T67" fmla="*/ 818 h 876"/>
                  <a:gd name="T68" fmla="*/ 21 w 513"/>
                  <a:gd name="T69" fmla="*/ 789 h 876"/>
                  <a:gd name="T70" fmla="*/ 11 w 513"/>
                  <a:gd name="T71" fmla="*/ 768 h 876"/>
                  <a:gd name="T72" fmla="*/ 10 w 513"/>
                  <a:gd name="T73" fmla="*/ 738 h 876"/>
                  <a:gd name="T74" fmla="*/ 11 w 513"/>
                  <a:gd name="T75" fmla="*/ 716 h 876"/>
                  <a:gd name="T76" fmla="*/ 6 w 513"/>
                  <a:gd name="T77" fmla="*/ 688 h 876"/>
                  <a:gd name="T78" fmla="*/ 13 w 513"/>
                  <a:gd name="T79" fmla="*/ 653 h 876"/>
                  <a:gd name="T80" fmla="*/ 21 w 513"/>
                  <a:gd name="T81" fmla="*/ 626 h 876"/>
                  <a:gd name="T82" fmla="*/ 21 w 513"/>
                  <a:gd name="T83" fmla="*/ 590 h 876"/>
                  <a:gd name="T84" fmla="*/ 27 w 513"/>
                  <a:gd name="T85" fmla="*/ 553 h 876"/>
                  <a:gd name="T86" fmla="*/ 42 w 513"/>
                  <a:gd name="T87" fmla="*/ 526 h 876"/>
                  <a:gd name="T88" fmla="*/ 48 w 513"/>
                  <a:gd name="T89" fmla="*/ 492 h 876"/>
                  <a:gd name="T90" fmla="*/ 54 w 513"/>
                  <a:gd name="T91" fmla="*/ 459 h 876"/>
                  <a:gd name="T92" fmla="*/ 38 w 513"/>
                  <a:gd name="T93" fmla="*/ 411 h 876"/>
                  <a:gd name="T94" fmla="*/ 63 w 513"/>
                  <a:gd name="T95" fmla="*/ 380 h 876"/>
                  <a:gd name="T96" fmla="*/ 81 w 513"/>
                  <a:gd name="T97" fmla="*/ 348 h 876"/>
                  <a:gd name="T98" fmla="*/ 81 w 513"/>
                  <a:gd name="T99" fmla="*/ 304 h 876"/>
                  <a:gd name="T100" fmla="*/ 71 w 513"/>
                  <a:gd name="T101" fmla="*/ 256 h 876"/>
                  <a:gd name="T102" fmla="*/ 83 w 513"/>
                  <a:gd name="T103" fmla="*/ 212 h 876"/>
                  <a:gd name="T104" fmla="*/ 94 w 513"/>
                  <a:gd name="T105" fmla="*/ 183 h 876"/>
                  <a:gd name="T106" fmla="*/ 104 w 513"/>
                  <a:gd name="T107" fmla="*/ 146 h 876"/>
                  <a:gd name="T108" fmla="*/ 131 w 513"/>
                  <a:gd name="T109" fmla="*/ 127 h 876"/>
                  <a:gd name="T110" fmla="*/ 165 w 513"/>
                  <a:gd name="T111" fmla="*/ 110 h 876"/>
                  <a:gd name="T112" fmla="*/ 194 w 513"/>
                  <a:gd name="T113" fmla="*/ 104 h 876"/>
                  <a:gd name="T114" fmla="*/ 234 w 513"/>
                  <a:gd name="T115" fmla="*/ 75 h 876"/>
                  <a:gd name="T116" fmla="*/ 265 w 513"/>
                  <a:gd name="T117" fmla="*/ 41 h 876"/>
                  <a:gd name="T118" fmla="*/ 275 w 513"/>
                  <a:gd name="T119" fmla="*/ 29 h 876"/>
                  <a:gd name="T120" fmla="*/ 315 w 513"/>
                  <a:gd name="T121" fmla="*/ 12 h 876"/>
                  <a:gd name="T122" fmla="*/ 361 w 513"/>
                  <a:gd name="T123" fmla="*/ 1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3" h="876">
                    <a:moveTo>
                      <a:pt x="376" y="2"/>
                    </a:moveTo>
                    <a:lnTo>
                      <a:pt x="376" y="4"/>
                    </a:lnTo>
                    <a:lnTo>
                      <a:pt x="378" y="4"/>
                    </a:lnTo>
                    <a:lnTo>
                      <a:pt x="380" y="4"/>
                    </a:lnTo>
                    <a:lnTo>
                      <a:pt x="380" y="6"/>
                    </a:lnTo>
                    <a:lnTo>
                      <a:pt x="378" y="8"/>
                    </a:lnTo>
                    <a:lnTo>
                      <a:pt x="378" y="10"/>
                    </a:lnTo>
                    <a:lnTo>
                      <a:pt x="376" y="10"/>
                    </a:lnTo>
                    <a:lnTo>
                      <a:pt x="376" y="12"/>
                    </a:lnTo>
                    <a:lnTo>
                      <a:pt x="378" y="12"/>
                    </a:lnTo>
                    <a:lnTo>
                      <a:pt x="378" y="14"/>
                    </a:lnTo>
                    <a:lnTo>
                      <a:pt x="378" y="16"/>
                    </a:lnTo>
                    <a:lnTo>
                      <a:pt x="380" y="16"/>
                    </a:lnTo>
                    <a:lnTo>
                      <a:pt x="382" y="16"/>
                    </a:lnTo>
                    <a:lnTo>
                      <a:pt x="384" y="16"/>
                    </a:lnTo>
                    <a:lnTo>
                      <a:pt x="386" y="16"/>
                    </a:lnTo>
                    <a:lnTo>
                      <a:pt x="386" y="18"/>
                    </a:lnTo>
                    <a:lnTo>
                      <a:pt x="388" y="18"/>
                    </a:lnTo>
                    <a:lnTo>
                      <a:pt x="390" y="18"/>
                    </a:lnTo>
                    <a:lnTo>
                      <a:pt x="392" y="18"/>
                    </a:lnTo>
                    <a:lnTo>
                      <a:pt x="394" y="18"/>
                    </a:lnTo>
                    <a:lnTo>
                      <a:pt x="396" y="18"/>
                    </a:lnTo>
                    <a:lnTo>
                      <a:pt x="396" y="20"/>
                    </a:lnTo>
                    <a:lnTo>
                      <a:pt x="396" y="21"/>
                    </a:lnTo>
                    <a:lnTo>
                      <a:pt x="396" y="23"/>
                    </a:lnTo>
                    <a:lnTo>
                      <a:pt x="396" y="25"/>
                    </a:lnTo>
                    <a:lnTo>
                      <a:pt x="396" y="27"/>
                    </a:lnTo>
                    <a:lnTo>
                      <a:pt x="396" y="29"/>
                    </a:lnTo>
                    <a:lnTo>
                      <a:pt x="396" y="31"/>
                    </a:lnTo>
                    <a:lnTo>
                      <a:pt x="397" y="31"/>
                    </a:lnTo>
                    <a:lnTo>
                      <a:pt x="397" y="33"/>
                    </a:lnTo>
                    <a:lnTo>
                      <a:pt x="399" y="33"/>
                    </a:lnTo>
                    <a:lnTo>
                      <a:pt x="399" y="35"/>
                    </a:lnTo>
                    <a:lnTo>
                      <a:pt x="401" y="35"/>
                    </a:lnTo>
                    <a:lnTo>
                      <a:pt x="401" y="37"/>
                    </a:lnTo>
                    <a:lnTo>
                      <a:pt x="403" y="37"/>
                    </a:lnTo>
                    <a:lnTo>
                      <a:pt x="405" y="39"/>
                    </a:lnTo>
                    <a:lnTo>
                      <a:pt x="407" y="41"/>
                    </a:lnTo>
                    <a:lnTo>
                      <a:pt x="409" y="43"/>
                    </a:lnTo>
                    <a:lnTo>
                      <a:pt x="409" y="44"/>
                    </a:lnTo>
                    <a:lnTo>
                      <a:pt x="409" y="48"/>
                    </a:lnTo>
                    <a:lnTo>
                      <a:pt x="409" y="50"/>
                    </a:lnTo>
                    <a:lnTo>
                      <a:pt x="411" y="50"/>
                    </a:lnTo>
                    <a:lnTo>
                      <a:pt x="411" y="52"/>
                    </a:lnTo>
                    <a:lnTo>
                      <a:pt x="413" y="52"/>
                    </a:lnTo>
                    <a:lnTo>
                      <a:pt x="415" y="50"/>
                    </a:lnTo>
                    <a:lnTo>
                      <a:pt x="417" y="50"/>
                    </a:lnTo>
                    <a:lnTo>
                      <a:pt x="417" y="52"/>
                    </a:lnTo>
                    <a:lnTo>
                      <a:pt x="417" y="50"/>
                    </a:lnTo>
                    <a:lnTo>
                      <a:pt x="419" y="50"/>
                    </a:lnTo>
                    <a:lnTo>
                      <a:pt x="419" y="52"/>
                    </a:lnTo>
                    <a:lnTo>
                      <a:pt x="419" y="54"/>
                    </a:lnTo>
                    <a:lnTo>
                      <a:pt x="417" y="54"/>
                    </a:lnTo>
                    <a:lnTo>
                      <a:pt x="417" y="56"/>
                    </a:lnTo>
                    <a:lnTo>
                      <a:pt x="417" y="58"/>
                    </a:lnTo>
                    <a:lnTo>
                      <a:pt x="415" y="58"/>
                    </a:lnTo>
                    <a:lnTo>
                      <a:pt x="415" y="60"/>
                    </a:lnTo>
                    <a:lnTo>
                      <a:pt x="415" y="62"/>
                    </a:lnTo>
                    <a:lnTo>
                      <a:pt x="415" y="64"/>
                    </a:lnTo>
                    <a:lnTo>
                      <a:pt x="415" y="66"/>
                    </a:lnTo>
                    <a:lnTo>
                      <a:pt x="413" y="66"/>
                    </a:lnTo>
                    <a:lnTo>
                      <a:pt x="413" y="68"/>
                    </a:lnTo>
                    <a:lnTo>
                      <a:pt x="411" y="69"/>
                    </a:lnTo>
                    <a:lnTo>
                      <a:pt x="411" y="71"/>
                    </a:lnTo>
                    <a:lnTo>
                      <a:pt x="409" y="71"/>
                    </a:lnTo>
                    <a:lnTo>
                      <a:pt x="409" y="73"/>
                    </a:lnTo>
                    <a:lnTo>
                      <a:pt x="407" y="73"/>
                    </a:lnTo>
                    <a:lnTo>
                      <a:pt x="407" y="75"/>
                    </a:lnTo>
                    <a:lnTo>
                      <a:pt x="405" y="75"/>
                    </a:lnTo>
                    <a:lnTo>
                      <a:pt x="405" y="77"/>
                    </a:lnTo>
                    <a:lnTo>
                      <a:pt x="403" y="77"/>
                    </a:lnTo>
                    <a:lnTo>
                      <a:pt x="403" y="79"/>
                    </a:lnTo>
                    <a:lnTo>
                      <a:pt x="401" y="81"/>
                    </a:lnTo>
                    <a:lnTo>
                      <a:pt x="401" y="83"/>
                    </a:lnTo>
                    <a:lnTo>
                      <a:pt x="399" y="87"/>
                    </a:lnTo>
                    <a:lnTo>
                      <a:pt x="397" y="92"/>
                    </a:lnTo>
                    <a:lnTo>
                      <a:pt x="399" y="92"/>
                    </a:lnTo>
                    <a:lnTo>
                      <a:pt x="401" y="94"/>
                    </a:lnTo>
                    <a:lnTo>
                      <a:pt x="403" y="94"/>
                    </a:lnTo>
                    <a:lnTo>
                      <a:pt x="403" y="96"/>
                    </a:lnTo>
                    <a:lnTo>
                      <a:pt x="405" y="96"/>
                    </a:lnTo>
                    <a:lnTo>
                      <a:pt x="407" y="98"/>
                    </a:lnTo>
                    <a:lnTo>
                      <a:pt x="411" y="100"/>
                    </a:lnTo>
                    <a:lnTo>
                      <a:pt x="411" y="102"/>
                    </a:lnTo>
                    <a:lnTo>
                      <a:pt x="413" y="102"/>
                    </a:lnTo>
                    <a:lnTo>
                      <a:pt x="417" y="104"/>
                    </a:lnTo>
                    <a:lnTo>
                      <a:pt x="417" y="106"/>
                    </a:lnTo>
                    <a:lnTo>
                      <a:pt x="415" y="106"/>
                    </a:lnTo>
                    <a:lnTo>
                      <a:pt x="415" y="108"/>
                    </a:lnTo>
                    <a:lnTo>
                      <a:pt x="417" y="108"/>
                    </a:lnTo>
                    <a:lnTo>
                      <a:pt x="415" y="110"/>
                    </a:lnTo>
                    <a:lnTo>
                      <a:pt x="415" y="112"/>
                    </a:lnTo>
                    <a:lnTo>
                      <a:pt x="415" y="114"/>
                    </a:lnTo>
                    <a:lnTo>
                      <a:pt x="413" y="114"/>
                    </a:lnTo>
                    <a:lnTo>
                      <a:pt x="413" y="116"/>
                    </a:lnTo>
                    <a:lnTo>
                      <a:pt x="411" y="116"/>
                    </a:lnTo>
                    <a:lnTo>
                      <a:pt x="411" y="117"/>
                    </a:lnTo>
                    <a:lnTo>
                      <a:pt x="411" y="119"/>
                    </a:lnTo>
                    <a:lnTo>
                      <a:pt x="413" y="119"/>
                    </a:lnTo>
                    <a:lnTo>
                      <a:pt x="415" y="119"/>
                    </a:lnTo>
                    <a:lnTo>
                      <a:pt x="417" y="119"/>
                    </a:lnTo>
                    <a:lnTo>
                      <a:pt x="417" y="121"/>
                    </a:lnTo>
                    <a:lnTo>
                      <a:pt x="419" y="121"/>
                    </a:lnTo>
                    <a:lnTo>
                      <a:pt x="421" y="121"/>
                    </a:lnTo>
                    <a:lnTo>
                      <a:pt x="422" y="121"/>
                    </a:lnTo>
                    <a:lnTo>
                      <a:pt x="424" y="121"/>
                    </a:lnTo>
                    <a:lnTo>
                      <a:pt x="424" y="123"/>
                    </a:lnTo>
                    <a:lnTo>
                      <a:pt x="426" y="123"/>
                    </a:lnTo>
                    <a:lnTo>
                      <a:pt x="430" y="127"/>
                    </a:lnTo>
                    <a:lnTo>
                      <a:pt x="430" y="129"/>
                    </a:lnTo>
                    <a:lnTo>
                      <a:pt x="432" y="129"/>
                    </a:lnTo>
                    <a:lnTo>
                      <a:pt x="434" y="131"/>
                    </a:lnTo>
                    <a:lnTo>
                      <a:pt x="436" y="133"/>
                    </a:lnTo>
                    <a:lnTo>
                      <a:pt x="436" y="135"/>
                    </a:lnTo>
                    <a:lnTo>
                      <a:pt x="438" y="135"/>
                    </a:lnTo>
                    <a:lnTo>
                      <a:pt x="438" y="137"/>
                    </a:lnTo>
                    <a:lnTo>
                      <a:pt x="436" y="137"/>
                    </a:lnTo>
                    <a:lnTo>
                      <a:pt x="438" y="137"/>
                    </a:lnTo>
                    <a:lnTo>
                      <a:pt x="438" y="139"/>
                    </a:lnTo>
                    <a:lnTo>
                      <a:pt x="436" y="140"/>
                    </a:lnTo>
                    <a:lnTo>
                      <a:pt x="436" y="139"/>
                    </a:lnTo>
                    <a:lnTo>
                      <a:pt x="436" y="140"/>
                    </a:lnTo>
                    <a:lnTo>
                      <a:pt x="434" y="140"/>
                    </a:lnTo>
                    <a:lnTo>
                      <a:pt x="434" y="139"/>
                    </a:lnTo>
                    <a:lnTo>
                      <a:pt x="432" y="139"/>
                    </a:lnTo>
                    <a:lnTo>
                      <a:pt x="432" y="140"/>
                    </a:lnTo>
                    <a:lnTo>
                      <a:pt x="434" y="140"/>
                    </a:lnTo>
                    <a:lnTo>
                      <a:pt x="432" y="140"/>
                    </a:lnTo>
                    <a:lnTo>
                      <a:pt x="432" y="142"/>
                    </a:lnTo>
                    <a:lnTo>
                      <a:pt x="432" y="140"/>
                    </a:lnTo>
                    <a:lnTo>
                      <a:pt x="430" y="140"/>
                    </a:lnTo>
                    <a:lnTo>
                      <a:pt x="430" y="142"/>
                    </a:lnTo>
                    <a:lnTo>
                      <a:pt x="432" y="142"/>
                    </a:lnTo>
                    <a:lnTo>
                      <a:pt x="430" y="142"/>
                    </a:lnTo>
                    <a:lnTo>
                      <a:pt x="432" y="142"/>
                    </a:lnTo>
                    <a:lnTo>
                      <a:pt x="432" y="144"/>
                    </a:lnTo>
                    <a:lnTo>
                      <a:pt x="434" y="144"/>
                    </a:lnTo>
                    <a:lnTo>
                      <a:pt x="434" y="146"/>
                    </a:lnTo>
                    <a:lnTo>
                      <a:pt x="434" y="148"/>
                    </a:lnTo>
                    <a:lnTo>
                      <a:pt x="436" y="148"/>
                    </a:lnTo>
                    <a:lnTo>
                      <a:pt x="436" y="150"/>
                    </a:lnTo>
                    <a:lnTo>
                      <a:pt x="438" y="150"/>
                    </a:lnTo>
                    <a:lnTo>
                      <a:pt x="438" y="148"/>
                    </a:lnTo>
                    <a:lnTo>
                      <a:pt x="440" y="148"/>
                    </a:lnTo>
                    <a:lnTo>
                      <a:pt x="442" y="148"/>
                    </a:lnTo>
                    <a:lnTo>
                      <a:pt x="444" y="148"/>
                    </a:lnTo>
                    <a:lnTo>
                      <a:pt x="442" y="150"/>
                    </a:lnTo>
                    <a:lnTo>
                      <a:pt x="442" y="152"/>
                    </a:lnTo>
                    <a:lnTo>
                      <a:pt x="442" y="156"/>
                    </a:lnTo>
                    <a:lnTo>
                      <a:pt x="445" y="156"/>
                    </a:lnTo>
                    <a:lnTo>
                      <a:pt x="445" y="158"/>
                    </a:lnTo>
                    <a:lnTo>
                      <a:pt x="451" y="158"/>
                    </a:lnTo>
                    <a:lnTo>
                      <a:pt x="451" y="160"/>
                    </a:lnTo>
                    <a:lnTo>
                      <a:pt x="451" y="162"/>
                    </a:lnTo>
                    <a:lnTo>
                      <a:pt x="451" y="164"/>
                    </a:lnTo>
                    <a:lnTo>
                      <a:pt x="451" y="165"/>
                    </a:lnTo>
                    <a:lnTo>
                      <a:pt x="453" y="165"/>
                    </a:lnTo>
                    <a:lnTo>
                      <a:pt x="453" y="167"/>
                    </a:lnTo>
                    <a:lnTo>
                      <a:pt x="455" y="167"/>
                    </a:lnTo>
                    <a:lnTo>
                      <a:pt x="455" y="169"/>
                    </a:lnTo>
                    <a:lnTo>
                      <a:pt x="457" y="169"/>
                    </a:lnTo>
                    <a:lnTo>
                      <a:pt x="457" y="171"/>
                    </a:lnTo>
                    <a:lnTo>
                      <a:pt x="459" y="171"/>
                    </a:lnTo>
                    <a:lnTo>
                      <a:pt x="459" y="173"/>
                    </a:lnTo>
                    <a:lnTo>
                      <a:pt x="461" y="173"/>
                    </a:lnTo>
                    <a:lnTo>
                      <a:pt x="463" y="173"/>
                    </a:lnTo>
                    <a:lnTo>
                      <a:pt x="463" y="171"/>
                    </a:lnTo>
                    <a:lnTo>
                      <a:pt x="465" y="171"/>
                    </a:lnTo>
                    <a:lnTo>
                      <a:pt x="465" y="169"/>
                    </a:lnTo>
                    <a:lnTo>
                      <a:pt x="465" y="167"/>
                    </a:lnTo>
                    <a:lnTo>
                      <a:pt x="467" y="167"/>
                    </a:lnTo>
                    <a:lnTo>
                      <a:pt x="467" y="165"/>
                    </a:lnTo>
                    <a:lnTo>
                      <a:pt x="469" y="165"/>
                    </a:lnTo>
                    <a:lnTo>
                      <a:pt x="470" y="165"/>
                    </a:lnTo>
                    <a:lnTo>
                      <a:pt x="472" y="165"/>
                    </a:lnTo>
                    <a:lnTo>
                      <a:pt x="474" y="165"/>
                    </a:lnTo>
                    <a:lnTo>
                      <a:pt x="474" y="164"/>
                    </a:lnTo>
                    <a:lnTo>
                      <a:pt x="476" y="164"/>
                    </a:lnTo>
                    <a:lnTo>
                      <a:pt x="476" y="162"/>
                    </a:lnTo>
                    <a:lnTo>
                      <a:pt x="478" y="162"/>
                    </a:lnTo>
                    <a:lnTo>
                      <a:pt x="480" y="162"/>
                    </a:lnTo>
                    <a:lnTo>
                      <a:pt x="482" y="162"/>
                    </a:lnTo>
                    <a:lnTo>
                      <a:pt x="482" y="164"/>
                    </a:lnTo>
                    <a:lnTo>
                      <a:pt x="482" y="165"/>
                    </a:lnTo>
                    <a:lnTo>
                      <a:pt x="482" y="167"/>
                    </a:lnTo>
                    <a:lnTo>
                      <a:pt x="482" y="169"/>
                    </a:lnTo>
                    <a:lnTo>
                      <a:pt x="482" y="171"/>
                    </a:lnTo>
                    <a:lnTo>
                      <a:pt x="482" y="173"/>
                    </a:lnTo>
                    <a:lnTo>
                      <a:pt x="482" y="175"/>
                    </a:lnTo>
                    <a:lnTo>
                      <a:pt x="480" y="175"/>
                    </a:lnTo>
                    <a:lnTo>
                      <a:pt x="480" y="173"/>
                    </a:lnTo>
                    <a:lnTo>
                      <a:pt x="480" y="175"/>
                    </a:lnTo>
                    <a:lnTo>
                      <a:pt x="480" y="177"/>
                    </a:lnTo>
                    <a:lnTo>
                      <a:pt x="480" y="179"/>
                    </a:lnTo>
                    <a:lnTo>
                      <a:pt x="478" y="179"/>
                    </a:lnTo>
                    <a:lnTo>
                      <a:pt x="478" y="181"/>
                    </a:lnTo>
                    <a:lnTo>
                      <a:pt x="480" y="181"/>
                    </a:lnTo>
                    <a:lnTo>
                      <a:pt x="482" y="181"/>
                    </a:lnTo>
                    <a:lnTo>
                      <a:pt x="482" y="183"/>
                    </a:lnTo>
                    <a:lnTo>
                      <a:pt x="482" y="185"/>
                    </a:lnTo>
                    <a:lnTo>
                      <a:pt x="482" y="187"/>
                    </a:lnTo>
                    <a:lnTo>
                      <a:pt x="482" y="188"/>
                    </a:lnTo>
                    <a:lnTo>
                      <a:pt x="482" y="190"/>
                    </a:lnTo>
                    <a:lnTo>
                      <a:pt x="484" y="190"/>
                    </a:lnTo>
                    <a:lnTo>
                      <a:pt x="484" y="188"/>
                    </a:lnTo>
                    <a:lnTo>
                      <a:pt x="486" y="188"/>
                    </a:lnTo>
                    <a:lnTo>
                      <a:pt x="486" y="190"/>
                    </a:lnTo>
                    <a:lnTo>
                      <a:pt x="486" y="192"/>
                    </a:lnTo>
                    <a:lnTo>
                      <a:pt x="484" y="192"/>
                    </a:lnTo>
                    <a:lnTo>
                      <a:pt x="484" y="194"/>
                    </a:lnTo>
                    <a:lnTo>
                      <a:pt x="484" y="198"/>
                    </a:lnTo>
                    <a:lnTo>
                      <a:pt x="484" y="200"/>
                    </a:lnTo>
                    <a:lnTo>
                      <a:pt x="486" y="200"/>
                    </a:lnTo>
                    <a:lnTo>
                      <a:pt x="490" y="200"/>
                    </a:lnTo>
                    <a:lnTo>
                      <a:pt x="490" y="198"/>
                    </a:lnTo>
                    <a:lnTo>
                      <a:pt x="490" y="196"/>
                    </a:lnTo>
                    <a:lnTo>
                      <a:pt x="488" y="194"/>
                    </a:lnTo>
                    <a:lnTo>
                      <a:pt x="490" y="194"/>
                    </a:lnTo>
                    <a:lnTo>
                      <a:pt x="490" y="192"/>
                    </a:lnTo>
                    <a:lnTo>
                      <a:pt x="493" y="192"/>
                    </a:lnTo>
                    <a:lnTo>
                      <a:pt x="495" y="192"/>
                    </a:lnTo>
                    <a:lnTo>
                      <a:pt x="497" y="192"/>
                    </a:lnTo>
                    <a:lnTo>
                      <a:pt x="495" y="192"/>
                    </a:lnTo>
                    <a:lnTo>
                      <a:pt x="495" y="194"/>
                    </a:lnTo>
                    <a:lnTo>
                      <a:pt x="495" y="196"/>
                    </a:lnTo>
                    <a:lnTo>
                      <a:pt x="495" y="198"/>
                    </a:lnTo>
                    <a:lnTo>
                      <a:pt x="495" y="200"/>
                    </a:lnTo>
                    <a:lnTo>
                      <a:pt x="495" y="202"/>
                    </a:lnTo>
                    <a:lnTo>
                      <a:pt x="493" y="202"/>
                    </a:lnTo>
                    <a:lnTo>
                      <a:pt x="495" y="202"/>
                    </a:lnTo>
                    <a:lnTo>
                      <a:pt x="495" y="204"/>
                    </a:lnTo>
                    <a:lnTo>
                      <a:pt x="497" y="204"/>
                    </a:lnTo>
                    <a:lnTo>
                      <a:pt x="497" y="206"/>
                    </a:lnTo>
                    <a:lnTo>
                      <a:pt x="497" y="208"/>
                    </a:lnTo>
                    <a:lnTo>
                      <a:pt x="495" y="210"/>
                    </a:lnTo>
                    <a:lnTo>
                      <a:pt x="493" y="210"/>
                    </a:lnTo>
                    <a:lnTo>
                      <a:pt x="490" y="210"/>
                    </a:lnTo>
                    <a:lnTo>
                      <a:pt x="490" y="212"/>
                    </a:lnTo>
                    <a:lnTo>
                      <a:pt x="490" y="213"/>
                    </a:lnTo>
                    <a:lnTo>
                      <a:pt x="488" y="212"/>
                    </a:lnTo>
                    <a:lnTo>
                      <a:pt x="488" y="213"/>
                    </a:lnTo>
                    <a:lnTo>
                      <a:pt x="486" y="213"/>
                    </a:lnTo>
                    <a:lnTo>
                      <a:pt x="486" y="212"/>
                    </a:lnTo>
                    <a:lnTo>
                      <a:pt x="484" y="212"/>
                    </a:lnTo>
                    <a:lnTo>
                      <a:pt x="484" y="213"/>
                    </a:lnTo>
                    <a:lnTo>
                      <a:pt x="484" y="215"/>
                    </a:lnTo>
                    <a:lnTo>
                      <a:pt x="482" y="215"/>
                    </a:lnTo>
                    <a:lnTo>
                      <a:pt x="482" y="219"/>
                    </a:lnTo>
                    <a:lnTo>
                      <a:pt x="482" y="221"/>
                    </a:lnTo>
                    <a:lnTo>
                      <a:pt x="484" y="223"/>
                    </a:lnTo>
                    <a:lnTo>
                      <a:pt x="484" y="225"/>
                    </a:lnTo>
                    <a:lnTo>
                      <a:pt x="484" y="223"/>
                    </a:lnTo>
                    <a:lnTo>
                      <a:pt x="482" y="223"/>
                    </a:lnTo>
                    <a:lnTo>
                      <a:pt x="482" y="225"/>
                    </a:lnTo>
                    <a:lnTo>
                      <a:pt x="480" y="225"/>
                    </a:lnTo>
                    <a:lnTo>
                      <a:pt x="480" y="227"/>
                    </a:lnTo>
                    <a:lnTo>
                      <a:pt x="480" y="229"/>
                    </a:lnTo>
                    <a:lnTo>
                      <a:pt x="482" y="229"/>
                    </a:lnTo>
                    <a:lnTo>
                      <a:pt x="480" y="229"/>
                    </a:lnTo>
                    <a:lnTo>
                      <a:pt x="480" y="231"/>
                    </a:lnTo>
                    <a:lnTo>
                      <a:pt x="478" y="233"/>
                    </a:lnTo>
                    <a:lnTo>
                      <a:pt x="476" y="235"/>
                    </a:lnTo>
                    <a:lnTo>
                      <a:pt x="476" y="236"/>
                    </a:lnTo>
                    <a:lnTo>
                      <a:pt x="478" y="236"/>
                    </a:lnTo>
                    <a:lnTo>
                      <a:pt x="480" y="236"/>
                    </a:lnTo>
                    <a:lnTo>
                      <a:pt x="482" y="238"/>
                    </a:lnTo>
                    <a:lnTo>
                      <a:pt x="484" y="238"/>
                    </a:lnTo>
                    <a:lnTo>
                      <a:pt x="486" y="238"/>
                    </a:lnTo>
                    <a:lnTo>
                      <a:pt x="486" y="240"/>
                    </a:lnTo>
                    <a:lnTo>
                      <a:pt x="488" y="240"/>
                    </a:lnTo>
                    <a:lnTo>
                      <a:pt x="490" y="240"/>
                    </a:lnTo>
                    <a:lnTo>
                      <a:pt x="490" y="242"/>
                    </a:lnTo>
                    <a:lnTo>
                      <a:pt x="492" y="242"/>
                    </a:lnTo>
                    <a:lnTo>
                      <a:pt x="492" y="244"/>
                    </a:lnTo>
                    <a:lnTo>
                      <a:pt x="490" y="244"/>
                    </a:lnTo>
                    <a:lnTo>
                      <a:pt x="492" y="244"/>
                    </a:lnTo>
                    <a:lnTo>
                      <a:pt x="492" y="246"/>
                    </a:lnTo>
                    <a:lnTo>
                      <a:pt x="492" y="248"/>
                    </a:lnTo>
                    <a:lnTo>
                      <a:pt x="492" y="250"/>
                    </a:lnTo>
                    <a:lnTo>
                      <a:pt x="490" y="250"/>
                    </a:lnTo>
                    <a:lnTo>
                      <a:pt x="492" y="250"/>
                    </a:lnTo>
                    <a:lnTo>
                      <a:pt x="492" y="252"/>
                    </a:lnTo>
                    <a:lnTo>
                      <a:pt x="492" y="254"/>
                    </a:lnTo>
                    <a:lnTo>
                      <a:pt x="492" y="256"/>
                    </a:lnTo>
                    <a:lnTo>
                      <a:pt x="490" y="256"/>
                    </a:lnTo>
                    <a:lnTo>
                      <a:pt x="490" y="258"/>
                    </a:lnTo>
                    <a:lnTo>
                      <a:pt x="492" y="258"/>
                    </a:lnTo>
                    <a:lnTo>
                      <a:pt x="490" y="258"/>
                    </a:lnTo>
                    <a:lnTo>
                      <a:pt x="490" y="260"/>
                    </a:lnTo>
                    <a:lnTo>
                      <a:pt x="492" y="260"/>
                    </a:lnTo>
                    <a:lnTo>
                      <a:pt x="490" y="260"/>
                    </a:lnTo>
                    <a:lnTo>
                      <a:pt x="490" y="261"/>
                    </a:lnTo>
                    <a:lnTo>
                      <a:pt x="488" y="261"/>
                    </a:lnTo>
                    <a:lnTo>
                      <a:pt x="488" y="263"/>
                    </a:lnTo>
                    <a:lnTo>
                      <a:pt x="486" y="263"/>
                    </a:lnTo>
                    <a:lnTo>
                      <a:pt x="484" y="263"/>
                    </a:lnTo>
                    <a:lnTo>
                      <a:pt x="484" y="261"/>
                    </a:lnTo>
                    <a:lnTo>
                      <a:pt x="484" y="260"/>
                    </a:lnTo>
                    <a:lnTo>
                      <a:pt x="482" y="260"/>
                    </a:lnTo>
                    <a:lnTo>
                      <a:pt x="482" y="258"/>
                    </a:lnTo>
                    <a:lnTo>
                      <a:pt x="480" y="258"/>
                    </a:lnTo>
                    <a:lnTo>
                      <a:pt x="478" y="260"/>
                    </a:lnTo>
                    <a:lnTo>
                      <a:pt x="476" y="261"/>
                    </a:lnTo>
                    <a:lnTo>
                      <a:pt x="474" y="263"/>
                    </a:lnTo>
                    <a:lnTo>
                      <a:pt x="474" y="265"/>
                    </a:lnTo>
                    <a:lnTo>
                      <a:pt x="472" y="265"/>
                    </a:lnTo>
                    <a:lnTo>
                      <a:pt x="472" y="267"/>
                    </a:lnTo>
                    <a:lnTo>
                      <a:pt x="470" y="267"/>
                    </a:lnTo>
                    <a:lnTo>
                      <a:pt x="470" y="269"/>
                    </a:lnTo>
                    <a:lnTo>
                      <a:pt x="469" y="269"/>
                    </a:lnTo>
                    <a:lnTo>
                      <a:pt x="469" y="267"/>
                    </a:lnTo>
                    <a:lnTo>
                      <a:pt x="467" y="267"/>
                    </a:lnTo>
                    <a:lnTo>
                      <a:pt x="467" y="265"/>
                    </a:lnTo>
                    <a:lnTo>
                      <a:pt x="465" y="265"/>
                    </a:lnTo>
                    <a:lnTo>
                      <a:pt x="465" y="263"/>
                    </a:lnTo>
                    <a:lnTo>
                      <a:pt x="463" y="263"/>
                    </a:lnTo>
                    <a:lnTo>
                      <a:pt x="461" y="261"/>
                    </a:lnTo>
                    <a:lnTo>
                      <a:pt x="459" y="261"/>
                    </a:lnTo>
                    <a:lnTo>
                      <a:pt x="457" y="261"/>
                    </a:lnTo>
                    <a:lnTo>
                      <a:pt x="457" y="263"/>
                    </a:lnTo>
                    <a:lnTo>
                      <a:pt x="455" y="263"/>
                    </a:lnTo>
                    <a:lnTo>
                      <a:pt x="453" y="263"/>
                    </a:lnTo>
                    <a:lnTo>
                      <a:pt x="453" y="265"/>
                    </a:lnTo>
                    <a:lnTo>
                      <a:pt x="453" y="267"/>
                    </a:lnTo>
                    <a:lnTo>
                      <a:pt x="453" y="269"/>
                    </a:lnTo>
                    <a:lnTo>
                      <a:pt x="453" y="271"/>
                    </a:lnTo>
                    <a:lnTo>
                      <a:pt x="453" y="273"/>
                    </a:lnTo>
                    <a:lnTo>
                      <a:pt x="453" y="275"/>
                    </a:lnTo>
                    <a:lnTo>
                      <a:pt x="455" y="275"/>
                    </a:lnTo>
                    <a:lnTo>
                      <a:pt x="455" y="277"/>
                    </a:lnTo>
                    <a:lnTo>
                      <a:pt x="455" y="279"/>
                    </a:lnTo>
                    <a:lnTo>
                      <a:pt x="455" y="281"/>
                    </a:lnTo>
                    <a:lnTo>
                      <a:pt x="455" y="283"/>
                    </a:lnTo>
                    <a:lnTo>
                      <a:pt x="455" y="284"/>
                    </a:lnTo>
                    <a:lnTo>
                      <a:pt x="455" y="286"/>
                    </a:lnTo>
                    <a:lnTo>
                      <a:pt x="455" y="288"/>
                    </a:lnTo>
                    <a:lnTo>
                      <a:pt x="457" y="288"/>
                    </a:lnTo>
                    <a:lnTo>
                      <a:pt x="457" y="290"/>
                    </a:lnTo>
                    <a:lnTo>
                      <a:pt x="457" y="292"/>
                    </a:lnTo>
                    <a:lnTo>
                      <a:pt x="455" y="292"/>
                    </a:lnTo>
                    <a:lnTo>
                      <a:pt x="453" y="292"/>
                    </a:lnTo>
                    <a:lnTo>
                      <a:pt x="451" y="292"/>
                    </a:lnTo>
                    <a:lnTo>
                      <a:pt x="451" y="294"/>
                    </a:lnTo>
                    <a:lnTo>
                      <a:pt x="451" y="296"/>
                    </a:lnTo>
                    <a:lnTo>
                      <a:pt x="449" y="296"/>
                    </a:lnTo>
                    <a:lnTo>
                      <a:pt x="447" y="296"/>
                    </a:lnTo>
                    <a:lnTo>
                      <a:pt x="447" y="298"/>
                    </a:lnTo>
                    <a:lnTo>
                      <a:pt x="447" y="300"/>
                    </a:lnTo>
                    <a:lnTo>
                      <a:pt x="447" y="302"/>
                    </a:lnTo>
                    <a:lnTo>
                      <a:pt x="447" y="304"/>
                    </a:lnTo>
                    <a:lnTo>
                      <a:pt x="447" y="306"/>
                    </a:lnTo>
                    <a:lnTo>
                      <a:pt x="447" y="308"/>
                    </a:lnTo>
                    <a:lnTo>
                      <a:pt x="445" y="308"/>
                    </a:lnTo>
                    <a:lnTo>
                      <a:pt x="445" y="309"/>
                    </a:lnTo>
                    <a:lnTo>
                      <a:pt x="447" y="311"/>
                    </a:lnTo>
                    <a:lnTo>
                      <a:pt x="449" y="311"/>
                    </a:lnTo>
                    <a:lnTo>
                      <a:pt x="451" y="311"/>
                    </a:lnTo>
                    <a:lnTo>
                      <a:pt x="451" y="309"/>
                    </a:lnTo>
                    <a:lnTo>
                      <a:pt x="449" y="309"/>
                    </a:lnTo>
                    <a:lnTo>
                      <a:pt x="449" y="308"/>
                    </a:lnTo>
                    <a:lnTo>
                      <a:pt x="451" y="308"/>
                    </a:lnTo>
                    <a:lnTo>
                      <a:pt x="453" y="308"/>
                    </a:lnTo>
                    <a:lnTo>
                      <a:pt x="453" y="309"/>
                    </a:lnTo>
                    <a:lnTo>
                      <a:pt x="455" y="309"/>
                    </a:lnTo>
                    <a:lnTo>
                      <a:pt x="455" y="311"/>
                    </a:lnTo>
                    <a:lnTo>
                      <a:pt x="457" y="311"/>
                    </a:lnTo>
                    <a:lnTo>
                      <a:pt x="457" y="313"/>
                    </a:lnTo>
                    <a:lnTo>
                      <a:pt x="459" y="313"/>
                    </a:lnTo>
                    <a:lnTo>
                      <a:pt x="459" y="315"/>
                    </a:lnTo>
                    <a:lnTo>
                      <a:pt x="459" y="317"/>
                    </a:lnTo>
                    <a:lnTo>
                      <a:pt x="461" y="317"/>
                    </a:lnTo>
                    <a:lnTo>
                      <a:pt x="463" y="317"/>
                    </a:lnTo>
                    <a:lnTo>
                      <a:pt x="465" y="317"/>
                    </a:lnTo>
                    <a:lnTo>
                      <a:pt x="467" y="317"/>
                    </a:lnTo>
                    <a:lnTo>
                      <a:pt x="465" y="319"/>
                    </a:lnTo>
                    <a:lnTo>
                      <a:pt x="465" y="321"/>
                    </a:lnTo>
                    <a:lnTo>
                      <a:pt x="463" y="321"/>
                    </a:lnTo>
                    <a:lnTo>
                      <a:pt x="463" y="323"/>
                    </a:lnTo>
                    <a:lnTo>
                      <a:pt x="461" y="323"/>
                    </a:lnTo>
                    <a:lnTo>
                      <a:pt x="463" y="323"/>
                    </a:lnTo>
                    <a:lnTo>
                      <a:pt x="463" y="325"/>
                    </a:lnTo>
                    <a:lnTo>
                      <a:pt x="463" y="327"/>
                    </a:lnTo>
                    <a:lnTo>
                      <a:pt x="463" y="329"/>
                    </a:lnTo>
                    <a:lnTo>
                      <a:pt x="463" y="331"/>
                    </a:lnTo>
                    <a:lnTo>
                      <a:pt x="463" y="332"/>
                    </a:lnTo>
                    <a:lnTo>
                      <a:pt x="463" y="334"/>
                    </a:lnTo>
                    <a:lnTo>
                      <a:pt x="465" y="334"/>
                    </a:lnTo>
                    <a:lnTo>
                      <a:pt x="465" y="336"/>
                    </a:lnTo>
                    <a:lnTo>
                      <a:pt x="463" y="336"/>
                    </a:lnTo>
                    <a:lnTo>
                      <a:pt x="463" y="338"/>
                    </a:lnTo>
                    <a:lnTo>
                      <a:pt x="463" y="340"/>
                    </a:lnTo>
                    <a:lnTo>
                      <a:pt x="465" y="340"/>
                    </a:lnTo>
                    <a:lnTo>
                      <a:pt x="465" y="342"/>
                    </a:lnTo>
                    <a:lnTo>
                      <a:pt x="463" y="342"/>
                    </a:lnTo>
                    <a:lnTo>
                      <a:pt x="465" y="342"/>
                    </a:lnTo>
                    <a:lnTo>
                      <a:pt x="465" y="344"/>
                    </a:lnTo>
                    <a:lnTo>
                      <a:pt x="465" y="346"/>
                    </a:lnTo>
                    <a:lnTo>
                      <a:pt x="467" y="346"/>
                    </a:lnTo>
                    <a:lnTo>
                      <a:pt x="467" y="348"/>
                    </a:lnTo>
                    <a:lnTo>
                      <a:pt x="465" y="348"/>
                    </a:lnTo>
                    <a:lnTo>
                      <a:pt x="467" y="348"/>
                    </a:lnTo>
                    <a:lnTo>
                      <a:pt x="467" y="350"/>
                    </a:lnTo>
                    <a:lnTo>
                      <a:pt x="465" y="350"/>
                    </a:lnTo>
                    <a:lnTo>
                      <a:pt x="465" y="352"/>
                    </a:lnTo>
                    <a:lnTo>
                      <a:pt x="467" y="352"/>
                    </a:lnTo>
                    <a:lnTo>
                      <a:pt x="467" y="354"/>
                    </a:lnTo>
                    <a:lnTo>
                      <a:pt x="469" y="354"/>
                    </a:lnTo>
                    <a:lnTo>
                      <a:pt x="469" y="356"/>
                    </a:lnTo>
                    <a:lnTo>
                      <a:pt x="469" y="357"/>
                    </a:lnTo>
                    <a:lnTo>
                      <a:pt x="469" y="356"/>
                    </a:lnTo>
                    <a:lnTo>
                      <a:pt x="469" y="357"/>
                    </a:lnTo>
                    <a:lnTo>
                      <a:pt x="470" y="357"/>
                    </a:lnTo>
                    <a:lnTo>
                      <a:pt x="469" y="357"/>
                    </a:lnTo>
                    <a:lnTo>
                      <a:pt x="469" y="359"/>
                    </a:lnTo>
                    <a:lnTo>
                      <a:pt x="470" y="359"/>
                    </a:lnTo>
                    <a:lnTo>
                      <a:pt x="470" y="357"/>
                    </a:lnTo>
                    <a:lnTo>
                      <a:pt x="472" y="356"/>
                    </a:lnTo>
                    <a:lnTo>
                      <a:pt x="472" y="354"/>
                    </a:lnTo>
                    <a:lnTo>
                      <a:pt x="474" y="356"/>
                    </a:lnTo>
                    <a:lnTo>
                      <a:pt x="476" y="356"/>
                    </a:lnTo>
                    <a:lnTo>
                      <a:pt x="478" y="357"/>
                    </a:lnTo>
                    <a:lnTo>
                      <a:pt x="480" y="357"/>
                    </a:lnTo>
                    <a:lnTo>
                      <a:pt x="480" y="356"/>
                    </a:lnTo>
                    <a:lnTo>
                      <a:pt x="482" y="356"/>
                    </a:lnTo>
                    <a:lnTo>
                      <a:pt x="484" y="356"/>
                    </a:lnTo>
                    <a:lnTo>
                      <a:pt x="486" y="357"/>
                    </a:lnTo>
                    <a:lnTo>
                      <a:pt x="488" y="359"/>
                    </a:lnTo>
                    <a:lnTo>
                      <a:pt x="488" y="361"/>
                    </a:lnTo>
                    <a:lnTo>
                      <a:pt x="488" y="363"/>
                    </a:lnTo>
                    <a:lnTo>
                      <a:pt x="486" y="363"/>
                    </a:lnTo>
                    <a:lnTo>
                      <a:pt x="486" y="365"/>
                    </a:lnTo>
                    <a:lnTo>
                      <a:pt x="484" y="365"/>
                    </a:lnTo>
                    <a:lnTo>
                      <a:pt x="484" y="367"/>
                    </a:lnTo>
                    <a:lnTo>
                      <a:pt x="482" y="367"/>
                    </a:lnTo>
                    <a:lnTo>
                      <a:pt x="482" y="369"/>
                    </a:lnTo>
                    <a:lnTo>
                      <a:pt x="480" y="369"/>
                    </a:lnTo>
                    <a:lnTo>
                      <a:pt x="480" y="371"/>
                    </a:lnTo>
                    <a:lnTo>
                      <a:pt x="480" y="373"/>
                    </a:lnTo>
                    <a:lnTo>
                      <a:pt x="482" y="373"/>
                    </a:lnTo>
                    <a:lnTo>
                      <a:pt x="484" y="373"/>
                    </a:lnTo>
                    <a:lnTo>
                      <a:pt x="484" y="375"/>
                    </a:lnTo>
                    <a:lnTo>
                      <a:pt x="486" y="375"/>
                    </a:lnTo>
                    <a:lnTo>
                      <a:pt x="488" y="375"/>
                    </a:lnTo>
                    <a:lnTo>
                      <a:pt x="488" y="377"/>
                    </a:lnTo>
                    <a:lnTo>
                      <a:pt x="490" y="377"/>
                    </a:lnTo>
                    <a:lnTo>
                      <a:pt x="490" y="379"/>
                    </a:lnTo>
                    <a:lnTo>
                      <a:pt x="492" y="379"/>
                    </a:lnTo>
                    <a:lnTo>
                      <a:pt x="492" y="380"/>
                    </a:lnTo>
                    <a:lnTo>
                      <a:pt x="493" y="380"/>
                    </a:lnTo>
                    <a:lnTo>
                      <a:pt x="493" y="382"/>
                    </a:lnTo>
                    <a:lnTo>
                      <a:pt x="493" y="384"/>
                    </a:lnTo>
                    <a:lnTo>
                      <a:pt x="493" y="386"/>
                    </a:lnTo>
                    <a:lnTo>
                      <a:pt x="495" y="386"/>
                    </a:lnTo>
                    <a:lnTo>
                      <a:pt x="495" y="388"/>
                    </a:lnTo>
                    <a:lnTo>
                      <a:pt x="497" y="390"/>
                    </a:lnTo>
                    <a:lnTo>
                      <a:pt x="497" y="392"/>
                    </a:lnTo>
                    <a:lnTo>
                      <a:pt x="499" y="392"/>
                    </a:lnTo>
                    <a:lnTo>
                      <a:pt x="501" y="394"/>
                    </a:lnTo>
                    <a:lnTo>
                      <a:pt x="501" y="392"/>
                    </a:lnTo>
                    <a:lnTo>
                      <a:pt x="503" y="392"/>
                    </a:lnTo>
                    <a:lnTo>
                      <a:pt x="503" y="394"/>
                    </a:lnTo>
                    <a:lnTo>
                      <a:pt x="505" y="394"/>
                    </a:lnTo>
                    <a:lnTo>
                      <a:pt x="507" y="392"/>
                    </a:lnTo>
                    <a:lnTo>
                      <a:pt x="509" y="392"/>
                    </a:lnTo>
                    <a:lnTo>
                      <a:pt x="511" y="392"/>
                    </a:lnTo>
                    <a:lnTo>
                      <a:pt x="511" y="394"/>
                    </a:lnTo>
                    <a:lnTo>
                      <a:pt x="513" y="394"/>
                    </a:lnTo>
                    <a:lnTo>
                      <a:pt x="511" y="396"/>
                    </a:lnTo>
                    <a:lnTo>
                      <a:pt x="509" y="398"/>
                    </a:lnTo>
                    <a:lnTo>
                      <a:pt x="507" y="398"/>
                    </a:lnTo>
                    <a:lnTo>
                      <a:pt x="507" y="400"/>
                    </a:lnTo>
                    <a:lnTo>
                      <a:pt x="505" y="400"/>
                    </a:lnTo>
                    <a:lnTo>
                      <a:pt x="505" y="402"/>
                    </a:lnTo>
                    <a:lnTo>
                      <a:pt x="503" y="402"/>
                    </a:lnTo>
                    <a:lnTo>
                      <a:pt x="505" y="402"/>
                    </a:lnTo>
                    <a:lnTo>
                      <a:pt x="505" y="403"/>
                    </a:lnTo>
                    <a:lnTo>
                      <a:pt x="505" y="405"/>
                    </a:lnTo>
                    <a:lnTo>
                      <a:pt x="503" y="405"/>
                    </a:lnTo>
                    <a:lnTo>
                      <a:pt x="501" y="405"/>
                    </a:lnTo>
                    <a:lnTo>
                      <a:pt x="499" y="405"/>
                    </a:lnTo>
                    <a:lnTo>
                      <a:pt x="499" y="403"/>
                    </a:lnTo>
                    <a:lnTo>
                      <a:pt x="497" y="403"/>
                    </a:lnTo>
                    <a:lnTo>
                      <a:pt x="495" y="403"/>
                    </a:lnTo>
                    <a:lnTo>
                      <a:pt x="493" y="403"/>
                    </a:lnTo>
                    <a:lnTo>
                      <a:pt x="493" y="405"/>
                    </a:lnTo>
                    <a:lnTo>
                      <a:pt x="492" y="405"/>
                    </a:lnTo>
                    <a:lnTo>
                      <a:pt x="492" y="409"/>
                    </a:lnTo>
                    <a:lnTo>
                      <a:pt x="492" y="411"/>
                    </a:lnTo>
                    <a:lnTo>
                      <a:pt x="492" y="413"/>
                    </a:lnTo>
                    <a:lnTo>
                      <a:pt x="492" y="415"/>
                    </a:lnTo>
                    <a:lnTo>
                      <a:pt x="490" y="417"/>
                    </a:lnTo>
                    <a:lnTo>
                      <a:pt x="492" y="419"/>
                    </a:lnTo>
                    <a:lnTo>
                      <a:pt x="493" y="421"/>
                    </a:lnTo>
                    <a:lnTo>
                      <a:pt x="495" y="423"/>
                    </a:lnTo>
                    <a:lnTo>
                      <a:pt x="497" y="425"/>
                    </a:lnTo>
                    <a:lnTo>
                      <a:pt x="499" y="427"/>
                    </a:lnTo>
                    <a:lnTo>
                      <a:pt x="501" y="428"/>
                    </a:lnTo>
                    <a:lnTo>
                      <a:pt x="501" y="430"/>
                    </a:lnTo>
                    <a:lnTo>
                      <a:pt x="501" y="432"/>
                    </a:lnTo>
                    <a:lnTo>
                      <a:pt x="501" y="434"/>
                    </a:lnTo>
                    <a:lnTo>
                      <a:pt x="499" y="438"/>
                    </a:lnTo>
                    <a:lnTo>
                      <a:pt x="499" y="440"/>
                    </a:lnTo>
                    <a:lnTo>
                      <a:pt x="497" y="438"/>
                    </a:lnTo>
                    <a:lnTo>
                      <a:pt x="495" y="438"/>
                    </a:lnTo>
                    <a:lnTo>
                      <a:pt x="495" y="440"/>
                    </a:lnTo>
                    <a:lnTo>
                      <a:pt x="495" y="442"/>
                    </a:lnTo>
                    <a:lnTo>
                      <a:pt x="493" y="442"/>
                    </a:lnTo>
                    <a:lnTo>
                      <a:pt x="493" y="444"/>
                    </a:lnTo>
                    <a:lnTo>
                      <a:pt x="493" y="446"/>
                    </a:lnTo>
                    <a:lnTo>
                      <a:pt x="492" y="446"/>
                    </a:lnTo>
                    <a:lnTo>
                      <a:pt x="492" y="448"/>
                    </a:lnTo>
                    <a:lnTo>
                      <a:pt x="490" y="448"/>
                    </a:lnTo>
                    <a:lnTo>
                      <a:pt x="488" y="448"/>
                    </a:lnTo>
                    <a:lnTo>
                      <a:pt x="488" y="450"/>
                    </a:lnTo>
                    <a:lnTo>
                      <a:pt x="486" y="450"/>
                    </a:lnTo>
                    <a:lnTo>
                      <a:pt x="486" y="451"/>
                    </a:lnTo>
                    <a:lnTo>
                      <a:pt x="484" y="451"/>
                    </a:lnTo>
                    <a:lnTo>
                      <a:pt x="484" y="453"/>
                    </a:lnTo>
                    <a:lnTo>
                      <a:pt x="482" y="453"/>
                    </a:lnTo>
                    <a:lnTo>
                      <a:pt x="482" y="455"/>
                    </a:lnTo>
                    <a:lnTo>
                      <a:pt x="482" y="457"/>
                    </a:lnTo>
                    <a:lnTo>
                      <a:pt x="484" y="457"/>
                    </a:lnTo>
                    <a:lnTo>
                      <a:pt x="484" y="459"/>
                    </a:lnTo>
                    <a:lnTo>
                      <a:pt x="486" y="459"/>
                    </a:lnTo>
                    <a:lnTo>
                      <a:pt x="486" y="461"/>
                    </a:lnTo>
                    <a:lnTo>
                      <a:pt x="488" y="461"/>
                    </a:lnTo>
                    <a:lnTo>
                      <a:pt x="488" y="463"/>
                    </a:lnTo>
                    <a:lnTo>
                      <a:pt x="490" y="463"/>
                    </a:lnTo>
                    <a:lnTo>
                      <a:pt x="490" y="465"/>
                    </a:lnTo>
                    <a:lnTo>
                      <a:pt x="490" y="467"/>
                    </a:lnTo>
                    <a:lnTo>
                      <a:pt x="490" y="469"/>
                    </a:lnTo>
                    <a:lnTo>
                      <a:pt x="488" y="469"/>
                    </a:lnTo>
                    <a:lnTo>
                      <a:pt x="488" y="471"/>
                    </a:lnTo>
                    <a:lnTo>
                      <a:pt x="490" y="471"/>
                    </a:lnTo>
                    <a:lnTo>
                      <a:pt x="490" y="473"/>
                    </a:lnTo>
                    <a:lnTo>
                      <a:pt x="490" y="475"/>
                    </a:lnTo>
                    <a:lnTo>
                      <a:pt x="490" y="476"/>
                    </a:lnTo>
                    <a:lnTo>
                      <a:pt x="488" y="476"/>
                    </a:lnTo>
                    <a:lnTo>
                      <a:pt x="486" y="476"/>
                    </a:lnTo>
                    <a:lnTo>
                      <a:pt x="486" y="478"/>
                    </a:lnTo>
                    <a:lnTo>
                      <a:pt x="484" y="478"/>
                    </a:lnTo>
                    <a:lnTo>
                      <a:pt x="482" y="478"/>
                    </a:lnTo>
                    <a:lnTo>
                      <a:pt x="482" y="476"/>
                    </a:lnTo>
                    <a:lnTo>
                      <a:pt x="482" y="475"/>
                    </a:lnTo>
                    <a:lnTo>
                      <a:pt x="480" y="475"/>
                    </a:lnTo>
                    <a:lnTo>
                      <a:pt x="480" y="473"/>
                    </a:lnTo>
                    <a:lnTo>
                      <a:pt x="478" y="473"/>
                    </a:lnTo>
                    <a:lnTo>
                      <a:pt x="478" y="475"/>
                    </a:lnTo>
                    <a:lnTo>
                      <a:pt x="476" y="475"/>
                    </a:lnTo>
                    <a:lnTo>
                      <a:pt x="476" y="473"/>
                    </a:lnTo>
                    <a:lnTo>
                      <a:pt x="474" y="473"/>
                    </a:lnTo>
                    <a:lnTo>
                      <a:pt x="474" y="475"/>
                    </a:lnTo>
                    <a:lnTo>
                      <a:pt x="474" y="476"/>
                    </a:lnTo>
                    <a:lnTo>
                      <a:pt x="474" y="478"/>
                    </a:lnTo>
                    <a:lnTo>
                      <a:pt x="472" y="478"/>
                    </a:lnTo>
                    <a:lnTo>
                      <a:pt x="472" y="480"/>
                    </a:lnTo>
                    <a:lnTo>
                      <a:pt x="472" y="482"/>
                    </a:lnTo>
                    <a:lnTo>
                      <a:pt x="472" y="484"/>
                    </a:lnTo>
                    <a:lnTo>
                      <a:pt x="472" y="486"/>
                    </a:lnTo>
                    <a:lnTo>
                      <a:pt x="472" y="488"/>
                    </a:lnTo>
                    <a:lnTo>
                      <a:pt x="470" y="488"/>
                    </a:lnTo>
                    <a:lnTo>
                      <a:pt x="472" y="488"/>
                    </a:lnTo>
                    <a:lnTo>
                      <a:pt x="472" y="490"/>
                    </a:lnTo>
                    <a:lnTo>
                      <a:pt x="474" y="490"/>
                    </a:lnTo>
                    <a:lnTo>
                      <a:pt x="476" y="490"/>
                    </a:lnTo>
                    <a:lnTo>
                      <a:pt x="478" y="490"/>
                    </a:lnTo>
                    <a:lnTo>
                      <a:pt x="478" y="492"/>
                    </a:lnTo>
                    <a:lnTo>
                      <a:pt x="480" y="492"/>
                    </a:lnTo>
                    <a:lnTo>
                      <a:pt x="482" y="492"/>
                    </a:lnTo>
                    <a:lnTo>
                      <a:pt x="484" y="492"/>
                    </a:lnTo>
                    <a:lnTo>
                      <a:pt x="486" y="492"/>
                    </a:lnTo>
                    <a:lnTo>
                      <a:pt x="486" y="494"/>
                    </a:lnTo>
                    <a:lnTo>
                      <a:pt x="484" y="494"/>
                    </a:lnTo>
                    <a:lnTo>
                      <a:pt x="482" y="496"/>
                    </a:lnTo>
                    <a:lnTo>
                      <a:pt x="482" y="498"/>
                    </a:lnTo>
                    <a:lnTo>
                      <a:pt x="480" y="498"/>
                    </a:lnTo>
                    <a:lnTo>
                      <a:pt x="478" y="496"/>
                    </a:lnTo>
                    <a:lnTo>
                      <a:pt x="478" y="498"/>
                    </a:lnTo>
                    <a:lnTo>
                      <a:pt x="476" y="498"/>
                    </a:lnTo>
                    <a:lnTo>
                      <a:pt x="476" y="499"/>
                    </a:lnTo>
                    <a:lnTo>
                      <a:pt x="476" y="501"/>
                    </a:lnTo>
                    <a:lnTo>
                      <a:pt x="474" y="503"/>
                    </a:lnTo>
                    <a:lnTo>
                      <a:pt x="474" y="501"/>
                    </a:lnTo>
                    <a:lnTo>
                      <a:pt x="474" y="503"/>
                    </a:lnTo>
                    <a:lnTo>
                      <a:pt x="470" y="507"/>
                    </a:lnTo>
                    <a:lnTo>
                      <a:pt x="470" y="509"/>
                    </a:lnTo>
                    <a:lnTo>
                      <a:pt x="472" y="511"/>
                    </a:lnTo>
                    <a:lnTo>
                      <a:pt x="474" y="511"/>
                    </a:lnTo>
                    <a:lnTo>
                      <a:pt x="476" y="511"/>
                    </a:lnTo>
                    <a:lnTo>
                      <a:pt x="476" y="513"/>
                    </a:lnTo>
                    <a:lnTo>
                      <a:pt x="478" y="513"/>
                    </a:lnTo>
                    <a:lnTo>
                      <a:pt x="480" y="511"/>
                    </a:lnTo>
                    <a:lnTo>
                      <a:pt x="480" y="513"/>
                    </a:lnTo>
                    <a:lnTo>
                      <a:pt x="482" y="515"/>
                    </a:lnTo>
                    <a:lnTo>
                      <a:pt x="484" y="515"/>
                    </a:lnTo>
                    <a:lnTo>
                      <a:pt x="486" y="515"/>
                    </a:lnTo>
                    <a:lnTo>
                      <a:pt x="488" y="515"/>
                    </a:lnTo>
                    <a:lnTo>
                      <a:pt x="488" y="517"/>
                    </a:lnTo>
                    <a:lnTo>
                      <a:pt x="488" y="519"/>
                    </a:lnTo>
                    <a:lnTo>
                      <a:pt x="490" y="519"/>
                    </a:lnTo>
                    <a:lnTo>
                      <a:pt x="490" y="521"/>
                    </a:lnTo>
                    <a:lnTo>
                      <a:pt x="492" y="523"/>
                    </a:lnTo>
                    <a:lnTo>
                      <a:pt x="493" y="523"/>
                    </a:lnTo>
                    <a:lnTo>
                      <a:pt x="493" y="521"/>
                    </a:lnTo>
                    <a:lnTo>
                      <a:pt x="497" y="521"/>
                    </a:lnTo>
                    <a:lnTo>
                      <a:pt x="497" y="519"/>
                    </a:lnTo>
                    <a:lnTo>
                      <a:pt x="497" y="521"/>
                    </a:lnTo>
                    <a:lnTo>
                      <a:pt x="499" y="521"/>
                    </a:lnTo>
                    <a:lnTo>
                      <a:pt x="497" y="524"/>
                    </a:lnTo>
                    <a:lnTo>
                      <a:pt x="495" y="526"/>
                    </a:lnTo>
                    <a:lnTo>
                      <a:pt x="493" y="528"/>
                    </a:lnTo>
                    <a:lnTo>
                      <a:pt x="492" y="528"/>
                    </a:lnTo>
                    <a:lnTo>
                      <a:pt x="492" y="530"/>
                    </a:lnTo>
                    <a:lnTo>
                      <a:pt x="492" y="532"/>
                    </a:lnTo>
                    <a:lnTo>
                      <a:pt x="492" y="536"/>
                    </a:lnTo>
                    <a:lnTo>
                      <a:pt x="488" y="536"/>
                    </a:lnTo>
                    <a:lnTo>
                      <a:pt x="486" y="536"/>
                    </a:lnTo>
                    <a:lnTo>
                      <a:pt x="484" y="540"/>
                    </a:lnTo>
                    <a:lnTo>
                      <a:pt x="486" y="540"/>
                    </a:lnTo>
                    <a:lnTo>
                      <a:pt x="486" y="542"/>
                    </a:lnTo>
                    <a:lnTo>
                      <a:pt x="490" y="542"/>
                    </a:lnTo>
                    <a:lnTo>
                      <a:pt x="488" y="546"/>
                    </a:lnTo>
                    <a:lnTo>
                      <a:pt x="486" y="546"/>
                    </a:lnTo>
                    <a:lnTo>
                      <a:pt x="484" y="546"/>
                    </a:lnTo>
                    <a:lnTo>
                      <a:pt x="484" y="547"/>
                    </a:lnTo>
                    <a:lnTo>
                      <a:pt x="484" y="549"/>
                    </a:lnTo>
                    <a:lnTo>
                      <a:pt x="486" y="551"/>
                    </a:lnTo>
                    <a:lnTo>
                      <a:pt x="488" y="553"/>
                    </a:lnTo>
                    <a:lnTo>
                      <a:pt x="490" y="553"/>
                    </a:lnTo>
                    <a:lnTo>
                      <a:pt x="492" y="555"/>
                    </a:lnTo>
                    <a:lnTo>
                      <a:pt x="492" y="557"/>
                    </a:lnTo>
                    <a:lnTo>
                      <a:pt x="492" y="559"/>
                    </a:lnTo>
                    <a:lnTo>
                      <a:pt x="493" y="559"/>
                    </a:lnTo>
                    <a:lnTo>
                      <a:pt x="493" y="561"/>
                    </a:lnTo>
                    <a:lnTo>
                      <a:pt x="493" y="563"/>
                    </a:lnTo>
                    <a:lnTo>
                      <a:pt x="493" y="565"/>
                    </a:lnTo>
                    <a:lnTo>
                      <a:pt x="492" y="565"/>
                    </a:lnTo>
                    <a:lnTo>
                      <a:pt x="493" y="567"/>
                    </a:lnTo>
                    <a:lnTo>
                      <a:pt x="493" y="569"/>
                    </a:lnTo>
                    <a:lnTo>
                      <a:pt x="492" y="569"/>
                    </a:lnTo>
                    <a:lnTo>
                      <a:pt x="492" y="571"/>
                    </a:lnTo>
                    <a:lnTo>
                      <a:pt x="492" y="572"/>
                    </a:lnTo>
                    <a:lnTo>
                      <a:pt x="493" y="574"/>
                    </a:lnTo>
                    <a:lnTo>
                      <a:pt x="493" y="576"/>
                    </a:lnTo>
                    <a:lnTo>
                      <a:pt x="493" y="578"/>
                    </a:lnTo>
                    <a:lnTo>
                      <a:pt x="492" y="582"/>
                    </a:lnTo>
                    <a:lnTo>
                      <a:pt x="492" y="584"/>
                    </a:lnTo>
                    <a:lnTo>
                      <a:pt x="490" y="584"/>
                    </a:lnTo>
                    <a:lnTo>
                      <a:pt x="490" y="586"/>
                    </a:lnTo>
                    <a:lnTo>
                      <a:pt x="488" y="588"/>
                    </a:lnTo>
                    <a:lnTo>
                      <a:pt x="488" y="590"/>
                    </a:lnTo>
                    <a:lnTo>
                      <a:pt x="490" y="592"/>
                    </a:lnTo>
                    <a:lnTo>
                      <a:pt x="490" y="594"/>
                    </a:lnTo>
                    <a:lnTo>
                      <a:pt x="490" y="595"/>
                    </a:lnTo>
                    <a:lnTo>
                      <a:pt x="492" y="595"/>
                    </a:lnTo>
                    <a:lnTo>
                      <a:pt x="492" y="597"/>
                    </a:lnTo>
                    <a:lnTo>
                      <a:pt x="493" y="597"/>
                    </a:lnTo>
                    <a:lnTo>
                      <a:pt x="493" y="599"/>
                    </a:lnTo>
                    <a:lnTo>
                      <a:pt x="492" y="599"/>
                    </a:lnTo>
                    <a:lnTo>
                      <a:pt x="490" y="599"/>
                    </a:lnTo>
                    <a:lnTo>
                      <a:pt x="488" y="599"/>
                    </a:lnTo>
                    <a:lnTo>
                      <a:pt x="488" y="601"/>
                    </a:lnTo>
                    <a:lnTo>
                      <a:pt x="488" y="603"/>
                    </a:lnTo>
                    <a:lnTo>
                      <a:pt x="490" y="605"/>
                    </a:lnTo>
                    <a:lnTo>
                      <a:pt x="490" y="607"/>
                    </a:lnTo>
                    <a:lnTo>
                      <a:pt x="490" y="609"/>
                    </a:lnTo>
                    <a:lnTo>
                      <a:pt x="490" y="611"/>
                    </a:lnTo>
                    <a:lnTo>
                      <a:pt x="492" y="611"/>
                    </a:lnTo>
                    <a:lnTo>
                      <a:pt x="492" y="613"/>
                    </a:lnTo>
                    <a:lnTo>
                      <a:pt x="493" y="613"/>
                    </a:lnTo>
                    <a:lnTo>
                      <a:pt x="493" y="611"/>
                    </a:lnTo>
                    <a:lnTo>
                      <a:pt x="495" y="613"/>
                    </a:lnTo>
                    <a:lnTo>
                      <a:pt x="495" y="615"/>
                    </a:lnTo>
                    <a:lnTo>
                      <a:pt x="497" y="615"/>
                    </a:lnTo>
                    <a:lnTo>
                      <a:pt x="497" y="617"/>
                    </a:lnTo>
                    <a:lnTo>
                      <a:pt x="497" y="619"/>
                    </a:lnTo>
                    <a:lnTo>
                      <a:pt x="497" y="620"/>
                    </a:lnTo>
                    <a:lnTo>
                      <a:pt x="495" y="620"/>
                    </a:lnTo>
                    <a:lnTo>
                      <a:pt x="495" y="622"/>
                    </a:lnTo>
                    <a:lnTo>
                      <a:pt x="495" y="624"/>
                    </a:lnTo>
                    <a:lnTo>
                      <a:pt x="493" y="624"/>
                    </a:lnTo>
                    <a:lnTo>
                      <a:pt x="492" y="626"/>
                    </a:lnTo>
                    <a:lnTo>
                      <a:pt x="490" y="628"/>
                    </a:lnTo>
                    <a:lnTo>
                      <a:pt x="488" y="628"/>
                    </a:lnTo>
                    <a:lnTo>
                      <a:pt x="486" y="628"/>
                    </a:lnTo>
                    <a:lnTo>
                      <a:pt x="484" y="628"/>
                    </a:lnTo>
                    <a:lnTo>
                      <a:pt x="482" y="628"/>
                    </a:lnTo>
                    <a:lnTo>
                      <a:pt x="482" y="626"/>
                    </a:lnTo>
                    <a:lnTo>
                      <a:pt x="482" y="624"/>
                    </a:lnTo>
                    <a:lnTo>
                      <a:pt x="480" y="624"/>
                    </a:lnTo>
                    <a:lnTo>
                      <a:pt x="478" y="624"/>
                    </a:lnTo>
                    <a:lnTo>
                      <a:pt x="476" y="624"/>
                    </a:lnTo>
                    <a:lnTo>
                      <a:pt x="474" y="624"/>
                    </a:lnTo>
                    <a:lnTo>
                      <a:pt x="474" y="622"/>
                    </a:lnTo>
                    <a:lnTo>
                      <a:pt x="474" y="620"/>
                    </a:lnTo>
                    <a:lnTo>
                      <a:pt x="474" y="619"/>
                    </a:lnTo>
                    <a:lnTo>
                      <a:pt x="472" y="619"/>
                    </a:lnTo>
                    <a:lnTo>
                      <a:pt x="472" y="620"/>
                    </a:lnTo>
                    <a:lnTo>
                      <a:pt x="470" y="620"/>
                    </a:lnTo>
                    <a:lnTo>
                      <a:pt x="470" y="622"/>
                    </a:lnTo>
                    <a:lnTo>
                      <a:pt x="469" y="622"/>
                    </a:lnTo>
                    <a:lnTo>
                      <a:pt x="469" y="624"/>
                    </a:lnTo>
                    <a:lnTo>
                      <a:pt x="467" y="624"/>
                    </a:lnTo>
                    <a:lnTo>
                      <a:pt x="467" y="622"/>
                    </a:lnTo>
                    <a:lnTo>
                      <a:pt x="465" y="619"/>
                    </a:lnTo>
                    <a:lnTo>
                      <a:pt x="465" y="617"/>
                    </a:lnTo>
                    <a:lnTo>
                      <a:pt x="463" y="617"/>
                    </a:lnTo>
                    <a:lnTo>
                      <a:pt x="463" y="619"/>
                    </a:lnTo>
                    <a:lnTo>
                      <a:pt x="463" y="620"/>
                    </a:lnTo>
                    <a:lnTo>
                      <a:pt x="463" y="622"/>
                    </a:lnTo>
                    <a:lnTo>
                      <a:pt x="463" y="624"/>
                    </a:lnTo>
                    <a:lnTo>
                      <a:pt x="463" y="626"/>
                    </a:lnTo>
                    <a:lnTo>
                      <a:pt x="461" y="626"/>
                    </a:lnTo>
                    <a:lnTo>
                      <a:pt x="457" y="630"/>
                    </a:lnTo>
                    <a:lnTo>
                      <a:pt x="457" y="628"/>
                    </a:lnTo>
                    <a:lnTo>
                      <a:pt x="455" y="630"/>
                    </a:lnTo>
                    <a:lnTo>
                      <a:pt x="453" y="630"/>
                    </a:lnTo>
                    <a:lnTo>
                      <a:pt x="455" y="630"/>
                    </a:lnTo>
                    <a:lnTo>
                      <a:pt x="455" y="632"/>
                    </a:lnTo>
                    <a:lnTo>
                      <a:pt x="453" y="634"/>
                    </a:lnTo>
                    <a:lnTo>
                      <a:pt x="451" y="636"/>
                    </a:lnTo>
                    <a:lnTo>
                      <a:pt x="449" y="636"/>
                    </a:lnTo>
                    <a:lnTo>
                      <a:pt x="451" y="636"/>
                    </a:lnTo>
                    <a:lnTo>
                      <a:pt x="451" y="638"/>
                    </a:lnTo>
                    <a:lnTo>
                      <a:pt x="449" y="638"/>
                    </a:lnTo>
                    <a:lnTo>
                      <a:pt x="449" y="636"/>
                    </a:lnTo>
                    <a:lnTo>
                      <a:pt x="447" y="636"/>
                    </a:lnTo>
                    <a:lnTo>
                      <a:pt x="445" y="636"/>
                    </a:lnTo>
                    <a:lnTo>
                      <a:pt x="445" y="634"/>
                    </a:lnTo>
                    <a:lnTo>
                      <a:pt x="444" y="634"/>
                    </a:lnTo>
                    <a:lnTo>
                      <a:pt x="444" y="632"/>
                    </a:lnTo>
                    <a:lnTo>
                      <a:pt x="442" y="634"/>
                    </a:lnTo>
                    <a:lnTo>
                      <a:pt x="442" y="636"/>
                    </a:lnTo>
                    <a:lnTo>
                      <a:pt x="440" y="636"/>
                    </a:lnTo>
                    <a:lnTo>
                      <a:pt x="438" y="636"/>
                    </a:lnTo>
                    <a:lnTo>
                      <a:pt x="438" y="634"/>
                    </a:lnTo>
                    <a:lnTo>
                      <a:pt x="436" y="634"/>
                    </a:lnTo>
                    <a:lnTo>
                      <a:pt x="434" y="634"/>
                    </a:lnTo>
                    <a:lnTo>
                      <a:pt x="434" y="632"/>
                    </a:lnTo>
                    <a:lnTo>
                      <a:pt x="434" y="630"/>
                    </a:lnTo>
                    <a:lnTo>
                      <a:pt x="432" y="630"/>
                    </a:lnTo>
                    <a:lnTo>
                      <a:pt x="432" y="628"/>
                    </a:lnTo>
                    <a:lnTo>
                      <a:pt x="430" y="628"/>
                    </a:lnTo>
                    <a:lnTo>
                      <a:pt x="430" y="626"/>
                    </a:lnTo>
                    <a:lnTo>
                      <a:pt x="428" y="626"/>
                    </a:lnTo>
                    <a:lnTo>
                      <a:pt x="428" y="624"/>
                    </a:lnTo>
                    <a:lnTo>
                      <a:pt x="426" y="624"/>
                    </a:lnTo>
                    <a:lnTo>
                      <a:pt x="426" y="622"/>
                    </a:lnTo>
                    <a:lnTo>
                      <a:pt x="424" y="622"/>
                    </a:lnTo>
                    <a:lnTo>
                      <a:pt x="422" y="622"/>
                    </a:lnTo>
                    <a:lnTo>
                      <a:pt x="421" y="622"/>
                    </a:lnTo>
                    <a:lnTo>
                      <a:pt x="419" y="622"/>
                    </a:lnTo>
                    <a:lnTo>
                      <a:pt x="417" y="622"/>
                    </a:lnTo>
                    <a:lnTo>
                      <a:pt x="415" y="622"/>
                    </a:lnTo>
                    <a:lnTo>
                      <a:pt x="413" y="622"/>
                    </a:lnTo>
                    <a:lnTo>
                      <a:pt x="413" y="624"/>
                    </a:lnTo>
                    <a:lnTo>
                      <a:pt x="411" y="624"/>
                    </a:lnTo>
                    <a:lnTo>
                      <a:pt x="411" y="626"/>
                    </a:lnTo>
                    <a:lnTo>
                      <a:pt x="411" y="628"/>
                    </a:lnTo>
                    <a:lnTo>
                      <a:pt x="411" y="630"/>
                    </a:lnTo>
                    <a:lnTo>
                      <a:pt x="409" y="630"/>
                    </a:lnTo>
                    <a:lnTo>
                      <a:pt x="409" y="632"/>
                    </a:lnTo>
                    <a:lnTo>
                      <a:pt x="411" y="632"/>
                    </a:lnTo>
                    <a:lnTo>
                      <a:pt x="411" y="634"/>
                    </a:lnTo>
                    <a:lnTo>
                      <a:pt x="409" y="634"/>
                    </a:lnTo>
                    <a:lnTo>
                      <a:pt x="407" y="636"/>
                    </a:lnTo>
                    <a:lnTo>
                      <a:pt x="405" y="638"/>
                    </a:lnTo>
                    <a:lnTo>
                      <a:pt x="403" y="638"/>
                    </a:lnTo>
                    <a:lnTo>
                      <a:pt x="401" y="638"/>
                    </a:lnTo>
                    <a:lnTo>
                      <a:pt x="401" y="636"/>
                    </a:lnTo>
                    <a:lnTo>
                      <a:pt x="399" y="636"/>
                    </a:lnTo>
                    <a:lnTo>
                      <a:pt x="397" y="634"/>
                    </a:lnTo>
                    <a:lnTo>
                      <a:pt x="396" y="634"/>
                    </a:lnTo>
                    <a:lnTo>
                      <a:pt x="396" y="632"/>
                    </a:lnTo>
                    <a:lnTo>
                      <a:pt x="396" y="630"/>
                    </a:lnTo>
                    <a:lnTo>
                      <a:pt x="394" y="630"/>
                    </a:lnTo>
                    <a:lnTo>
                      <a:pt x="394" y="628"/>
                    </a:lnTo>
                    <a:lnTo>
                      <a:pt x="394" y="630"/>
                    </a:lnTo>
                    <a:lnTo>
                      <a:pt x="394" y="632"/>
                    </a:lnTo>
                    <a:lnTo>
                      <a:pt x="394" y="634"/>
                    </a:lnTo>
                    <a:lnTo>
                      <a:pt x="394" y="636"/>
                    </a:lnTo>
                    <a:lnTo>
                      <a:pt x="392" y="636"/>
                    </a:lnTo>
                    <a:lnTo>
                      <a:pt x="390" y="636"/>
                    </a:lnTo>
                    <a:lnTo>
                      <a:pt x="390" y="634"/>
                    </a:lnTo>
                    <a:lnTo>
                      <a:pt x="388" y="634"/>
                    </a:lnTo>
                    <a:lnTo>
                      <a:pt x="388" y="632"/>
                    </a:lnTo>
                    <a:lnTo>
                      <a:pt x="386" y="632"/>
                    </a:lnTo>
                    <a:lnTo>
                      <a:pt x="386" y="630"/>
                    </a:lnTo>
                    <a:lnTo>
                      <a:pt x="384" y="632"/>
                    </a:lnTo>
                    <a:lnTo>
                      <a:pt x="384" y="634"/>
                    </a:lnTo>
                    <a:lnTo>
                      <a:pt x="382" y="634"/>
                    </a:lnTo>
                    <a:lnTo>
                      <a:pt x="380" y="634"/>
                    </a:lnTo>
                    <a:lnTo>
                      <a:pt x="380" y="636"/>
                    </a:lnTo>
                    <a:lnTo>
                      <a:pt x="382" y="636"/>
                    </a:lnTo>
                    <a:lnTo>
                      <a:pt x="384" y="640"/>
                    </a:lnTo>
                    <a:lnTo>
                      <a:pt x="382" y="642"/>
                    </a:lnTo>
                    <a:lnTo>
                      <a:pt x="380" y="643"/>
                    </a:lnTo>
                    <a:lnTo>
                      <a:pt x="380" y="645"/>
                    </a:lnTo>
                    <a:lnTo>
                      <a:pt x="378" y="645"/>
                    </a:lnTo>
                    <a:lnTo>
                      <a:pt x="378" y="647"/>
                    </a:lnTo>
                    <a:lnTo>
                      <a:pt x="376" y="647"/>
                    </a:lnTo>
                    <a:lnTo>
                      <a:pt x="374" y="647"/>
                    </a:lnTo>
                    <a:lnTo>
                      <a:pt x="374" y="649"/>
                    </a:lnTo>
                    <a:lnTo>
                      <a:pt x="376" y="649"/>
                    </a:lnTo>
                    <a:lnTo>
                      <a:pt x="376" y="651"/>
                    </a:lnTo>
                    <a:lnTo>
                      <a:pt x="378" y="651"/>
                    </a:lnTo>
                    <a:lnTo>
                      <a:pt x="378" y="653"/>
                    </a:lnTo>
                    <a:lnTo>
                      <a:pt x="380" y="655"/>
                    </a:lnTo>
                    <a:lnTo>
                      <a:pt x="380" y="657"/>
                    </a:lnTo>
                    <a:lnTo>
                      <a:pt x="380" y="659"/>
                    </a:lnTo>
                    <a:lnTo>
                      <a:pt x="378" y="657"/>
                    </a:lnTo>
                    <a:lnTo>
                      <a:pt x="376" y="657"/>
                    </a:lnTo>
                    <a:lnTo>
                      <a:pt x="374" y="655"/>
                    </a:lnTo>
                    <a:lnTo>
                      <a:pt x="372" y="655"/>
                    </a:lnTo>
                    <a:lnTo>
                      <a:pt x="371" y="655"/>
                    </a:lnTo>
                    <a:lnTo>
                      <a:pt x="369" y="655"/>
                    </a:lnTo>
                    <a:lnTo>
                      <a:pt x="367" y="655"/>
                    </a:lnTo>
                    <a:lnTo>
                      <a:pt x="365" y="655"/>
                    </a:lnTo>
                    <a:lnTo>
                      <a:pt x="363" y="653"/>
                    </a:lnTo>
                    <a:lnTo>
                      <a:pt x="361" y="653"/>
                    </a:lnTo>
                    <a:lnTo>
                      <a:pt x="361" y="655"/>
                    </a:lnTo>
                    <a:lnTo>
                      <a:pt x="363" y="655"/>
                    </a:lnTo>
                    <a:lnTo>
                      <a:pt x="361" y="655"/>
                    </a:lnTo>
                    <a:lnTo>
                      <a:pt x="359" y="655"/>
                    </a:lnTo>
                    <a:lnTo>
                      <a:pt x="359" y="657"/>
                    </a:lnTo>
                    <a:lnTo>
                      <a:pt x="359" y="659"/>
                    </a:lnTo>
                    <a:lnTo>
                      <a:pt x="357" y="659"/>
                    </a:lnTo>
                    <a:lnTo>
                      <a:pt x="357" y="661"/>
                    </a:lnTo>
                    <a:lnTo>
                      <a:pt x="357" y="659"/>
                    </a:lnTo>
                    <a:lnTo>
                      <a:pt x="355" y="659"/>
                    </a:lnTo>
                    <a:lnTo>
                      <a:pt x="355" y="661"/>
                    </a:lnTo>
                    <a:lnTo>
                      <a:pt x="353" y="661"/>
                    </a:lnTo>
                    <a:lnTo>
                      <a:pt x="353" y="663"/>
                    </a:lnTo>
                    <a:lnTo>
                      <a:pt x="353" y="665"/>
                    </a:lnTo>
                    <a:lnTo>
                      <a:pt x="351" y="665"/>
                    </a:lnTo>
                    <a:lnTo>
                      <a:pt x="351" y="667"/>
                    </a:lnTo>
                    <a:lnTo>
                      <a:pt x="351" y="668"/>
                    </a:lnTo>
                    <a:lnTo>
                      <a:pt x="351" y="670"/>
                    </a:lnTo>
                    <a:lnTo>
                      <a:pt x="348" y="672"/>
                    </a:lnTo>
                    <a:lnTo>
                      <a:pt x="344" y="676"/>
                    </a:lnTo>
                    <a:lnTo>
                      <a:pt x="344" y="678"/>
                    </a:lnTo>
                    <a:lnTo>
                      <a:pt x="348" y="682"/>
                    </a:lnTo>
                    <a:lnTo>
                      <a:pt x="346" y="682"/>
                    </a:lnTo>
                    <a:lnTo>
                      <a:pt x="346" y="684"/>
                    </a:lnTo>
                    <a:lnTo>
                      <a:pt x="346" y="686"/>
                    </a:lnTo>
                    <a:lnTo>
                      <a:pt x="346" y="688"/>
                    </a:lnTo>
                    <a:lnTo>
                      <a:pt x="346" y="690"/>
                    </a:lnTo>
                    <a:lnTo>
                      <a:pt x="348" y="690"/>
                    </a:lnTo>
                    <a:lnTo>
                      <a:pt x="348" y="691"/>
                    </a:lnTo>
                    <a:lnTo>
                      <a:pt x="348" y="693"/>
                    </a:lnTo>
                    <a:lnTo>
                      <a:pt x="349" y="693"/>
                    </a:lnTo>
                    <a:lnTo>
                      <a:pt x="349" y="695"/>
                    </a:lnTo>
                    <a:lnTo>
                      <a:pt x="349" y="697"/>
                    </a:lnTo>
                    <a:lnTo>
                      <a:pt x="348" y="699"/>
                    </a:lnTo>
                    <a:lnTo>
                      <a:pt x="349" y="701"/>
                    </a:lnTo>
                    <a:lnTo>
                      <a:pt x="348" y="701"/>
                    </a:lnTo>
                    <a:lnTo>
                      <a:pt x="348" y="703"/>
                    </a:lnTo>
                    <a:lnTo>
                      <a:pt x="348" y="701"/>
                    </a:lnTo>
                    <a:lnTo>
                      <a:pt x="346" y="701"/>
                    </a:lnTo>
                    <a:lnTo>
                      <a:pt x="346" y="703"/>
                    </a:lnTo>
                    <a:lnTo>
                      <a:pt x="346" y="701"/>
                    </a:lnTo>
                    <a:lnTo>
                      <a:pt x="344" y="701"/>
                    </a:lnTo>
                    <a:lnTo>
                      <a:pt x="344" y="703"/>
                    </a:lnTo>
                    <a:lnTo>
                      <a:pt x="346" y="703"/>
                    </a:lnTo>
                    <a:lnTo>
                      <a:pt x="344" y="703"/>
                    </a:lnTo>
                    <a:lnTo>
                      <a:pt x="344" y="705"/>
                    </a:lnTo>
                    <a:lnTo>
                      <a:pt x="342" y="705"/>
                    </a:lnTo>
                    <a:lnTo>
                      <a:pt x="342" y="707"/>
                    </a:lnTo>
                    <a:lnTo>
                      <a:pt x="342" y="709"/>
                    </a:lnTo>
                    <a:lnTo>
                      <a:pt x="340" y="709"/>
                    </a:lnTo>
                    <a:lnTo>
                      <a:pt x="340" y="711"/>
                    </a:lnTo>
                    <a:lnTo>
                      <a:pt x="342" y="711"/>
                    </a:lnTo>
                    <a:lnTo>
                      <a:pt x="342" y="713"/>
                    </a:lnTo>
                    <a:lnTo>
                      <a:pt x="340" y="713"/>
                    </a:lnTo>
                    <a:lnTo>
                      <a:pt x="342" y="713"/>
                    </a:lnTo>
                    <a:lnTo>
                      <a:pt x="342" y="715"/>
                    </a:lnTo>
                    <a:lnTo>
                      <a:pt x="340" y="716"/>
                    </a:lnTo>
                    <a:lnTo>
                      <a:pt x="340" y="718"/>
                    </a:lnTo>
                    <a:lnTo>
                      <a:pt x="340" y="720"/>
                    </a:lnTo>
                    <a:lnTo>
                      <a:pt x="340" y="722"/>
                    </a:lnTo>
                    <a:lnTo>
                      <a:pt x="340" y="724"/>
                    </a:lnTo>
                    <a:lnTo>
                      <a:pt x="340" y="726"/>
                    </a:lnTo>
                    <a:lnTo>
                      <a:pt x="340" y="728"/>
                    </a:lnTo>
                    <a:lnTo>
                      <a:pt x="342" y="728"/>
                    </a:lnTo>
                    <a:lnTo>
                      <a:pt x="342" y="730"/>
                    </a:lnTo>
                    <a:lnTo>
                      <a:pt x="344" y="730"/>
                    </a:lnTo>
                    <a:lnTo>
                      <a:pt x="344" y="732"/>
                    </a:lnTo>
                    <a:lnTo>
                      <a:pt x="342" y="741"/>
                    </a:lnTo>
                    <a:lnTo>
                      <a:pt x="342" y="743"/>
                    </a:lnTo>
                    <a:lnTo>
                      <a:pt x="342" y="745"/>
                    </a:lnTo>
                    <a:lnTo>
                      <a:pt x="342" y="747"/>
                    </a:lnTo>
                    <a:lnTo>
                      <a:pt x="342" y="749"/>
                    </a:lnTo>
                    <a:lnTo>
                      <a:pt x="342" y="751"/>
                    </a:lnTo>
                    <a:lnTo>
                      <a:pt x="340" y="751"/>
                    </a:lnTo>
                    <a:lnTo>
                      <a:pt x="340" y="753"/>
                    </a:lnTo>
                    <a:lnTo>
                      <a:pt x="340" y="755"/>
                    </a:lnTo>
                    <a:lnTo>
                      <a:pt x="340" y="757"/>
                    </a:lnTo>
                    <a:lnTo>
                      <a:pt x="340" y="759"/>
                    </a:lnTo>
                    <a:lnTo>
                      <a:pt x="338" y="759"/>
                    </a:lnTo>
                    <a:lnTo>
                      <a:pt x="338" y="761"/>
                    </a:lnTo>
                    <a:lnTo>
                      <a:pt x="338" y="763"/>
                    </a:lnTo>
                    <a:lnTo>
                      <a:pt x="340" y="763"/>
                    </a:lnTo>
                    <a:lnTo>
                      <a:pt x="340" y="764"/>
                    </a:lnTo>
                    <a:lnTo>
                      <a:pt x="340" y="766"/>
                    </a:lnTo>
                    <a:lnTo>
                      <a:pt x="342" y="768"/>
                    </a:lnTo>
                    <a:lnTo>
                      <a:pt x="340" y="770"/>
                    </a:lnTo>
                    <a:lnTo>
                      <a:pt x="338" y="770"/>
                    </a:lnTo>
                    <a:lnTo>
                      <a:pt x="338" y="772"/>
                    </a:lnTo>
                    <a:lnTo>
                      <a:pt x="338" y="774"/>
                    </a:lnTo>
                    <a:lnTo>
                      <a:pt x="336" y="774"/>
                    </a:lnTo>
                    <a:lnTo>
                      <a:pt x="336" y="776"/>
                    </a:lnTo>
                    <a:lnTo>
                      <a:pt x="334" y="776"/>
                    </a:lnTo>
                    <a:lnTo>
                      <a:pt x="334" y="778"/>
                    </a:lnTo>
                    <a:lnTo>
                      <a:pt x="334" y="780"/>
                    </a:lnTo>
                    <a:lnTo>
                      <a:pt x="332" y="780"/>
                    </a:lnTo>
                    <a:lnTo>
                      <a:pt x="330" y="780"/>
                    </a:lnTo>
                    <a:lnTo>
                      <a:pt x="328" y="780"/>
                    </a:lnTo>
                    <a:lnTo>
                      <a:pt x="330" y="780"/>
                    </a:lnTo>
                    <a:lnTo>
                      <a:pt x="328" y="780"/>
                    </a:lnTo>
                    <a:lnTo>
                      <a:pt x="328" y="782"/>
                    </a:lnTo>
                    <a:lnTo>
                      <a:pt x="328" y="784"/>
                    </a:lnTo>
                    <a:lnTo>
                      <a:pt x="330" y="784"/>
                    </a:lnTo>
                    <a:lnTo>
                      <a:pt x="330" y="786"/>
                    </a:lnTo>
                    <a:lnTo>
                      <a:pt x="332" y="786"/>
                    </a:lnTo>
                    <a:lnTo>
                      <a:pt x="332" y="787"/>
                    </a:lnTo>
                    <a:lnTo>
                      <a:pt x="334" y="787"/>
                    </a:lnTo>
                    <a:lnTo>
                      <a:pt x="334" y="789"/>
                    </a:lnTo>
                    <a:lnTo>
                      <a:pt x="334" y="791"/>
                    </a:lnTo>
                    <a:lnTo>
                      <a:pt x="332" y="791"/>
                    </a:lnTo>
                    <a:lnTo>
                      <a:pt x="332" y="793"/>
                    </a:lnTo>
                    <a:lnTo>
                      <a:pt x="330" y="795"/>
                    </a:lnTo>
                    <a:lnTo>
                      <a:pt x="330" y="799"/>
                    </a:lnTo>
                    <a:lnTo>
                      <a:pt x="330" y="801"/>
                    </a:lnTo>
                    <a:lnTo>
                      <a:pt x="330" y="803"/>
                    </a:lnTo>
                    <a:lnTo>
                      <a:pt x="332" y="803"/>
                    </a:lnTo>
                    <a:lnTo>
                      <a:pt x="332" y="805"/>
                    </a:lnTo>
                    <a:lnTo>
                      <a:pt x="332" y="807"/>
                    </a:lnTo>
                    <a:lnTo>
                      <a:pt x="332" y="809"/>
                    </a:lnTo>
                    <a:lnTo>
                      <a:pt x="330" y="809"/>
                    </a:lnTo>
                    <a:lnTo>
                      <a:pt x="330" y="811"/>
                    </a:lnTo>
                    <a:lnTo>
                      <a:pt x="330" y="809"/>
                    </a:lnTo>
                    <a:lnTo>
                      <a:pt x="328" y="811"/>
                    </a:lnTo>
                    <a:lnTo>
                      <a:pt x="328" y="812"/>
                    </a:lnTo>
                    <a:lnTo>
                      <a:pt x="326" y="812"/>
                    </a:lnTo>
                    <a:lnTo>
                      <a:pt x="324" y="812"/>
                    </a:lnTo>
                    <a:lnTo>
                      <a:pt x="324" y="814"/>
                    </a:lnTo>
                    <a:lnTo>
                      <a:pt x="323" y="814"/>
                    </a:lnTo>
                    <a:lnTo>
                      <a:pt x="323" y="816"/>
                    </a:lnTo>
                    <a:lnTo>
                      <a:pt x="323" y="818"/>
                    </a:lnTo>
                    <a:lnTo>
                      <a:pt x="323" y="820"/>
                    </a:lnTo>
                    <a:lnTo>
                      <a:pt x="323" y="822"/>
                    </a:lnTo>
                    <a:lnTo>
                      <a:pt x="323" y="824"/>
                    </a:lnTo>
                    <a:lnTo>
                      <a:pt x="321" y="824"/>
                    </a:lnTo>
                    <a:lnTo>
                      <a:pt x="321" y="826"/>
                    </a:lnTo>
                    <a:lnTo>
                      <a:pt x="319" y="826"/>
                    </a:lnTo>
                    <a:lnTo>
                      <a:pt x="319" y="828"/>
                    </a:lnTo>
                    <a:lnTo>
                      <a:pt x="319" y="830"/>
                    </a:lnTo>
                    <a:lnTo>
                      <a:pt x="319" y="832"/>
                    </a:lnTo>
                    <a:lnTo>
                      <a:pt x="317" y="832"/>
                    </a:lnTo>
                    <a:lnTo>
                      <a:pt x="317" y="834"/>
                    </a:lnTo>
                    <a:lnTo>
                      <a:pt x="317" y="835"/>
                    </a:lnTo>
                    <a:lnTo>
                      <a:pt x="315" y="835"/>
                    </a:lnTo>
                    <a:lnTo>
                      <a:pt x="313" y="835"/>
                    </a:lnTo>
                    <a:lnTo>
                      <a:pt x="311" y="835"/>
                    </a:lnTo>
                    <a:lnTo>
                      <a:pt x="309" y="835"/>
                    </a:lnTo>
                    <a:lnTo>
                      <a:pt x="309" y="839"/>
                    </a:lnTo>
                    <a:lnTo>
                      <a:pt x="307" y="841"/>
                    </a:lnTo>
                    <a:lnTo>
                      <a:pt x="307" y="843"/>
                    </a:lnTo>
                    <a:lnTo>
                      <a:pt x="305" y="845"/>
                    </a:lnTo>
                    <a:lnTo>
                      <a:pt x="303" y="845"/>
                    </a:lnTo>
                    <a:lnTo>
                      <a:pt x="301" y="845"/>
                    </a:lnTo>
                    <a:lnTo>
                      <a:pt x="300" y="847"/>
                    </a:lnTo>
                    <a:lnTo>
                      <a:pt x="298" y="847"/>
                    </a:lnTo>
                    <a:lnTo>
                      <a:pt x="298" y="845"/>
                    </a:lnTo>
                    <a:lnTo>
                      <a:pt x="296" y="845"/>
                    </a:lnTo>
                    <a:lnTo>
                      <a:pt x="296" y="843"/>
                    </a:lnTo>
                    <a:lnTo>
                      <a:pt x="294" y="839"/>
                    </a:lnTo>
                    <a:lnTo>
                      <a:pt x="294" y="837"/>
                    </a:lnTo>
                    <a:lnTo>
                      <a:pt x="292" y="835"/>
                    </a:lnTo>
                    <a:lnTo>
                      <a:pt x="290" y="834"/>
                    </a:lnTo>
                    <a:lnTo>
                      <a:pt x="288" y="834"/>
                    </a:lnTo>
                    <a:lnTo>
                      <a:pt x="286" y="832"/>
                    </a:lnTo>
                    <a:lnTo>
                      <a:pt x="282" y="832"/>
                    </a:lnTo>
                    <a:lnTo>
                      <a:pt x="280" y="834"/>
                    </a:lnTo>
                    <a:lnTo>
                      <a:pt x="278" y="835"/>
                    </a:lnTo>
                    <a:lnTo>
                      <a:pt x="276" y="837"/>
                    </a:lnTo>
                    <a:lnTo>
                      <a:pt x="275" y="837"/>
                    </a:lnTo>
                    <a:lnTo>
                      <a:pt x="276" y="839"/>
                    </a:lnTo>
                    <a:lnTo>
                      <a:pt x="278" y="841"/>
                    </a:lnTo>
                    <a:lnTo>
                      <a:pt x="280" y="841"/>
                    </a:lnTo>
                    <a:lnTo>
                      <a:pt x="280" y="843"/>
                    </a:lnTo>
                    <a:lnTo>
                      <a:pt x="280" y="845"/>
                    </a:lnTo>
                    <a:lnTo>
                      <a:pt x="282" y="847"/>
                    </a:lnTo>
                    <a:lnTo>
                      <a:pt x="282" y="849"/>
                    </a:lnTo>
                    <a:lnTo>
                      <a:pt x="282" y="851"/>
                    </a:lnTo>
                    <a:lnTo>
                      <a:pt x="282" y="853"/>
                    </a:lnTo>
                    <a:lnTo>
                      <a:pt x="282" y="855"/>
                    </a:lnTo>
                    <a:lnTo>
                      <a:pt x="280" y="857"/>
                    </a:lnTo>
                    <a:lnTo>
                      <a:pt x="278" y="857"/>
                    </a:lnTo>
                    <a:lnTo>
                      <a:pt x="276" y="857"/>
                    </a:lnTo>
                    <a:lnTo>
                      <a:pt x="275" y="857"/>
                    </a:lnTo>
                    <a:lnTo>
                      <a:pt x="273" y="857"/>
                    </a:lnTo>
                    <a:lnTo>
                      <a:pt x="271" y="857"/>
                    </a:lnTo>
                    <a:lnTo>
                      <a:pt x="269" y="857"/>
                    </a:lnTo>
                    <a:lnTo>
                      <a:pt x="267" y="855"/>
                    </a:lnTo>
                    <a:lnTo>
                      <a:pt x="265" y="851"/>
                    </a:lnTo>
                    <a:lnTo>
                      <a:pt x="263" y="849"/>
                    </a:lnTo>
                    <a:lnTo>
                      <a:pt x="261" y="849"/>
                    </a:lnTo>
                    <a:lnTo>
                      <a:pt x="261" y="847"/>
                    </a:lnTo>
                    <a:lnTo>
                      <a:pt x="259" y="847"/>
                    </a:lnTo>
                    <a:lnTo>
                      <a:pt x="257" y="845"/>
                    </a:lnTo>
                    <a:lnTo>
                      <a:pt x="255" y="845"/>
                    </a:lnTo>
                    <a:lnTo>
                      <a:pt x="253" y="845"/>
                    </a:lnTo>
                    <a:lnTo>
                      <a:pt x="252" y="845"/>
                    </a:lnTo>
                    <a:lnTo>
                      <a:pt x="250" y="847"/>
                    </a:lnTo>
                    <a:lnTo>
                      <a:pt x="248" y="849"/>
                    </a:lnTo>
                    <a:lnTo>
                      <a:pt x="246" y="851"/>
                    </a:lnTo>
                    <a:lnTo>
                      <a:pt x="244" y="853"/>
                    </a:lnTo>
                    <a:lnTo>
                      <a:pt x="242" y="853"/>
                    </a:lnTo>
                    <a:lnTo>
                      <a:pt x="240" y="855"/>
                    </a:lnTo>
                    <a:lnTo>
                      <a:pt x="238" y="855"/>
                    </a:lnTo>
                    <a:lnTo>
                      <a:pt x="236" y="855"/>
                    </a:lnTo>
                    <a:lnTo>
                      <a:pt x="234" y="855"/>
                    </a:lnTo>
                    <a:lnTo>
                      <a:pt x="232" y="855"/>
                    </a:lnTo>
                    <a:lnTo>
                      <a:pt x="232" y="853"/>
                    </a:lnTo>
                    <a:lnTo>
                      <a:pt x="228" y="851"/>
                    </a:lnTo>
                    <a:lnTo>
                      <a:pt x="227" y="851"/>
                    </a:lnTo>
                    <a:lnTo>
                      <a:pt x="225" y="851"/>
                    </a:lnTo>
                    <a:lnTo>
                      <a:pt x="225" y="849"/>
                    </a:lnTo>
                    <a:lnTo>
                      <a:pt x="223" y="849"/>
                    </a:lnTo>
                    <a:lnTo>
                      <a:pt x="221" y="849"/>
                    </a:lnTo>
                    <a:lnTo>
                      <a:pt x="219" y="849"/>
                    </a:lnTo>
                    <a:lnTo>
                      <a:pt x="219" y="847"/>
                    </a:lnTo>
                    <a:lnTo>
                      <a:pt x="217" y="847"/>
                    </a:lnTo>
                    <a:lnTo>
                      <a:pt x="215" y="847"/>
                    </a:lnTo>
                    <a:lnTo>
                      <a:pt x="213" y="845"/>
                    </a:lnTo>
                    <a:lnTo>
                      <a:pt x="211" y="845"/>
                    </a:lnTo>
                    <a:lnTo>
                      <a:pt x="209" y="845"/>
                    </a:lnTo>
                    <a:lnTo>
                      <a:pt x="207" y="843"/>
                    </a:lnTo>
                    <a:lnTo>
                      <a:pt x="207" y="841"/>
                    </a:lnTo>
                    <a:lnTo>
                      <a:pt x="207" y="839"/>
                    </a:lnTo>
                    <a:lnTo>
                      <a:pt x="207" y="837"/>
                    </a:lnTo>
                    <a:lnTo>
                      <a:pt x="207" y="835"/>
                    </a:lnTo>
                    <a:lnTo>
                      <a:pt x="205" y="835"/>
                    </a:lnTo>
                    <a:lnTo>
                      <a:pt x="205" y="837"/>
                    </a:lnTo>
                    <a:lnTo>
                      <a:pt x="204" y="837"/>
                    </a:lnTo>
                    <a:lnTo>
                      <a:pt x="202" y="839"/>
                    </a:lnTo>
                    <a:lnTo>
                      <a:pt x="200" y="841"/>
                    </a:lnTo>
                    <a:lnTo>
                      <a:pt x="198" y="841"/>
                    </a:lnTo>
                    <a:lnTo>
                      <a:pt x="196" y="841"/>
                    </a:lnTo>
                    <a:lnTo>
                      <a:pt x="194" y="839"/>
                    </a:lnTo>
                    <a:lnTo>
                      <a:pt x="192" y="839"/>
                    </a:lnTo>
                    <a:lnTo>
                      <a:pt x="190" y="839"/>
                    </a:lnTo>
                    <a:lnTo>
                      <a:pt x="188" y="839"/>
                    </a:lnTo>
                    <a:lnTo>
                      <a:pt x="186" y="839"/>
                    </a:lnTo>
                    <a:lnTo>
                      <a:pt x="186" y="841"/>
                    </a:lnTo>
                    <a:lnTo>
                      <a:pt x="184" y="843"/>
                    </a:lnTo>
                    <a:lnTo>
                      <a:pt x="180" y="847"/>
                    </a:lnTo>
                    <a:lnTo>
                      <a:pt x="180" y="849"/>
                    </a:lnTo>
                    <a:lnTo>
                      <a:pt x="179" y="849"/>
                    </a:lnTo>
                    <a:lnTo>
                      <a:pt x="177" y="849"/>
                    </a:lnTo>
                    <a:lnTo>
                      <a:pt x="177" y="851"/>
                    </a:lnTo>
                    <a:lnTo>
                      <a:pt x="175" y="851"/>
                    </a:lnTo>
                    <a:lnTo>
                      <a:pt x="173" y="851"/>
                    </a:lnTo>
                    <a:lnTo>
                      <a:pt x="171" y="851"/>
                    </a:lnTo>
                    <a:lnTo>
                      <a:pt x="171" y="849"/>
                    </a:lnTo>
                    <a:lnTo>
                      <a:pt x="169" y="849"/>
                    </a:lnTo>
                    <a:lnTo>
                      <a:pt x="167" y="847"/>
                    </a:lnTo>
                    <a:lnTo>
                      <a:pt x="165" y="845"/>
                    </a:lnTo>
                    <a:lnTo>
                      <a:pt x="163" y="843"/>
                    </a:lnTo>
                    <a:lnTo>
                      <a:pt x="163" y="841"/>
                    </a:lnTo>
                    <a:lnTo>
                      <a:pt x="161" y="839"/>
                    </a:lnTo>
                    <a:lnTo>
                      <a:pt x="161" y="837"/>
                    </a:lnTo>
                    <a:lnTo>
                      <a:pt x="159" y="835"/>
                    </a:lnTo>
                    <a:lnTo>
                      <a:pt x="159" y="834"/>
                    </a:lnTo>
                    <a:lnTo>
                      <a:pt x="159" y="832"/>
                    </a:lnTo>
                    <a:lnTo>
                      <a:pt x="159" y="830"/>
                    </a:lnTo>
                    <a:lnTo>
                      <a:pt x="159" y="828"/>
                    </a:lnTo>
                    <a:lnTo>
                      <a:pt x="161" y="826"/>
                    </a:lnTo>
                    <a:lnTo>
                      <a:pt x="161" y="824"/>
                    </a:lnTo>
                    <a:lnTo>
                      <a:pt x="161" y="822"/>
                    </a:lnTo>
                    <a:lnTo>
                      <a:pt x="161" y="820"/>
                    </a:lnTo>
                    <a:lnTo>
                      <a:pt x="159" y="820"/>
                    </a:lnTo>
                    <a:lnTo>
                      <a:pt x="159" y="818"/>
                    </a:lnTo>
                    <a:lnTo>
                      <a:pt x="157" y="818"/>
                    </a:lnTo>
                    <a:lnTo>
                      <a:pt x="156" y="818"/>
                    </a:lnTo>
                    <a:lnTo>
                      <a:pt x="154" y="820"/>
                    </a:lnTo>
                    <a:lnTo>
                      <a:pt x="152" y="820"/>
                    </a:lnTo>
                    <a:lnTo>
                      <a:pt x="152" y="822"/>
                    </a:lnTo>
                    <a:lnTo>
                      <a:pt x="150" y="822"/>
                    </a:lnTo>
                    <a:lnTo>
                      <a:pt x="148" y="824"/>
                    </a:lnTo>
                    <a:lnTo>
                      <a:pt x="148" y="826"/>
                    </a:lnTo>
                    <a:lnTo>
                      <a:pt x="148" y="828"/>
                    </a:lnTo>
                    <a:lnTo>
                      <a:pt x="148" y="830"/>
                    </a:lnTo>
                    <a:lnTo>
                      <a:pt x="150" y="830"/>
                    </a:lnTo>
                    <a:lnTo>
                      <a:pt x="150" y="832"/>
                    </a:lnTo>
                    <a:lnTo>
                      <a:pt x="150" y="834"/>
                    </a:lnTo>
                    <a:lnTo>
                      <a:pt x="152" y="835"/>
                    </a:lnTo>
                    <a:lnTo>
                      <a:pt x="150" y="837"/>
                    </a:lnTo>
                    <a:lnTo>
                      <a:pt x="150" y="839"/>
                    </a:lnTo>
                    <a:lnTo>
                      <a:pt x="148" y="841"/>
                    </a:lnTo>
                    <a:lnTo>
                      <a:pt x="146" y="843"/>
                    </a:lnTo>
                    <a:lnTo>
                      <a:pt x="144" y="843"/>
                    </a:lnTo>
                    <a:lnTo>
                      <a:pt x="142" y="843"/>
                    </a:lnTo>
                    <a:lnTo>
                      <a:pt x="140" y="843"/>
                    </a:lnTo>
                    <a:lnTo>
                      <a:pt x="140" y="841"/>
                    </a:lnTo>
                    <a:lnTo>
                      <a:pt x="140" y="839"/>
                    </a:lnTo>
                    <a:lnTo>
                      <a:pt x="138" y="839"/>
                    </a:lnTo>
                    <a:lnTo>
                      <a:pt x="138" y="837"/>
                    </a:lnTo>
                    <a:lnTo>
                      <a:pt x="138" y="835"/>
                    </a:lnTo>
                    <a:lnTo>
                      <a:pt x="138" y="834"/>
                    </a:lnTo>
                    <a:lnTo>
                      <a:pt x="138" y="832"/>
                    </a:lnTo>
                    <a:lnTo>
                      <a:pt x="138" y="830"/>
                    </a:lnTo>
                    <a:lnTo>
                      <a:pt x="138" y="828"/>
                    </a:lnTo>
                    <a:lnTo>
                      <a:pt x="136" y="828"/>
                    </a:lnTo>
                    <a:lnTo>
                      <a:pt x="136" y="826"/>
                    </a:lnTo>
                    <a:lnTo>
                      <a:pt x="134" y="826"/>
                    </a:lnTo>
                    <a:lnTo>
                      <a:pt x="134" y="824"/>
                    </a:lnTo>
                    <a:lnTo>
                      <a:pt x="132" y="824"/>
                    </a:lnTo>
                    <a:lnTo>
                      <a:pt x="131" y="826"/>
                    </a:lnTo>
                    <a:lnTo>
                      <a:pt x="131" y="828"/>
                    </a:lnTo>
                    <a:lnTo>
                      <a:pt x="131" y="830"/>
                    </a:lnTo>
                    <a:lnTo>
                      <a:pt x="132" y="830"/>
                    </a:lnTo>
                    <a:lnTo>
                      <a:pt x="132" y="832"/>
                    </a:lnTo>
                    <a:lnTo>
                      <a:pt x="134" y="832"/>
                    </a:lnTo>
                    <a:lnTo>
                      <a:pt x="134" y="834"/>
                    </a:lnTo>
                    <a:lnTo>
                      <a:pt x="134" y="835"/>
                    </a:lnTo>
                    <a:lnTo>
                      <a:pt x="136" y="835"/>
                    </a:lnTo>
                    <a:lnTo>
                      <a:pt x="136" y="837"/>
                    </a:lnTo>
                    <a:lnTo>
                      <a:pt x="136" y="839"/>
                    </a:lnTo>
                    <a:lnTo>
                      <a:pt x="134" y="839"/>
                    </a:lnTo>
                    <a:lnTo>
                      <a:pt x="134" y="841"/>
                    </a:lnTo>
                    <a:lnTo>
                      <a:pt x="134" y="843"/>
                    </a:lnTo>
                    <a:lnTo>
                      <a:pt x="134" y="845"/>
                    </a:lnTo>
                    <a:lnTo>
                      <a:pt x="132" y="845"/>
                    </a:lnTo>
                    <a:lnTo>
                      <a:pt x="132" y="847"/>
                    </a:lnTo>
                    <a:lnTo>
                      <a:pt x="131" y="847"/>
                    </a:lnTo>
                    <a:lnTo>
                      <a:pt x="129" y="847"/>
                    </a:lnTo>
                    <a:lnTo>
                      <a:pt x="127" y="847"/>
                    </a:lnTo>
                    <a:lnTo>
                      <a:pt x="125" y="847"/>
                    </a:lnTo>
                    <a:lnTo>
                      <a:pt x="123" y="845"/>
                    </a:lnTo>
                    <a:lnTo>
                      <a:pt x="121" y="843"/>
                    </a:lnTo>
                    <a:lnTo>
                      <a:pt x="119" y="841"/>
                    </a:lnTo>
                    <a:lnTo>
                      <a:pt x="117" y="839"/>
                    </a:lnTo>
                    <a:lnTo>
                      <a:pt x="117" y="837"/>
                    </a:lnTo>
                    <a:lnTo>
                      <a:pt x="115" y="835"/>
                    </a:lnTo>
                    <a:lnTo>
                      <a:pt x="115" y="834"/>
                    </a:lnTo>
                    <a:lnTo>
                      <a:pt x="113" y="834"/>
                    </a:lnTo>
                    <a:lnTo>
                      <a:pt x="111" y="832"/>
                    </a:lnTo>
                    <a:lnTo>
                      <a:pt x="109" y="832"/>
                    </a:lnTo>
                    <a:lnTo>
                      <a:pt x="107" y="832"/>
                    </a:lnTo>
                    <a:lnTo>
                      <a:pt x="106" y="832"/>
                    </a:lnTo>
                    <a:lnTo>
                      <a:pt x="104" y="832"/>
                    </a:lnTo>
                    <a:lnTo>
                      <a:pt x="102" y="834"/>
                    </a:lnTo>
                    <a:lnTo>
                      <a:pt x="102" y="835"/>
                    </a:lnTo>
                    <a:lnTo>
                      <a:pt x="100" y="835"/>
                    </a:lnTo>
                    <a:lnTo>
                      <a:pt x="100" y="837"/>
                    </a:lnTo>
                    <a:lnTo>
                      <a:pt x="100" y="839"/>
                    </a:lnTo>
                    <a:lnTo>
                      <a:pt x="102" y="841"/>
                    </a:lnTo>
                    <a:lnTo>
                      <a:pt x="104" y="841"/>
                    </a:lnTo>
                    <a:lnTo>
                      <a:pt x="106" y="841"/>
                    </a:lnTo>
                    <a:lnTo>
                      <a:pt x="107" y="841"/>
                    </a:lnTo>
                    <a:lnTo>
                      <a:pt x="109" y="841"/>
                    </a:lnTo>
                    <a:lnTo>
                      <a:pt x="111" y="841"/>
                    </a:lnTo>
                    <a:lnTo>
                      <a:pt x="113" y="841"/>
                    </a:lnTo>
                    <a:lnTo>
                      <a:pt x="115" y="841"/>
                    </a:lnTo>
                    <a:lnTo>
                      <a:pt x="115" y="843"/>
                    </a:lnTo>
                    <a:lnTo>
                      <a:pt x="115" y="845"/>
                    </a:lnTo>
                    <a:lnTo>
                      <a:pt x="115" y="847"/>
                    </a:lnTo>
                    <a:lnTo>
                      <a:pt x="115" y="849"/>
                    </a:lnTo>
                    <a:lnTo>
                      <a:pt x="117" y="849"/>
                    </a:lnTo>
                    <a:lnTo>
                      <a:pt x="117" y="851"/>
                    </a:lnTo>
                    <a:lnTo>
                      <a:pt x="119" y="853"/>
                    </a:lnTo>
                    <a:lnTo>
                      <a:pt x="121" y="855"/>
                    </a:lnTo>
                    <a:lnTo>
                      <a:pt x="121" y="857"/>
                    </a:lnTo>
                    <a:lnTo>
                      <a:pt x="123" y="859"/>
                    </a:lnTo>
                    <a:lnTo>
                      <a:pt x="123" y="860"/>
                    </a:lnTo>
                    <a:lnTo>
                      <a:pt x="123" y="862"/>
                    </a:lnTo>
                    <a:lnTo>
                      <a:pt x="123" y="864"/>
                    </a:lnTo>
                    <a:lnTo>
                      <a:pt x="121" y="864"/>
                    </a:lnTo>
                    <a:lnTo>
                      <a:pt x="121" y="866"/>
                    </a:lnTo>
                    <a:lnTo>
                      <a:pt x="119" y="866"/>
                    </a:lnTo>
                    <a:lnTo>
                      <a:pt x="117" y="866"/>
                    </a:lnTo>
                    <a:lnTo>
                      <a:pt x="113" y="866"/>
                    </a:lnTo>
                    <a:lnTo>
                      <a:pt x="113" y="864"/>
                    </a:lnTo>
                    <a:lnTo>
                      <a:pt x="111" y="864"/>
                    </a:lnTo>
                    <a:lnTo>
                      <a:pt x="109" y="864"/>
                    </a:lnTo>
                    <a:lnTo>
                      <a:pt x="107" y="864"/>
                    </a:lnTo>
                    <a:lnTo>
                      <a:pt x="106" y="862"/>
                    </a:lnTo>
                    <a:lnTo>
                      <a:pt x="106" y="860"/>
                    </a:lnTo>
                    <a:lnTo>
                      <a:pt x="106" y="859"/>
                    </a:lnTo>
                    <a:lnTo>
                      <a:pt x="104" y="859"/>
                    </a:lnTo>
                    <a:lnTo>
                      <a:pt x="104" y="857"/>
                    </a:lnTo>
                    <a:lnTo>
                      <a:pt x="102" y="855"/>
                    </a:lnTo>
                    <a:lnTo>
                      <a:pt x="100" y="853"/>
                    </a:lnTo>
                    <a:lnTo>
                      <a:pt x="98" y="853"/>
                    </a:lnTo>
                    <a:lnTo>
                      <a:pt x="96" y="853"/>
                    </a:lnTo>
                    <a:lnTo>
                      <a:pt x="94" y="855"/>
                    </a:lnTo>
                    <a:lnTo>
                      <a:pt x="94" y="857"/>
                    </a:lnTo>
                    <a:lnTo>
                      <a:pt x="94" y="859"/>
                    </a:lnTo>
                    <a:lnTo>
                      <a:pt x="94" y="860"/>
                    </a:lnTo>
                    <a:lnTo>
                      <a:pt x="94" y="862"/>
                    </a:lnTo>
                    <a:lnTo>
                      <a:pt x="96" y="862"/>
                    </a:lnTo>
                    <a:lnTo>
                      <a:pt x="96" y="864"/>
                    </a:lnTo>
                    <a:lnTo>
                      <a:pt x="96" y="866"/>
                    </a:lnTo>
                    <a:lnTo>
                      <a:pt x="96" y="868"/>
                    </a:lnTo>
                    <a:lnTo>
                      <a:pt x="96" y="870"/>
                    </a:lnTo>
                    <a:lnTo>
                      <a:pt x="96" y="872"/>
                    </a:lnTo>
                    <a:lnTo>
                      <a:pt x="96" y="874"/>
                    </a:lnTo>
                    <a:lnTo>
                      <a:pt x="94" y="874"/>
                    </a:lnTo>
                    <a:lnTo>
                      <a:pt x="94" y="876"/>
                    </a:lnTo>
                    <a:lnTo>
                      <a:pt x="92" y="876"/>
                    </a:lnTo>
                    <a:lnTo>
                      <a:pt x="90" y="876"/>
                    </a:lnTo>
                    <a:lnTo>
                      <a:pt x="88" y="876"/>
                    </a:lnTo>
                    <a:lnTo>
                      <a:pt x="86" y="876"/>
                    </a:lnTo>
                    <a:lnTo>
                      <a:pt x="84" y="876"/>
                    </a:lnTo>
                    <a:lnTo>
                      <a:pt x="83" y="874"/>
                    </a:lnTo>
                    <a:lnTo>
                      <a:pt x="81" y="874"/>
                    </a:lnTo>
                    <a:lnTo>
                      <a:pt x="79" y="874"/>
                    </a:lnTo>
                    <a:lnTo>
                      <a:pt x="79" y="872"/>
                    </a:lnTo>
                    <a:lnTo>
                      <a:pt x="77" y="870"/>
                    </a:lnTo>
                    <a:lnTo>
                      <a:pt x="77" y="868"/>
                    </a:lnTo>
                    <a:lnTo>
                      <a:pt x="75" y="866"/>
                    </a:lnTo>
                    <a:lnTo>
                      <a:pt x="75" y="864"/>
                    </a:lnTo>
                    <a:lnTo>
                      <a:pt x="75" y="862"/>
                    </a:lnTo>
                    <a:lnTo>
                      <a:pt x="73" y="860"/>
                    </a:lnTo>
                    <a:lnTo>
                      <a:pt x="73" y="859"/>
                    </a:lnTo>
                    <a:lnTo>
                      <a:pt x="73" y="857"/>
                    </a:lnTo>
                    <a:lnTo>
                      <a:pt x="73" y="855"/>
                    </a:lnTo>
                    <a:lnTo>
                      <a:pt x="71" y="855"/>
                    </a:lnTo>
                    <a:lnTo>
                      <a:pt x="71" y="853"/>
                    </a:lnTo>
                    <a:lnTo>
                      <a:pt x="71" y="851"/>
                    </a:lnTo>
                    <a:lnTo>
                      <a:pt x="69" y="851"/>
                    </a:lnTo>
                    <a:lnTo>
                      <a:pt x="69" y="849"/>
                    </a:lnTo>
                    <a:lnTo>
                      <a:pt x="69" y="847"/>
                    </a:lnTo>
                    <a:lnTo>
                      <a:pt x="67" y="847"/>
                    </a:lnTo>
                    <a:lnTo>
                      <a:pt x="67" y="845"/>
                    </a:lnTo>
                    <a:lnTo>
                      <a:pt x="67" y="843"/>
                    </a:lnTo>
                    <a:lnTo>
                      <a:pt x="67" y="839"/>
                    </a:lnTo>
                    <a:lnTo>
                      <a:pt x="65" y="839"/>
                    </a:lnTo>
                    <a:lnTo>
                      <a:pt x="65" y="837"/>
                    </a:lnTo>
                    <a:lnTo>
                      <a:pt x="65" y="835"/>
                    </a:lnTo>
                    <a:lnTo>
                      <a:pt x="65" y="834"/>
                    </a:lnTo>
                    <a:lnTo>
                      <a:pt x="65" y="832"/>
                    </a:lnTo>
                    <a:lnTo>
                      <a:pt x="63" y="832"/>
                    </a:lnTo>
                    <a:lnTo>
                      <a:pt x="61" y="830"/>
                    </a:lnTo>
                    <a:lnTo>
                      <a:pt x="59" y="830"/>
                    </a:lnTo>
                    <a:lnTo>
                      <a:pt x="58" y="830"/>
                    </a:lnTo>
                    <a:lnTo>
                      <a:pt x="58" y="832"/>
                    </a:lnTo>
                    <a:lnTo>
                      <a:pt x="56" y="832"/>
                    </a:lnTo>
                    <a:lnTo>
                      <a:pt x="54" y="832"/>
                    </a:lnTo>
                    <a:lnTo>
                      <a:pt x="52" y="832"/>
                    </a:lnTo>
                    <a:lnTo>
                      <a:pt x="52" y="830"/>
                    </a:lnTo>
                    <a:lnTo>
                      <a:pt x="50" y="830"/>
                    </a:lnTo>
                    <a:lnTo>
                      <a:pt x="50" y="828"/>
                    </a:lnTo>
                    <a:lnTo>
                      <a:pt x="48" y="828"/>
                    </a:lnTo>
                    <a:lnTo>
                      <a:pt x="46" y="828"/>
                    </a:lnTo>
                    <a:lnTo>
                      <a:pt x="46" y="830"/>
                    </a:lnTo>
                    <a:lnTo>
                      <a:pt x="44" y="830"/>
                    </a:lnTo>
                    <a:lnTo>
                      <a:pt x="42" y="830"/>
                    </a:lnTo>
                    <a:lnTo>
                      <a:pt x="42" y="828"/>
                    </a:lnTo>
                    <a:lnTo>
                      <a:pt x="40" y="828"/>
                    </a:lnTo>
                    <a:lnTo>
                      <a:pt x="40" y="826"/>
                    </a:lnTo>
                    <a:lnTo>
                      <a:pt x="40" y="824"/>
                    </a:lnTo>
                    <a:lnTo>
                      <a:pt x="38" y="824"/>
                    </a:lnTo>
                    <a:lnTo>
                      <a:pt x="40" y="824"/>
                    </a:lnTo>
                    <a:lnTo>
                      <a:pt x="38" y="824"/>
                    </a:lnTo>
                    <a:lnTo>
                      <a:pt x="38" y="822"/>
                    </a:lnTo>
                    <a:lnTo>
                      <a:pt x="38" y="820"/>
                    </a:lnTo>
                    <a:lnTo>
                      <a:pt x="36" y="820"/>
                    </a:lnTo>
                    <a:lnTo>
                      <a:pt x="36" y="818"/>
                    </a:lnTo>
                    <a:lnTo>
                      <a:pt x="35" y="818"/>
                    </a:lnTo>
                    <a:lnTo>
                      <a:pt x="35" y="820"/>
                    </a:lnTo>
                    <a:lnTo>
                      <a:pt x="33" y="820"/>
                    </a:lnTo>
                    <a:lnTo>
                      <a:pt x="35" y="820"/>
                    </a:lnTo>
                    <a:lnTo>
                      <a:pt x="35" y="822"/>
                    </a:lnTo>
                    <a:lnTo>
                      <a:pt x="35" y="824"/>
                    </a:lnTo>
                    <a:lnTo>
                      <a:pt x="33" y="824"/>
                    </a:lnTo>
                    <a:lnTo>
                      <a:pt x="33" y="826"/>
                    </a:lnTo>
                    <a:lnTo>
                      <a:pt x="31" y="826"/>
                    </a:lnTo>
                    <a:lnTo>
                      <a:pt x="31" y="828"/>
                    </a:lnTo>
                    <a:lnTo>
                      <a:pt x="29" y="828"/>
                    </a:lnTo>
                    <a:lnTo>
                      <a:pt x="29" y="826"/>
                    </a:lnTo>
                    <a:lnTo>
                      <a:pt x="27" y="826"/>
                    </a:lnTo>
                    <a:lnTo>
                      <a:pt x="29" y="826"/>
                    </a:lnTo>
                    <a:lnTo>
                      <a:pt x="29" y="824"/>
                    </a:lnTo>
                    <a:lnTo>
                      <a:pt x="31" y="824"/>
                    </a:lnTo>
                    <a:lnTo>
                      <a:pt x="31" y="822"/>
                    </a:lnTo>
                    <a:lnTo>
                      <a:pt x="31" y="820"/>
                    </a:lnTo>
                    <a:lnTo>
                      <a:pt x="31" y="818"/>
                    </a:lnTo>
                    <a:lnTo>
                      <a:pt x="29" y="818"/>
                    </a:lnTo>
                    <a:lnTo>
                      <a:pt x="27" y="818"/>
                    </a:lnTo>
                    <a:lnTo>
                      <a:pt x="25" y="818"/>
                    </a:lnTo>
                    <a:lnTo>
                      <a:pt x="25" y="816"/>
                    </a:lnTo>
                    <a:lnTo>
                      <a:pt x="23" y="816"/>
                    </a:lnTo>
                    <a:lnTo>
                      <a:pt x="23" y="814"/>
                    </a:lnTo>
                    <a:lnTo>
                      <a:pt x="25" y="814"/>
                    </a:lnTo>
                    <a:lnTo>
                      <a:pt x="25" y="812"/>
                    </a:lnTo>
                    <a:lnTo>
                      <a:pt x="27" y="812"/>
                    </a:lnTo>
                    <a:lnTo>
                      <a:pt x="29" y="812"/>
                    </a:lnTo>
                    <a:lnTo>
                      <a:pt x="29" y="811"/>
                    </a:lnTo>
                    <a:lnTo>
                      <a:pt x="29" y="812"/>
                    </a:lnTo>
                    <a:lnTo>
                      <a:pt x="29" y="811"/>
                    </a:lnTo>
                    <a:lnTo>
                      <a:pt x="31" y="811"/>
                    </a:lnTo>
                    <a:lnTo>
                      <a:pt x="31" y="809"/>
                    </a:lnTo>
                    <a:lnTo>
                      <a:pt x="31" y="807"/>
                    </a:lnTo>
                    <a:lnTo>
                      <a:pt x="29" y="807"/>
                    </a:lnTo>
                    <a:lnTo>
                      <a:pt x="29" y="809"/>
                    </a:lnTo>
                    <a:lnTo>
                      <a:pt x="27" y="809"/>
                    </a:lnTo>
                    <a:lnTo>
                      <a:pt x="27" y="807"/>
                    </a:lnTo>
                    <a:lnTo>
                      <a:pt x="27" y="805"/>
                    </a:lnTo>
                    <a:lnTo>
                      <a:pt x="27" y="803"/>
                    </a:lnTo>
                    <a:lnTo>
                      <a:pt x="25" y="803"/>
                    </a:lnTo>
                    <a:lnTo>
                      <a:pt x="23" y="803"/>
                    </a:lnTo>
                    <a:lnTo>
                      <a:pt x="23" y="801"/>
                    </a:lnTo>
                    <a:lnTo>
                      <a:pt x="23" y="799"/>
                    </a:lnTo>
                    <a:lnTo>
                      <a:pt x="23" y="797"/>
                    </a:lnTo>
                    <a:lnTo>
                      <a:pt x="23" y="795"/>
                    </a:lnTo>
                    <a:lnTo>
                      <a:pt x="21" y="795"/>
                    </a:lnTo>
                    <a:lnTo>
                      <a:pt x="21" y="793"/>
                    </a:lnTo>
                    <a:lnTo>
                      <a:pt x="19" y="793"/>
                    </a:lnTo>
                    <a:lnTo>
                      <a:pt x="17" y="793"/>
                    </a:lnTo>
                    <a:lnTo>
                      <a:pt x="17" y="791"/>
                    </a:lnTo>
                    <a:lnTo>
                      <a:pt x="15" y="791"/>
                    </a:lnTo>
                    <a:lnTo>
                      <a:pt x="15" y="789"/>
                    </a:lnTo>
                    <a:lnTo>
                      <a:pt x="15" y="787"/>
                    </a:lnTo>
                    <a:lnTo>
                      <a:pt x="17" y="787"/>
                    </a:lnTo>
                    <a:lnTo>
                      <a:pt x="17" y="789"/>
                    </a:lnTo>
                    <a:lnTo>
                      <a:pt x="19" y="789"/>
                    </a:lnTo>
                    <a:lnTo>
                      <a:pt x="21" y="789"/>
                    </a:lnTo>
                    <a:lnTo>
                      <a:pt x="23" y="789"/>
                    </a:lnTo>
                    <a:lnTo>
                      <a:pt x="25" y="789"/>
                    </a:lnTo>
                    <a:lnTo>
                      <a:pt x="25" y="787"/>
                    </a:lnTo>
                    <a:lnTo>
                      <a:pt x="25" y="786"/>
                    </a:lnTo>
                    <a:lnTo>
                      <a:pt x="23" y="786"/>
                    </a:lnTo>
                    <a:lnTo>
                      <a:pt x="21" y="786"/>
                    </a:lnTo>
                    <a:lnTo>
                      <a:pt x="19" y="786"/>
                    </a:lnTo>
                    <a:lnTo>
                      <a:pt x="17" y="786"/>
                    </a:lnTo>
                    <a:lnTo>
                      <a:pt x="17" y="784"/>
                    </a:lnTo>
                    <a:lnTo>
                      <a:pt x="15" y="784"/>
                    </a:lnTo>
                    <a:lnTo>
                      <a:pt x="15" y="782"/>
                    </a:lnTo>
                    <a:lnTo>
                      <a:pt x="17" y="782"/>
                    </a:lnTo>
                    <a:lnTo>
                      <a:pt x="19" y="782"/>
                    </a:lnTo>
                    <a:lnTo>
                      <a:pt x="19" y="780"/>
                    </a:lnTo>
                    <a:lnTo>
                      <a:pt x="21" y="780"/>
                    </a:lnTo>
                    <a:lnTo>
                      <a:pt x="21" y="778"/>
                    </a:lnTo>
                    <a:lnTo>
                      <a:pt x="21" y="776"/>
                    </a:lnTo>
                    <a:lnTo>
                      <a:pt x="19" y="776"/>
                    </a:lnTo>
                    <a:lnTo>
                      <a:pt x="19" y="778"/>
                    </a:lnTo>
                    <a:lnTo>
                      <a:pt x="17" y="778"/>
                    </a:lnTo>
                    <a:lnTo>
                      <a:pt x="15" y="778"/>
                    </a:lnTo>
                    <a:lnTo>
                      <a:pt x="13" y="778"/>
                    </a:lnTo>
                    <a:lnTo>
                      <a:pt x="13" y="780"/>
                    </a:lnTo>
                    <a:lnTo>
                      <a:pt x="13" y="778"/>
                    </a:lnTo>
                    <a:lnTo>
                      <a:pt x="11" y="778"/>
                    </a:lnTo>
                    <a:lnTo>
                      <a:pt x="10" y="778"/>
                    </a:lnTo>
                    <a:lnTo>
                      <a:pt x="10" y="776"/>
                    </a:lnTo>
                    <a:lnTo>
                      <a:pt x="11" y="776"/>
                    </a:lnTo>
                    <a:lnTo>
                      <a:pt x="11" y="774"/>
                    </a:lnTo>
                    <a:lnTo>
                      <a:pt x="13" y="774"/>
                    </a:lnTo>
                    <a:lnTo>
                      <a:pt x="13" y="772"/>
                    </a:lnTo>
                    <a:lnTo>
                      <a:pt x="13" y="770"/>
                    </a:lnTo>
                    <a:lnTo>
                      <a:pt x="15" y="770"/>
                    </a:lnTo>
                    <a:lnTo>
                      <a:pt x="15" y="768"/>
                    </a:lnTo>
                    <a:lnTo>
                      <a:pt x="13" y="768"/>
                    </a:lnTo>
                    <a:lnTo>
                      <a:pt x="13" y="766"/>
                    </a:lnTo>
                    <a:lnTo>
                      <a:pt x="11" y="766"/>
                    </a:lnTo>
                    <a:lnTo>
                      <a:pt x="11" y="768"/>
                    </a:lnTo>
                    <a:lnTo>
                      <a:pt x="10" y="768"/>
                    </a:lnTo>
                    <a:lnTo>
                      <a:pt x="10" y="770"/>
                    </a:lnTo>
                    <a:lnTo>
                      <a:pt x="8" y="770"/>
                    </a:lnTo>
                    <a:lnTo>
                      <a:pt x="8" y="768"/>
                    </a:lnTo>
                    <a:lnTo>
                      <a:pt x="6" y="768"/>
                    </a:lnTo>
                    <a:lnTo>
                      <a:pt x="6" y="766"/>
                    </a:lnTo>
                    <a:lnTo>
                      <a:pt x="4" y="766"/>
                    </a:lnTo>
                    <a:lnTo>
                      <a:pt x="6" y="766"/>
                    </a:lnTo>
                    <a:lnTo>
                      <a:pt x="4" y="766"/>
                    </a:lnTo>
                    <a:lnTo>
                      <a:pt x="4" y="764"/>
                    </a:lnTo>
                    <a:lnTo>
                      <a:pt x="6" y="764"/>
                    </a:lnTo>
                    <a:lnTo>
                      <a:pt x="6" y="763"/>
                    </a:lnTo>
                    <a:lnTo>
                      <a:pt x="4" y="763"/>
                    </a:lnTo>
                    <a:lnTo>
                      <a:pt x="2" y="763"/>
                    </a:lnTo>
                    <a:lnTo>
                      <a:pt x="0" y="763"/>
                    </a:lnTo>
                    <a:lnTo>
                      <a:pt x="0" y="761"/>
                    </a:lnTo>
                    <a:lnTo>
                      <a:pt x="0" y="759"/>
                    </a:lnTo>
                    <a:lnTo>
                      <a:pt x="0" y="757"/>
                    </a:lnTo>
                    <a:lnTo>
                      <a:pt x="2" y="757"/>
                    </a:lnTo>
                    <a:lnTo>
                      <a:pt x="4" y="757"/>
                    </a:lnTo>
                    <a:lnTo>
                      <a:pt x="4" y="759"/>
                    </a:lnTo>
                    <a:lnTo>
                      <a:pt x="4" y="757"/>
                    </a:lnTo>
                    <a:lnTo>
                      <a:pt x="6" y="757"/>
                    </a:lnTo>
                    <a:lnTo>
                      <a:pt x="6" y="755"/>
                    </a:lnTo>
                    <a:lnTo>
                      <a:pt x="4" y="755"/>
                    </a:lnTo>
                    <a:lnTo>
                      <a:pt x="4" y="753"/>
                    </a:lnTo>
                    <a:lnTo>
                      <a:pt x="4" y="751"/>
                    </a:lnTo>
                    <a:lnTo>
                      <a:pt x="4" y="749"/>
                    </a:lnTo>
                    <a:lnTo>
                      <a:pt x="6" y="749"/>
                    </a:lnTo>
                    <a:lnTo>
                      <a:pt x="6" y="747"/>
                    </a:lnTo>
                    <a:lnTo>
                      <a:pt x="8" y="747"/>
                    </a:lnTo>
                    <a:lnTo>
                      <a:pt x="8" y="745"/>
                    </a:lnTo>
                    <a:lnTo>
                      <a:pt x="6" y="743"/>
                    </a:lnTo>
                    <a:lnTo>
                      <a:pt x="8" y="743"/>
                    </a:lnTo>
                    <a:lnTo>
                      <a:pt x="8" y="741"/>
                    </a:lnTo>
                    <a:lnTo>
                      <a:pt x="10" y="741"/>
                    </a:lnTo>
                    <a:lnTo>
                      <a:pt x="10" y="739"/>
                    </a:lnTo>
                    <a:lnTo>
                      <a:pt x="10" y="738"/>
                    </a:lnTo>
                    <a:lnTo>
                      <a:pt x="8" y="738"/>
                    </a:lnTo>
                    <a:lnTo>
                      <a:pt x="8" y="736"/>
                    </a:lnTo>
                    <a:lnTo>
                      <a:pt x="6" y="736"/>
                    </a:lnTo>
                    <a:lnTo>
                      <a:pt x="6" y="734"/>
                    </a:lnTo>
                    <a:lnTo>
                      <a:pt x="6" y="732"/>
                    </a:lnTo>
                    <a:lnTo>
                      <a:pt x="8" y="732"/>
                    </a:lnTo>
                    <a:lnTo>
                      <a:pt x="8" y="734"/>
                    </a:lnTo>
                    <a:lnTo>
                      <a:pt x="10" y="734"/>
                    </a:lnTo>
                    <a:lnTo>
                      <a:pt x="11" y="734"/>
                    </a:lnTo>
                    <a:lnTo>
                      <a:pt x="11" y="732"/>
                    </a:lnTo>
                    <a:lnTo>
                      <a:pt x="10" y="732"/>
                    </a:lnTo>
                    <a:lnTo>
                      <a:pt x="10" y="730"/>
                    </a:lnTo>
                    <a:lnTo>
                      <a:pt x="8" y="730"/>
                    </a:lnTo>
                    <a:lnTo>
                      <a:pt x="8" y="728"/>
                    </a:lnTo>
                    <a:lnTo>
                      <a:pt x="10" y="728"/>
                    </a:lnTo>
                    <a:lnTo>
                      <a:pt x="10" y="726"/>
                    </a:lnTo>
                    <a:lnTo>
                      <a:pt x="11" y="726"/>
                    </a:lnTo>
                    <a:lnTo>
                      <a:pt x="11" y="724"/>
                    </a:lnTo>
                    <a:lnTo>
                      <a:pt x="11" y="722"/>
                    </a:lnTo>
                    <a:lnTo>
                      <a:pt x="10" y="722"/>
                    </a:lnTo>
                    <a:lnTo>
                      <a:pt x="10" y="720"/>
                    </a:lnTo>
                    <a:lnTo>
                      <a:pt x="8" y="720"/>
                    </a:lnTo>
                    <a:lnTo>
                      <a:pt x="6" y="720"/>
                    </a:lnTo>
                    <a:lnTo>
                      <a:pt x="4" y="720"/>
                    </a:lnTo>
                    <a:lnTo>
                      <a:pt x="4" y="718"/>
                    </a:lnTo>
                    <a:lnTo>
                      <a:pt x="4" y="716"/>
                    </a:lnTo>
                    <a:lnTo>
                      <a:pt x="4" y="715"/>
                    </a:lnTo>
                    <a:lnTo>
                      <a:pt x="4" y="713"/>
                    </a:lnTo>
                    <a:lnTo>
                      <a:pt x="6" y="713"/>
                    </a:lnTo>
                    <a:lnTo>
                      <a:pt x="6" y="711"/>
                    </a:lnTo>
                    <a:lnTo>
                      <a:pt x="8" y="711"/>
                    </a:lnTo>
                    <a:lnTo>
                      <a:pt x="8" y="713"/>
                    </a:lnTo>
                    <a:lnTo>
                      <a:pt x="6" y="713"/>
                    </a:lnTo>
                    <a:lnTo>
                      <a:pt x="6" y="715"/>
                    </a:lnTo>
                    <a:lnTo>
                      <a:pt x="8" y="715"/>
                    </a:lnTo>
                    <a:lnTo>
                      <a:pt x="8" y="716"/>
                    </a:lnTo>
                    <a:lnTo>
                      <a:pt x="10" y="716"/>
                    </a:lnTo>
                    <a:lnTo>
                      <a:pt x="11" y="716"/>
                    </a:lnTo>
                    <a:lnTo>
                      <a:pt x="11" y="715"/>
                    </a:lnTo>
                    <a:lnTo>
                      <a:pt x="11" y="713"/>
                    </a:lnTo>
                    <a:lnTo>
                      <a:pt x="10" y="713"/>
                    </a:lnTo>
                    <a:lnTo>
                      <a:pt x="10" y="711"/>
                    </a:lnTo>
                    <a:lnTo>
                      <a:pt x="10" y="709"/>
                    </a:lnTo>
                    <a:lnTo>
                      <a:pt x="10" y="707"/>
                    </a:lnTo>
                    <a:lnTo>
                      <a:pt x="11" y="707"/>
                    </a:lnTo>
                    <a:lnTo>
                      <a:pt x="13" y="707"/>
                    </a:lnTo>
                    <a:lnTo>
                      <a:pt x="13" y="709"/>
                    </a:lnTo>
                    <a:lnTo>
                      <a:pt x="15" y="709"/>
                    </a:lnTo>
                    <a:lnTo>
                      <a:pt x="15" y="711"/>
                    </a:lnTo>
                    <a:lnTo>
                      <a:pt x="17" y="711"/>
                    </a:lnTo>
                    <a:lnTo>
                      <a:pt x="17" y="709"/>
                    </a:lnTo>
                    <a:lnTo>
                      <a:pt x="19" y="709"/>
                    </a:lnTo>
                    <a:lnTo>
                      <a:pt x="19" y="707"/>
                    </a:lnTo>
                    <a:lnTo>
                      <a:pt x="19" y="705"/>
                    </a:lnTo>
                    <a:lnTo>
                      <a:pt x="17" y="705"/>
                    </a:lnTo>
                    <a:lnTo>
                      <a:pt x="15" y="705"/>
                    </a:lnTo>
                    <a:lnTo>
                      <a:pt x="13" y="705"/>
                    </a:lnTo>
                    <a:lnTo>
                      <a:pt x="13" y="703"/>
                    </a:lnTo>
                    <a:lnTo>
                      <a:pt x="13" y="701"/>
                    </a:lnTo>
                    <a:lnTo>
                      <a:pt x="11" y="701"/>
                    </a:lnTo>
                    <a:lnTo>
                      <a:pt x="11" y="699"/>
                    </a:lnTo>
                    <a:lnTo>
                      <a:pt x="10" y="699"/>
                    </a:lnTo>
                    <a:lnTo>
                      <a:pt x="10" y="697"/>
                    </a:lnTo>
                    <a:lnTo>
                      <a:pt x="10" y="695"/>
                    </a:lnTo>
                    <a:lnTo>
                      <a:pt x="11" y="695"/>
                    </a:lnTo>
                    <a:lnTo>
                      <a:pt x="11" y="693"/>
                    </a:lnTo>
                    <a:lnTo>
                      <a:pt x="11" y="691"/>
                    </a:lnTo>
                    <a:lnTo>
                      <a:pt x="10" y="691"/>
                    </a:lnTo>
                    <a:lnTo>
                      <a:pt x="11" y="691"/>
                    </a:lnTo>
                    <a:lnTo>
                      <a:pt x="11" y="690"/>
                    </a:lnTo>
                    <a:lnTo>
                      <a:pt x="10" y="690"/>
                    </a:lnTo>
                    <a:lnTo>
                      <a:pt x="8" y="690"/>
                    </a:lnTo>
                    <a:lnTo>
                      <a:pt x="8" y="688"/>
                    </a:lnTo>
                    <a:lnTo>
                      <a:pt x="6" y="688"/>
                    </a:lnTo>
                    <a:lnTo>
                      <a:pt x="8" y="688"/>
                    </a:lnTo>
                    <a:lnTo>
                      <a:pt x="6" y="688"/>
                    </a:lnTo>
                    <a:lnTo>
                      <a:pt x="6" y="686"/>
                    </a:lnTo>
                    <a:lnTo>
                      <a:pt x="8" y="686"/>
                    </a:lnTo>
                    <a:lnTo>
                      <a:pt x="10" y="686"/>
                    </a:lnTo>
                    <a:lnTo>
                      <a:pt x="10" y="684"/>
                    </a:lnTo>
                    <a:lnTo>
                      <a:pt x="10" y="682"/>
                    </a:lnTo>
                    <a:lnTo>
                      <a:pt x="10" y="680"/>
                    </a:lnTo>
                    <a:lnTo>
                      <a:pt x="10" y="678"/>
                    </a:lnTo>
                    <a:lnTo>
                      <a:pt x="11" y="678"/>
                    </a:lnTo>
                    <a:lnTo>
                      <a:pt x="11" y="676"/>
                    </a:lnTo>
                    <a:lnTo>
                      <a:pt x="11" y="674"/>
                    </a:lnTo>
                    <a:lnTo>
                      <a:pt x="10" y="674"/>
                    </a:lnTo>
                    <a:lnTo>
                      <a:pt x="10" y="672"/>
                    </a:lnTo>
                    <a:lnTo>
                      <a:pt x="10" y="670"/>
                    </a:lnTo>
                    <a:lnTo>
                      <a:pt x="11" y="670"/>
                    </a:lnTo>
                    <a:lnTo>
                      <a:pt x="13" y="670"/>
                    </a:lnTo>
                    <a:lnTo>
                      <a:pt x="15" y="668"/>
                    </a:lnTo>
                    <a:lnTo>
                      <a:pt x="17" y="668"/>
                    </a:lnTo>
                    <a:lnTo>
                      <a:pt x="17" y="667"/>
                    </a:lnTo>
                    <a:lnTo>
                      <a:pt x="15" y="665"/>
                    </a:lnTo>
                    <a:lnTo>
                      <a:pt x="13" y="665"/>
                    </a:lnTo>
                    <a:lnTo>
                      <a:pt x="11" y="665"/>
                    </a:lnTo>
                    <a:lnTo>
                      <a:pt x="11" y="667"/>
                    </a:lnTo>
                    <a:lnTo>
                      <a:pt x="10" y="667"/>
                    </a:lnTo>
                    <a:lnTo>
                      <a:pt x="10" y="668"/>
                    </a:lnTo>
                    <a:lnTo>
                      <a:pt x="8" y="668"/>
                    </a:lnTo>
                    <a:lnTo>
                      <a:pt x="8" y="667"/>
                    </a:lnTo>
                    <a:lnTo>
                      <a:pt x="6" y="665"/>
                    </a:lnTo>
                    <a:lnTo>
                      <a:pt x="6" y="663"/>
                    </a:lnTo>
                    <a:lnTo>
                      <a:pt x="6" y="661"/>
                    </a:lnTo>
                    <a:lnTo>
                      <a:pt x="8" y="661"/>
                    </a:lnTo>
                    <a:lnTo>
                      <a:pt x="10" y="663"/>
                    </a:lnTo>
                    <a:lnTo>
                      <a:pt x="10" y="661"/>
                    </a:lnTo>
                    <a:lnTo>
                      <a:pt x="10" y="659"/>
                    </a:lnTo>
                    <a:lnTo>
                      <a:pt x="10" y="657"/>
                    </a:lnTo>
                    <a:lnTo>
                      <a:pt x="10" y="655"/>
                    </a:lnTo>
                    <a:lnTo>
                      <a:pt x="11" y="655"/>
                    </a:lnTo>
                    <a:lnTo>
                      <a:pt x="11" y="653"/>
                    </a:lnTo>
                    <a:lnTo>
                      <a:pt x="13" y="653"/>
                    </a:lnTo>
                    <a:lnTo>
                      <a:pt x="13" y="651"/>
                    </a:lnTo>
                    <a:lnTo>
                      <a:pt x="13" y="649"/>
                    </a:lnTo>
                    <a:lnTo>
                      <a:pt x="15" y="649"/>
                    </a:lnTo>
                    <a:lnTo>
                      <a:pt x="15" y="647"/>
                    </a:lnTo>
                    <a:lnTo>
                      <a:pt x="15" y="645"/>
                    </a:lnTo>
                    <a:lnTo>
                      <a:pt x="13" y="645"/>
                    </a:lnTo>
                    <a:lnTo>
                      <a:pt x="13" y="643"/>
                    </a:lnTo>
                    <a:lnTo>
                      <a:pt x="11" y="643"/>
                    </a:lnTo>
                    <a:lnTo>
                      <a:pt x="10" y="642"/>
                    </a:lnTo>
                    <a:lnTo>
                      <a:pt x="8" y="642"/>
                    </a:lnTo>
                    <a:lnTo>
                      <a:pt x="8" y="640"/>
                    </a:lnTo>
                    <a:lnTo>
                      <a:pt x="8" y="638"/>
                    </a:lnTo>
                    <a:lnTo>
                      <a:pt x="10" y="636"/>
                    </a:lnTo>
                    <a:lnTo>
                      <a:pt x="11" y="636"/>
                    </a:lnTo>
                    <a:lnTo>
                      <a:pt x="11" y="638"/>
                    </a:lnTo>
                    <a:lnTo>
                      <a:pt x="13" y="638"/>
                    </a:lnTo>
                    <a:lnTo>
                      <a:pt x="15" y="638"/>
                    </a:lnTo>
                    <a:lnTo>
                      <a:pt x="17" y="638"/>
                    </a:lnTo>
                    <a:lnTo>
                      <a:pt x="17" y="636"/>
                    </a:lnTo>
                    <a:lnTo>
                      <a:pt x="19" y="636"/>
                    </a:lnTo>
                    <a:lnTo>
                      <a:pt x="19" y="634"/>
                    </a:lnTo>
                    <a:lnTo>
                      <a:pt x="17" y="634"/>
                    </a:lnTo>
                    <a:lnTo>
                      <a:pt x="17" y="632"/>
                    </a:lnTo>
                    <a:lnTo>
                      <a:pt x="15" y="632"/>
                    </a:lnTo>
                    <a:lnTo>
                      <a:pt x="13" y="632"/>
                    </a:lnTo>
                    <a:lnTo>
                      <a:pt x="11" y="632"/>
                    </a:lnTo>
                    <a:lnTo>
                      <a:pt x="11" y="630"/>
                    </a:lnTo>
                    <a:lnTo>
                      <a:pt x="10" y="630"/>
                    </a:lnTo>
                    <a:lnTo>
                      <a:pt x="10" y="628"/>
                    </a:lnTo>
                    <a:lnTo>
                      <a:pt x="10" y="626"/>
                    </a:lnTo>
                    <a:lnTo>
                      <a:pt x="11" y="626"/>
                    </a:lnTo>
                    <a:lnTo>
                      <a:pt x="13" y="626"/>
                    </a:lnTo>
                    <a:lnTo>
                      <a:pt x="15" y="626"/>
                    </a:lnTo>
                    <a:lnTo>
                      <a:pt x="15" y="628"/>
                    </a:lnTo>
                    <a:lnTo>
                      <a:pt x="17" y="628"/>
                    </a:lnTo>
                    <a:lnTo>
                      <a:pt x="19" y="628"/>
                    </a:lnTo>
                    <a:lnTo>
                      <a:pt x="21" y="628"/>
                    </a:lnTo>
                    <a:lnTo>
                      <a:pt x="21" y="626"/>
                    </a:lnTo>
                    <a:lnTo>
                      <a:pt x="21" y="624"/>
                    </a:lnTo>
                    <a:lnTo>
                      <a:pt x="21" y="622"/>
                    </a:lnTo>
                    <a:lnTo>
                      <a:pt x="19" y="622"/>
                    </a:lnTo>
                    <a:lnTo>
                      <a:pt x="19" y="620"/>
                    </a:lnTo>
                    <a:lnTo>
                      <a:pt x="19" y="619"/>
                    </a:lnTo>
                    <a:lnTo>
                      <a:pt x="17" y="619"/>
                    </a:lnTo>
                    <a:lnTo>
                      <a:pt x="17" y="617"/>
                    </a:lnTo>
                    <a:lnTo>
                      <a:pt x="19" y="617"/>
                    </a:lnTo>
                    <a:lnTo>
                      <a:pt x="17" y="617"/>
                    </a:lnTo>
                    <a:lnTo>
                      <a:pt x="17" y="615"/>
                    </a:lnTo>
                    <a:lnTo>
                      <a:pt x="19" y="615"/>
                    </a:lnTo>
                    <a:lnTo>
                      <a:pt x="21" y="615"/>
                    </a:lnTo>
                    <a:lnTo>
                      <a:pt x="21" y="613"/>
                    </a:lnTo>
                    <a:lnTo>
                      <a:pt x="21" y="611"/>
                    </a:lnTo>
                    <a:lnTo>
                      <a:pt x="19" y="611"/>
                    </a:lnTo>
                    <a:lnTo>
                      <a:pt x="19" y="609"/>
                    </a:lnTo>
                    <a:lnTo>
                      <a:pt x="17" y="609"/>
                    </a:lnTo>
                    <a:lnTo>
                      <a:pt x="17" y="607"/>
                    </a:lnTo>
                    <a:lnTo>
                      <a:pt x="17" y="605"/>
                    </a:lnTo>
                    <a:lnTo>
                      <a:pt x="15" y="605"/>
                    </a:lnTo>
                    <a:lnTo>
                      <a:pt x="15" y="603"/>
                    </a:lnTo>
                    <a:lnTo>
                      <a:pt x="17" y="601"/>
                    </a:lnTo>
                    <a:lnTo>
                      <a:pt x="19" y="601"/>
                    </a:lnTo>
                    <a:lnTo>
                      <a:pt x="19" y="599"/>
                    </a:lnTo>
                    <a:lnTo>
                      <a:pt x="21" y="599"/>
                    </a:lnTo>
                    <a:lnTo>
                      <a:pt x="23" y="599"/>
                    </a:lnTo>
                    <a:lnTo>
                      <a:pt x="25" y="599"/>
                    </a:lnTo>
                    <a:lnTo>
                      <a:pt x="25" y="597"/>
                    </a:lnTo>
                    <a:lnTo>
                      <a:pt x="23" y="597"/>
                    </a:lnTo>
                    <a:lnTo>
                      <a:pt x="21" y="597"/>
                    </a:lnTo>
                    <a:lnTo>
                      <a:pt x="21" y="595"/>
                    </a:lnTo>
                    <a:lnTo>
                      <a:pt x="19" y="595"/>
                    </a:lnTo>
                    <a:lnTo>
                      <a:pt x="19" y="594"/>
                    </a:lnTo>
                    <a:lnTo>
                      <a:pt x="21" y="594"/>
                    </a:lnTo>
                    <a:lnTo>
                      <a:pt x="21" y="592"/>
                    </a:lnTo>
                    <a:lnTo>
                      <a:pt x="21" y="590"/>
                    </a:lnTo>
                    <a:lnTo>
                      <a:pt x="23" y="590"/>
                    </a:lnTo>
                    <a:lnTo>
                      <a:pt x="21" y="590"/>
                    </a:lnTo>
                    <a:lnTo>
                      <a:pt x="23" y="590"/>
                    </a:lnTo>
                    <a:lnTo>
                      <a:pt x="23" y="588"/>
                    </a:lnTo>
                    <a:lnTo>
                      <a:pt x="25" y="588"/>
                    </a:lnTo>
                    <a:lnTo>
                      <a:pt x="25" y="586"/>
                    </a:lnTo>
                    <a:lnTo>
                      <a:pt x="25" y="584"/>
                    </a:lnTo>
                    <a:lnTo>
                      <a:pt x="25" y="582"/>
                    </a:lnTo>
                    <a:lnTo>
                      <a:pt x="25" y="580"/>
                    </a:lnTo>
                    <a:lnTo>
                      <a:pt x="25" y="578"/>
                    </a:lnTo>
                    <a:lnTo>
                      <a:pt x="25" y="576"/>
                    </a:lnTo>
                    <a:lnTo>
                      <a:pt x="25" y="574"/>
                    </a:lnTo>
                    <a:lnTo>
                      <a:pt x="25" y="572"/>
                    </a:lnTo>
                    <a:lnTo>
                      <a:pt x="25" y="574"/>
                    </a:lnTo>
                    <a:lnTo>
                      <a:pt x="25" y="572"/>
                    </a:lnTo>
                    <a:lnTo>
                      <a:pt x="27" y="572"/>
                    </a:lnTo>
                    <a:lnTo>
                      <a:pt x="27" y="571"/>
                    </a:lnTo>
                    <a:lnTo>
                      <a:pt x="25" y="571"/>
                    </a:lnTo>
                    <a:lnTo>
                      <a:pt x="25" y="569"/>
                    </a:lnTo>
                    <a:lnTo>
                      <a:pt x="25" y="567"/>
                    </a:lnTo>
                    <a:lnTo>
                      <a:pt x="27" y="567"/>
                    </a:lnTo>
                    <a:lnTo>
                      <a:pt x="27" y="565"/>
                    </a:lnTo>
                    <a:lnTo>
                      <a:pt x="25" y="565"/>
                    </a:lnTo>
                    <a:lnTo>
                      <a:pt x="25" y="563"/>
                    </a:lnTo>
                    <a:lnTo>
                      <a:pt x="25" y="561"/>
                    </a:lnTo>
                    <a:lnTo>
                      <a:pt x="25" y="559"/>
                    </a:lnTo>
                    <a:lnTo>
                      <a:pt x="27" y="559"/>
                    </a:lnTo>
                    <a:lnTo>
                      <a:pt x="27" y="561"/>
                    </a:lnTo>
                    <a:lnTo>
                      <a:pt x="29" y="561"/>
                    </a:lnTo>
                    <a:lnTo>
                      <a:pt x="31" y="561"/>
                    </a:lnTo>
                    <a:lnTo>
                      <a:pt x="31" y="559"/>
                    </a:lnTo>
                    <a:lnTo>
                      <a:pt x="31" y="557"/>
                    </a:lnTo>
                    <a:lnTo>
                      <a:pt x="29" y="557"/>
                    </a:lnTo>
                    <a:lnTo>
                      <a:pt x="29" y="555"/>
                    </a:lnTo>
                    <a:lnTo>
                      <a:pt x="27" y="555"/>
                    </a:lnTo>
                    <a:lnTo>
                      <a:pt x="25" y="555"/>
                    </a:lnTo>
                    <a:lnTo>
                      <a:pt x="27" y="555"/>
                    </a:lnTo>
                    <a:lnTo>
                      <a:pt x="25" y="555"/>
                    </a:lnTo>
                    <a:lnTo>
                      <a:pt x="27" y="555"/>
                    </a:lnTo>
                    <a:lnTo>
                      <a:pt x="27" y="553"/>
                    </a:lnTo>
                    <a:lnTo>
                      <a:pt x="29" y="553"/>
                    </a:lnTo>
                    <a:lnTo>
                      <a:pt x="29" y="551"/>
                    </a:lnTo>
                    <a:lnTo>
                      <a:pt x="29" y="549"/>
                    </a:lnTo>
                    <a:lnTo>
                      <a:pt x="27" y="549"/>
                    </a:lnTo>
                    <a:lnTo>
                      <a:pt x="27" y="547"/>
                    </a:lnTo>
                    <a:lnTo>
                      <a:pt x="27" y="546"/>
                    </a:lnTo>
                    <a:lnTo>
                      <a:pt x="25" y="546"/>
                    </a:lnTo>
                    <a:lnTo>
                      <a:pt x="27" y="546"/>
                    </a:lnTo>
                    <a:lnTo>
                      <a:pt x="25" y="546"/>
                    </a:lnTo>
                    <a:lnTo>
                      <a:pt x="25" y="544"/>
                    </a:lnTo>
                    <a:lnTo>
                      <a:pt x="27" y="544"/>
                    </a:lnTo>
                    <a:lnTo>
                      <a:pt x="27" y="542"/>
                    </a:lnTo>
                    <a:lnTo>
                      <a:pt x="29" y="542"/>
                    </a:lnTo>
                    <a:lnTo>
                      <a:pt x="29" y="540"/>
                    </a:lnTo>
                    <a:lnTo>
                      <a:pt x="29" y="538"/>
                    </a:lnTo>
                    <a:lnTo>
                      <a:pt x="31" y="538"/>
                    </a:lnTo>
                    <a:lnTo>
                      <a:pt x="31" y="540"/>
                    </a:lnTo>
                    <a:lnTo>
                      <a:pt x="31" y="538"/>
                    </a:lnTo>
                    <a:lnTo>
                      <a:pt x="31" y="536"/>
                    </a:lnTo>
                    <a:lnTo>
                      <a:pt x="29" y="536"/>
                    </a:lnTo>
                    <a:lnTo>
                      <a:pt x="29" y="534"/>
                    </a:lnTo>
                    <a:lnTo>
                      <a:pt x="31" y="534"/>
                    </a:lnTo>
                    <a:lnTo>
                      <a:pt x="31" y="536"/>
                    </a:lnTo>
                    <a:lnTo>
                      <a:pt x="33" y="536"/>
                    </a:lnTo>
                    <a:lnTo>
                      <a:pt x="33" y="534"/>
                    </a:lnTo>
                    <a:lnTo>
                      <a:pt x="33" y="532"/>
                    </a:lnTo>
                    <a:lnTo>
                      <a:pt x="35" y="532"/>
                    </a:lnTo>
                    <a:lnTo>
                      <a:pt x="35" y="530"/>
                    </a:lnTo>
                    <a:lnTo>
                      <a:pt x="35" y="528"/>
                    </a:lnTo>
                    <a:lnTo>
                      <a:pt x="35" y="526"/>
                    </a:lnTo>
                    <a:lnTo>
                      <a:pt x="35" y="524"/>
                    </a:lnTo>
                    <a:lnTo>
                      <a:pt x="36" y="524"/>
                    </a:lnTo>
                    <a:lnTo>
                      <a:pt x="38" y="524"/>
                    </a:lnTo>
                    <a:lnTo>
                      <a:pt x="38" y="526"/>
                    </a:lnTo>
                    <a:lnTo>
                      <a:pt x="40" y="526"/>
                    </a:lnTo>
                    <a:lnTo>
                      <a:pt x="40" y="524"/>
                    </a:lnTo>
                    <a:lnTo>
                      <a:pt x="40" y="526"/>
                    </a:lnTo>
                    <a:lnTo>
                      <a:pt x="42" y="526"/>
                    </a:lnTo>
                    <a:lnTo>
                      <a:pt x="44" y="526"/>
                    </a:lnTo>
                    <a:lnTo>
                      <a:pt x="44" y="528"/>
                    </a:lnTo>
                    <a:lnTo>
                      <a:pt x="46" y="528"/>
                    </a:lnTo>
                    <a:lnTo>
                      <a:pt x="46" y="526"/>
                    </a:lnTo>
                    <a:lnTo>
                      <a:pt x="48" y="526"/>
                    </a:lnTo>
                    <a:lnTo>
                      <a:pt x="48" y="524"/>
                    </a:lnTo>
                    <a:lnTo>
                      <a:pt x="46" y="524"/>
                    </a:lnTo>
                    <a:lnTo>
                      <a:pt x="46" y="523"/>
                    </a:lnTo>
                    <a:lnTo>
                      <a:pt x="48" y="523"/>
                    </a:lnTo>
                    <a:lnTo>
                      <a:pt x="50" y="521"/>
                    </a:lnTo>
                    <a:lnTo>
                      <a:pt x="52" y="521"/>
                    </a:lnTo>
                    <a:lnTo>
                      <a:pt x="52" y="519"/>
                    </a:lnTo>
                    <a:lnTo>
                      <a:pt x="50" y="519"/>
                    </a:lnTo>
                    <a:lnTo>
                      <a:pt x="50" y="517"/>
                    </a:lnTo>
                    <a:lnTo>
                      <a:pt x="48" y="517"/>
                    </a:lnTo>
                    <a:lnTo>
                      <a:pt x="48" y="515"/>
                    </a:lnTo>
                    <a:lnTo>
                      <a:pt x="48" y="513"/>
                    </a:lnTo>
                    <a:lnTo>
                      <a:pt x="50" y="513"/>
                    </a:lnTo>
                    <a:lnTo>
                      <a:pt x="50" y="515"/>
                    </a:lnTo>
                    <a:lnTo>
                      <a:pt x="52" y="515"/>
                    </a:lnTo>
                    <a:lnTo>
                      <a:pt x="52" y="513"/>
                    </a:lnTo>
                    <a:lnTo>
                      <a:pt x="52" y="511"/>
                    </a:lnTo>
                    <a:lnTo>
                      <a:pt x="50" y="511"/>
                    </a:lnTo>
                    <a:lnTo>
                      <a:pt x="50" y="509"/>
                    </a:lnTo>
                    <a:lnTo>
                      <a:pt x="52" y="509"/>
                    </a:lnTo>
                    <a:lnTo>
                      <a:pt x="54" y="509"/>
                    </a:lnTo>
                    <a:lnTo>
                      <a:pt x="54" y="507"/>
                    </a:lnTo>
                    <a:lnTo>
                      <a:pt x="52" y="507"/>
                    </a:lnTo>
                    <a:lnTo>
                      <a:pt x="52" y="505"/>
                    </a:lnTo>
                    <a:lnTo>
                      <a:pt x="50" y="505"/>
                    </a:lnTo>
                    <a:lnTo>
                      <a:pt x="50" y="503"/>
                    </a:lnTo>
                    <a:lnTo>
                      <a:pt x="52" y="503"/>
                    </a:lnTo>
                    <a:lnTo>
                      <a:pt x="52" y="501"/>
                    </a:lnTo>
                    <a:lnTo>
                      <a:pt x="52" y="499"/>
                    </a:lnTo>
                    <a:lnTo>
                      <a:pt x="52" y="498"/>
                    </a:lnTo>
                    <a:lnTo>
                      <a:pt x="50" y="496"/>
                    </a:lnTo>
                    <a:lnTo>
                      <a:pt x="48" y="494"/>
                    </a:lnTo>
                    <a:lnTo>
                      <a:pt x="48" y="492"/>
                    </a:lnTo>
                    <a:lnTo>
                      <a:pt x="46" y="492"/>
                    </a:lnTo>
                    <a:lnTo>
                      <a:pt x="48" y="490"/>
                    </a:lnTo>
                    <a:lnTo>
                      <a:pt x="48" y="488"/>
                    </a:lnTo>
                    <a:lnTo>
                      <a:pt x="48" y="486"/>
                    </a:lnTo>
                    <a:lnTo>
                      <a:pt x="48" y="484"/>
                    </a:lnTo>
                    <a:lnTo>
                      <a:pt x="50" y="484"/>
                    </a:lnTo>
                    <a:lnTo>
                      <a:pt x="50" y="482"/>
                    </a:lnTo>
                    <a:lnTo>
                      <a:pt x="52" y="482"/>
                    </a:lnTo>
                    <a:lnTo>
                      <a:pt x="52" y="484"/>
                    </a:lnTo>
                    <a:lnTo>
                      <a:pt x="54" y="484"/>
                    </a:lnTo>
                    <a:lnTo>
                      <a:pt x="54" y="482"/>
                    </a:lnTo>
                    <a:lnTo>
                      <a:pt x="54" y="480"/>
                    </a:lnTo>
                    <a:lnTo>
                      <a:pt x="52" y="480"/>
                    </a:lnTo>
                    <a:lnTo>
                      <a:pt x="50" y="478"/>
                    </a:lnTo>
                    <a:lnTo>
                      <a:pt x="52" y="478"/>
                    </a:lnTo>
                    <a:lnTo>
                      <a:pt x="54" y="478"/>
                    </a:lnTo>
                    <a:lnTo>
                      <a:pt x="54" y="476"/>
                    </a:lnTo>
                    <a:lnTo>
                      <a:pt x="54" y="475"/>
                    </a:lnTo>
                    <a:lnTo>
                      <a:pt x="56" y="475"/>
                    </a:lnTo>
                    <a:lnTo>
                      <a:pt x="54" y="475"/>
                    </a:lnTo>
                    <a:lnTo>
                      <a:pt x="54" y="473"/>
                    </a:lnTo>
                    <a:lnTo>
                      <a:pt x="52" y="473"/>
                    </a:lnTo>
                    <a:lnTo>
                      <a:pt x="50" y="473"/>
                    </a:lnTo>
                    <a:lnTo>
                      <a:pt x="50" y="471"/>
                    </a:lnTo>
                    <a:lnTo>
                      <a:pt x="48" y="471"/>
                    </a:lnTo>
                    <a:lnTo>
                      <a:pt x="50" y="471"/>
                    </a:lnTo>
                    <a:lnTo>
                      <a:pt x="50" y="469"/>
                    </a:lnTo>
                    <a:lnTo>
                      <a:pt x="52" y="469"/>
                    </a:lnTo>
                    <a:lnTo>
                      <a:pt x="52" y="467"/>
                    </a:lnTo>
                    <a:lnTo>
                      <a:pt x="52" y="465"/>
                    </a:lnTo>
                    <a:lnTo>
                      <a:pt x="54" y="465"/>
                    </a:lnTo>
                    <a:lnTo>
                      <a:pt x="54" y="463"/>
                    </a:lnTo>
                    <a:lnTo>
                      <a:pt x="54" y="461"/>
                    </a:lnTo>
                    <a:lnTo>
                      <a:pt x="56" y="461"/>
                    </a:lnTo>
                    <a:lnTo>
                      <a:pt x="54" y="461"/>
                    </a:lnTo>
                    <a:lnTo>
                      <a:pt x="54" y="459"/>
                    </a:lnTo>
                    <a:lnTo>
                      <a:pt x="52" y="459"/>
                    </a:lnTo>
                    <a:lnTo>
                      <a:pt x="54" y="459"/>
                    </a:lnTo>
                    <a:lnTo>
                      <a:pt x="54" y="457"/>
                    </a:lnTo>
                    <a:lnTo>
                      <a:pt x="52" y="457"/>
                    </a:lnTo>
                    <a:lnTo>
                      <a:pt x="52" y="455"/>
                    </a:lnTo>
                    <a:lnTo>
                      <a:pt x="52" y="453"/>
                    </a:lnTo>
                    <a:lnTo>
                      <a:pt x="50" y="453"/>
                    </a:lnTo>
                    <a:lnTo>
                      <a:pt x="48" y="453"/>
                    </a:lnTo>
                    <a:lnTo>
                      <a:pt x="48" y="451"/>
                    </a:lnTo>
                    <a:lnTo>
                      <a:pt x="46" y="451"/>
                    </a:lnTo>
                    <a:lnTo>
                      <a:pt x="46" y="450"/>
                    </a:lnTo>
                    <a:lnTo>
                      <a:pt x="46" y="448"/>
                    </a:lnTo>
                    <a:lnTo>
                      <a:pt x="46" y="446"/>
                    </a:lnTo>
                    <a:lnTo>
                      <a:pt x="48" y="444"/>
                    </a:lnTo>
                    <a:lnTo>
                      <a:pt x="48" y="442"/>
                    </a:lnTo>
                    <a:lnTo>
                      <a:pt x="48" y="440"/>
                    </a:lnTo>
                    <a:lnTo>
                      <a:pt x="46" y="440"/>
                    </a:lnTo>
                    <a:lnTo>
                      <a:pt x="46" y="438"/>
                    </a:lnTo>
                    <a:lnTo>
                      <a:pt x="46" y="436"/>
                    </a:lnTo>
                    <a:lnTo>
                      <a:pt x="46" y="434"/>
                    </a:lnTo>
                    <a:lnTo>
                      <a:pt x="46" y="432"/>
                    </a:lnTo>
                    <a:lnTo>
                      <a:pt x="48" y="432"/>
                    </a:lnTo>
                    <a:lnTo>
                      <a:pt x="48" y="430"/>
                    </a:lnTo>
                    <a:lnTo>
                      <a:pt x="48" y="428"/>
                    </a:lnTo>
                    <a:lnTo>
                      <a:pt x="48" y="427"/>
                    </a:lnTo>
                    <a:lnTo>
                      <a:pt x="48" y="425"/>
                    </a:lnTo>
                    <a:lnTo>
                      <a:pt x="46" y="425"/>
                    </a:lnTo>
                    <a:lnTo>
                      <a:pt x="46" y="423"/>
                    </a:lnTo>
                    <a:lnTo>
                      <a:pt x="44" y="423"/>
                    </a:lnTo>
                    <a:lnTo>
                      <a:pt x="44" y="421"/>
                    </a:lnTo>
                    <a:lnTo>
                      <a:pt x="42" y="421"/>
                    </a:lnTo>
                    <a:lnTo>
                      <a:pt x="42" y="419"/>
                    </a:lnTo>
                    <a:lnTo>
                      <a:pt x="42" y="417"/>
                    </a:lnTo>
                    <a:lnTo>
                      <a:pt x="40" y="417"/>
                    </a:lnTo>
                    <a:lnTo>
                      <a:pt x="40" y="415"/>
                    </a:lnTo>
                    <a:lnTo>
                      <a:pt x="40" y="413"/>
                    </a:lnTo>
                    <a:lnTo>
                      <a:pt x="38" y="413"/>
                    </a:lnTo>
                    <a:lnTo>
                      <a:pt x="38" y="411"/>
                    </a:lnTo>
                    <a:lnTo>
                      <a:pt x="36" y="411"/>
                    </a:lnTo>
                    <a:lnTo>
                      <a:pt x="38" y="411"/>
                    </a:lnTo>
                    <a:lnTo>
                      <a:pt x="38" y="409"/>
                    </a:lnTo>
                    <a:lnTo>
                      <a:pt x="40" y="409"/>
                    </a:lnTo>
                    <a:lnTo>
                      <a:pt x="40" y="407"/>
                    </a:lnTo>
                    <a:lnTo>
                      <a:pt x="42" y="407"/>
                    </a:lnTo>
                    <a:lnTo>
                      <a:pt x="42" y="405"/>
                    </a:lnTo>
                    <a:lnTo>
                      <a:pt x="42" y="403"/>
                    </a:lnTo>
                    <a:lnTo>
                      <a:pt x="44" y="403"/>
                    </a:lnTo>
                    <a:lnTo>
                      <a:pt x="44" y="402"/>
                    </a:lnTo>
                    <a:lnTo>
                      <a:pt x="46" y="402"/>
                    </a:lnTo>
                    <a:lnTo>
                      <a:pt x="46" y="400"/>
                    </a:lnTo>
                    <a:lnTo>
                      <a:pt x="48" y="400"/>
                    </a:lnTo>
                    <a:lnTo>
                      <a:pt x="48" y="398"/>
                    </a:lnTo>
                    <a:lnTo>
                      <a:pt x="50" y="396"/>
                    </a:lnTo>
                    <a:lnTo>
                      <a:pt x="52" y="396"/>
                    </a:lnTo>
                    <a:lnTo>
                      <a:pt x="54" y="396"/>
                    </a:lnTo>
                    <a:lnTo>
                      <a:pt x="54" y="394"/>
                    </a:lnTo>
                    <a:lnTo>
                      <a:pt x="56" y="394"/>
                    </a:lnTo>
                    <a:lnTo>
                      <a:pt x="56" y="396"/>
                    </a:lnTo>
                    <a:lnTo>
                      <a:pt x="58" y="396"/>
                    </a:lnTo>
                    <a:lnTo>
                      <a:pt x="56" y="396"/>
                    </a:lnTo>
                    <a:lnTo>
                      <a:pt x="56" y="398"/>
                    </a:lnTo>
                    <a:lnTo>
                      <a:pt x="56" y="400"/>
                    </a:lnTo>
                    <a:lnTo>
                      <a:pt x="58" y="400"/>
                    </a:lnTo>
                    <a:lnTo>
                      <a:pt x="59" y="400"/>
                    </a:lnTo>
                    <a:lnTo>
                      <a:pt x="59" y="398"/>
                    </a:lnTo>
                    <a:lnTo>
                      <a:pt x="61" y="398"/>
                    </a:lnTo>
                    <a:lnTo>
                      <a:pt x="61" y="396"/>
                    </a:lnTo>
                    <a:lnTo>
                      <a:pt x="61" y="394"/>
                    </a:lnTo>
                    <a:lnTo>
                      <a:pt x="61" y="392"/>
                    </a:lnTo>
                    <a:lnTo>
                      <a:pt x="61" y="390"/>
                    </a:lnTo>
                    <a:lnTo>
                      <a:pt x="61" y="388"/>
                    </a:lnTo>
                    <a:lnTo>
                      <a:pt x="61" y="386"/>
                    </a:lnTo>
                    <a:lnTo>
                      <a:pt x="59" y="386"/>
                    </a:lnTo>
                    <a:lnTo>
                      <a:pt x="59" y="384"/>
                    </a:lnTo>
                    <a:lnTo>
                      <a:pt x="61" y="384"/>
                    </a:lnTo>
                    <a:lnTo>
                      <a:pt x="61" y="382"/>
                    </a:lnTo>
                    <a:lnTo>
                      <a:pt x="63" y="382"/>
                    </a:lnTo>
                    <a:lnTo>
                      <a:pt x="63" y="380"/>
                    </a:lnTo>
                    <a:lnTo>
                      <a:pt x="61" y="380"/>
                    </a:lnTo>
                    <a:lnTo>
                      <a:pt x="61" y="379"/>
                    </a:lnTo>
                    <a:lnTo>
                      <a:pt x="61" y="377"/>
                    </a:lnTo>
                    <a:lnTo>
                      <a:pt x="59" y="377"/>
                    </a:lnTo>
                    <a:lnTo>
                      <a:pt x="59" y="375"/>
                    </a:lnTo>
                    <a:lnTo>
                      <a:pt x="59" y="373"/>
                    </a:lnTo>
                    <a:lnTo>
                      <a:pt x="61" y="373"/>
                    </a:lnTo>
                    <a:lnTo>
                      <a:pt x="63" y="373"/>
                    </a:lnTo>
                    <a:lnTo>
                      <a:pt x="63" y="371"/>
                    </a:lnTo>
                    <a:lnTo>
                      <a:pt x="65" y="371"/>
                    </a:lnTo>
                    <a:lnTo>
                      <a:pt x="65" y="369"/>
                    </a:lnTo>
                    <a:lnTo>
                      <a:pt x="67" y="369"/>
                    </a:lnTo>
                    <a:lnTo>
                      <a:pt x="67" y="367"/>
                    </a:lnTo>
                    <a:lnTo>
                      <a:pt x="69" y="367"/>
                    </a:lnTo>
                    <a:lnTo>
                      <a:pt x="69" y="365"/>
                    </a:lnTo>
                    <a:lnTo>
                      <a:pt x="71" y="365"/>
                    </a:lnTo>
                    <a:lnTo>
                      <a:pt x="71" y="363"/>
                    </a:lnTo>
                    <a:lnTo>
                      <a:pt x="73" y="363"/>
                    </a:lnTo>
                    <a:lnTo>
                      <a:pt x="75" y="363"/>
                    </a:lnTo>
                    <a:lnTo>
                      <a:pt x="75" y="365"/>
                    </a:lnTo>
                    <a:lnTo>
                      <a:pt x="77" y="365"/>
                    </a:lnTo>
                    <a:lnTo>
                      <a:pt x="79" y="365"/>
                    </a:lnTo>
                    <a:lnTo>
                      <a:pt x="79" y="363"/>
                    </a:lnTo>
                    <a:lnTo>
                      <a:pt x="81" y="363"/>
                    </a:lnTo>
                    <a:lnTo>
                      <a:pt x="81" y="361"/>
                    </a:lnTo>
                    <a:lnTo>
                      <a:pt x="81" y="359"/>
                    </a:lnTo>
                    <a:lnTo>
                      <a:pt x="81" y="357"/>
                    </a:lnTo>
                    <a:lnTo>
                      <a:pt x="79" y="357"/>
                    </a:lnTo>
                    <a:lnTo>
                      <a:pt x="81" y="357"/>
                    </a:lnTo>
                    <a:lnTo>
                      <a:pt x="81" y="356"/>
                    </a:lnTo>
                    <a:lnTo>
                      <a:pt x="83" y="356"/>
                    </a:lnTo>
                    <a:lnTo>
                      <a:pt x="83" y="357"/>
                    </a:lnTo>
                    <a:lnTo>
                      <a:pt x="83" y="356"/>
                    </a:lnTo>
                    <a:lnTo>
                      <a:pt x="83" y="354"/>
                    </a:lnTo>
                    <a:lnTo>
                      <a:pt x="83" y="352"/>
                    </a:lnTo>
                    <a:lnTo>
                      <a:pt x="83" y="350"/>
                    </a:lnTo>
                    <a:lnTo>
                      <a:pt x="83" y="348"/>
                    </a:lnTo>
                    <a:lnTo>
                      <a:pt x="81" y="348"/>
                    </a:lnTo>
                    <a:lnTo>
                      <a:pt x="81" y="346"/>
                    </a:lnTo>
                    <a:lnTo>
                      <a:pt x="79" y="346"/>
                    </a:lnTo>
                    <a:lnTo>
                      <a:pt x="79" y="344"/>
                    </a:lnTo>
                    <a:lnTo>
                      <a:pt x="79" y="342"/>
                    </a:lnTo>
                    <a:lnTo>
                      <a:pt x="79" y="340"/>
                    </a:lnTo>
                    <a:lnTo>
                      <a:pt x="77" y="338"/>
                    </a:lnTo>
                    <a:lnTo>
                      <a:pt x="75" y="338"/>
                    </a:lnTo>
                    <a:lnTo>
                      <a:pt x="75" y="336"/>
                    </a:lnTo>
                    <a:lnTo>
                      <a:pt x="73" y="334"/>
                    </a:lnTo>
                    <a:lnTo>
                      <a:pt x="73" y="332"/>
                    </a:lnTo>
                    <a:lnTo>
                      <a:pt x="71" y="332"/>
                    </a:lnTo>
                    <a:lnTo>
                      <a:pt x="69" y="332"/>
                    </a:lnTo>
                    <a:lnTo>
                      <a:pt x="69" y="331"/>
                    </a:lnTo>
                    <a:lnTo>
                      <a:pt x="67" y="331"/>
                    </a:lnTo>
                    <a:lnTo>
                      <a:pt x="65" y="331"/>
                    </a:lnTo>
                    <a:lnTo>
                      <a:pt x="65" y="329"/>
                    </a:lnTo>
                    <a:lnTo>
                      <a:pt x="67" y="329"/>
                    </a:lnTo>
                    <a:lnTo>
                      <a:pt x="67" y="327"/>
                    </a:lnTo>
                    <a:lnTo>
                      <a:pt x="69" y="325"/>
                    </a:lnTo>
                    <a:lnTo>
                      <a:pt x="71" y="325"/>
                    </a:lnTo>
                    <a:lnTo>
                      <a:pt x="71" y="323"/>
                    </a:lnTo>
                    <a:lnTo>
                      <a:pt x="73" y="323"/>
                    </a:lnTo>
                    <a:lnTo>
                      <a:pt x="73" y="321"/>
                    </a:lnTo>
                    <a:lnTo>
                      <a:pt x="75" y="321"/>
                    </a:lnTo>
                    <a:lnTo>
                      <a:pt x="75" y="319"/>
                    </a:lnTo>
                    <a:lnTo>
                      <a:pt x="77" y="319"/>
                    </a:lnTo>
                    <a:lnTo>
                      <a:pt x="79" y="319"/>
                    </a:lnTo>
                    <a:lnTo>
                      <a:pt x="81" y="319"/>
                    </a:lnTo>
                    <a:lnTo>
                      <a:pt x="81" y="317"/>
                    </a:lnTo>
                    <a:lnTo>
                      <a:pt x="83" y="317"/>
                    </a:lnTo>
                    <a:lnTo>
                      <a:pt x="83" y="315"/>
                    </a:lnTo>
                    <a:lnTo>
                      <a:pt x="83" y="313"/>
                    </a:lnTo>
                    <a:lnTo>
                      <a:pt x="83" y="311"/>
                    </a:lnTo>
                    <a:lnTo>
                      <a:pt x="83" y="309"/>
                    </a:lnTo>
                    <a:lnTo>
                      <a:pt x="83" y="308"/>
                    </a:lnTo>
                    <a:lnTo>
                      <a:pt x="83" y="306"/>
                    </a:lnTo>
                    <a:lnTo>
                      <a:pt x="83" y="304"/>
                    </a:lnTo>
                    <a:lnTo>
                      <a:pt x="81" y="304"/>
                    </a:lnTo>
                    <a:lnTo>
                      <a:pt x="81" y="302"/>
                    </a:lnTo>
                    <a:lnTo>
                      <a:pt x="79" y="302"/>
                    </a:lnTo>
                    <a:lnTo>
                      <a:pt x="79" y="300"/>
                    </a:lnTo>
                    <a:lnTo>
                      <a:pt x="81" y="298"/>
                    </a:lnTo>
                    <a:lnTo>
                      <a:pt x="81" y="296"/>
                    </a:lnTo>
                    <a:lnTo>
                      <a:pt x="81" y="294"/>
                    </a:lnTo>
                    <a:lnTo>
                      <a:pt x="79" y="294"/>
                    </a:lnTo>
                    <a:lnTo>
                      <a:pt x="79" y="292"/>
                    </a:lnTo>
                    <a:lnTo>
                      <a:pt x="79" y="290"/>
                    </a:lnTo>
                    <a:lnTo>
                      <a:pt x="79" y="288"/>
                    </a:lnTo>
                    <a:lnTo>
                      <a:pt x="77" y="288"/>
                    </a:lnTo>
                    <a:lnTo>
                      <a:pt x="79" y="288"/>
                    </a:lnTo>
                    <a:lnTo>
                      <a:pt x="77" y="288"/>
                    </a:lnTo>
                    <a:lnTo>
                      <a:pt x="77" y="286"/>
                    </a:lnTo>
                    <a:lnTo>
                      <a:pt x="77" y="284"/>
                    </a:lnTo>
                    <a:lnTo>
                      <a:pt x="75" y="284"/>
                    </a:lnTo>
                    <a:lnTo>
                      <a:pt x="75" y="283"/>
                    </a:lnTo>
                    <a:lnTo>
                      <a:pt x="75" y="281"/>
                    </a:lnTo>
                    <a:lnTo>
                      <a:pt x="73" y="281"/>
                    </a:lnTo>
                    <a:lnTo>
                      <a:pt x="73" y="279"/>
                    </a:lnTo>
                    <a:lnTo>
                      <a:pt x="73" y="277"/>
                    </a:lnTo>
                    <a:lnTo>
                      <a:pt x="73" y="275"/>
                    </a:lnTo>
                    <a:lnTo>
                      <a:pt x="73" y="273"/>
                    </a:lnTo>
                    <a:lnTo>
                      <a:pt x="71" y="271"/>
                    </a:lnTo>
                    <a:lnTo>
                      <a:pt x="73" y="271"/>
                    </a:lnTo>
                    <a:lnTo>
                      <a:pt x="75" y="269"/>
                    </a:lnTo>
                    <a:lnTo>
                      <a:pt x="75" y="267"/>
                    </a:lnTo>
                    <a:lnTo>
                      <a:pt x="77" y="267"/>
                    </a:lnTo>
                    <a:lnTo>
                      <a:pt x="79" y="265"/>
                    </a:lnTo>
                    <a:lnTo>
                      <a:pt x="79" y="263"/>
                    </a:lnTo>
                    <a:lnTo>
                      <a:pt x="77" y="261"/>
                    </a:lnTo>
                    <a:lnTo>
                      <a:pt x="75" y="261"/>
                    </a:lnTo>
                    <a:lnTo>
                      <a:pt x="75" y="260"/>
                    </a:lnTo>
                    <a:lnTo>
                      <a:pt x="73" y="260"/>
                    </a:lnTo>
                    <a:lnTo>
                      <a:pt x="71" y="260"/>
                    </a:lnTo>
                    <a:lnTo>
                      <a:pt x="71" y="258"/>
                    </a:lnTo>
                    <a:lnTo>
                      <a:pt x="69" y="258"/>
                    </a:lnTo>
                    <a:lnTo>
                      <a:pt x="71" y="256"/>
                    </a:lnTo>
                    <a:lnTo>
                      <a:pt x="69" y="256"/>
                    </a:lnTo>
                    <a:lnTo>
                      <a:pt x="71" y="256"/>
                    </a:lnTo>
                    <a:lnTo>
                      <a:pt x="71" y="254"/>
                    </a:lnTo>
                    <a:lnTo>
                      <a:pt x="69" y="252"/>
                    </a:lnTo>
                    <a:lnTo>
                      <a:pt x="67" y="252"/>
                    </a:lnTo>
                    <a:lnTo>
                      <a:pt x="65" y="250"/>
                    </a:lnTo>
                    <a:lnTo>
                      <a:pt x="63" y="248"/>
                    </a:lnTo>
                    <a:lnTo>
                      <a:pt x="63" y="246"/>
                    </a:lnTo>
                    <a:lnTo>
                      <a:pt x="63" y="244"/>
                    </a:lnTo>
                    <a:lnTo>
                      <a:pt x="65" y="244"/>
                    </a:lnTo>
                    <a:lnTo>
                      <a:pt x="65" y="242"/>
                    </a:lnTo>
                    <a:lnTo>
                      <a:pt x="67" y="242"/>
                    </a:lnTo>
                    <a:lnTo>
                      <a:pt x="69" y="242"/>
                    </a:lnTo>
                    <a:lnTo>
                      <a:pt x="69" y="240"/>
                    </a:lnTo>
                    <a:lnTo>
                      <a:pt x="71" y="240"/>
                    </a:lnTo>
                    <a:lnTo>
                      <a:pt x="73" y="240"/>
                    </a:lnTo>
                    <a:lnTo>
                      <a:pt x="73" y="238"/>
                    </a:lnTo>
                    <a:lnTo>
                      <a:pt x="73" y="236"/>
                    </a:lnTo>
                    <a:lnTo>
                      <a:pt x="73" y="235"/>
                    </a:lnTo>
                    <a:lnTo>
                      <a:pt x="73" y="233"/>
                    </a:lnTo>
                    <a:lnTo>
                      <a:pt x="71" y="231"/>
                    </a:lnTo>
                    <a:lnTo>
                      <a:pt x="71" y="227"/>
                    </a:lnTo>
                    <a:lnTo>
                      <a:pt x="71" y="225"/>
                    </a:lnTo>
                    <a:lnTo>
                      <a:pt x="71" y="223"/>
                    </a:lnTo>
                    <a:lnTo>
                      <a:pt x="71" y="221"/>
                    </a:lnTo>
                    <a:lnTo>
                      <a:pt x="73" y="221"/>
                    </a:lnTo>
                    <a:lnTo>
                      <a:pt x="73" y="219"/>
                    </a:lnTo>
                    <a:lnTo>
                      <a:pt x="73" y="217"/>
                    </a:lnTo>
                    <a:lnTo>
                      <a:pt x="75" y="217"/>
                    </a:lnTo>
                    <a:lnTo>
                      <a:pt x="75" y="215"/>
                    </a:lnTo>
                    <a:lnTo>
                      <a:pt x="75" y="213"/>
                    </a:lnTo>
                    <a:lnTo>
                      <a:pt x="77" y="213"/>
                    </a:lnTo>
                    <a:lnTo>
                      <a:pt x="79" y="213"/>
                    </a:lnTo>
                    <a:lnTo>
                      <a:pt x="79" y="212"/>
                    </a:lnTo>
                    <a:lnTo>
                      <a:pt x="81" y="212"/>
                    </a:lnTo>
                    <a:lnTo>
                      <a:pt x="81" y="210"/>
                    </a:lnTo>
                    <a:lnTo>
                      <a:pt x="83" y="210"/>
                    </a:lnTo>
                    <a:lnTo>
                      <a:pt x="83" y="212"/>
                    </a:lnTo>
                    <a:lnTo>
                      <a:pt x="84" y="212"/>
                    </a:lnTo>
                    <a:lnTo>
                      <a:pt x="86" y="212"/>
                    </a:lnTo>
                    <a:lnTo>
                      <a:pt x="88" y="212"/>
                    </a:lnTo>
                    <a:lnTo>
                      <a:pt x="90" y="210"/>
                    </a:lnTo>
                    <a:lnTo>
                      <a:pt x="90" y="208"/>
                    </a:lnTo>
                    <a:lnTo>
                      <a:pt x="90" y="206"/>
                    </a:lnTo>
                    <a:lnTo>
                      <a:pt x="92" y="206"/>
                    </a:lnTo>
                    <a:lnTo>
                      <a:pt x="92" y="204"/>
                    </a:lnTo>
                    <a:lnTo>
                      <a:pt x="92" y="202"/>
                    </a:lnTo>
                    <a:lnTo>
                      <a:pt x="90" y="202"/>
                    </a:lnTo>
                    <a:lnTo>
                      <a:pt x="92" y="202"/>
                    </a:lnTo>
                    <a:lnTo>
                      <a:pt x="90" y="202"/>
                    </a:lnTo>
                    <a:lnTo>
                      <a:pt x="90" y="200"/>
                    </a:lnTo>
                    <a:lnTo>
                      <a:pt x="88" y="200"/>
                    </a:lnTo>
                    <a:lnTo>
                      <a:pt x="86" y="200"/>
                    </a:lnTo>
                    <a:lnTo>
                      <a:pt x="86" y="198"/>
                    </a:lnTo>
                    <a:lnTo>
                      <a:pt x="84" y="198"/>
                    </a:lnTo>
                    <a:lnTo>
                      <a:pt x="84" y="196"/>
                    </a:lnTo>
                    <a:lnTo>
                      <a:pt x="86" y="196"/>
                    </a:lnTo>
                    <a:lnTo>
                      <a:pt x="88" y="196"/>
                    </a:lnTo>
                    <a:lnTo>
                      <a:pt x="88" y="194"/>
                    </a:lnTo>
                    <a:lnTo>
                      <a:pt x="90" y="194"/>
                    </a:lnTo>
                    <a:lnTo>
                      <a:pt x="92" y="194"/>
                    </a:lnTo>
                    <a:lnTo>
                      <a:pt x="94" y="194"/>
                    </a:lnTo>
                    <a:lnTo>
                      <a:pt x="96" y="194"/>
                    </a:lnTo>
                    <a:lnTo>
                      <a:pt x="96" y="192"/>
                    </a:lnTo>
                    <a:lnTo>
                      <a:pt x="96" y="190"/>
                    </a:lnTo>
                    <a:lnTo>
                      <a:pt x="98" y="190"/>
                    </a:lnTo>
                    <a:lnTo>
                      <a:pt x="100" y="190"/>
                    </a:lnTo>
                    <a:lnTo>
                      <a:pt x="100" y="188"/>
                    </a:lnTo>
                    <a:lnTo>
                      <a:pt x="100" y="187"/>
                    </a:lnTo>
                    <a:lnTo>
                      <a:pt x="98" y="187"/>
                    </a:lnTo>
                    <a:lnTo>
                      <a:pt x="98" y="185"/>
                    </a:lnTo>
                    <a:lnTo>
                      <a:pt x="100" y="185"/>
                    </a:lnTo>
                    <a:lnTo>
                      <a:pt x="98" y="185"/>
                    </a:lnTo>
                    <a:lnTo>
                      <a:pt x="98" y="183"/>
                    </a:lnTo>
                    <a:lnTo>
                      <a:pt x="96" y="183"/>
                    </a:lnTo>
                    <a:lnTo>
                      <a:pt x="94" y="183"/>
                    </a:lnTo>
                    <a:lnTo>
                      <a:pt x="94" y="181"/>
                    </a:lnTo>
                    <a:lnTo>
                      <a:pt x="94" y="179"/>
                    </a:lnTo>
                    <a:lnTo>
                      <a:pt x="96" y="177"/>
                    </a:lnTo>
                    <a:lnTo>
                      <a:pt x="94" y="175"/>
                    </a:lnTo>
                    <a:lnTo>
                      <a:pt x="96" y="175"/>
                    </a:lnTo>
                    <a:lnTo>
                      <a:pt x="96" y="173"/>
                    </a:lnTo>
                    <a:lnTo>
                      <a:pt x="96" y="171"/>
                    </a:lnTo>
                    <a:lnTo>
                      <a:pt x="96" y="169"/>
                    </a:lnTo>
                    <a:lnTo>
                      <a:pt x="96" y="167"/>
                    </a:lnTo>
                    <a:lnTo>
                      <a:pt x="98" y="167"/>
                    </a:lnTo>
                    <a:lnTo>
                      <a:pt x="100" y="167"/>
                    </a:lnTo>
                    <a:lnTo>
                      <a:pt x="102" y="167"/>
                    </a:lnTo>
                    <a:lnTo>
                      <a:pt x="104" y="167"/>
                    </a:lnTo>
                    <a:lnTo>
                      <a:pt x="106" y="169"/>
                    </a:lnTo>
                    <a:lnTo>
                      <a:pt x="107" y="169"/>
                    </a:lnTo>
                    <a:lnTo>
                      <a:pt x="109" y="169"/>
                    </a:lnTo>
                    <a:lnTo>
                      <a:pt x="111" y="169"/>
                    </a:lnTo>
                    <a:lnTo>
                      <a:pt x="113" y="169"/>
                    </a:lnTo>
                    <a:lnTo>
                      <a:pt x="115" y="169"/>
                    </a:lnTo>
                    <a:lnTo>
                      <a:pt x="117" y="167"/>
                    </a:lnTo>
                    <a:lnTo>
                      <a:pt x="117" y="165"/>
                    </a:lnTo>
                    <a:lnTo>
                      <a:pt x="115" y="164"/>
                    </a:lnTo>
                    <a:lnTo>
                      <a:pt x="113" y="162"/>
                    </a:lnTo>
                    <a:lnTo>
                      <a:pt x="113" y="160"/>
                    </a:lnTo>
                    <a:lnTo>
                      <a:pt x="111" y="160"/>
                    </a:lnTo>
                    <a:lnTo>
                      <a:pt x="111" y="158"/>
                    </a:lnTo>
                    <a:lnTo>
                      <a:pt x="109" y="158"/>
                    </a:lnTo>
                    <a:lnTo>
                      <a:pt x="109" y="156"/>
                    </a:lnTo>
                    <a:lnTo>
                      <a:pt x="107" y="156"/>
                    </a:lnTo>
                    <a:lnTo>
                      <a:pt x="107" y="154"/>
                    </a:lnTo>
                    <a:lnTo>
                      <a:pt x="109" y="154"/>
                    </a:lnTo>
                    <a:lnTo>
                      <a:pt x="111" y="150"/>
                    </a:lnTo>
                    <a:lnTo>
                      <a:pt x="109" y="150"/>
                    </a:lnTo>
                    <a:lnTo>
                      <a:pt x="107" y="150"/>
                    </a:lnTo>
                    <a:lnTo>
                      <a:pt x="106" y="150"/>
                    </a:lnTo>
                    <a:lnTo>
                      <a:pt x="106" y="148"/>
                    </a:lnTo>
                    <a:lnTo>
                      <a:pt x="104" y="148"/>
                    </a:lnTo>
                    <a:lnTo>
                      <a:pt x="104" y="146"/>
                    </a:lnTo>
                    <a:lnTo>
                      <a:pt x="102" y="146"/>
                    </a:lnTo>
                    <a:lnTo>
                      <a:pt x="102" y="144"/>
                    </a:lnTo>
                    <a:lnTo>
                      <a:pt x="104" y="144"/>
                    </a:lnTo>
                    <a:lnTo>
                      <a:pt x="106" y="144"/>
                    </a:lnTo>
                    <a:lnTo>
                      <a:pt x="106" y="142"/>
                    </a:lnTo>
                    <a:lnTo>
                      <a:pt x="106" y="140"/>
                    </a:lnTo>
                    <a:lnTo>
                      <a:pt x="106" y="142"/>
                    </a:lnTo>
                    <a:lnTo>
                      <a:pt x="106" y="140"/>
                    </a:lnTo>
                    <a:lnTo>
                      <a:pt x="106" y="139"/>
                    </a:lnTo>
                    <a:lnTo>
                      <a:pt x="106" y="137"/>
                    </a:lnTo>
                    <a:lnTo>
                      <a:pt x="104" y="137"/>
                    </a:lnTo>
                    <a:lnTo>
                      <a:pt x="106" y="137"/>
                    </a:lnTo>
                    <a:lnTo>
                      <a:pt x="106" y="135"/>
                    </a:lnTo>
                    <a:lnTo>
                      <a:pt x="107" y="135"/>
                    </a:lnTo>
                    <a:lnTo>
                      <a:pt x="107" y="137"/>
                    </a:lnTo>
                    <a:lnTo>
                      <a:pt x="109" y="137"/>
                    </a:lnTo>
                    <a:lnTo>
                      <a:pt x="109" y="139"/>
                    </a:lnTo>
                    <a:lnTo>
                      <a:pt x="111" y="139"/>
                    </a:lnTo>
                    <a:lnTo>
                      <a:pt x="113" y="139"/>
                    </a:lnTo>
                    <a:lnTo>
                      <a:pt x="113" y="137"/>
                    </a:lnTo>
                    <a:lnTo>
                      <a:pt x="115" y="137"/>
                    </a:lnTo>
                    <a:lnTo>
                      <a:pt x="117" y="137"/>
                    </a:lnTo>
                    <a:lnTo>
                      <a:pt x="119" y="137"/>
                    </a:lnTo>
                    <a:lnTo>
                      <a:pt x="121" y="137"/>
                    </a:lnTo>
                    <a:lnTo>
                      <a:pt x="123" y="137"/>
                    </a:lnTo>
                    <a:lnTo>
                      <a:pt x="125" y="137"/>
                    </a:lnTo>
                    <a:lnTo>
                      <a:pt x="127" y="137"/>
                    </a:lnTo>
                    <a:lnTo>
                      <a:pt x="127" y="135"/>
                    </a:lnTo>
                    <a:lnTo>
                      <a:pt x="129" y="135"/>
                    </a:lnTo>
                    <a:lnTo>
                      <a:pt x="129" y="133"/>
                    </a:lnTo>
                    <a:lnTo>
                      <a:pt x="131" y="133"/>
                    </a:lnTo>
                    <a:lnTo>
                      <a:pt x="131" y="131"/>
                    </a:lnTo>
                    <a:lnTo>
                      <a:pt x="132" y="131"/>
                    </a:lnTo>
                    <a:lnTo>
                      <a:pt x="131" y="131"/>
                    </a:lnTo>
                    <a:lnTo>
                      <a:pt x="131" y="129"/>
                    </a:lnTo>
                    <a:lnTo>
                      <a:pt x="132" y="129"/>
                    </a:lnTo>
                    <a:lnTo>
                      <a:pt x="131" y="129"/>
                    </a:lnTo>
                    <a:lnTo>
                      <a:pt x="131" y="127"/>
                    </a:lnTo>
                    <a:lnTo>
                      <a:pt x="132" y="127"/>
                    </a:lnTo>
                    <a:lnTo>
                      <a:pt x="132" y="125"/>
                    </a:lnTo>
                    <a:lnTo>
                      <a:pt x="134" y="123"/>
                    </a:lnTo>
                    <a:lnTo>
                      <a:pt x="134" y="125"/>
                    </a:lnTo>
                    <a:lnTo>
                      <a:pt x="134" y="123"/>
                    </a:lnTo>
                    <a:lnTo>
                      <a:pt x="136" y="123"/>
                    </a:lnTo>
                    <a:lnTo>
                      <a:pt x="136" y="121"/>
                    </a:lnTo>
                    <a:lnTo>
                      <a:pt x="138" y="121"/>
                    </a:lnTo>
                    <a:lnTo>
                      <a:pt x="138" y="119"/>
                    </a:lnTo>
                    <a:lnTo>
                      <a:pt x="138" y="117"/>
                    </a:lnTo>
                    <a:lnTo>
                      <a:pt x="140" y="117"/>
                    </a:lnTo>
                    <a:lnTo>
                      <a:pt x="142" y="117"/>
                    </a:lnTo>
                    <a:lnTo>
                      <a:pt x="144" y="117"/>
                    </a:lnTo>
                    <a:lnTo>
                      <a:pt x="144" y="116"/>
                    </a:lnTo>
                    <a:lnTo>
                      <a:pt x="144" y="117"/>
                    </a:lnTo>
                    <a:lnTo>
                      <a:pt x="144" y="116"/>
                    </a:lnTo>
                    <a:lnTo>
                      <a:pt x="146" y="116"/>
                    </a:lnTo>
                    <a:lnTo>
                      <a:pt x="148" y="116"/>
                    </a:lnTo>
                    <a:lnTo>
                      <a:pt x="148" y="114"/>
                    </a:lnTo>
                    <a:lnTo>
                      <a:pt x="150" y="114"/>
                    </a:lnTo>
                    <a:lnTo>
                      <a:pt x="150" y="112"/>
                    </a:lnTo>
                    <a:lnTo>
                      <a:pt x="152" y="112"/>
                    </a:lnTo>
                    <a:lnTo>
                      <a:pt x="154" y="112"/>
                    </a:lnTo>
                    <a:lnTo>
                      <a:pt x="156" y="112"/>
                    </a:lnTo>
                    <a:lnTo>
                      <a:pt x="156" y="110"/>
                    </a:lnTo>
                    <a:lnTo>
                      <a:pt x="157" y="110"/>
                    </a:lnTo>
                    <a:lnTo>
                      <a:pt x="156" y="110"/>
                    </a:lnTo>
                    <a:lnTo>
                      <a:pt x="157" y="110"/>
                    </a:lnTo>
                    <a:lnTo>
                      <a:pt x="156" y="110"/>
                    </a:lnTo>
                    <a:lnTo>
                      <a:pt x="157" y="110"/>
                    </a:lnTo>
                    <a:lnTo>
                      <a:pt x="157" y="108"/>
                    </a:lnTo>
                    <a:lnTo>
                      <a:pt x="159" y="108"/>
                    </a:lnTo>
                    <a:lnTo>
                      <a:pt x="161" y="108"/>
                    </a:lnTo>
                    <a:lnTo>
                      <a:pt x="163" y="108"/>
                    </a:lnTo>
                    <a:lnTo>
                      <a:pt x="163" y="110"/>
                    </a:lnTo>
                    <a:lnTo>
                      <a:pt x="165" y="110"/>
                    </a:lnTo>
                    <a:lnTo>
                      <a:pt x="165" y="108"/>
                    </a:lnTo>
                    <a:lnTo>
                      <a:pt x="165" y="110"/>
                    </a:lnTo>
                    <a:lnTo>
                      <a:pt x="167" y="110"/>
                    </a:lnTo>
                    <a:lnTo>
                      <a:pt x="165" y="110"/>
                    </a:lnTo>
                    <a:lnTo>
                      <a:pt x="167" y="110"/>
                    </a:lnTo>
                    <a:lnTo>
                      <a:pt x="169" y="110"/>
                    </a:lnTo>
                    <a:lnTo>
                      <a:pt x="167" y="110"/>
                    </a:lnTo>
                    <a:lnTo>
                      <a:pt x="169" y="110"/>
                    </a:lnTo>
                    <a:lnTo>
                      <a:pt x="171" y="110"/>
                    </a:lnTo>
                    <a:lnTo>
                      <a:pt x="171" y="112"/>
                    </a:lnTo>
                    <a:lnTo>
                      <a:pt x="171" y="110"/>
                    </a:lnTo>
                    <a:lnTo>
                      <a:pt x="171" y="112"/>
                    </a:lnTo>
                    <a:lnTo>
                      <a:pt x="171" y="110"/>
                    </a:lnTo>
                    <a:lnTo>
                      <a:pt x="171" y="112"/>
                    </a:lnTo>
                    <a:lnTo>
                      <a:pt x="173" y="112"/>
                    </a:lnTo>
                    <a:lnTo>
                      <a:pt x="173" y="110"/>
                    </a:lnTo>
                    <a:lnTo>
                      <a:pt x="175" y="110"/>
                    </a:lnTo>
                    <a:lnTo>
                      <a:pt x="177" y="110"/>
                    </a:lnTo>
                    <a:lnTo>
                      <a:pt x="177" y="112"/>
                    </a:lnTo>
                    <a:lnTo>
                      <a:pt x="175" y="112"/>
                    </a:lnTo>
                    <a:lnTo>
                      <a:pt x="177" y="112"/>
                    </a:lnTo>
                    <a:lnTo>
                      <a:pt x="179" y="112"/>
                    </a:lnTo>
                    <a:lnTo>
                      <a:pt x="180" y="112"/>
                    </a:lnTo>
                    <a:lnTo>
                      <a:pt x="182" y="112"/>
                    </a:lnTo>
                    <a:lnTo>
                      <a:pt x="184" y="112"/>
                    </a:lnTo>
                    <a:lnTo>
                      <a:pt x="186" y="112"/>
                    </a:lnTo>
                    <a:lnTo>
                      <a:pt x="188" y="114"/>
                    </a:lnTo>
                    <a:lnTo>
                      <a:pt x="190" y="114"/>
                    </a:lnTo>
                    <a:lnTo>
                      <a:pt x="190" y="112"/>
                    </a:lnTo>
                    <a:lnTo>
                      <a:pt x="186" y="110"/>
                    </a:lnTo>
                    <a:lnTo>
                      <a:pt x="188" y="110"/>
                    </a:lnTo>
                    <a:lnTo>
                      <a:pt x="188" y="108"/>
                    </a:lnTo>
                    <a:lnTo>
                      <a:pt x="188" y="106"/>
                    </a:lnTo>
                    <a:lnTo>
                      <a:pt x="188" y="104"/>
                    </a:lnTo>
                    <a:lnTo>
                      <a:pt x="190" y="104"/>
                    </a:lnTo>
                    <a:lnTo>
                      <a:pt x="190" y="106"/>
                    </a:lnTo>
                    <a:lnTo>
                      <a:pt x="190" y="104"/>
                    </a:lnTo>
                    <a:lnTo>
                      <a:pt x="192" y="104"/>
                    </a:lnTo>
                    <a:lnTo>
                      <a:pt x="194" y="106"/>
                    </a:lnTo>
                    <a:lnTo>
                      <a:pt x="194" y="104"/>
                    </a:lnTo>
                    <a:lnTo>
                      <a:pt x="192" y="102"/>
                    </a:lnTo>
                    <a:lnTo>
                      <a:pt x="194" y="102"/>
                    </a:lnTo>
                    <a:lnTo>
                      <a:pt x="194" y="100"/>
                    </a:lnTo>
                    <a:lnTo>
                      <a:pt x="196" y="100"/>
                    </a:lnTo>
                    <a:lnTo>
                      <a:pt x="196" y="98"/>
                    </a:lnTo>
                    <a:lnTo>
                      <a:pt x="196" y="100"/>
                    </a:lnTo>
                    <a:lnTo>
                      <a:pt x="198" y="98"/>
                    </a:lnTo>
                    <a:lnTo>
                      <a:pt x="198" y="96"/>
                    </a:lnTo>
                    <a:lnTo>
                      <a:pt x="196" y="96"/>
                    </a:lnTo>
                    <a:lnTo>
                      <a:pt x="200" y="94"/>
                    </a:lnTo>
                    <a:lnTo>
                      <a:pt x="200" y="96"/>
                    </a:lnTo>
                    <a:lnTo>
                      <a:pt x="202" y="96"/>
                    </a:lnTo>
                    <a:lnTo>
                      <a:pt x="204" y="96"/>
                    </a:lnTo>
                    <a:lnTo>
                      <a:pt x="204" y="92"/>
                    </a:lnTo>
                    <a:lnTo>
                      <a:pt x="204" y="91"/>
                    </a:lnTo>
                    <a:lnTo>
                      <a:pt x="205" y="92"/>
                    </a:lnTo>
                    <a:lnTo>
                      <a:pt x="207" y="92"/>
                    </a:lnTo>
                    <a:lnTo>
                      <a:pt x="209" y="92"/>
                    </a:lnTo>
                    <a:lnTo>
                      <a:pt x="209" y="91"/>
                    </a:lnTo>
                    <a:lnTo>
                      <a:pt x="207" y="87"/>
                    </a:lnTo>
                    <a:lnTo>
                      <a:pt x="209" y="87"/>
                    </a:lnTo>
                    <a:lnTo>
                      <a:pt x="213" y="87"/>
                    </a:lnTo>
                    <a:lnTo>
                      <a:pt x="213" y="85"/>
                    </a:lnTo>
                    <a:lnTo>
                      <a:pt x="215" y="85"/>
                    </a:lnTo>
                    <a:lnTo>
                      <a:pt x="217" y="85"/>
                    </a:lnTo>
                    <a:lnTo>
                      <a:pt x="217" y="83"/>
                    </a:lnTo>
                    <a:lnTo>
                      <a:pt x="219" y="81"/>
                    </a:lnTo>
                    <a:lnTo>
                      <a:pt x="219" y="79"/>
                    </a:lnTo>
                    <a:lnTo>
                      <a:pt x="221" y="79"/>
                    </a:lnTo>
                    <a:lnTo>
                      <a:pt x="221" y="77"/>
                    </a:lnTo>
                    <a:lnTo>
                      <a:pt x="223" y="73"/>
                    </a:lnTo>
                    <a:lnTo>
                      <a:pt x="225" y="73"/>
                    </a:lnTo>
                    <a:lnTo>
                      <a:pt x="227" y="73"/>
                    </a:lnTo>
                    <a:lnTo>
                      <a:pt x="228" y="73"/>
                    </a:lnTo>
                    <a:lnTo>
                      <a:pt x="230" y="73"/>
                    </a:lnTo>
                    <a:lnTo>
                      <a:pt x="230" y="75"/>
                    </a:lnTo>
                    <a:lnTo>
                      <a:pt x="232" y="75"/>
                    </a:lnTo>
                    <a:lnTo>
                      <a:pt x="234" y="75"/>
                    </a:lnTo>
                    <a:lnTo>
                      <a:pt x="236" y="77"/>
                    </a:lnTo>
                    <a:lnTo>
                      <a:pt x="236" y="75"/>
                    </a:lnTo>
                    <a:lnTo>
                      <a:pt x="236" y="73"/>
                    </a:lnTo>
                    <a:lnTo>
                      <a:pt x="238" y="73"/>
                    </a:lnTo>
                    <a:lnTo>
                      <a:pt x="238" y="71"/>
                    </a:lnTo>
                    <a:lnTo>
                      <a:pt x="238" y="69"/>
                    </a:lnTo>
                    <a:lnTo>
                      <a:pt x="240" y="68"/>
                    </a:lnTo>
                    <a:lnTo>
                      <a:pt x="240" y="66"/>
                    </a:lnTo>
                    <a:lnTo>
                      <a:pt x="242" y="66"/>
                    </a:lnTo>
                    <a:lnTo>
                      <a:pt x="242" y="68"/>
                    </a:lnTo>
                    <a:lnTo>
                      <a:pt x="244" y="68"/>
                    </a:lnTo>
                    <a:lnTo>
                      <a:pt x="246" y="68"/>
                    </a:lnTo>
                    <a:lnTo>
                      <a:pt x="248" y="66"/>
                    </a:lnTo>
                    <a:lnTo>
                      <a:pt x="248" y="64"/>
                    </a:lnTo>
                    <a:lnTo>
                      <a:pt x="248" y="62"/>
                    </a:lnTo>
                    <a:lnTo>
                      <a:pt x="250" y="62"/>
                    </a:lnTo>
                    <a:lnTo>
                      <a:pt x="250" y="60"/>
                    </a:lnTo>
                    <a:lnTo>
                      <a:pt x="250" y="58"/>
                    </a:lnTo>
                    <a:lnTo>
                      <a:pt x="252" y="56"/>
                    </a:lnTo>
                    <a:lnTo>
                      <a:pt x="253" y="56"/>
                    </a:lnTo>
                    <a:lnTo>
                      <a:pt x="253" y="58"/>
                    </a:lnTo>
                    <a:lnTo>
                      <a:pt x="255" y="58"/>
                    </a:lnTo>
                    <a:lnTo>
                      <a:pt x="257" y="58"/>
                    </a:lnTo>
                    <a:lnTo>
                      <a:pt x="257" y="56"/>
                    </a:lnTo>
                    <a:lnTo>
                      <a:pt x="257" y="54"/>
                    </a:lnTo>
                    <a:lnTo>
                      <a:pt x="257" y="52"/>
                    </a:lnTo>
                    <a:lnTo>
                      <a:pt x="257" y="50"/>
                    </a:lnTo>
                    <a:lnTo>
                      <a:pt x="259" y="50"/>
                    </a:lnTo>
                    <a:lnTo>
                      <a:pt x="259" y="48"/>
                    </a:lnTo>
                    <a:lnTo>
                      <a:pt x="259" y="46"/>
                    </a:lnTo>
                    <a:lnTo>
                      <a:pt x="261" y="46"/>
                    </a:lnTo>
                    <a:lnTo>
                      <a:pt x="263" y="46"/>
                    </a:lnTo>
                    <a:lnTo>
                      <a:pt x="265" y="48"/>
                    </a:lnTo>
                    <a:lnTo>
                      <a:pt x="265" y="44"/>
                    </a:lnTo>
                    <a:lnTo>
                      <a:pt x="265" y="43"/>
                    </a:lnTo>
                    <a:lnTo>
                      <a:pt x="263" y="43"/>
                    </a:lnTo>
                    <a:lnTo>
                      <a:pt x="263" y="41"/>
                    </a:lnTo>
                    <a:lnTo>
                      <a:pt x="265" y="41"/>
                    </a:lnTo>
                    <a:lnTo>
                      <a:pt x="265" y="39"/>
                    </a:lnTo>
                    <a:lnTo>
                      <a:pt x="265" y="37"/>
                    </a:lnTo>
                    <a:lnTo>
                      <a:pt x="267" y="37"/>
                    </a:lnTo>
                    <a:lnTo>
                      <a:pt x="267" y="35"/>
                    </a:lnTo>
                    <a:lnTo>
                      <a:pt x="267" y="33"/>
                    </a:lnTo>
                    <a:lnTo>
                      <a:pt x="269" y="33"/>
                    </a:lnTo>
                    <a:lnTo>
                      <a:pt x="269" y="35"/>
                    </a:lnTo>
                    <a:lnTo>
                      <a:pt x="269" y="37"/>
                    </a:lnTo>
                    <a:lnTo>
                      <a:pt x="269" y="39"/>
                    </a:lnTo>
                    <a:lnTo>
                      <a:pt x="267" y="39"/>
                    </a:lnTo>
                    <a:lnTo>
                      <a:pt x="267" y="41"/>
                    </a:lnTo>
                    <a:lnTo>
                      <a:pt x="269" y="41"/>
                    </a:lnTo>
                    <a:lnTo>
                      <a:pt x="271" y="41"/>
                    </a:lnTo>
                    <a:lnTo>
                      <a:pt x="273" y="41"/>
                    </a:lnTo>
                    <a:lnTo>
                      <a:pt x="273" y="43"/>
                    </a:lnTo>
                    <a:lnTo>
                      <a:pt x="273" y="41"/>
                    </a:lnTo>
                    <a:lnTo>
                      <a:pt x="275" y="41"/>
                    </a:lnTo>
                    <a:lnTo>
                      <a:pt x="275" y="39"/>
                    </a:lnTo>
                    <a:lnTo>
                      <a:pt x="275" y="41"/>
                    </a:lnTo>
                    <a:lnTo>
                      <a:pt x="276" y="41"/>
                    </a:lnTo>
                    <a:lnTo>
                      <a:pt x="276" y="39"/>
                    </a:lnTo>
                    <a:lnTo>
                      <a:pt x="276" y="41"/>
                    </a:lnTo>
                    <a:lnTo>
                      <a:pt x="278" y="41"/>
                    </a:lnTo>
                    <a:lnTo>
                      <a:pt x="280" y="41"/>
                    </a:lnTo>
                    <a:lnTo>
                      <a:pt x="280" y="39"/>
                    </a:lnTo>
                    <a:lnTo>
                      <a:pt x="280" y="37"/>
                    </a:lnTo>
                    <a:lnTo>
                      <a:pt x="278" y="37"/>
                    </a:lnTo>
                    <a:lnTo>
                      <a:pt x="276" y="37"/>
                    </a:lnTo>
                    <a:lnTo>
                      <a:pt x="276" y="39"/>
                    </a:lnTo>
                    <a:lnTo>
                      <a:pt x="276" y="37"/>
                    </a:lnTo>
                    <a:lnTo>
                      <a:pt x="275" y="37"/>
                    </a:lnTo>
                    <a:lnTo>
                      <a:pt x="273" y="37"/>
                    </a:lnTo>
                    <a:lnTo>
                      <a:pt x="273" y="35"/>
                    </a:lnTo>
                    <a:lnTo>
                      <a:pt x="275" y="35"/>
                    </a:lnTo>
                    <a:lnTo>
                      <a:pt x="275" y="33"/>
                    </a:lnTo>
                    <a:lnTo>
                      <a:pt x="275" y="31"/>
                    </a:lnTo>
                    <a:lnTo>
                      <a:pt x="276" y="31"/>
                    </a:lnTo>
                    <a:lnTo>
                      <a:pt x="275" y="29"/>
                    </a:lnTo>
                    <a:lnTo>
                      <a:pt x="276" y="29"/>
                    </a:lnTo>
                    <a:lnTo>
                      <a:pt x="278" y="29"/>
                    </a:lnTo>
                    <a:lnTo>
                      <a:pt x="278" y="31"/>
                    </a:lnTo>
                    <a:lnTo>
                      <a:pt x="278" y="29"/>
                    </a:lnTo>
                    <a:lnTo>
                      <a:pt x="280" y="29"/>
                    </a:lnTo>
                    <a:lnTo>
                      <a:pt x="280" y="27"/>
                    </a:lnTo>
                    <a:lnTo>
                      <a:pt x="278" y="27"/>
                    </a:lnTo>
                    <a:lnTo>
                      <a:pt x="280" y="25"/>
                    </a:lnTo>
                    <a:lnTo>
                      <a:pt x="282" y="25"/>
                    </a:lnTo>
                    <a:lnTo>
                      <a:pt x="284" y="25"/>
                    </a:lnTo>
                    <a:lnTo>
                      <a:pt x="286" y="25"/>
                    </a:lnTo>
                    <a:lnTo>
                      <a:pt x="286" y="27"/>
                    </a:lnTo>
                    <a:lnTo>
                      <a:pt x="288" y="27"/>
                    </a:lnTo>
                    <a:lnTo>
                      <a:pt x="290" y="27"/>
                    </a:lnTo>
                    <a:lnTo>
                      <a:pt x="290" y="25"/>
                    </a:lnTo>
                    <a:lnTo>
                      <a:pt x="292" y="25"/>
                    </a:lnTo>
                    <a:lnTo>
                      <a:pt x="292" y="23"/>
                    </a:lnTo>
                    <a:lnTo>
                      <a:pt x="292" y="21"/>
                    </a:lnTo>
                    <a:lnTo>
                      <a:pt x="292" y="20"/>
                    </a:lnTo>
                    <a:lnTo>
                      <a:pt x="294" y="20"/>
                    </a:lnTo>
                    <a:lnTo>
                      <a:pt x="296" y="20"/>
                    </a:lnTo>
                    <a:lnTo>
                      <a:pt x="298" y="21"/>
                    </a:lnTo>
                    <a:lnTo>
                      <a:pt x="298" y="23"/>
                    </a:lnTo>
                    <a:lnTo>
                      <a:pt x="300" y="23"/>
                    </a:lnTo>
                    <a:lnTo>
                      <a:pt x="300" y="25"/>
                    </a:lnTo>
                    <a:lnTo>
                      <a:pt x="301" y="25"/>
                    </a:lnTo>
                    <a:lnTo>
                      <a:pt x="301" y="23"/>
                    </a:lnTo>
                    <a:lnTo>
                      <a:pt x="303" y="23"/>
                    </a:lnTo>
                    <a:lnTo>
                      <a:pt x="303" y="21"/>
                    </a:lnTo>
                    <a:lnTo>
                      <a:pt x="305" y="21"/>
                    </a:lnTo>
                    <a:lnTo>
                      <a:pt x="307" y="21"/>
                    </a:lnTo>
                    <a:lnTo>
                      <a:pt x="307" y="20"/>
                    </a:lnTo>
                    <a:lnTo>
                      <a:pt x="309" y="18"/>
                    </a:lnTo>
                    <a:lnTo>
                      <a:pt x="309" y="16"/>
                    </a:lnTo>
                    <a:lnTo>
                      <a:pt x="311" y="16"/>
                    </a:lnTo>
                    <a:lnTo>
                      <a:pt x="311" y="14"/>
                    </a:lnTo>
                    <a:lnTo>
                      <a:pt x="313" y="14"/>
                    </a:lnTo>
                    <a:lnTo>
                      <a:pt x="315" y="12"/>
                    </a:lnTo>
                    <a:lnTo>
                      <a:pt x="317" y="14"/>
                    </a:lnTo>
                    <a:lnTo>
                      <a:pt x="317" y="16"/>
                    </a:lnTo>
                    <a:lnTo>
                      <a:pt x="319" y="16"/>
                    </a:lnTo>
                    <a:lnTo>
                      <a:pt x="319" y="18"/>
                    </a:lnTo>
                    <a:lnTo>
                      <a:pt x="321" y="18"/>
                    </a:lnTo>
                    <a:lnTo>
                      <a:pt x="323" y="18"/>
                    </a:lnTo>
                    <a:lnTo>
                      <a:pt x="323" y="20"/>
                    </a:lnTo>
                    <a:lnTo>
                      <a:pt x="324" y="20"/>
                    </a:lnTo>
                    <a:lnTo>
                      <a:pt x="324" y="21"/>
                    </a:lnTo>
                    <a:lnTo>
                      <a:pt x="326" y="21"/>
                    </a:lnTo>
                    <a:lnTo>
                      <a:pt x="328" y="21"/>
                    </a:lnTo>
                    <a:lnTo>
                      <a:pt x="330" y="21"/>
                    </a:lnTo>
                    <a:lnTo>
                      <a:pt x="332" y="21"/>
                    </a:lnTo>
                    <a:lnTo>
                      <a:pt x="332" y="23"/>
                    </a:lnTo>
                    <a:lnTo>
                      <a:pt x="334" y="23"/>
                    </a:lnTo>
                    <a:lnTo>
                      <a:pt x="334" y="25"/>
                    </a:lnTo>
                    <a:lnTo>
                      <a:pt x="336" y="25"/>
                    </a:lnTo>
                    <a:lnTo>
                      <a:pt x="336" y="23"/>
                    </a:lnTo>
                    <a:lnTo>
                      <a:pt x="338" y="23"/>
                    </a:lnTo>
                    <a:lnTo>
                      <a:pt x="338" y="21"/>
                    </a:lnTo>
                    <a:lnTo>
                      <a:pt x="340" y="21"/>
                    </a:lnTo>
                    <a:lnTo>
                      <a:pt x="342" y="20"/>
                    </a:lnTo>
                    <a:lnTo>
                      <a:pt x="344" y="20"/>
                    </a:lnTo>
                    <a:lnTo>
                      <a:pt x="344" y="18"/>
                    </a:lnTo>
                    <a:lnTo>
                      <a:pt x="346" y="16"/>
                    </a:lnTo>
                    <a:lnTo>
                      <a:pt x="348" y="14"/>
                    </a:lnTo>
                    <a:lnTo>
                      <a:pt x="348" y="12"/>
                    </a:lnTo>
                    <a:lnTo>
                      <a:pt x="349" y="12"/>
                    </a:lnTo>
                    <a:lnTo>
                      <a:pt x="349" y="14"/>
                    </a:lnTo>
                    <a:lnTo>
                      <a:pt x="351" y="14"/>
                    </a:lnTo>
                    <a:lnTo>
                      <a:pt x="353" y="16"/>
                    </a:lnTo>
                    <a:lnTo>
                      <a:pt x="355" y="16"/>
                    </a:lnTo>
                    <a:lnTo>
                      <a:pt x="357" y="16"/>
                    </a:lnTo>
                    <a:lnTo>
                      <a:pt x="357" y="18"/>
                    </a:lnTo>
                    <a:lnTo>
                      <a:pt x="359" y="18"/>
                    </a:lnTo>
                    <a:lnTo>
                      <a:pt x="361" y="18"/>
                    </a:lnTo>
                    <a:lnTo>
                      <a:pt x="363" y="16"/>
                    </a:lnTo>
                    <a:lnTo>
                      <a:pt x="361" y="16"/>
                    </a:lnTo>
                    <a:lnTo>
                      <a:pt x="361" y="14"/>
                    </a:lnTo>
                    <a:lnTo>
                      <a:pt x="361" y="12"/>
                    </a:lnTo>
                    <a:lnTo>
                      <a:pt x="361" y="10"/>
                    </a:lnTo>
                    <a:lnTo>
                      <a:pt x="363" y="10"/>
                    </a:lnTo>
                    <a:lnTo>
                      <a:pt x="363" y="8"/>
                    </a:lnTo>
                    <a:lnTo>
                      <a:pt x="365" y="8"/>
                    </a:lnTo>
                    <a:lnTo>
                      <a:pt x="365" y="6"/>
                    </a:lnTo>
                    <a:lnTo>
                      <a:pt x="365" y="4"/>
                    </a:lnTo>
                    <a:lnTo>
                      <a:pt x="367" y="4"/>
                    </a:lnTo>
                    <a:lnTo>
                      <a:pt x="367" y="6"/>
                    </a:lnTo>
                    <a:lnTo>
                      <a:pt x="369" y="6"/>
                    </a:lnTo>
                    <a:lnTo>
                      <a:pt x="369" y="4"/>
                    </a:lnTo>
                    <a:lnTo>
                      <a:pt x="369" y="2"/>
                    </a:lnTo>
                    <a:lnTo>
                      <a:pt x="369" y="4"/>
                    </a:lnTo>
                    <a:lnTo>
                      <a:pt x="371" y="4"/>
                    </a:lnTo>
                    <a:lnTo>
                      <a:pt x="372" y="4"/>
                    </a:lnTo>
                    <a:lnTo>
                      <a:pt x="372" y="6"/>
                    </a:lnTo>
                    <a:lnTo>
                      <a:pt x="372" y="4"/>
                    </a:lnTo>
                    <a:lnTo>
                      <a:pt x="374" y="4"/>
                    </a:lnTo>
                    <a:lnTo>
                      <a:pt x="374" y="2"/>
                    </a:lnTo>
                    <a:lnTo>
                      <a:pt x="376" y="2"/>
                    </a:lnTo>
                    <a:lnTo>
                      <a:pt x="376" y="0"/>
                    </a:lnTo>
                    <a:lnTo>
                      <a:pt x="376"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3" name="Freeform 209">
                <a:extLst>
                  <a:ext uri="{FF2B5EF4-FFF2-40B4-BE49-F238E27FC236}">
                    <a16:creationId xmlns:a16="http://schemas.microsoft.com/office/drawing/2014/main" id="{4E8DE077-580B-44ED-8348-F80868A9ABC3}"/>
                  </a:ext>
                </a:extLst>
              </p:cNvPr>
              <p:cNvSpPr>
                <a:spLocks/>
              </p:cNvSpPr>
              <p:nvPr/>
            </p:nvSpPr>
            <p:spPr bwMode="auto">
              <a:xfrm>
                <a:off x="5639477" y="2797318"/>
                <a:ext cx="1347486" cy="1022488"/>
              </a:xfrm>
              <a:custGeom>
                <a:avLst/>
                <a:gdLst>
                  <a:gd name="T0" fmla="*/ 776 w 908"/>
                  <a:gd name="T1" fmla="*/ 59 h 689"/>
                  <a:gd name="T2" fmla="*/ 799 w 908"/>
                  <a:gd name="T3" fmla="*/ 100 h 689"/>
                  <a:gd name="T4" fmla="*/ 801 w 908"/>
                  <a:gd name="T5" fmla="*/ 151 h 689"/>
                  <a:gd name="T6" fmla="*/ 843 w 908"/>
                  <a:gd name="T7" fmla="*/ 207 h 689"/>
                  <a:gd name="T8" fmla="*/ 878 w 908"/>
                  <a:gd name="T9" fmla="*/ 267 h 689"/>
                  <a:gd name="T10" fmla="*/ 885 w 908"/>
                  <a:gd name="T11" fmla="*/ 294 h 689"/>
                  <a:gd name="T12" fmla="*/ 860 w 908"/>
                  <a:gd name="T13" fmla="*/ 334 h 689"/>
                  <a:gd name="T14" fmla="*/ 872 w 908"/>
                  <a:gd name="T15" fmla="*/ 372 h 689"/>
                  <a:gd name="T16" fmla="*/ 834 w 908"/>
                  <a:gd name="T17" fmla="*/ 368 h 689"/>
                  <a:gd name="T18" fmla="*/ 805 w 908"/>
                  <a:gd name="T19" fmla="*/ 382 h 689"/>
                  <a:gd name="T20" fmla="*/ 849 w 908"/>
                  <a:gd name="T21" fmla="*/ 426 h 689"/>
                  <a:gd name="T22" fmla="*/ 899 w 908"/>
                  <a:gd name="T23" fmla="*/ 430 h 689"/>
                  <a:gd name="T24" fmla="*/ 908 w 908"/>
                  <a:gd name="T25" fmla="*/ 489 h 689"/>
                  <a:gd name="T26" fmla="*/ 899 w 908"/>
                  <a:gd name="T27" fmla="*/ 535 h 689"/>
                  <a:gd name="T28" fmla="*/ 826 w 908"/>
                  <a:gd name="T29" fmla="*/ 543 h 689"/>
                  <a:gd name="T30" fmla="*/ 799 w 908"/>
                  <a:gd name="T31" fmla="*/ 545 h 689"/>
                  <a:gd name="T32" fmla="*/ 786 w 908"/>
                  <a:gd name="T33" fmla="*/ 507 h 689"/>
                  <a:gd name="T34" fmla="*/ 753 w 908"/>
                  <a:gd name="T35" fmla="*/ 487 h 689"/>
                  <a:gd name="T36" fmla="*/ 716 w 908"/>
                  <a:gd name="T37" fmla="*/ 522 h 689"/>
                  <a:gd name="T38" fmla="*/ 680 w 908"/>
                  <a:gd name="T39" fmla="*/ 555 h 689"/>
                  <a:gd name="T40" fmla="*/ 632 w 908"/>
                  <a:gd name="T41" fmla="*/ 562 h 689"/>
                  <a:gd name="T42" fmla="*/ 580 w 908"/>
                  <a:gd name="T43" fmla="*/ 534 h 689"/>
                  <a:gd name="T44" fmla="*/ 544 w 908"/>
                  <a:gd name="T45" fmla="*/ 543 h 689"/>
                  <a:gd name="T46" fmla="*/ 490 w 908"/>
                  <a:gd name="T47" fmla="*/ 597 h 689"/>
                  <a:gd name="T48" fmla="*/ 471 w 908"/>
                  <a:gd name="T49" fmla="*/ 605 h 689"/>
                  <a:gd name="T50" fmla="*/ 438 w 908"/>
                  <a:gd name="T51" fmla="*/ 591 h 689"/>
                  <a:gd name="T52" fmla="*/ 400 w 908"/>
                  <a:gd name="T53" fmla="*/ 601 h 689"/>
                  <a:gd name="T54" fmla="*/ 361 w 908"/>
                  <a:gd name="T55" fmla="*/ 582 h 689"/>
                  <a:gd name="T56" fmla="*/ 323 w 908"/>
                  <a:gd name="T57" fmla="*/ 578 h 689"/>
                  <a:gd name="T58" fmla="*/ 259 w 908"/>
                  <a:gd name="T59" fmla="*/ 601 h 689"/>
                  <a:gd name="T60" fmla="*/ 233 w 908"/>
                  <a:gd name="T61" fmla="*/ 653 h 689"/>
                  <a:gd name="T62" fmla="*/ 169 w 908"/>
                  <a:gd name="T63" fmla="*/ 668 h 689"/>
                  <a:gd name="T64" fmla="*/ 106 w 908"/>
                  <a:gd name="T65" fmla="*/ 687 h 689"/>
                  <a:gd name="T66" fmla="*/ 79 w 908"/>
                  <a:gd name="T67" fmla="*/ 656 h 689"/>
                  <a:gd name="T68" fmla="*/ 83 w 908"/>
                  <a:gd name="T69" fmla="*/ 618 h 689"/>
                  <a:gd name="T70" fmla="*/ 60 w 908"/>
                  <a:gd name="T71" fmla="*/ 564 h 689"/>
                  <a:gd name="T72" fmla="*/ 33 w 908"/>
                  <a:gd name="T73" fmla="*/ 510 h 689"/>
                  <a:gd name="T74" fmla="*/ 10 w 908"/>
                  <a:gd name="T75" fmla="*/ 464 h 689"/>
                  <a:gd name="T76" fmla="*/ 2 w 908"/>
                  <a:gd name="T77" fmla="*/ 424 h 689"/>
                  <a:gd name="T78" fmla="*/ 35 w 908"/>
                  <a:gd name="T79" fmla="*/ 395 h 689"/>
                  <a:gd name="T80" fmla="*/ 50 w 908"/>
                  <a:gd name="T81" fmla="*/ 353 h 689"/>
                  <a:gd name="T82" fmla="*/ 83 w 908"/>
                  <a:gd name="T83" fmla="*/ 368 h 689"/>
                  <a:gd name="T84" fmla="*/ 115 w 908"/>
                  <a:gd name="T85" fmla="*/ 322 h 689"/>
                  <a:gd name="T86" fmla="*/ 152 w 908"/>
                  <a:gd name="T87" fmla="*/ 343 h 689"/>
                  <a:gd name="T88" fmla="*/ 175 w 908"/>
                  <a:gd name="T89" fmla="*/ 340 h 689"/>
                  <a:gd name="T90" fmla="*/ 225 w 908"/>
                  <a:gd name="T91" fmla="*/ 361 h 689"/>
                  <a:gd name="T92" fmla="*/ 259 w 908"/>
                  <a:gd name="T93" fmla="*/ 326 h 689"/>
                  <a:gd name="T94" fmla="*/ 311 w 908"/>
                  <a:gd name="T95" fmla="*/ 328 h 689"/>
                  <a:gd name="T96" fmla="*/ 367 w 908"/>
                  <a:gd name="T97" fmla="*/ 330 h 689"/>
                  <a:gd name="T98" fmla="*/ 403 w 908"/>
                  <a:gd name="T99" fmla="*/ 299 h 689"/>
                  <a:gd name="T100" fmla="*/ 434 w 908"/>
                  <a:gd name="T101" fmla="*/ 270 h 689"/>
                  <a:gd name="T102" fmla="*/ 446 w 908"/>
                  <a:gd name="T103" fmla="*/ 240 h 689"/>
                  <a:gd name="T104" fmla="*/ 471 w 908"/>
                  <a:gd name="T105" fmla="*/ 190 h 689"/>
                  <a:gd name="T106" fmla="*/ 478 w 908"/>
                  <a:gd name="T107" fmla="*/ 134 h 689"/>
                  <a:gd name="T108" fmla="*/ 505 w 908"/>
                  <a:gd name="T109" fmla="*/ 92 h 689"/>
                  <a:gd name="T110" fmla="*/ 540 w 908"/>
                  <a:gd name="T111" fmla="*/ 105 h 689"/>
                  <a:gd name="T112" fmla="*/ 571 w 908"/>
                  <a:gd name="T113" fmla="*/ 134 h 689"/>
                  <a:gd name="T114" fmla="*/ 613 w 908"/>
                  <a:gd name="T115" fmla="*/ 148 h 689"/>
                  <a:gd name="T116" fmla="*/ 667 w 908"/>
                  <a:gd name="T117" fmla="*/ 107 h 689"/>
                  <a:gd name="T118" fmla="*/ 695 w 908"/>
                  <a:gd name="T119" fmla="*/ 73 h 689"/>
                  <a:gd name="T120" fmla="*/ 695 w 908"/>
                  <a:gd name="T121" fmla="*/ 36 h 689"/>
                  <a:gd name="T122" fmla="*/ 720 w 908"/>
                  <a:gd name="T123" fmla="*/ 1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8" h="689">
                    <a:moveTo>
                      <a:pt x="741" y="2"/>
                    </a:moveTo>
                    <a:lnTo>
                      <a:pt x="738" y="6"/>
                    </a:lnTo>
                    <a:lnTo>
                      <a:pt x="738" y="7"/>
                    </a:lnTo>
                    <a:lnTo>
                      <a:pt x="741" y="13"/>
                    </a:lnTo>
                    <a:lnTo>
                      <a:pt x="743" y="15"/>
                    </a:lnTo>
                    <a:lnTo>
                      <a:pt x="745" y="15"/>
                    </a:lnTo>
                    <a:lnTo>
                      <a:pt x="747" y="19"/>
                    </a:lnTo>
                    <a:lnTo>
                      <a:pt x="749" y="19"/>
                    </a:lnTo>
                    <a:lnTo>
                      <a:pt x="749" y="21"/>
                    </a:lnTo>
                    <a:lnTo>
                      <a:pt x="749" y="23"/>
                    </a:lnTo>
                    <a:lnTo>
                      <a:pt x="751" y="23"/>
                    </a:lnTo>
                    <a:lnTo>
                      <a:pt x="751" y="25"/>
                    </a:lnTo>
                    <a:lnTo>
                      <a:pt x="751" y="27"/>
                    </a:lnTo>
                    <a:lnTo>
                      <a:pt x="753" y="27"/>
                    </a:lnTo>
                    <a:lnTo>
                      <a:pt x="753" y="29"/>
                    </a:lnTo>
                    <a:lnTo>
                      <a:pt x="755" y="29"/>
                    </a:lnTo>
                    <a:lnTo>
                      <a:pt x="755" y="31"/>
                    </a:lnTo>
                    <a:lnTo>
                      <a:pt x="761" y="32"/>
                    </a:lnTo>
                    <a:lnTo>
                      <a:pt x="763" y="32"/>
                    </a:lnTo>
                    <a:lnTo>
                      <a:pt x="764" y="32"/>
                    </a:lnTo>
                    <a:lnTo>
                      <a:pt x="770" y="34"/>
                    </a:lnTo>
                    <a:lnTo>
                      <a:pt x="776" y="38"/>
                    </a:lnTo>
                    <a:lnTo>
                      <a:pt x="780" y="40"/>
                    </a:lnTo>
                    <a:lnTo>
                      <a:pt x="782" y="40"/>
                    </a:lnTo>
                    <a:lnTo>
                      <a:pt x="784" y="42"/>
                    </a:lnTo>
                    <a:lnTo>
                      <a:pt x="786" y="48"/>
                    </a:lnTo>
                    <a:lnTo>
                      <a:pt x="786" y="52"/>
                    </a:lnTo>
                    <a:lnTo>
                      <a:pt x="780" y="50"/>
                    </a:lnTo>
                    <a:lnTo>
                      <a:pt x="772" y="52"/>
                    </a:lnTo>
                    <a:lnTo>
                      <a:pt x="770" y="52"/>
                    </a:lnTo>
                    <a:lnTo>
                      <a:pt x="770" y="54"/>
                    </a:lnTo>
                    <a:lnTo>
                      <a:pt x="772" y="54"/>
                    </a:lnTo>
                    <a:lnTo>
                      <a:pt x="772" y="55"/>
                    </a:lnTo>
                    <a:lnTo>
                      <a:pt x="774" y="55"/>
                    </a:lnTo>
                    <a:lnTo>
                      <a:pt x="774" y="57"/>
                    </a:lnTo>
                    <a:lnTo>
                      <a:pt x="776" y="57"/>
                    </a:lnTo>
                    <a:lnTo>
                      <a:pt x="776" y="59"/>
                    </a:lnTo>
                    <a:lnTo>
                      <a:pt x="776" y="61"/>
                    </a:lnTo>
                    <a:lnTo>
                      <a:pt x="774" y="63"/>
                    </a:lnTo>
                    <a:lnTo>
                      <a:pt x="772" y="65"/>
                    </a:lnTo>
                    <a:lnTo>
                      <a:pt x="772" y="67"/>
                    </a:lnTo>
                    <a:lnTo>
                      <a:pt x="774" y="67"/>
                    </a:lnTo>
                    <a:lnTo>
                      <a:pt x="774" y="69"/>
                    </a:lnTo>
                    <a:lnTo>
                      <a:pt x="774" y="71"/>
                    </a:lnTo>
                    <a:lnTo>
                      <a:pt x="776" y="73"/>
                    </a:lnTo>
                    <a:lnTo>
                      <a:pt x="776" y="75"/>
                    </a:lnTo>
                    <a:lnTo>
                      <a:pt x="778" y="75"/>
                    </a:lnTo>
                    <a:lnTo>
                      <a:pt x="778" y="77"/>
                    </a:lnTo>
                    <a:lnTo>
                      <a:pt x="780" y="78"/>
                    </a:lnTo>
                    <a:lnTo>
                      <a:pt x="782" y="80"/>
                    </a:lnTo>
                    <a:lnTo>
                      <a:pt x="782" y="82"/>
                    </a:lnTo>
                    <a:lnTo>
                      <a:pt x="784" y="82"/>
                    </a:lnTo>
                    <a:lnTo>
                      <a:pt x="784" y="84"/>
                    </a:lnTo>
                    <a:lnTo>
                      <a:pt x="786" y="84"/>
                    </a:lnTo>
                    <a:lnTo>
                      <a:pt x="788" y="84"/>
                    </a:lnTo>
                    <a:lnTo>
                      <a:pt x="788" y="82"/>
                    </a:lnTo>
                    <a:lnTo>
                      <a:pt x="789" y="80"/>
                    </a:lnTo>
                    <a:lnTo>
                      <a:pt x="789" y="78"/>
                    </a:lnTo>
                    <a:lnTo>
                      <a:pt x="791" y="78"/>
                    </a:lnTo>
                    <a:lnTo>
                      <a:pt x="791" y="77"/>
                    </a:lnTo>
                    <a:lnTo>
                      <a:pt x="791" y="78"/>
                    </a:lnTo>
                    <a:lnTo>
                      <a:pt x="793" y="78"/>
                    </a:lnTo>
                    <a:lnTo>
                      <a:pt x="793" y="80"/>
                    </a:lnTo>
                    <a:lnTo>
                      <a:pt x="793" y="82"/>
                    </a:lnTo>
                    <a:lnTo>
                      <a:pt x="795" y="82"/>
                    </a:lnTo>
                    <a:lnTo>
                      <a:pt x="795" y="84"/>
                    </a:lnTo>
                    <a:lnTo>
                      <a:pt x="793" y="84"/>
                    </a:lnTo>
                    <a:lnTo>
                      <a:pt x="793" y="86"/>
                    </a:lnTo>
                    <a:lnTo>
                      <a:pt x="799" y="88"/>
                    </a:lnTo>
                    <a:lnTo>
                      <a:pt x="799" y="92"/>
                    </a:lnTo>
                    <a:lnTo>
                      <a:pt x="799" y="94"/>
                    </a:lnTo>
                    <a:lnTo>
                      <a:pt x="799" y="96"/>
                    </a:lnTo>
                    <a:lnTo>
                      <a:pt x="799" y="98"/>
                    </a:lnTo>
                    <a:lnTo>
                      <a:pt x="799" y="100"/>
                    </a:lnTo>
                    <a:lnTo>
                      <a:pt x="799" y="102"/>
                    </a:lnTo>
                    <a:lnTo>
                      <a:pt x="801" y="103"/>
                    </a:lnTo>
                    <a:lnTo>
                      <a:pt x="801" y="109"/>
                    </a:lnTo>
                    <a:lnTo>
                      <a:pt x="801" y="111"/>
                    </a:lnTo>
                    <a:lnTo>
                      <a:pt x="805" y="113"/>
                    </a:lnTo>
                    <a:lnTo>
                      <a:pt x="807" y="115"/>
                    </a:lnTo>
                    <a:lnTo>
                      <a:pt x="809" y="117"/>
                    </a:lnTo>
                    <a:lnTo>
                      <a:pt x="811" y="119"/>
                    </a:lnTo>
                    <a:lnTo>
                      <a:pt x="812" y="121"/>
                    </a:lnTo>
                    <a:lnTo>
                      <a:pt x="812" y="123"/>
                    </a:lnTo>
                    <a:lnTo>
                      <a:pt x="812" y="125"/>
                    </a:lnTo>
                    <a:lnTo>
                      <a:pt x="811" y="125"/>
                    </a:lnTo>
                    <a:lnTo>
                      <a:pt x="811" y="126"/>
                    </a:lnTo>
                    <a:lnTo>
                      <a:pt x="811" y="128"/>
                    </a:lnTo>
                    <a:lnTo>
                      <a:pt x="811" y="130"/>
                    </a:lnTo>
                    <a:lnTo>
                      <a:pt x="809" y="130"/>
                    </a:lnTo>
                    <a:lnTo>
                      <a:pt x="809" y="132"/>
                    </a:lnTo>
                    <a:lnTo>
                      <a:pt x="811" y="132"/>
                    </a:lnTo>
                    <a:lnTo>
                      <a:pt x="812" y="132"/>
                    </a:lnTo>
                    <a:lnTo>
                      <a:pt x="812" y="134"/>
                    </a:lnTo>
                    <a:lnTo>
                      <a:pt x="811" y="134"/>
                    </a:lnTo>
                    <a:lnTo>
                      <a:pt x="809" y="134"/>
                    </a:lnTo>
                    <a:lnTo>
                      <a:pt x="809" y="138"/>
                    </a:lnTo>
                    <a:lnTo>
                      <a:pt x="809" y="140"/>
                    </a:lnTo>
                    <a:lnTo>
                      <a:pt x="807" y="142"/>
                    </a:lnTo>
                    <a:lnTo>
                      <a:pt x="807" y="144"/>
                    </a:lnTo>
                    <a:lnTo>
                      <a:pt x="807" y="146"/>
                    </a:lnTo>
                    <a:lnTo>
                      <a:pt x="809" y="146"/>
                    </a:lnTo>
                    <a:lnTo>
                      <a:pt x="809" y="148"/>
                    </a:lnTo>
                    <a:lnTo>
                      <a:pt x="811" y="150"/>
                    </a:lnTo>
                    <a:lnTo>
                      <a:pt x="812" y="151"/>
                    </a:lnTo>
                    <a:lnTo>
                      <a:pt x="811" y="151"/>
                    </a:lnTo>
                    <a:lnTo>
                      <a:pt x="809" y="153"/>
                    </a:lnTo>
                    <a:lnTo>
                      <a:pt x="807" y="153"/>
                    </a:lnTo>
                    <a:lnTo>
                      <a:pt x="805" y="155"/>
                    </a:lnTo>
                    <a:lnTo>
                      <a:pt x="803" y="155"/>
                    </a:lnTo>
                    <a:lnTo>
                      <a:pt x="801" y="151"/>
                    </a:lnTo>
                    <a:lnTo>
                      <a:pt x="797" y="153"/>
                    </a:lnTo>
                    <a:lnTo>
                      <a:pt x="795" y="155"/>
                    </a:lnTo>
                    <a:lnTo>
                      <a:pt x="795" y="157"/>
                    </a:lnTo>
                    <a:lnTo>
                      <a:pt x="797" y="157"/>
                    </a:lnTo>
                    <a:lnTo>
                      <a:pt x="797" y="159"/>
                    </a:lnTo>
                    <a:lnTo>
                      <a:pt x="799" y="161"/>
                    </a:lnTo>
                    <a:lnTo>
                      <a:pt x="799" y="163"/>
                    </a:lnTo>
                    <a:lnTo>
                      <a:pt x="801" y="163"/>
                    </a:lnTo>
                    <a:lnTo>
                      <a:pt x="801" y="165"/>
                    </a:lnTo>
                    <a:lnTo>
                      <a:pt x="803" y="167"/>
                    </a:lnTo>
                    <a:lnTo>
                      <a:pt x="805" y="169"/>
                    </a:lnTo>
                    <a:lnTo>
                      <a:pt x="805" y="171"/>
                    </a:lnTo>
                    <a:lnTo>
                      <a:pt x="805" y="173"/>
                    </a:lnTo>
                    <a:lnTo>
                      <a:pt x="807" y="173"/>
                    </a:lnTo>
                    <a:lnTo>
                      <a:pt x="807" y="174"/>
                    </a:lnTo>
                    <a:lnTo>
                      <a:pt x="809" y="176"/>
                    </a:lnTo>
                    <a:lnTo>
                      <a:pt x="809" y="178"/>
                    </a:lnTo>
                    <a:lnTo>
                      <a:pt x="811" y="178"/>
                    </a:lnTo>
                    <a:lnTo>
                      <a:pt x="811" y="180"/>
                    </a:lnTo>
                    <a:lnTo>
                      <a:pt x="811" y="182"/>
                    </a:lnTo>
                    <a:lnTo>
                      <a:pt x="811" y="186"/>
                    </a:lnTo>
                    <a:lnTo>
                      <a:pt x="812" y="190"/>
                    </a:lnTo>
                    <a:lnTo>
                      <a:pt x="826" y="188"/>
                    </a:lnTo>
                    <a:lnTo>
                      <a:pt x="828" y="188"/>
                    </a:lnTo>
                    <a:lnTo>
                      <a:pt x="828" y="190"/>
                    </a:lnTo>
                    <a:lnTo>
                      <a:pt x="828" y="192"/>
                    </a:lnTo>
                    <a:lnTo>
                      <a:pt x="828" y="194"/>
                    </a:lnTo>
                    <a:lnTo>
                      <a:pt x="828" y="198"/>
                    </a:lnTo>
                    <a:lnTo>
                      <a:pt x="830" y="199"/>
                    </a:lnTo>
                    <a:lnTo>
                      <a:pt x="830" y="201"/>
                    </a:lnTo>
                    <a:lnTo>
                      <a:pt x="832" y="201"/>
                    </a:lnTo>
                    <a:lnTo>
                      <a:pt x="836" y="201"/>
                    </a:lnTo>
                    <a:lnTo>
                      <a:pt x="837" y="201"/>
                    </a:lnTo>
                    <a:lnTo>
                      <a:pt x="839" y="201"/>
                    </a:lnTo>
                    <a:lnTo>
                      <a:pt x="841" y="201"/>
                    </a:lnTo>
                    <a:lnTo>
                      <a:pt x="841" y="205"/>
                    </a:lnTo>
                    <a:lnTo>
                      <a:pt x="843" y="207"/>
                    </a:lnTo>
                    <a:lnTo>
                      <a:pt x="843" y="211"/>
                    </a:lnTo>
                    <a:lnTo>
                      <a:pt x="845" y="211"/>
                    </a:lnTo>
                    <a:lnTo>
                      <a:pt x="843" y="213"/>
                    </a:lnTo>
                    <a:lnTo>
                      <a:pt x="843" y="217"/>
                    </a:lnTo>
                    <a:lnTo>
                      <a:pt x="843" y="224"/>
                    </a:lnTo>
                    <a:lnTo>
                      <a:pt x="843" y="226"/>
                    </a:lnTo>
                    <a:lnTo>
                      <a:pt x="843" y="230"/>
                    </a:lnTo>
                    <a:lnTo>
                      <a:pt x="843" y="232"/>
                    </a:lnTo>
                    <a:lnTo>
                      <a:pt x="849" y="236"/>
                    </a:lnTo>
                    <a:lnTo>
                      <a:pt x="853" y="236"/>
                    </a:lnTo>
                    <a:lnTo>
                      <a:pt x="857" y="240"/>
                    </a:lnTo>
                    <a:lnTo>
                      <a:pt x="866" y="244"/>
                    </a:lnTo>
                    <a:lnTo>
                      <a:pt x="866" y="246"/>
                    </a:lnTo>
                    <a:lnTo>
                      <a:pt x="868" y="246"/>
                    </a:lnTo>
                    <a:lnTo>
                      <a:pt x="870" y="246"/>
                    </a:lnTo>
                    <a:lnTo>
                      <a:pt x="870" y="247"/>
                    </a:lnTo>
                    <a:lnTo>
                      <a:pt x="868" y="247"/>
                    </a:lnTo>
                    <a:lnTo>
                      <a:pt x="870" y="249"/>
                    </a:lnTo>
                    <a:lnTo>
                      <a:pt x="870" y="251"/>
                    </a:lnTo>
                    <a:lnTo>
                      <a:pt x="872" y="251"/>
                    </a:lnTo>
                    <a:lnTo>
                      <a:pt x="872" y="253"/>
                    </a:lnTo>
                    <a:lnTo>
                      <a:pt x="874" y="253"/>
                    </a:lnTo>
                    <a:lnTo>
                      <a:pt x="876" y="253"/>
                    </a:lnTo>
                    <a:lnTo>
                      <a:pt x="874" y="253"/>
                    </a:lnTo>
                    <a:lnTo>
                      <a:pt x="876" y="253"/>
                    </a:lnTo>
                    <a:lnTo>
                      <a:pt x="876" y="255"/>
                    </a:lnTo>
                    <a:lnTo>
                      <a:pt x="878" y="255"/>
                    </a:lnTo>
                    <a:lnTo>
                      <a:pt x="878" y="257"/>
                    </a:lnTo>
                    <a:lnTo>
                      <a:pt x="878" y="259"/>
                    </a:lnTo>
                    <a:lnTo>
                      <a:pt x="876" y="259"/>
                    </a:lnTo>
                    <a:lnTo>
                      <a:pt x="876" y="261"/>
                    </a:lnTo>
                    <a:lnTo>
                      <a:pt x="878" y="261"/>
                    </a:lnTo>
                    <a:lnTo>
                      <a:pt x="878" y="263"/>
                    </a:lnTo>
                    <a:lnTo>
                      <a:pt x="876" y="263"/>
                    </a:lnTo>
                    <a:lnTo>
                      <a:pt x="876" y="265"/>
                    </a:lnTo>
                    <a:lnTo>
                      <a:pt x="878" y="265"/>
                    </a:lnTo>
                    <a:lnTo>
                      <a:pt x="878" y="267"/>
                    </a:lnTo>
                    <a:lnTo>
                      <a:pt x="878" y="265"/>
                    </a:lnTo>
                    <a:lnTo>
                      <a:pt x="878" y="267"/>
                    </a:lnTo>
                    <a:lnTo>
                      <a:pt x="880" y="267"/>
                    </a:lnTo>
                    <a:lnTo>
                      <a:pt x="878" y="267"/>
                    </a:lnTo>
                    <a:lnTo>
                      <a:pt x="878" y="269"/>
                    </a:lnTo>
                    <a:lnTo>
                      <a:pt x="878" y="270"/>
                    </a:lnTo>
                    <a:lnTo>
                      <a:pt x="880" y="270"/>
                    </a:lnTo>
                    <a:lnTo>
                      <a:pt x="878" y="270"/>
                    </a:lnTo>
                    <a:lnTo>
                      <a:pt x="878" y="272"/>
                    </a:lnTo>
                    <a:lnTo>
                      <a:pt x="876" y="272"/>
                    </a:lnTo>
                    <a:lnTo>
                      <a:pt x="878" y="272"/>
                    </a:lnTo>
                    <a:lnTo>
                      <a:pt x="878" y="274"/>
                    </a:lnTo>
                    <a:lnTo>
                      <a:pt x="876" y="274"/>
                    </a:lnTo>
                    <a:lnTo>
                      <a:pt x="876" y="276"/>
                    </a:lnTo>
                    <a:lnTo>
                      <a:pt x="874" y="276"/>
                    </a:lnTo>
                    <a:lnTo>
                      <a:pt x="872" y="276"/>
                    </a:lnTo>
                    <a:lnTo>
                      <a:pt x="872" y="278"/>
                    </a:lnTo>
                    <a:lnTo>
                      <a:pt x="874" y="278"/>
                    </a:lnTo>
                    <a:lnTo>
                      <a:pt x="876" y="278"/>
                    </a:lnTo>
                    <a:lnTo>
                      <a:pt x="876" y="280"/>
                    </a:lnTo>
                    <a:lnTo>
                      <a:pt x="876" y="282"/>
                    </a:lnTo>
                    <a:lnTo>
                      <a:pt x="878" y="282"/>
                    </a:lnTo>
                    <a:lnTo>
                      <a:pt x="878" y="280"/>
                    </a:lnTo>
                    <a:lnTo>
                      <a:pt x="878" y="282"/>
                    </a:lnTo>
                    <a:lnTo>
                      <a:pt x="880" y="282"/>
                    </a:lnTo>
                    <a:lnTo>
                      <a:pt x="880" y="280"/>
                    </a:lnTo>
                    <a:lnTo>
                      <a:pt x="884" y="286"/>
                    </a:lnTo>
                    <a:lnTo>
                      <a:pt x="885" y="288"/>
                    </a:lnTo>
                    <a:lnTo>
                      <a:pt x="885" y="290"/>
                    </a:lnTo>
                    <a:lnTo>
                      <a:pt x="885" y="292"/>
                    </a:lnTo>
                    <a:lnTo>
                      <a:pt x="887" y="292"/>
                    </a:lnTo>
                    <a:lnTo>
                      <a:pt x="887" y="290"/>
                    </a:lnTo>
                    <a:lnTo>
                      <a:pt x="889" y="290"/>
                    </a:lnTo>
                    <a:lnTo>
                      <a:pt x="887" y="290"/>
                    </a:lnTo>
                    <a:lnTo>
                      <a:pt x="887" y="292"/>
                    </a:lnTo>
                    <a:lnTo>
                      <a:pt x="885" y="292"/>
                    </a:lnTo>
                    <a:lnTo>
                      <a:pt x="885" y="294"/>
                    </a:lnTo>
                    <a:lnTo>
                      <a:pt x="885" y="292"/>
                    </a:lnTo>
                    <a:lnTo>
                      <a:pt x="887" y="292"/>
                    </a:lnTo>
                    <a:lnTo>
                      <a:pt x="887" y="294"/>
                    </a:lnTo>
                    <a:lnTo>
                      <a:pt x="885" y="294"/>
                    </a:lnTo>
                    <a:lnTo>
                      <a:pt x="887" y="294"/>
                    </a:lnTo>
                    <a:lnTo>
                      <a:pt x="887" y="295"/>
                    </a:lnTo>
                    <a:lnTo>
                      <a:pt x="885" y="295"/>
                    </a:lnTo>
                    <a:lnTo>
                      <a:pt x="887" y="295"/>
                    </a:lnTo>
                    <a:lnTo>
                      <a:pt x="885" y="295"/>
                    </a:lnTo>
                    <a:lnTo>
                      <a:pt x="885" y="297"/>
                    </a:lnTo>
                    <a:lnTo>
                      <a:pt x="887" y="297"/>
                    </a:lnTo>
                    <a:lnTo>
                      <a:pt x="885" y="297"/>
                    </a:lnTo>
                    <a:lnTo>
                      <a:pt x="885" y="299"/>
                    </a:lnTo>
                    <a:lnTo>
                      <a:pt x="885" y="301"/>
                    </a:lnTo>
                    <a:lnTo>
                      <a:pt x="885" y="303"/>
                    </a:lnTo>
                    <a:lnTo>
                      <a:pt x="885" y="305"/>
                    </a:lnTo>
                    <a:lnTo>
                      <a:pt x="885" y="311"/>
                    </a:lnTo>
                    <a:lnTo>
                      <a:pt x="884" y="311"/>
                    </a:lnTo>
                    <a:lnTo>
                      <a:pt x="884" y="313"/>
                    </a:lnTo>
                    <a:lnTo>
                      <a:pt x="882" y="313"/>
                    </a:lnTo>
                    <a:lnTo>
                      <a:pt x="882" y="315"/>
                    </a:lnTo>
                    <a:lnTo>
                      <a:pt x="880" y="315"/>
                    </a:lnTo>
                    <a:lnTo>
                      <a:pt x="874" y="320"/>
                    </a:lnTo>
                    <a:lnTo>
                      <a:pt x="872" y="320"/>
                    </a:lnTo>
                    <a:lnTo>
                      <a:pt x="872" y="322"/>
                    </a:lnTo>
                    <a:lnTo>
                      <a:pt x="872" y="320"/>
                    </a:lnTo>
                    <a:lnTo>
                      <a:pt x="870" y="320"/>
                    </a:lnTo>
                    <a:lnTo>
                      <a:pt x="868" y="320"/>
                    </a:lnTo>
                    <a:lnTo>
                      <a:pt x="866" y="320"/>
                    </a:lnTo>
                    <a:lnTo>
                      <a:pt x="864" y="320"/>
                    </a:lnTo>
                    <a:lnTo>
                      <a:pt x="862" y="322"/>
                    </a:lnTo>
                    <a:lnTo>
                      <a:pt x="862" y="324"/>
                    </a:lnTo>
                    <a:lnTo>
                      <a:pt x="860" y="326"/>
                    </a:lnTo>
                    <a:lnTo>
                      <a:pt x="860" y="328"/>
                    </a:lnTo>
                    <a:lnTo>
                      <a:pt x="860" y="330"/>
                    </a:lnTo>
                    <a:lnTo>
                      <a:pt x="860" y="332"/>
                    </a:lnTo>
                    <a:lnTo>
                      <a:pt x="860" y="334"/>
                    </a:lnTo>
                    <a:lnTo>
                      <a:pt x="860" y="336"/>
                    </a:lnTo>
                    <a:lnTo>
                      <a:pt x="859" y="336"/>
                    </a:lnTo>
                    <a:lnTo>
                      <a:pt x="859" y="338"/>
                    </a:lnTo>
                    <a:lnTo>
                      <a:pt x="860" y="338"/>
                    </a:lnTo>
                    <a:lnTo>
                      <a:pt x="860" y="340"/>
                    </a:lnTo>
                    <a:lnTo>
                      <a:pt x="860" y="342"/>
                    </a:lnTo>
                    <a:lnTo>
                      <a:pt x="860" y="343"/>
                    </a:lnTo>
                    <a:lnTo>
                      <a:pt x="859" y="343"/>
                    </a:lnTo>
                    <a:lnTo>
                      <a:pt x="857" y="343"/>
                    </a:lnTo>
                    <a:lnTo>
                      <a:pt x="855" y="343"/>
                    </a:lnTo>
                    <a:lnTo>
                      <a:pt x="855" y="345"/>
                    </a:lnTo>
                    <a:lnTo>
                      <a:pt x="855" y="347"/>
                    </a:lnTo>
                    <a:lnTo>
                      <a:pt x="857" y="347"/>
                    </a:lnTo>
                    <a:lnTo>
                      <a:pt x="857" y="349"/>
                    </a:lnTo>
                    <a:lnTo>
                      <a:pt x="859" y="351"/>
                    </a:lnTo>
                    <a:lnTo>
                      <a:pt x="860" y="351"/>
                    </a:lnTo>
                    <a:lnTo>
                      <a:pt x="862" y="351"/>
                    </a:lnTo>
                    <a:lnTo>
                      <a:pt x="862" y="353"/>
                    </a:lnTo>
                    <a:lnTo>
                      <a:pt x="862" y="355"/>
                    </a:lnTo>
                    <a:lnTo>
                      <a:pt x="862" y="357"/>
                    </a:lnTo>
                    <a:lnTo>
                      <a:pt x="862" y="359"/>
                    </a:lnTo>
                    <a:lnTo>
                      <a:pt x="860" y="359"/>
                    </a:lnTo>
                    <a:lnTo>
                      <a:pt x="860" y="361"/>
                    </a:lnTo>
                    <a:lnTo>
                      <a:pt x="860" y="363"/>
                    </a:lnTo>
                    <a:lnTo>
                      <a:pt x="860" y="365"/>
                    </a:lnTo>
                    <a:lnTo>
                      <a:pt x="862" y="365"/>
                    </a:lnTo>
                    <a:lnTo>
                      <a:pt x="862" y="366"/>
                    </a:lnTo>
                    <a:lnTo>
                      <a:pt x="862" y="368"/>
                    </a:lnTo>
                    <a:lnTo>
                      <a:pt x="864" y="368"/>
                    </a:lnTo>
                    <a:lnTo>
                      <a:pt x="864" y="370"/>
                    </a:lnTo>
                    <a:lnTo>
                      <a:pt x="866" y="370"/>
                    </a:lnTo>
                    <a:lnTo>
                      <a:pt x="868" y="370"/>
                    </a:lnTo>
                    <a:lnTo>
                      <a:pt x="868" y="368"/>
                    </a:lnTo>
                    <a:lnTo>
                      <a:pt x="870" y="368"/>
                    </a:lnTo>
                    <a:lnTo>
                      <a:pt x="870" y="370"/>
                    </a:lnTo>
                    <a:lnTo>
                      <a:pt x="872" y="370"/>
                    </a:lnTo>
                    <a:lnTo>
                      <a:pt x="872" y="372"/>
                    </a:lnTo>
                    <a:lnTo>
                      <a:pt x="874" y="374"/>
                    </a:lnTo>
                    <a:lnTo>
                      <a:pt x="876" y="374"/>
                    </a:lnTo>
                    <a:lnTo>
                      <a:pt x="876" y="376"/>
                    </a:lnTo>
                    <a:lnTo>
                      <a:pt x="876" y="378"/>
                    </a:lnTo>
                    <a:lnTo>
                      <a:pt x="876" y="380"/>
                    </a:lnTo>
                    <a:lnTo>
                      <a:pt x="876" y="382"/>
                    </a:lnTo>
                    <a:lnTo>
                      <a:pt x="876" y="384"/>
                    </a:lnTo>
                    <a:lnTo>
                      <a:pt x="874" y="384"/>
                    </a:lnTo>
                    <a:lnTo>
                      <a:pt x="872" y="384"/>
                    </a:lnTo>
                    <a:lnTo>
                      <a:pt x="872" y="382"/>
                    </a:lnTo>
                    <a:lnTo>
                      <a:pt x="870" y="382"/>
                    </a:lnTo>
                    <a:lnTo>
                      <a:pt x="868" y="382"/>
                    </a:lnTo>
                    <a:lnTo>
                      <a:pt x="866" y="382"/>
                    </a:lnTo>
                    <a:lnTo>
                      <a:pt x="864" y="382"/>
                    </a:lnTo>
                    <a:lnTo>
                      <a:pt x="862" y="382"/>
                    </a:lnTo>
                    <a:lnTo>
                      <a:pt x="860" y="382"/>
                    </a:lnTo>
                    <a:lnTo>
                      <a:pt x="859" y="382"/>
                    </a:lnTo>
                    <a:lnTo>
                      <a:pt x="857" y="382"/>
                    </a:lnTo>
                    <a:lnTo>
                      <a:pt x="857" y="380"/>
                    </a:lnTo>
                    <a:lnTo>
                      <a:pt x="855" y="380"/>
                    </a:lnTo>
                    <a:lnTo>
                      <a:pt x="853" y="380"/>
                    </a:lnTo>
                    <a:lnTo>
                      <a:pt x="851" y="380"/>
                    </a:lnTo>
                    <a:lnTo>
                      <a:pt x="851" y="378"/>
                    </a:lnTo>
                    <a:lnTo>
                      <a:pt x="849" y="378"/>
                    </a:lnTo>
                    <a:lnTo>
                      <a:pt x="849" y="376"/>
                    </a:lnTo>
                    <a:lnTo>
                      <a:pt x="847" y="376"/>
                    </a:lnTo>
                    <a:lnTo>
                      <a:pt x="845" y="376"/>
                    </a:lnTo>
                    <a:lnTo>
                      <a:pt x="845" y="374"/>
                    </a:lnTo>
                    <a:lnTo>
                      <a:pt x="843" y="374"/>
                    </a:lnTo>
                    <a:lnTo>
                      <a:pt x="843" y="372"/>
                    </a:lnTo>
                    <a:lnTo>
                      <a:pt x="841" y="372"/>
                    </a:lnTo>
                    <a:lnTo>
                      <a:pt x="839" y="372"/>
                    </a:lnTo>
                    <a:lnTo>
                      <a:pt x="839" y="370"/>
                    </a:lnTo>
                    <a:lnTo>
                      <a:pt x="837" y="370"/>
                    </a:lnTo>
                    <a:lnTo>
                      <a:pt x="837" y="368"/>
                    </a:lnTo>
                    <a:lnTo>
                      <a:pt x="836" y="368"/>
                    </a:lnTo>
                    <a:lnTo>
                      <a:pt x="834" y="368"/>
                    </a:lnTo>
                    <a:lnTo>
                      <a:pt x="832" y="368"/>
                    </a:lnTo>
                    <a:lnTo>
                      <a:pt x="830" y="368"/>
                    </a:lnTo>
                    <a:lnTo>
                      <a:pt x="830" y="366"/>
                    </a:lnTo>
                    <a:lnTo>
                      <a:pt x="828" y="366"/>
                    </a:lnTo>
                    <a:lnTo>
                      <a:pt x="826" y="366"/>
                    </a:lnTo>
                    <a:lnTo>
                      <a:pt x="824" y="366"/>
                    </a:lnTo>
                    <a:lnTo>
                      <a:pt x="822" y="366"/>
                    </a:lnTo>
                    <a:lnTo>
                      <a:pt x="822" y="365"/>
                    </a:lnTo>
                    <a:lnTo>
                      <a:pt x="820" y="365"/>
                    </a:lnTo>
                    <a:lnTo>
                      <a:pt x="820" y="363"/>
                    </a:lnTo>
                    <a:lnTo>
                      <a:pt x="818" y="363"/>
                    </a:lnTo>
                    <a:lnTo>
                      <a:pt x="818" y="361"/>
                    </a:lnTo>
                    <a:lnTo>
                      <a:pt x="818" y="359"/>
                    </a:lnTo>
                    <a:lnTo>
                      <a:pt x="818" y="357"/>
                    </a:lnTo>
                    <a:lnTo>
                      <a:pt x="816" y="357"/>
                    </a:lnTo>
                    <a:lnTo>
                      <a:pt x="816" y="355"/>
                    </a:lnTo>
                    <a:lnTo>
                      <a:pt x="814" y="355"/>
                    </a:lnTo>
                    <a:lnTo>
                      <a:pt x="812" y="359"/>
                    </a:lnTo>
                    <a:lnTo>
                      <a:pt x="811" y="359"/>
                    </a:lnTo>
                    <a:lnTo>
                      <a:pt x="811" y="361"/>
                    </a:lnTo>
                    <a:lnTo>
                      <a:pt x="811" y="363"/>
                    </a:lnTo>
                    <a:lnTo>
                      <a:pt x="811" y="365"/>
                    </a:lnTo>
                    <a:lnTo>
                      <a:pt x="809" y="366"/>
                    </a:lnTo>
                    <a:lnTo>
                      <a:pt x="809" y="368"/>
                    </a:lnTo>
                    <a:lnTo>
                      <a:pt x="807" y="368"/>
                    </a:lnTo>
                    <a:lnTo>
                      <a:pt x="805" y="370"/>
                    </a:lnTo>
                    <a:lnTo>
                      <a:pt x="805" y="372"/>
                    </a:lnTo>
                    <a:lnTo>
                      <a:pt x="805" y="374"/>
                    </a:lnTo>
                    <a:lnTo>
                      <a:pt x="805" y="376"/>
                    </a:lnTo>
                    <a:lnTo>
                      <a:pt x="803" y="376"/>
                    </a:lnTo>
                    <a:lnTo>
                      <a:pt x="801" y="378"/>
                    </a:lnTo>
                    <a:lnTo>
                      <a:pt x="799" y="378"/>
                    </a:lnTo>
                    <a:lnTo>
                      <a:pt x="799" y="380"/>
                    </a:lnTo>
                    <a:lnTo>
                      <a:pt x="799" y="382"/>
                    </a:lnTo>
                    <a:lnTo>
                      <a:pt x="801" y="382"/>
                    </a:lnTo>
                    <a:lnTo>
                      <a:pt x="803" y="382"/>
                    </a:lnTo>
                    <a:lnTo>
                      <a:pt x="805" y="382"/>
                    </a:lnTo>
                    <a:lnTo>
                      <a:pt x="803" y="384"/>
                    </a:lnTo>
                    <a:lnTo>
                      <a:pt x="801" y="386"/>
                    </a:lnTo>
                    <a:lnTo>
                      <a:pt x="799" y="388"/>
                    </a:lnTo>
                    <a:lnTo>
                      <a:pt x="801" y="388"/>
                    </a:lnTo>
                    <a:lnTo>
                      <a:pt x="803" y="390"/>
                    </a:lnTo>
                    <a:lnTo>
                      <a:pt x="805" y="393"/>
                    </a:lnTo>
                    <a:lnTo>
                      <a:pt x="809" y="395"/>
                    </a:lnTo>
                    <a:lnTo>
                      <a:pt x="811" y="397"/>
                    </a:lnTo>
                    <a:lnTo>
                      <a:pt x="812" y="397"/>
                    </a:lnTo>
                    <a:lnTo>
                      <a:pt x="812" y="399"/>
                    </a:lnTo>
                    <a:lnTo>
                      <a:pt x="814" y="399"/>
                    </a:lnTo>
                    <a:lnTo>
                      <a:pt x="816" y="399"/>
                    </a:lnTo>
                    <a:lnTo>
                      <a:pt x="818" y="401"/>
                    </a:lnTo>
                    <a:lnTo>
                      <a:pt x="820" y="403"/>
                    </a:lnTo>
                    <a:lnTo>
                      <a:pt x="822" y="403"/>
                    </a:lnTo>
                    <a:lnTo>
                      <a:pt x="822" y="405"/>
                    </a:lnTo>
                    <a:lnTo>
                      <a:pt x="824" y="407"/>
                    </a:lnTo>
                    <a:lnTo>
                      <a:pt x="826" y="409"/>
                    </a:lnTo>
                    <a:lnTo>
                      <a:pt x="828" y="409"/>
                    </a:lnTo>
                    <a:lnTo>
                      <a:pt x="830" y="411"/>
                    </a:lnTo>
                    <a:lnTo>
                      <a:pt x="832" y="411"/>
                    </a:lnTo>
                    <a:lnTo>
                      <a:pt x="834" y="413"/>
                    </a:lnTo>
                    <a:lnTo>
                      <a:pt x="834" y="414"/>
                    </a:lnTo>
                    <a:lnTo>
                      <a:pt x="836" y="414"/>
                    </a:lnTo>
                    <a:lnTo>
                      <a:pt x="836" y="416"/>
                    </a:lnTo>
                    <a:lnTo>
                      <a:pt x="836" y="418"/>
                    </a:lnTo>
                    <a:lnTo>
                      <a:pt x="836" y="420"/>
                    </a:lnTo>
                    <a:lnTo>
                      <a:pt x="836" y="422"/>
                    </a:lnTo>
                    <a:lnTo>
                      <a:pt x="837" y="422"/>
                    </a:lnTo>
                    <a:lnTo>
                      <a:pt x="839" y="420"/>
                    </a:lnTo>
                    <a:lnTo>
                      <a:pt x="841" y="420"/>
                    </a:lnTo>
                    <a:lnTo>
                      <a:pt x="843" y="420"/>
                    </a:lnTo>
                    <a:lnTo>
                      <a:pt x="845" y="420"/>
                    </a:lnTo>
                    <a:lnTo>
                      <a:pt x="847" y="422"/>
                    </a:lnTo>
                    <a:lnTo>
                      <a:pt x="847" y="424"/>
                    </a:lnTo>
                    <a:lnTo>
                      <a:pt x="849" y="424"/>
                    </a:lnTo>
                    <a:lnTo>
                      <a:pt x="849" y="426"/>
                    </a:lnTo>
                    <a:lnTo>
                      <a:pt x="851" y="426"/>
                    </a:lnTo>
                    <a:lnTo>
                      <a:pt x="853" y="424"/>
                    </a:lnTo>
                    <a:lnTo>
                      <a:pt x="855" y="424"/>
                    </a:lnTo>
                    <a:lnTo>
                      <a:pt x="855" y="422"/>
                    </a:lnTo>
                    <a:lnTo>
                      <a:pt x="857" y="422"/>
                    </a:lnTo>
                    <a:lnTo>
                      <a:pt x="859" y="422"/>
                    </a:lnTo>
                    <a:lnTo>
                      <a:pt x="860" y="422"/>
                    </a:lnTo>
                    <a:lnTo>
                      <a:pt x="862" y="422"/>
                    </a:lnTo>
                    <a:lnTo>
                      <a:pt x="864" y="422"/>
                    </a:lnTo>
                    <a:lnTo>
                      <a:pt x="866" y="422"/>
                    </a:lnTo>
                    <a:lnTo>
                      <a:pt x="866" y="424"/>
                    </a:lnTo>
                    <a:lnTo>
                      <a:pt x="868" y="424"/>
                    </a:lnTo>
                    <a:lnTo>
                      <a:pt x="870" y="424"/>
                    </a:lnTo>
                    <a:lnTo>
                      <a:pt x="872" y="424"/>
                    </a:lnTo>
                    <a:lnTo>
                      <a:pt x="872" y="426"/>
                    </a:lnTo>
                    <a:lnTo>
                      <a:pt x="872" y="428"/>
                    </a:lnTo>
                    <a:lnTo>
                      <a:pt x="874" y="428"/>
                    </a:lnTo>
                    <a:lnTo>
                      <a:pt x="874" y="430"/>
                    </a:lnTo>
                    <a:lnTo>
                      <a:pt x="876" y="430"/>
                    </a:lnTo>
                    <a:lnTo>
                      <a:pt x="878" y="430"/>
                    </a:lnTo>
                    <a:lnTo>
                      <a:pt x="878" y="432"/>
                    </a:lnTo>
                    <a:lnTo>
                      <a:pt x="876" y="432"/>
                    </a:lnTo>
                    <a:lnTo>
                      <a:pt x="876" y="434"/>
                    </a:lnTo>
                    <a:lnTo>
                      <a:pt x="878" y="434"/>
                    </a:lnTo>
                    <a:lnTo>
                      <a:pt x="880" y="434"/>
                    </a:lnTo>
                    <a:lnTo>
                      <a:pt x="882" y="432"/>
                    </a:lnTo>
                    <a:lnTo>
                      <a:pt x="884" y="432"/>
                    </a:lnTo>
                    <a:lnTo>
                      <a:pt x="885" y="432"/>
                    </a:lnTo>
                    <a:lnTo>
                      <a:pt x="887" y="432"/>
                    </a:lnTo>
                    <a:lnTo>
                      <a:pt x="889" y="432"/>
                    </a:lnTo>
                    <a:lnTo>
                      <a:pt x="891" y="430"/>
                    </a:lnTo>
                    <a:lnTo>
                      <a:pt x="891" y="428"/>
                    </a:lnTo>
                    <a:lnTo>
                      <a:pt x="893" y="428"/>
                    </a:lnTo>
                    <a:lnTo>
                      <a:pt x="895" y="428"/>
                    </a:lnTo>
                    <a:lnTo>
                      <a:pt x="895" y="430"/>
                    </a:lnTo>
                    <a:lnTo>
                      <a:pt x="897" y="430"/>
                    </a:lnTo>
                    <a:lnTo>
                      <a:pt x="899" y="430"/>
                    </a:lnTo>
                    <a:lnTo>
                      <a:pt x="901" y="430"/>
                    </a:lnTo>
                    <a:lnTo>
                      <a:pt x="903" y="430"/>
                    </a:lnTo>
                    <a:lnTo>
                      <a:pt x="905" y="430"/>
                    </a:lnTo>
                    <a:lnTo>
                      <a:pt x="903" y="432"/>
                    </a:lnTo>
                    <a:lnTo>
                      <a:pt x="903" y="436"/>
                    </a:lnTo>
                    <a:lnTo>
                      <a:pt x="901" y="436"/>
                    </a:lnTo>
                    <a:lnTo>
                      <a:pt x="901" y="438"/>
                    </a:lnTo>
                    <a:lnTo>
                      <a:pt x="899" y="439"/>
                    </a:lnTo>
                    <a:lnTo>
                      <a:pt x="897" y="439"/>
                    </a:lnTo>
                    <a:lnTo>
                      <a:pt x="897" y="441"/>
                    </a:lnTo>
                    <a:lnTo>
                      <a:pt x="893" y="441"/>
                    </a:lnTo>
                    <a:lnTo>
                      <a:pt x="893" y="443"/>
                    </a:lnTo>
                    <a:lnTo>
                      <a:pt x="891" y="443"/>
                    </a:lnTo>
                    <a:lnTo>
                      <a:pt x="889" y="445"/>
                    </a:lnTo>
                    <a:lnTo>
                      <a:pt x="887" y="447"/>
                    </a:lnTo>
                    <a:lnTo>
                      <a:pt x="884" y="451"/>
                    </a:lnTo>
                    <a:lnTo>
                      <a:pt x="882" y="453"/>
                    </a:lnTo>
                    <a:lnTo>
                      <a:pt x="880" y="455"/>
                    </a:lnTo>
                    <a:lnTo>
                      <a:pt x="880" y="457"/>
                    </a:lnTo>
                    <a:lnTo>
                      <a:pt x="878" y="457"/>
                    </a:lnTo>
                    <a:lnTo>
                      <a:pt x="878" y="459"/>
                    </a:lnTo>
                    <a:lnTo>
                      <a:pt x="878" y="461"/>
                    </a:lnTo>
                    <a:lnTo>
                      <a:pt x="876" y="461"/>
                    </a:lnTo>
                    <a:lnTo>
                      <a:pt x="874" y="462"/>
                    </a:lnTo>
                    <a:lnTo>
                      <a:pt x="874" y="464"/>
                    </a:lnTo>
                    <a:lnTo>
                      <a:pt x="874" y="466"/>
                    </a:lnTo>
                    <a:lnTo>
                      <a:pt x="876" y="468"/>
                    </a:lnTo>
                    <a:lnTo>
                      <a:pt x="876" y="470"/>
                    </a:lnTo>
                    <a:lnTo>
                      <a:pt x="878" y="470"/>
                    </a:lnTo>
                    <a:lnTo>
                      <a:pt x="878" y="472"/>
                    </a:lnTo>
                    <a:lnTo>
                      <a:pt x="880" y="472"/>
                    </a:lnTo>
                    <a:lnTo>
                      <a:pt x="882" y="474"/>
                    </a:lnTo>
                    <a:lnTo>
                      <a:pt x="891" y="476"/>
                    </a:lnTo>
                    <a:lnTo>
                      <a:pt x="899" y="480"/>
                    </a:lnTo>
                    <a:lnTo>
                      <a:pt x="908" y="484"/>
                    </a:lnTo>
                    <a:lnTo>
                      <a:pt x="908" y="487"/>
                    </a:lnTo>
                    <a:lnTo>
                      <a:pt x="908" y="489"/>
                    </a:lnTo>
                    <a:lnTo>
                      <a:pt x="908" y="491"/>
                    </a:lnTo>
                    <a:lnTo>
                      <a:pt x="908" y="493"/>
                    </a:lnTo>
                    <a:lnTo>
                      <a:pt x="908" y="495"/>
                    </a:lnTo>
                    <a:lnTo>
                      <a:pt x="905" y="495"/>
                    </a:lnTo>
                    <a:lnTo>
                      <a:pt x="901" y="495"/>
                    </a:lnTo>
                    <a:lnTo>
                      <a:pt x="897" y="497"/>
                    </a:lnTo>
                    <a:lnTo>
                      <a:pt x="889" y="501"/>
                    </a:lnTo>
                    <a:lnTo>
                      <a:pt x="887" y="501"/>
                    </a:lnTo>
                    <a:lnTo>
                      <a:pt x="887" y="503"/>
                    </a:lnTo>
                    <a:lnTo>
                      <a:pt x="889" y="505"/>
                    </a:lnTo>
                    <a:lnTo>
                      <a:pt x="891" y="505"/>
                    </a:lnTo>
                    <a:lnTo>
                      <a:pt x="891" y="510"/>
                    </a:lnTo>
                    <a:lnTo>
                      <a:pt x="891" y="512"/>
                    </a:lnTo>
                    <a:lnTo>
                      <a:pt x="891" y="516"/>
                    </a:lnTo>
                    <a:lnTo>
                      <a:pt x="891" y="518"/>
                    </a:lnTo>
                    <a:lnTo>
                      <a:pt x="891" y="522"/>
                    </a:lnTo>
                    <a:lnTo>
                      <a:pt x="893" y="522"/>
                    </a:lnTo>
                    <a:lnTo>
                      <a:pt x="893" y="524"/>
                    </a:lnTo>
                    <a:lnTo>
                      <a:pt x="891" y="524"/>
                    </a:lnTo>
                    <a:lnTo>
                      <a:pt x="891" y="526"/>
                    </a:lnTo>
                    <a:lnTo>
                      <a:pt x="891" y="528"/>
                    </a:lnTo>
                    <a:lnTo>
                      <a:pt x="891" y="526"/>
                    </a:lnTo>
                    <a:lnTo>
                      <a:pt x="891" y="528"/>
                    </a:lnTo>
                    <a:lnTo>
                      <a:pt x="889" y="528"/>
                    </a:lnTo>
                    <a:lnTo>
                      <a:pt x="889" y="526"/>
                    </a:lnTo>
                    <a:lnTo>
                      <a:pt x="887" y="528"/>
                    </a:lnTo>
                    <a:lnTo>
                      <a:pt x="889" y="530"/>
                    </a:lnTo>
                    <a:lnTo>
                      <a:pt x="891" y="530"/>
                    </a:lnTo>
                    <a:lnTo>
                      <a:pt x="893" y="530"/>
                    </a:lnTo>
                    <a:lnTo>
                      <a:pt x="893" y="528"/>
                    </a:lnTo>
                    <a:lnTo>
                      <a:pt x="893" y="530"/>
                    </a:lnTo>
                    <a:lnTo>
                      <a:pt x="893" y="532"/>
                    </a:lnTo>
                    <a:lnTo>
                      <a:pt x="893" y="534"/>
                    </a:lnTo>
                    <a:lnTo>
                      <a:pt x="895" y="534"/>
                    </a:lnTo>
                    <a:lnTo>
                      <a:pt x="895" y="535"/>
                    </a:lnTo>
                    <a:lnTo>
                      <a:pt x="897" y="535"/>
                    </a:lnTo>
                    <a:lnTo>
                      <a:pt x="899" y="535"/>
                    </a:lnTo>
                    <a:lnTo>
                      <a:pt x="901" y="534"/>
                    </a:lnTo>
                    <a:lnTo>
                      <a:pt x="901" y="537"/>
                    </a:lnTo>
                    <a:lnTo>
                      <a:pt x="895" y="537"/>
                    </a:lnTo>
                    <a:lnTo>
                      <a:pt x="891" y="537"/>
                    </a:lnTo>
                    <a:lnTo>
                      <a:pt x="891" y="541"/>
                    </a:lnTo>
                    <a:lnTo>
                      <a:pt x="884" y="543"/>
                    </a:lnTo>
                    <a:lnTo>
                      <a:pt x="878" y="543"/>
                    </a:lnTo>
                    <a:lnTo>
                      <a:pt x="878" y="545"/>
                    </a:lnTo>
                    <a:lnTo>
                      <a:pt x="874" y="545"/>
                    </a:lnTo>
                    <a:lnTo>
                      <a:pt x="868" y="545"/>
                    </a:lnTo>
                    <a:lnTo>
                      <a:pt x="864" y="545"/>
                    </a:lnTo>
                    <a:lnTo>
                      <a:pt x="860" y="547"/>
                    </a:lnTo>
                    <a:lnTo>
                      <a:pt x="860" y="541"/>
                    </a:lnTo>
                    <a:lnTo>
                      <a:pt x="851" y="541"/>
                    </a:lnTo>
                    <a:lnTo>
                      <a:pt x="851" y="537"/>
                    </a:lnTo>
                    <a:lnTo>
                      <a:pt x="847" y="537"/>
                    </a:lnTo>
                    <a:lnTo>
                      <a:pt x="845" y="535"/>
                    </a:lnTo>
                    <a:lnTo>
                      <a:pt x="845" y="537"/>
                    </a:lnTo>
                    <a:lnTo>
                      <a:pt x="843" y="537"/>
                    </a:lnTo>
                    <a:lnTo>
                      <a:pt x="843" y="539"/>
                    </a:lnTo>
                    <a:lnTo>
                      <a:pt x="843" y="541"/>
                    </a:lnTo>
                    <a:lnTo>
                      <a:pt x="843" y="543"/>
                    </a:lnTo>
                    <a:lnTo>
                      <a:pt x="845" y="547"/>
                    </a:lnTo>
                    <a:lnTo>
                      <a:pt x="845" y="549"/>
                    </a:lnTo>
                    <a:lnTo>
                      <a:pt x="845" y="547"/>
                    </a:lnTo>
                    <a:lnTo>
                      <a:pt x="843" y="547"/>
                    </a:lnTo>
                    <a:lnTo>
                      <a:pt x="841" y="547"/>
                    </a:lnTo>
                    <a:lnTo>
                      <a:pt x="841" y="549"/>
                    </a:lnTo>
                    <a:lnTo>
                      <a:pt x="837" y="549"/>
                    </a:lnTo>
                    <a:lnTo>
                      <a:pt x="836" y="549"/>
                    </a:lnTo>
                    <a:lnTo>
                      <a:pt x="836" y="547"/>
                    </a:lnTo>
                    <a:lnTo>
                      <a:pt x="834" y="547"/>
                    </a:lnTo>
                    <a:lnTo>
                      <a:pt x="830" y="547"/>
                    </a:lnTo>
                    <a:lnTo>
                      <a:pt x="828" y="547"/>
                    </a:lnTo>
                    <a:lnTo>
                      <a:pt x="826" y="547"/>
                    </a:lnTo>
                    <a:lnTo>
                      <a:pt x="826" y="545"/>
                    </a:lnTo>
                    <a:lnTo>
                      <a:pt x="826" y="543"/>
                    </a:lnTo>
                    <a:lnTo>
                      <a:pt x="824" y="545"/>
                    </a:lnTo>
                    <a:lnTo>
                      <a:pt x="824" y="543"/>
                    </a:lnTo>
                    <a:lnTo>
                      <a:pt x="824" y="545"/>
                    </a:lnTo>
                    <a:lnTo>
                      <a:pt x="822" y="545"/>
                    </a:lnTo>
                    <a:lnTo>
                      <a:pt x="822" y="547"/>
                    </a:lnTo>
                    <a:lnTo>
                      <a:pt x="820" y="547"/>
                    </a:lnTo>
                    <a:lnTo>
                      <a:pt x="820" y="549"/>
                    </a:lnTo>
                    <a:lnTo>
                      <a:pt x="818" y="549"/>
                    </a:lnTo>
                    <a:lnTo>
                      <a:pt x="816" y="547"/>
                    </a:lnTo>
                    <a:lnTo>
                      <a:pt x="818" y="545"/>
                    </a:lnTo>
                    <a:lnTo>
                      <a:pt x="816" y="545"/>
                    </a:lnTo>
                    <a:lnTo>
                      <a:pt x="814" y="545"/>
                    </a:lnTo>
                    <a:lnTo>
                      <a:pt x="812" y="545"/>
                    </a:lnTo>
                    <a:lnTo>
                      <a:pt x="812" y="543"/>
                    </a:lnTo>
                    <a:lnTo>
                      <a:pt x="811" y="543"/>
                    </a:lnTo>
                    <a:lnTo>
                      <a:pt x="811" y="541"/>
                    </a:lnTo>
                    <a:lnTo>
                      <a:pt x="809" y="541"/>
                    </a:lnTo>
                    <a:lnTo>
                      <a:pt x="807" y="541"/>
                    </a:lnTo>
                    <a:lnTo>
                      <a:pt x="807" y="543"/>
                    </a:lnTo>
                    <a:lnTo>
                      <a:pt x="809" y="543"/>
                    </a:lnTo>
                    <a:lnTo>
                      <a:pt x="809" y="545"/>
                    </a:lnTo>
                    <a:lnTo>
                      <a:pt x="807" y="545"/>
                    </a:lnTo>
                    <a:lnTo>
                      <a:pt x="807" y="547"/>
                    </a:lnTo>
                    <a:lnTo>
                      <a:pt x="809" y="547"/>
                    </a:lnTo>
                    <a:lnTo>
                      <a:pt x="807" y="549"/>
                    </a:lnTo>
                    <a:lnTo>
                      <a:pt x="809" y="549"/>
                    </a:lnTo>
                    <a:lnTo>
                      <a:pt x="809" y="551"/>
                    </a:lnTo>
                    <a:lnTo>
                      <a:pt x="809" y="553"/>
                    </a:lnTo>
                    <a:lnTo>
                      <a:pt x="807" y="553"/>
                    </a:lnTo>
                    <a:lnTo>
                      <a:pt x="803" y="553"/>
                    </a:lnTo>
                    <a:lnTo>
                      <a:pt x="801" y="553"/>
                    </a:lnTo>
                    <a:lnTo>
                      <a:pt x="801" y="551"/>
                    </a:lnTo>
                    <a:lnTo>
                      <a:pt x="803" y="551"/>
                    </a:lnTo>
                    <a:lnTo>
                      <a:pt x="801" y="549"/>
                    </a:lnTo>
                    <a:lnTo>
                      <a:pt x="801" y="547"/>
                    </a:lnTo>
                    <a:lnTo>
                      <a:pt x="801" y="545"/>
                    </a:lnTo>
                    <a:lnTo>
                      <a:pt x="799" y="545"/>
                    </a:lnTo>
                    <a:lnTo>
                      <a:pt x="799" y="543"/>
                    </a:lnTo>
                    <a:lnTo>
                      <a:pt x="799" y="541"/>
                    </a:lnTo>
                    <a:lnTo>
                      <a:pt x="801" y="541"/>
                    </a:lnTo>
                    <a:lnTo>
                      <a:pt x="799" y="541"/>
                    </a:lnTo>
                    <a:lnTo>
                      <a:pt x="801" y="539"/>
                    </a:lnTo>
                    <a:lnTo>
                      <a:pt x="799" y="537"/>
                    </a:lnTo>
                    <a:lnTo>
                      <a:pt x="801" y="537"/>
                    </a:lnTo>
                    <a:lnTo>
                      <a:pt x="801" y="535"/>
                    </a:lnTo>
                    <a:lnTo>
                      <a:pt x="801" y="534"/>
                    </a:lnTo>
                    <a:lnTo>
                      <a:pt x="799" y="532"/>
                    </a:lnTo>
                    <a:lnTo>
                      <a:pt x="797" y="532"/>
                    </a:lnTo>
                    <a:lnTo>
                      <a:pt x="799" y="532"/>
                    </a:lnTo>
                    <a:lnTo>
                      <a:pt x="797" y="532"/>
                    </a:lnTo>
                    <a:lnTo>
                      <a:pt x="797" y="530"/>
                    </a:lnTo>
                    <a:lnTo>
                      <a:pt x="799" y="530"/>
                    </a:lnTo>
                    <a:lnTo>
                      <a:pt x="797" y="528"/>
                    </a:lnTo>
                    <a:lnTo>
                      <a:pt x="797" y="526"/>
                    </a:lnTo>
                    <a:lnTo>
                      <a:pt x="797" y="524"/>
                    </a:lnTo>
                    <a:lnTo>
                      <a:pt x="797" y="522"/>
                    </a:lnTo>
                    <a:lnTo>
                      <a:pt x="797" y="520"/>
                    </a:lnTo>
                    <a:lnTo>
                      <a:pt x="795" y="520"/>
                    </a:lnTo>
                    <a:lnTo>
                      <a:pt x="793" y="522"/>
                    </a:lnTo>
                    <a:lnTo>
                      <a:pt x="791" y="522"/>
                    </a:lnTo>
                    <a:lnTo>
                      <a:pt x="789" y="522"/>
                    </a:lnTo>
                    <a:lnTo>
                      <a:pt x="789" y="520"/>
                    </a:lnTo>
                    <a:lnTo>
                      <a:pt x="791" y="520"/>
                    </a:lnTo>
                    <a:lnTo>
                      <a:pt x="791" y="518"/>
                    </a:lnTo>
                    <a:lnTo>
                      <a:pt x="789" y="518"/>
                    </a:lnTo>
                    <a:lnTo>
                      <a:pt x="789" y="514"/>
                    </a:lnTo>
                    <a:lnTo>
                      <a:pt x="789" y="512"/>
                    </a:lnTo>
                    <a:lnTo>
                      <a:pt x="789" y="510"/>
                    </a:lnTo>
                    <a:lnTo>
                      <a:pt x="791" y="510"/>
                    </a:lnTo>
                    <a:lnTo>
                      <a:pt x="789" y="510"/>
                    </a:lnTo>
                    <a:lnTo>
                      <a:pt x="789" y="509"/>
                    </a:lnTo>
                    <a:lnTo>
                      <a:pt x="788" y="509"/>
                    </a:lnTo>
                    <a:lnTo>
                      <a:pt x="786" y="509"/>
                    </a:lnTo>
                    <a:lnTo>
                      <a:pt x="786" y="507"/>
                    </a:lnTo>
                    <a:lnTo>
                      <a:pt x="784" y="507"/>
                    </a:lnTo>
                    <a:lnTo>
                      <a:pt x="784" y="505"/>
                    </a:lnTo>
                    <a:lnTo>
                      <a:pt x="784" y="503"/>
                    </a:lnTo>
                    <a:lnTo>
                      <a:pt x="782" y="505"/>
                    </a:lnTo>
                    <a:lnTo>
                      <a:pt x="780" y="509"/>
                    </a:lnTo>
                    <a:lnTo>
                      <a:pt x="780" y="507"/>
                    </a:lnTo>
                    <a:lnTo>
                      <a:pt x="778" y="507"/>
                    </a:lnTo>
                    <a:lnTo>
                      <a:pt x="778" y="509"/>
                    </a:lnTo>
                    <a:lnTo>
                      <a:pt x="778" y="510"/>
                    </a:lnTo>
                    <a:lnTo>
                      <a:pt x="776" y="510"/>
                    </a:lnTo>
                    <a:lnTo>
                      <a:pt x="776" y="512"/>
                    </a:lnTo>
                    <a:lnTo>
                      <a:pt x="774" y="512"/>
                    </a:lnTo>
                    <a:lnTo>
                      <a:pt x="772" y="512"/>
                    </a:lnTo>
                    <a:lnTo>
                      <a:pt x="770" y="512"/>
                    </a:lnTo>
                    <a:lnTo>
                      <a:pt x="770" y="510"/>
                    </a:lnTo>
                    <a:lnTo>
                      <a:pt x="768" y="510"/>
                    </a:lnTo>
                    <a:lnTo>
                      <a:pt x="766" y="510"/>
                    </a:lnTo>
                    <a:lnTo>
                      <a:pt x="766" y="509"/>
                    </a:lnTo>
                    <a:lnTo>
                      <a:pt x="764" y="509"/>
                    </a:lnTo>
                    <a:lnTo>
                      <a:pt x="766" y="509"/>
                    </a:lnTo>
                    <a:lnTo>
                      <a:pt x="764" y="509"/>
                    </a:lnTo>
                    <a:lnTo>
                      <a:pt x="764" y="507"/>
                    </a:lnTo>
                    <a:lnTo>
                      <a:pt x="764" y="509"/>
                    </a:lnTo>
                    <a:lnTo>
                      <a:pt x="764" y="507"/>
                    </a:lnTo>
                    <a:lnTo>
                      <a:pt x="763" y="507"/>
                    </a:lnTo>
                    <a:lnTo>
                      <a:pt x="763" y="505"/>
                    </a:lnTo>
                    <a:lnTo>
                      <a:pt x="763" y="503"/>
                    </a:lnTo>
                    <a:lnTo>
                      <a:pt x="764" y="503"/>
                    </a:lnTo>
                    <a:lnTo>
                      <a:pt x="764" y="501"/>
                    </a:lnTo>
                    <a:lnTo>
                      <a:pt x="764" y="497"/>
                    </a:lnTo>
                    <a:lnTo>
                      <a:pt x="763" y="493"/>
                    </a:lnTo>
                    <a:lnTo>
                      <a:pt x="761" y="493"/>
                    </a:lnTo>
                    <a:lnTo>
                      <a:pt x="759" y="493"/>
                    </a:lnTo>
                    <a:lnTo>
                      <a:pt x="759" y="491"/>
                    </a:lnTo>
                    <a:lnTo>
                      <a:pt x="759" y="489"/>
                    </a:lnTo>
                    <a:lnTo>
                      <a:pt x="755" y="487"/>
                    </a:lnTo>
                    <a:lnTo>
                      <a:pt x="753" y="487"/>
                    </a:lnTo>
                    <a:lnTo>
                      <a:pt x="749" y="487"/>
                    </a:lnTo>
                    <a:lnTo>
                      <a:pt x="749" y="489"/>
                    </a:lnTo>
                    <a:lnTo>
                      <a:pt x="747" y="489"/>
                    </a:lnTo>
                    <a:lnTo>
                      <a:pt x="745" y="489"/>
                    </a:lnTo>
                    <a:lnTo>
                      <a:pt x="743" y="489"/>
                    </a:lnTo>
                    <a:lnTo>
                      <a:pt x="743" y="487"/>
                    </a:lnTo>
                    <a:lnTo>
                      <a:pt x="741" y="487"/>
                    </a:lnTo>
                    <a:lnTo>
                      <a:pt x="741" y="486"/>
                    </a:lnTo>
                    <a:lnTo>
                      <a:pt x="740" y="486"/>
                    </a:lnTo>
                    <a:lnTo>
                      <a:pt x="740" y="487"/>
                    </a:lnTo>
                    <a:lnTo>
                      <a:pt x="738" y="487"/>
                    </a:lnTo>
                    <a:lnTo>
                      <a:pt x="738" y="486"/>
                    </a:lnTo>
                    <a:lnTo>
                      <a:pt x="736" y="486"/>
                    </a:lnTo>
                    <a:lnTo>
                      <a:pt x="736" y="487"/>
                    </a:lnTo>
                    <a:lnTo>
                      <a:pt x="734" y="487"/>
                    </a:lnTo>
                    <a:lnTo>
                      <a:pt x="734" y="489"/>
                    </a:lnTo>
                    <a:lnTo>
                      <a:pt x="734" y="491"/>
                    </a:lnTo>
                    <a:lnTo>
                      <a:pt x="732" y="491"/>
                    </a:lnTo>
                    <a:lnTo>
                      <a:pt x="734" y="491"/>
                    </a:lnTo>
                    <a:lnTo>
                      <a:pt x="736" y="491"/>
                    </a:lnTo>
                    <a:lnTo>
                      <a:pt x="736" y="493"/>
                    </a:lnTo>
                    <a:lnTo>
                      <a:pt x="734" y="493"/>
                    </a:lnTo>
                    <a:lnTo>
                      <a:pt x="734" y="495"/>
                    </a:lnTo>
                    <a:lnTo>
                      <a:pt x="732" y="495"/>
                    </a:lnTo>
                    <a:lnTo>
                      <a:pt x="730" y="495"/>
                    </a:lnTo>
                    <a:lnTo>
                      <a:pt x="730" y="493"/>
                    </a:lnTo>
                    <a:lnTo>
                      <a:pt x="728" y="493"/>
                    </a:lnTo>
                    <a:lnTo>
                      <a:pt x="726" y="495"/>
                    </a:lnTo>
                    <a:lnTo>
                      <a:pt x="726" y="497"/>
                    </a:lnTo>
                    <a:lnTo>
                      <a:pt x="726" y="499"/>
                    </a:lnTo>
                    <a:lnTo>
                      <a:pt x="724" y="507"/>
                    </a:lnTo>
                    <a:lnTo>
                      <a:pt x="722" y="516"/>
                    </a:lnTo>
                    <a:lnTo>
                      <a:pt x="720" y="516"/>
                    </a:lnTo>
                    <a:lnTo>
                      <a:pt x="720" y="518"/>
                    </a:lnTo>
                    <a:lnTo>
                      <a:pt x="720" y="522"/>
                    </a:lnTo>
                    <a:lnTo>
                      <a:pt x="718" y="524"/>
                    </a:lnTo>
                    <a:lnTo>
                      <a:pt x="716" y="522"/>
                    </a:lnTo>
                    <a:lnTo>
                      <a:pt x="715" y="522"/>
                    </a:lnTo>
                    <a:lnTo>
                      <a:pt x="713" y="522"/>
                    </a:lnTo>
                    <a:lnTo>
                      <a:pt x="713" y="520"/>
                    </a:lnTo>
                    <a:lnTo>
                      <a:pt x="711" y="520"/>
                    </a:lnTo>
                    <a:lnTo>
                      <a:pt x="709" y="520"/>
                    </a:lnTo>
                    <a:lnTo>
                      <a:pt x="709" y="522"/>
                    </a:lnTo>
                    <a:lnTo>
                      <a:pt x="709" y="524"/>
                    </a:lnTo>
                    <a:lnTo>
                      <a:pt x="709" y="526"/>
                    </a:lnTo>
                    <a:lnTo>
                      <a:pt x="709" y="528"/>
                    </a:lnTo>
                    <a:lnTo>
                      <a:pt x="707" y="530"/>
                    </a:lnTo>
                    <a:lnTo>
                      <a:pt x="705" y="530"/>
                    </a:lnTo>
                    <a:lnTo>
                      <a:pt x="703" y="530"/>
                    </a:lnTo>
                    <a:lnTo>
                      <a:pt x="701" y="530"/>
                    </a:lnTo>
                    <a:lnTo>
                      <a:pt x="699" y="530"/>
                    </a:lnTo>
                    <a:lnTo>
                      <a:pt x="697" y="530"/>
                    </a:lnTo>
                    <a:lnTo>
                      <a:pt x="695" y="532"/>
                    </a:lnTo>
                    <a:lnTo>
                      <a:pt x="695" y="534"/>
                    </a:lnTo>
                    <a:lnTo>
                      <a:pt x="695" y="535"/>
                    </a:lnTo>
                    <a:lnTo>
                      <a:pt x="693" y="537"/>
                    </a:lnTo>
                    <a:lnTo>
                      <a:pt x="697" y="537"/>
                    </a:lnTo>
                    <a:lnTo>
                      <a:pt x="697" y="539"/>
                    </a:lnTo>
                    <a:lnTo>
                      <a:pt x="699" y="539"/>
                    </a:lnTo>
                    <a:lnTo>
                      <a:pt x="699" y="541"/>
                    </a:lnTo>
                    <a:lnTo>
                      <a:pt x="699" y="543"/>
                    </a:lnTo>
                    <a:lnTo>
                      <a:pt x="699" y="547"/>
                    </a:lnTo>
                    <a:lnTo>
                      <a:pt x="699" y="549"/>
                    </a:lnTo>
                    <a:lnTo>
                      <a:pt x="697" y="549"/>
                    </a:lnTo>
                    <a:lnTo>
                      <a:pt x="697" y="551"/>
                    </a:lnTo>
                    <a:lnTo>
                      <a:pt x="697" y="553"/>
                    </a:lnTo>
                    <a:lnTo>
                      <a:pt x="695" y="555"/>
                    </a:lnTo>
                    <a:lnTo>
                      <a:pt x="692" y="553"/>
                    </a:lnTo>
                    <a:lnTo>
                      <a:pt x="688" y="553"/>
                    </a:lnTo>
                    <a:lnTo>
                      <a:pt x="686" y="553"/>
                    </a:lnTo>
                    <a:lnTo>
                      <a:pt x="684" y="557"/>
                    </a:lnTo>
                    <a:lnTo>
                      <a:pt x="682" y="557"/>
                    </a:lnTo>
                    <a:lnTo>
                      <a:pt x="682" y="555"/>
                    </a:lnTo>
                    <a:lnTo>
                      <a:pt x="680" y="555"/>
                    </a:lnTo>
                    <a:lnTo>
                      <a:pt x="682" y="555"/>
                    </a:lnTo>
                    <a:lnTo>
                      <a:pt x="682" y="553"/>
                    </a:lnTo>
                    <a:lnTo>
                      <a:pt x="682" y="551"/>
                    </a:lnTo>
                    <a:lnTo>
                      <a:pt x="680" y="551"/>
                    </a:lnTo>
                    <a:lnTo>
                      <a:pt x="678" y="549"/>
                    </a:lnTo>
                    <a:lnTo>
                      <a:pt x="676" y="549"/>
                    </a:lnTo>
                    <a:lnTo>
                      <a:pt x="674" y="549"/>
                    </a:lnTo>
                    <a:lnTo>
                      <a:pt x="670" y="549"/>
                    </a:lnTo>
                    <a:lnTo>
                      <a:pt x="668" y="547"/>
                    </a:lnTo>
                    <a:lnTo>
                      <a:pt x="667" y="547"/>
                    </a:lnTo>
                    <a:lnTo>
                      <a:pt x="665" y="543"/>
                    </a:lnTo>
                    <a:lnTo>
                      <a:pt x="663" y="545"/>
                    </a:lnTo>
                    <a:lnTo>
                      <a:pt x="661" y="545"/>
                    </a:lnTo>
                    <a:lnTo>
                      <a:pt x="661" y="547"/>
                    </a:lnTo>
                    <a:lnTo>
                      <a:pt x="659" y="547"/>
                    </a:lnTo>
                    <a:lnTo>
                      <a:pt x="659" y="549"/>
                    </a:lnTo>
                    <a:lnTo>
                      <a:pt x="657" y="549"/>
                    </a:lnTo>
                    <a:lnTo>
                      <a:pt x="657" y="551"/>
                    </a:lnTo>
                    <a:lnTo>
                      <a:pt x="657" y="549"/>
                    </a:lnTo>
                    <a:lnTo>
                      <a:pt x="655" y="549"/>
                    </a:lnTo>
                    <a:lnTo>
                      <a:pt x="653" y="549"/>
                    </a:lnTo>
                    <a:lnTo>
                      <a:pt x="653" y="551"/>
                    </a:lnTo>
                    <a:lnTo>
                      <a:pt x="649" y="551"/>
                    </a:lnTo>
                    <a:lnTo>
                      <a:pt x="645" y="551"/>
                    </a:lnTo>
                    <a:lnTo>
                      <a:pt x="645" y="553"/>
                    </a:lnTo>
                    <a:lnTo>
                      <a:pt x="643" y="551"/>
                    </a:lnTo>
                    <a:lnTo>
                      <a:pt x="642" y="551"/>
                    </a:lnTo>
                    <a:lnTo>
                      <a:pt x="642" y="553"/>
                    </a:lnTo>
                    <a:lnTo>
                      <a:pt x="640" y="553"/>
                    </a:lnTo>
                    <a:lnTo>
                      <a:pt x="640" y="555"/>
                    </a:lnTo>
                    <a:lnTo>
                      <a:pt x="638" y="555"/>
                    </a:lnTo>
                    <a:lnTo>
                      <a:pt x="638" y="557"/>
                    </a:lnTo>
                    <a:lnTo>
                      <a:pt x="636" y="557"/>
                    </a:lnTo>
                    <a:lnTo>
                      <a:pt x="636" y="558"/>
                    </a:lnTo>
                    <a:lnTo>
                      <a:pt x="634" y="558"/>
                    </a:lnTo>
                    <a:lnTo>
                      <a:pt x="634" y="560"/>
                    </a:lnTo>
                    <a:lnTo>
                      <a:pt x="632" y="562"/>
                    </a:lnTo>
                    <a:lnTo>
                      <a:pt x="630" y="558"/>
                    </a:lnTo>
                    <a:lnTo>
                      <a:pt x="632" y="557"/>
                    </a:lnTo>
                    <a:lnTo>
                      <a:pt x="632" y="555"/>
                    </a:lnTo>
                    <a:lnTo>
                      <a:pt x="632" y="551"/>
                    </a:lnTo>
                    <a:lnTo>
                      <a:pt x="628" y="549"/>
                    </a:lnTo>
                    <a:lnTo>
                      <a:pt x="628" y="547"/>
                    </a:lnTo>
                    <a:lnTo>
                      <a:pt x="626" y="547"/>
                    </a:lnTo>
                    <a:lnTo>
                      <a:pt x="622" y="545"/>
                    </a:lnTo>
                    <a:lnTo>
                      <a:pt x="620" y="543"/>
                    </a:lnTo>
                    <a:lnTo>
                      <a:pt x="619" y="541"/>
                    </a:lnTo>
                    <a:lnTo>
                      <a:pt x="617" y="541"/>
                    </a:lnTo>
                    <a:lnTo>
                      <a:pt x="617" y="539"/>
                    </a:lnTo>
                    <a:lnTo>
                      <a:pt x="615" y="539"/>
                    </a:lnTo>
                    <a:lnTo>
                      <a:pt x="613" y="537"/>
                    </a:lnTo>
                    <a:lnTo>
                      <a:pt x="613" y="535"/>
                    </a:lnTo>
                    <a:lnTo>
                      <a:pt x="611" y="535"/>
                    </a:lnTo>
                    <a:lnTo>
                      <a:pt x="611" y="537"/>
                    </a:lnTo>
                    <a:lnTo>
                      <a:pt x="609" y="535"/>
                    </a:lnTo>
                    <a:lnTo>
                      <a:pt x="607" y="535"/>
                    </a:lnTo>
                    <a:lnTo>
                      <a:pt x="607" y="534"/>
                    </a:lnTo>
                    <a:lnTo>
                      <a:pt x="605" y="534"/>
                    </a:lnTo>
                    <a:lnTo>
                      <a:pt x="605" y="532"/>
                    </a:lnTo>
                    <a:lnTo>
                      <a:pt x="603" y="532"/>
                    </a:lnTo>
                    <a:lnTo>
                      <a:pt x="605" y="530"/>
                    </a:lnTo>
                    <a:lnTo>
                      <a:pt x="603" y="530"/>
                    </a:lnTo>
                    <a:lnTo>
                      <a:pt x="603" y="532"/>
                    </a:lnTo>
                    <a:lnTo>
                      <a:pt x="601" y="532"/>
                    </a:lnTo>
                    <a:lnTo>
                      <a:pt x="601" y="534"/>
                    </a:lnTo>
                    <a:lnTo>
                      <a:pt x="599" y="534"/>
                    </a:lnTo>
                    <a:lnTo>
                      <a:pt x="597" y="534"/>
                    </a:lnTo>
                    <a:lnTo>
                      <a:pt x="595" y="534"/>
                    </a:lnTo>
                    <a:lnTo>
                      <a:pt x="594" y="535"/>
                    </a:lnTo>
                    <a:lnTo>
                      <a:pt x="592" y="535"/>
                    </a:lnTo>
                    <a:lnTo>
                      <a:pt x="590" y="535"/>
                    </a:lnTo>
                    <a:lnTo>
                      <a:pt x="590" y="537"/>
                    </a:lnTo>
                    <a:lnTo>
                      <a:pt x="588" y="537"/>
                    </a:lnTo>
                    <a:lnTo>
                      <a:pt x="580" y="534"/>
                    </a:lnTo>
                    <a:lnTo>
                      <a:pt x="578" y="534"/>
                    </a:lnTo>
                    <a:lnTo>
                      <a:pt x="574" y="534"/>
                    </a:lnTo>
                    <a:lnTo>
                      <a:pt x="572" y="535"/>
                    </a:lnTo>
                    <a:lnTo>
                      <a:pt x="572" y="537"/>
                    </a:lnTo>
                    <a:lnTo>
                      <a:pt x="572" y="539"/>
                    </a:lnTo>
                    <a:lnTo>
                      <a:pt x="572" y="543"/>
                    </a:lnTo>
                    <a:lnTo>
                      <a:pt x="571" y="543"/>
                    </a:lnTo>
                    <a:lnTo>
                      <a:pt x="571" y="545"/>
                    </a:lnTo>
                    <a:lnTo>
                      <a:pt x="569" y="549"/>
                    </a:lnTo>
                    <a:lnTo>
                      <a:pt x="567" y="549"/>
                    </a:lnTo>
                    <a:lnTo>
                      <a:pt x="567" y="547"/>
                    </a:lnTo>
                    <a:lnTo>
                      <a:pt x="565" y="547"/>
                    </a:lnTo>
                    <a:lnTo>
                      <a:pt x="563" y="547"/>
                    </a:lnTo>
                    <a:lnTo>
                      <a:pt x="561" y="547"/>
                    </a:lnTo>
                    <a:lnTo>
                      <a:pt x="561" y="545"/>
                    </a:lnTo>
                    <a:lnTo>
                      <a:pt x="559" y="545"/>
                    </a:lnTo>
                    <a:lnTo>
                      <a:pt x="557" y="545"/>
                    </a:lnTo>
                    <a:lnTo>
                      <a:pt x="555" y="545"/>
                    </a:lnTo>
                    <a:lnTo>
                      <a:pt x="555" y="543"/>
                    </a:lnTo>
                    <a:lnTo>
                      <a:pt x="553" y="543"/>
                    </a:lnTo>
                    <a:lnTo>
                      <a:pt x="551" y="543"/>
                    </a:lnTo>
                    <a:lnTo>
                      <a:pt x="549" y="543"/>
                    </a:lnTo>
                    <a:lnTo>
                      <a:pt x="549" y="545"/>
                    </a:lnTo>
                    <a:lnTo>
                      <a:pt x="547" y="545"/>
                    </a:lnTo>
                    <a:lnTo>
                      <a:pt x="546" y="545"/>
                    </a:lnTo>
                    <a:lnTo>
                      <a:pt x="546" y="543"/>
                    </a:lnTo>
                    <a:lnTo>
                      <a:pt x="544" y="545"/>
                    </a:lnTo>
                    <a:lnTo>
                      <a:pt x="546" y="547"/>
                    </a:lnTo>
                    <a:lnTo>
                      <a:pt x="544" y="547"/>
                    </a:lnTo>
                    <a:lnTo>
                      <a:pt x="544" y="549"/>
                    </a:lnTo>
                    <a:lnTo>
                      <a:pt x="542" y="549"/>
                    </a:lnTo>
                    <a:lnTo>
                      <a:pt x="540" y="549"/>
                    </a:lnTo>
                    <a:lnTo>
                      <a:pt x="538" y="549"/>
                    </a:lnTo>
                    <a:lnTo>
                      <a:pt x="538" y="547"/>
                    </a:lnTo>
                    <a:lnTo>
                      <a:pt x="540" y="547"/>
                    </a:lnTo>
                    <a:lnTo>
                      <a:pt x="542" y="543"/>
                    </a:lnTo>
                    <a:lnTo>
                      <a:pt x="544" y="543"/>
                    </a:lnTo>
                    <a:lnTo>
                      <a:pt x="540" y="539"/>
                    </a:lnTo>
                    <a:lnTo>
                      <a:pt x="536" y="543"/>
                    </a:lnTo>
                    <a:lnTo>
                      <a:pt x="536" y="545"/>
                    </a:lnTo>
                    <a:lnTo>
                      <a:pt x="538" y="545"/>
                    </a:lnTo>
                    <a:lnTo>
                      <a:pt x="538" y="547"/>
                    </a:lnTo>
                    <a:lnTo>
                      <a:pt x="536" y="547"/>
                    </a:lnTo>
                    <a:lnTo>
                      <a:pt x="536" y="549"/>
                    </a:lnTo>
                    <a:lnTo>
                      <a:pt x="538" y="551"/>
                    </a:lnTo>
                    <a:lnTo>
                      <a:pt x="538" y="553"/>
                    </a:lnTo>
                    <a:lnTo>
                      <a:pt x="536" y="553"/>
                    </a:lnTo>
                    <a:lnTo>
                      <a:pt x="538" y="553"/>
                    </a:lnTo>
                    <a:lnTo>
                      <a:pt x="538" y="555"/>
                    </a:lnTo>
                    <a:lnTo>
                      <a:pt x="538" y="557"/>
                    </a:lnTo>
                    <a:lnTo>
                      <a:pt x="536" y="557"/>
                    </a:lnTo>
                    <a:lnTo>
                      <a:pt x="532" y="558"/>
                    </a:lnTo>
                    <a:lnTo>
                      <a:pt x="532" y="560"/>
                    </a:lnTo>
                    <a:lnTo>
                      <a:pt x="534" y="562"/>
                    </a:lnTo>
                    <a:lnTo>
                      <a:pt x="532" y="564"/>
                    </a:lnTo>
                    <a:lnTo>
                      <a:pt x="532" y="566"/>
                    </a:lnTo>
                    <a:lnTo>
                      <a:pt x="530" y="570"/>
                    </a:lnTo>
                    <a:lnTo>
                      <a:pt x="532" y="572"/>
                    </a:lnTo>
                    <a:lnTo>
                      <a:pt x="530" y="572"/>
                    </a:lnTo>
                    <a:lnTo>
                      <a:pt x="530" y="574"/>
                    </a:lnTo>
                    <a:lnTo>
                      <a:pt x="528" y="574"/>
                    </a:lnTo>
                    <a:lnTo>
                      <a:pt x="526" y="576"/>
                    </a:lnTo>
                    <a:lnTo>
                      <a:pt x="521" y="578"/>
                    </a:lnTo>
                    <a:lnTo>
                      <a:pt x="521" y="582"/>
                    </a:lnTo>
                    <a:lnTo>
                      <a:pt x="521" y="583"/>
                    </a:lnTo>
                    <a:lnTo>
                      <a:pt x="517" y="583"/>
                    </a:lnTo>
                    <a:lnTo>
                      <a:pt x="513" y="585"/>
                    </a:lnTo>
                    <a:lnTo>
                      <a:pt x="509" y="585"/>
                    </a:lnTo>
                    <a:lnTo>
                      <a:pt x="509" y="587"/>
                    </a:lnTo>
                    <a:lnTo>
                      <a:pt x="507" y="587"/>
                    </a:lnTo>
                    <a:lnTo>
                      <a:pt x="503" y="587"/>
                    </a:lnTo>
                    <a:lnTo>
                      <a:pt x="503" y="589"/>
                    </a:lnTo>
                    <a:lnTo>
                      <a:pt x="498" y="591"/>
                    </a:lnTo>
                    <a:lnTo>
                      <a:pt x="490" y="597"/>
                    </a:lnTo>
                    <a:lnTo>
                      <a:pt x="490" y="599"/>
                    </a:lnTo>
                    <a:lnTo>
                      <a:pt x="492" y="601"/>
                    </a:lnTo>
                    <a:lnTo>
                      <a:pt x="494" y="603"/>
                    </a:lnTo>
                    <a:lnTo>
                      <a:pt x="492" y="603"/>
                    </a:lnTo>
                    <a:lnTo>
                      <a:pt x="492" y="605"/>
                    </a:lnTo>
                    <a:lnTo>
                      <a:pt x="490" y="605"/>
                    </a:lnTo>
                    <a:lnTo>
                      <a:pt x="490" y="606"/>
                    </a:lnTo>
                    <a:lnTo>
                      <a:pt x="488" y="606"/>
                    </a:lnTo>
                    <a:lnTo>
                      <a:pt x="488" y="605"/>
                    </a:lnTo>
                    <a:lnTo>
                      <a:pt x="490" y="605"/>
                    </a:lnTo>
                    <a:lnTo>
                      <a:pt x="490" y="603"/>
                    </a:lnTo>
                    <a:lnTo>
                      <a:pt x="488" y="603"/>
                    </a:lnTo>
                    <a:lnTo>
                      <a:pt x="488" y="601"/>
                    </a:lnTo>
                    <a:lnTo>
                      <a:pt x="486" y="601"/>
                    </a:lnTo>
                    <a:lnTo>
                      <a:pt x="486" y="603"/>
                    </a:lnTo>
                    <a:lnTo>
                      <a:pt x="486" y="605"/>
                    </a:lnTo>
                    <a:lnTo>
                      <a:pt x="484" y="605"/>
                    </a:lnTo>
                    <a:lnTo>
                      <a:pt x="484" y="606"/>
                    </a:lnTo>
                    <a:lnTo>
                      <a:pt x="482" y="606"/>
                    </a:lnTo>
                    <a:lnTo>
                      <a:pt x="482" y="608"/>
                    </a:lnTo>
                    <a:lnTo>
                      <a:pt x="480" y="608"/>
                    </a:lnTo>
                    <a:lnTo>
                      <a:pt x="480" y="606"/>
                    </a:lnTo>
                    <a:lnTo>
                      <a:pt x="482" y="606"/>
                    </a:lnTo>
                    <a:lnTo>
                      <a:pt x="482" y="605"/>
                    </a:lnTo>
                    <a:lnTo>
                      <a:pt x="482" y="603"/>
                    </a:lnTo>
                    <a:lnTo>
                      <a:pt x="480" y="603"/>
                    </a:lnTo>
                    <a:lnTo>
                      <a:pt x="480" y="605"/>
                    </a:lnTo>
                    <a:lnTo>
                      <a:pt x="478" y="605"/>
                    </a:lnTo>
                    <a:lnTo>
                      <a:pt x="478" y="606"/>
                    </a:lnTo>
                    <a:lnTo>
                      <a:pt x="478" y="608"/>
                    </a:lnTo>
                    <a:lnTo>
                      <a:pt x="478" y="610"/>
                    </a:lnTo>
                    <a:lnTo>
                      <a:pt x="476" y="610"/>
                    </a:lnTo>
                    <a:lnTo>
                      <a:pt x="475" y="610"/>
                    </a:lnTo>
                    <a:lnTo>
                      <a:pt x="475" y="608"/>
                    </a:lnTo>
                    <a:lnTo>
                      <a:pt x="473" y="606"/>
                    </a:lnTo>
                    <a:lnTo>
                      <a:pt x="473" y="605"/>
                    </a:lnTo>
                    <a:lnTo>
                      <a:pt x="471" y="605"/>
                    </a:lnTo>
                    <a:lnTo>
                      <a:pt x="469" y="605"/>
                    </a:lnTo>
                    <a:lnTo>
                      <a:pt x="469" y="606"/>
                    </a:lnTo>
                    <a:lnTo>
                      <a:pt x="469" y="608"/>
                    </a:lnTo>
                    <a:lnTo>
                      <a:pt x="469" y="610"/>
                    </a:lnTo>
                    <a:lnTo>
                      <a:pt x="467" y="610"/>
                    </a:lnTo>
                    <a:lnTo>
                      <a:pt x="465" y="610"/>
                    </a:lnTo>
                    <a:lnTo>
                      <a:pt x="463" y="610"/>
                    </a:lnTo>
                    <a:lnTo>
                      <a:pt x="461" y="610"/>
                    </a:lnTo>
                    <a:lnTo>
                      <a:pt x="461" y="608"/>
                    </a:lnTo>
                    <a:lnTo>
                      <a:pt x="459" y="608"/>
                    </a:lnTo>
                    <a:lnTo>
                      <a:pt x="461" y="606"/>
                    </a:lnTo>
                    <a:lnTo>
                      <a:pt x="461" y="605"/>
                    </a:lnTo>
                    <a:lnTo>
                      <a:pt x="459" y="605"/>
                    </a:lnTo>
                    <a:lnTo>
                      <a:pt x="459" y="603"/>
                    </a:lnTo>
                    <a:lnTo>
                      <a:pt x="459" y="601"/>
                    </a:lnTo>
                    <a:lnTo>
                      <a:pt x="459" y="599"/>
                    </a:lnTo>
                    <a:lnTo>
                      <a:pt x="459" y="597"/>
                    </a:lnTo>
                    <a:lnTo>
                      <a:pt x="457" y="597"/>
                    </a:lnTo>
                    <a:lnTo>
                      <a:pt x="457" y="595"/>
                    </a:lnTo>
                    <a:lnTo>
                      <a:pt x="455" y="595"/>
                    </a:lnTo>
                    <a:lnTo>
                      <a:pt x="455" y="597"/>
                    </a:lnTo>
                    <a:lnTo>
                      <a:pt x="453" y="597"/>
                    </a:lnTo>
                    <a:lnTo>
                      <a:pt x="451" y="597"/>
                    </a:lnTo>
                    <a:lnTo>
                      <a:pt x="451" y="595"/>
                    </a:lnTo>
                    <a:lnTo>
                      <a:pt x="451" y="597"/>
                    </a:lnTo>
                    <a:lnTo>
                      <a:pt x="450" y="597"/>
                    </a:lnTo>
                    <a:lnTo>
                      <a:pt x="448" y="597"/>
                    </a:lnTo>
                    <a:lnTo>
                      <a:pt x="446" y="597"/>
                    </a:lnTo>
                    <a:lnTo>
                      <a:pt x="446" y="599"/>
                    </a:lnTo>
                    <a:lnTo>
                      <a:pt x="444" y="599"/>
                    </a:lnTo>
                    <a:lnTo>
                      <a:pt x="444" y="597"/>
                    </a:lnTo>
                    <a:lnTo>
                      <a:pt x="444" y="595"/>
                    </a:lnTo>
                    <a:lnTo>
                      <a:pt x="442" y="595"/>
                    </a:lnTo>
                    <a:lnTo>
                      <a:pt x="442" y="593"/>
                    </a:lnTo>
                    <a:lnTo>
                      <a:pt x="442" y="591"/>
                    </a:lnTo>
                    <a:lnTo>
                      <a:pt x="440" y="591"/>
                    </a:lnTo>
                    <a:lnTo>
                      <a:pt x="438" y="591"/>
                    </a:lnTo>
                    <a:lnTo>
                      <a:pt x="436" y="591"/>
                    </a:lnTo>
                    <a:lnTo>
                      <a:pt x="434" y="589"/>
                    </a:lnTo>
                    <a:lnTo>
                      <a:pt x="432" y="589"/>
                    </a:lnTo>
                    <a:lnTo>
                      <a:pt x="430" y="589"/>
                    </a:lnTo>
                    <a:lnTo>
                      <a:pt x="430" y="591"/>
                    </a:lnTo>
                    <a:lnTo>
                      <a:pt x="430" y="593"/>
                    </a:lnTo>
                    <a:lnTo>
                      <a:pt x="430" y="595"/>
                    </a:lnTo>
                    <a:lnTo>
                      <a:pt x="428" y="595"/>
                    </a:lnTo>
                    <a:lnTo>
                      <a:pt x="428" y="593"/>
                    </a:lnTo>
                    <a:lnTo>
                      <a:pt x="426" y="593"/>
                    </a:lnTo>
                    <a:lnTo>
                      <a:pt x="426" y="591"/>
                    </a:lnTo>
                    <a:lnTo>
                      <a:pt x="425" y="591"/>
                    </a:lnTo>
                    <a:lnTo>
                      <a:pt x="423" y="591"/>
                    </a:lnTo>
                    <a:lnTo>
                      <a:pt x="421" y="591"/>
                    </a:lnTo>
                    <a:lnTo>
                      <a:pt x="419" y="591"/>
                    </a:lnTo>
                    <a:lnTo>
                      <a:pt x="419" y="593"/>
                    </a:lnTo>
                    <a:lnTo>
                      <a:pt x="417" y="593"/>
                    </a:lnTo>
                    <a:lnTo>
                      <a:pt x="417" y="595"/>
                    </a:lnTo>
                    <a:lnTo>
                      <a:pt x="415" y="597"/>
                    </a:lnTo>
                    <a:lnTo>
                      <a:pt x="415" y="599"/>
                    </a:lnTo>
                    <a:lnTo>
                      <a:pt x="413" y="599"/>
                    </a:lnTo>
                    <a:lnTo>
                      <a:pt x="413" y="597"/>
                    </a:lnTo>
                    <a:lnTo>
                      <a:pt x="411" y="597"/>
                    </a:lnTo>
                    <a:lnTo>
                      <a:pt x="409" y="597"/>
                    </a:lnTo>
                    <a:lnTo>
                      <a:pt x="409" y="599"/>
                    </a:lnTo>
                    <a:lnTo>
                      <a:pt x="407" y="599"/>
                    </a:lnTo>
                    <a:lnTo>
                      <a:pt x="407" y="601"/>
                    </a:lnTo>
                    <a:lnTo>
                      <a:pt x="407" y="599"/>
                    </a:lnTo>
                    <a:lnTo>
                      <a:pt x="405" y="599"/>
                    </a:lnTo>
                    <a:lnTo>
                      <a:pt x="403" y="599"/>
                    </a:lnTo>
                    <a:lnTo>
                      <a:pt x="403" y="601"/>
                    </a:lnTo>
                    <a:lnTo>
                      <a:pt x="403" y="603"/>
                    </a:lnTo>
                    <a:lnTo>
                      <a:pt x="403" y="605"/>
                    </a:lnTo>
                    <a:lnTo>
                      <a:pt x="402" y="605"/>
                    </a:lnTo>
                    <a:lnTo>
                      <a:pt x="402" y="603"/>
                    </a:lnTo>
                    <a:lnTo>
                      <a:pt x="400" y="603"/>
                    </a:lnTo>
                    <a:lnTo>
                      <a:pt x="400" y="601"/>
                    </a:lnTo>
                    <a:lnTo>
                      <a:pt x="400" y="599"/>
                    </a:lnTo>
                    <a:lnTo>
                      <a:pt x="398" y="599"/>
                    </a:lnTo>
                    <a:lnTo>
                      <a:pt x="398" y="597"/>
                    </a:lnTo>
                    <a:lnTo>
                      <a:pt x="396" y="597"/>
                    </a:lnTo>
                    <a:lnTo>
                      <a:pt x="396" y="599"/>
                    </a:lnTo>
                    <a:lnTo>
                      <a:pt x="396" y="601"/>
                    </a:lnTo>
                    <a:lnTo>
                      <a:pt x="394" y="601"/>
                    </a:lnTo>
                    <a:lnTo>
                      <a:pt x="394" y="599"/>
                    </a:lnTo>
                    <a:lnTo>
                      <a:pt x="392" y="599"/>
                    </a:lnTo>
                    <a:lnTo>
                      <a:pt x="390" y="599"/>
                    </a:lnTo>
                    <a:lnTo>
                      <a:pt x="390" y="597"/>
                    </a:lnTo>
                    <a:lnTo>
                      <a:pt x="392" y="595"/>
                    </a:lnTo>
                    <a:lnTo>
                      <a:pt x="390" y="595"/>
                    </a:lnTo>
                    <a:lnTo>
                      <a:pt x="390" y="593"/>
                    </a:lnTo>
                    <a:lnTo>
                      <a:pt x="388" y="593"/>
                    </a:lnTo>
                    <a:lnTo>
                      <a:pt x="388" y="591"/>
                    </a:lnTo>
                    <a:lnTo>
                      <a:pt x="386" y="591"/>
                    </a:lnTo>
                    <a:lnTo>
                      <a:pt x="384" y="591"/>
                    </a:lnTo>
                    <a:lnTo>
                      <a:pt x="384" y="589"/>
                    </a:lnTo>
                    <a:lnTo>
                      <a:pt x="384" y="587"/>
                    </a:lnTo>
                    <a:lnTo>
                      <a:pt x="382" y="587"/>
                    </a:lnTo>
                    <a:lnTo>
                      <a:pt x="380" y="587"/>
                    </a:lnTo>
                    <a:lnTo>
                      <a:pt x="378" y="587"/>
                    </a:lnTo>
                    <a:lnTo>
                      <a:pt x="377" y="587"/>
                    </a:lnTo>
                    <a:lnTo>
                      <a:pt x="375" y="587"/>
                    </a:lnTo>
                    <a:lnTo>
                      <a:pt x="373" y="587"/>
                    </a:lnTo>
                    <a:lnTo>
                      <a:pt x="371" y="587"/>
                    </a:lnTo>
                    <a:lnTo>
                      <a:pt x="371" y="585"/>
                    </a:lnTo>
                    <a:lnTo>
                      <a:pt x="371" y="583"/>
                    </a:lnTo>
                    <a:lnTo>
                      <a:pt x="371" y="585"/>
                    </a:lnTo>
                    <a:lnTo>
                      <a:pt x="369" y="585"/>
                    </a:lnTo>
                    <a:lnTo>
                      <a:pt x="367" y="585"/>
                    </a:lnTo>
                    <a:lnTo>
                      <a:pt x="365" y="585"/>
                    </a:lnTo>
                    <a:lnTo>
                      <a:pt x="363" y="585"/>
                    </a:lnTo>
                    <a:lnTo>
                      <a:pt x="361" y="585"/>
                    </a:lnTo>
                    <a:lnTo>
                      <a:pt x="361" y="583"/>
                    </a:lnTo>
                    <a:lnTo>
                      <a:pt x="361" y="582"/>
                    </a:lnTo>
                    <a:lnTo>
                      <a:pt x="359" y="582"/>
                    </a:lnTo>
                    <a:lnTo>
                      <a:pt x="359" y="580"/>
                    </a:lnTo>
                    <a:lnTo>
                      <a:pt x="357" y="580"/>
                    </a:lnTo>
                    <a:lnTo>
                      <a:pt x="357" y="582"/>
                    </a:lnTo>
                    <a:lnTo>
                      <a:pt x="357" y="583"/>
                    </a:lnTo>
                    <a:lnTo>
                      <a:pt x="357" y="585"/>
                    </a:lnTo>
                    <a:lnTo>
                      <a:pt x="355" y="585"/>
                    </a:lnTo>
                    <a:lnTo>
                      <a:pt x="355" y="583"/>
                    </a:lnTo>
                    <a:lnTo>
                      <a:pt x="355" y="585"/>
                    </a:lnTo>
                    <a:lnTo>
                      <a:pt x="354" y="583"/>
                    </a:lnTo>
                    <a:lnTo>
                      <a:pt x="352" y="583"/>
                    </a:lnTo>
                    <a:lnTo>
                      <a:pt x="350" y="583"/>
                    </a:lnTo>
                    <a:lnTo>
                      <a:pt x="348" y="583"/>
                    </a:lnTo>
                    <a:lnTo>
                      <a:pt x="346" y="583"/>
                    </a:lnTo>
                    <a:lnTo>
                      <a:pt x="344" y="583"/>
                    </a:lnTo>
                    <a:lnTo>
                      <a:pt x="344" y="585"/>
                    </a:lnTo>
                    <a:lnTo>
                      <a:pt x="342" y="585"/>
                    </a:lnTo>
                    <a:lnTo>
                      <a:pt x="342" y="587"/>
                    </a:lnTo>
                    <a:lnTo>
                      <a:pt x="344" y="587"/>
                    </a:lnTo>
                    <a:lnTo>
                      <a:pt x="344" y="589"/>
                    </a:lnTo>
                    <a:lnTo>
                      <a:pt x="342" y="589"/>
                    </a:lnTo>
                    <a:lnTo>
                      <a:pt x="340" y="589"/>
                    </a:lnTo>
                    <a:lnTo>
                      <a:pt x="338" y="589"/>
                    </a:lnTo>
                    <a:lnTo>
                      <a:pt x="338" y="587"/>
                    </a:lnTo>
                    <a:lnTo>
                      <a:pt x="336" y="587"/>
                    </a:lnTo>
                    <a:lnTo>
                      <a:pt x="334" y="587"/>
                    </a:lnTo>
                    <a:lnTo>
                      <a:pt x="332" y="585"/>
                    </a:lnTo>
                    <a:lnTo>
                      <a:pt x="330" y="585"/>
                    </a:lnTo>
                    <a:lnTo>
                      <a:pt x="329" y="585"/>
                    </a:lnTo>
                    <a:lnTo>
                      <a:pt x="327" y="587"/>
                    </a:lnTo>
                    <a:lnTo>
                      <a:pt x="327" y="585"/>
                    </a:lnTo>
                    <a:lnTo>
                      <a:pt x="325" y="585"/>
                    </a:lnTo>
                    <a:lnTo>
                      <a:pt x="325" y="583"/>
                    </a:lnTo>
                    <a:lnTo>
                      <a:pt x="325" y="582"/>
                    </a:lnTo>
                    <a:lnTo>
                      <a:pt x="323" y="582"/>
                    </a:lnTo>
                    <a:lnTo>
                      <a:pt x="323" y="580"/>
                    </a:lnTo>
                    <a:lnTo>
                      <a:pt x="323" y="578"/>
                    </a:lnTo>
                    <a:lnTo>
                      <a:pt x="321" y="578"/>
                    </a:lnTo>
                    <a:lnTo>
                      <a:pt x="319" y="580"/>
                    </a:lnTo>
                    <a:lnTo>
                      <a:pt x="317" y="582"/>
                    </a:lnTo>
                    <a:lnTo>
                      <a:pt x="311" y="580"/>
                    </a:lnTo>
                    <a:lnTo>
                      <a:pt x="307" y="578"/>
                    </a:lnTo>
                    <a:lnTo>
                      <a:pt x="306" y="576"/>
                    </a:lnTo>
                    <a:lnTo>
                      <a:pt x="304" y="576"/>
                    </a:lnTo>
                    <a:lnTo>
                      <a:pt x="304" y="578"/>
                    </a:lnTo>
                    <a:lnTo>
                      <a:pt x="304" y="580"/>
                    </a:lnTo>
                    <a:lnTo>
                      <a:pt x="302" y="580"/>
                    </a:lnTo>
                    <a:lnTo>
                      <a:pt x="300" y="580"/>
                    </a:lnTo>
                    <a:lnTo>
                      <a:pt x="298" y="578"/>
                    </a:lnTo>
                    <a:lnTo>
                      <a:pt x="294" y="578"/>
                    </a:lnTo>
                    <a:lnTo>
                      <a:pt x="292" y="576"/>
                    </a:lnTo>
                    <a:lnTo>
                      <a:pt x="290" y="576"/>
                    </a:lnTo>
                    <a:lnTo>
                      <a:pt x="288" y="574"/>
                    </a:lnTo>
                    <a:lnTo>
                      <a:pt x="284" y="576"/>
                    </a:lnTo>
                    <a:lnTo>
                      <a:pt x="273" y="580"/>
                    </a:lnTo>
                    <a:lnTo>
                      <a:pt x="271" y="580"/>
                    </a:lnTo>
                    <a:lnTo>
                      <a:pt x="271" y="585"/>
                    </a:lnTo>
                    <a:lnTo>
                      <a:pt x="269" y="585"/>
                    </a:lnTo>
                    <a:lnTo>
                      <a:pt x="269" y="583"/>
                    </a:lnTo>
                    <a:lnTo>
                      <a:pt x="267" y="583"/>
                    </a:lnTo>
                    <a:lnTo>
                      <a:pt x="265" y="585"/>
                    </a:lnTo>
                    <a:lnTo>
                      <a:pt x="263" y="589"/>
                    </a:lnTo>
                    <a:lnTo>
                      <a:pt x="261" y="593"/>
                    </a:lnTo>
                    <a:lnTo>
                      <a:pt x="259" y="591"/>
                    </a:lnTo>
                    <a:lnTo>
                      <a:pt x="258" y="591"/>
                    </a:lnTo>
                    <a:lnTo>
                      <a:pt x="256" y="589"/>
                    </a:lnTo>
                    <a:lnTo>
                      <a:pt x="256" y="591"/>
                    </a:lnTo>
                    <a:lnTo>
                      <a:pt x="254" y="591"/>
                    </a:lnTo>
                    <a:lnTo>
                      <a:pt x="252" y="591"/>
                    </a:lnTo>
                    <a:lnTo>
                      <a:pt x="254" y="591"/>
                    </a:lnTo>
                    <a:lnTo>
                      <a:pt x="256" y="593"/>
                    </a:lnTo>
                    <a:lnTo>
                      <a:pt x="258" y="597"/>
                    </a:lnTo>
                    <a:lnTo>
                      <a:pt x="258" y="599"/>
                    </a:lnTo>
                    <a:lnTo>
                      <a:pt x="259" y="601"/>
                    </a:lnTo>
                    <a:lnTo>
                      <a:pt x="261" y="601"/>
                    </a:lnTo>
                    <a:lnTo>
                      <a:pt x="259" y="605"/>
                    </a:lnTo>
                    <a:lnTo>
                      <a:pt x="259" y="606"/>
                    </a:lnTo>
                    <a:lnTo>
                      <a:pt x="258" y="606"/>
                    </a:lnTo>
                    <a:lnTo>
                      <a:pt x="258" y="608"/>
                    </a:lnTo>
                    <a:lnTo>
                      <a:pt x="258" y="610"/>
                    </a:lnTo>
                    <a:lnTo>
                      <a:pt x="258" y="612"/>
                    </a:lnTo>
                    <a:lnTo>
                      <a:pt x="258" y="614"/>
                    </a:lnTo>
                    <a:lnTo>
                      <a:pt x="256" y="614"/>
                    </a:lnTo>
                    <a:lnTo>
                      <a:pt x="256" y="616"/>
                    </a:lnTo>
                    <a:lnTo>
                      <a:pt x="250" y="616"/>
                    </a:lnTo>
                    <a:lnTo>
                      <a:pt x="246" y="618"/>
                    </a:lnTo>
                    <a:lnTo>
                      <a:pt x="244" y="618"/>
                    </a:lnTo>
                    <a:lnTo>
                      <a:pt x="242" y="618"/>
                    </a:lnTo>
                    <a:lnTo>
                      <a:pt x="238" y="624"/>
                    </a:lnTo>
                    <a:lnTo>
                      <a:pt x="236" y="628"/>
                    </a:lnTo>
                    <a:lnTo>
                      <a:pt x="234" y="628"/>
                    </a:lnTo>
                    <a:lnTo>
                      <a:pt x="236" y="629"/>
                    </a:lnTo>
                    <a:lnTo>
                      <a:pt x="238" y="631"/>
                    </a:lnTo>
                    <a:lnTo>
                      <a:pt x="240" y="631"/>
                    </a:lnTo>
                    <a:lnTo>
                      <a:pt x="242" y="635"/>
                    </a:lnTo>
                    <a:lnTo>
                      <a:pt x="244" y="637"/>
                    </a:lnTo>
                    <a:lnTo>
                      <a:pt x="246" y="639"/>
                    </a:lnTo>
                    <a:lnTo>
                      <a:pt x="244" y="639"/>
                    </a:lnTo>
                    <a:lnTo>
                      <a:pt x="244" y="641"/>
                    </a:lnTo>
                    <a:lnTo>
                      <a:pt x="242" y="643"/>
                    </a:lnTo>
                    <a:lnTo>
                      <a:pt x="244" y="643"/>
                    </a:lnTo>
                    <a:lnTo>
                      <a:pt x="244" y="645"/>
                    </a:lnTo>
                    <a:lnTo>
                      <a:pt x="244" y="649"/>
                    </a:lnTo>
                    <a:lnTo>
                      <a:pt x="242" y="649"/>
                    </a:lnTo>
                    <a:lnTo>
                      <a:pt x="244" y="651"/>
                    </a:lnTo>
                    <a:lnTo>
                      <a:pt x="242" y="654"/>
                    </a:lnTo>
                    <a:lnTo>
                      <a:pt x="236" y="653"/>
                    </a:lnTo>
                    <a:lnTo>
                      <a:pt x="234" y="653"/>
                    </a:lnTo>
                    <a:lnTo>
                      <a:pt x="234" y="654"/>
                    </a:lnTo>
                    <a:lnTo>
                      <a:pt x="234" y="653"/>
                    </a:lnTo>
                    <a:lnTo>
                      <a:pt x="233" y="653"/>
                    </a:lnTo>
                    <a:lnTo>
                      <a:pt x="233" y="654"/>
                    </a:lnTo>
                    <a:lnTo>
                      <a:pt x="231" y="654"/>
                    </a:lnTo>
                    <a:lnTo>
                      <a:pt x="229" y="653"/>
                    </a:lnTo>
                    <a:lnTo>
                      <a:pt x="227" y="653"/>
                    </a:lnTo>
                    <a:lnTo>
                      <a:pt x="227" y="654"/>
                    </a:lnTo>
                    <a:lnTo>
                      <a:pt x="225" y="654"/>
                    </a:lnTo>
                    <a:lnTo>
                      <a:pt x="225" y="653"/>
                    </a:lnTo>
                    <a:lnTo>
                      <a:pt x="223" y="653"/>
                    </a:lnTo>
                    <a:lnTo>
                      <a:pt x="221" y="651"/>
                    </a:lnTo>
                    <a:lnTo>
                      <a:pt x="221" y="653"/>
                    </a:lnTo>
                    <a:lnTo>
                      <a:pt x="219" y="653"/>
                    </a:lnTo>
                    <a:lnTo>
                      <a:pt x="217" y="653"/>
                    </a:lnTo>
                    <a:lnTo>
                      <a:pt x="217" y="651"/>
                    </a:lnTo>
                    <a:lnTo>
                      <a:pt x="215" y="649"/>
                    </a:lnTo>
                    <a:lnTo>
                      <a:pt x="213" y="647"/>
                    </a:lnTo>
                    <a:lnTo>
                      <a:pt x="211" y="645"/>
                    </a:lnTo>
                    <a:lnTo>
                      <a:pt x="208" y="645"/>
                    </a:lnTo>
                    <a:lnTo>
                      <a:pt x="204" y="645"/>
                    </a:lnTo>
                    <a:lnTo>
                      <a:pt x="202" y="645"/>
                    </a:lnTo>
                    <a:lnTo>
                      <a:pt x="198" y="647"/>
                    </a:lnTo>
                    <a:lnTo>
                      <a:pt x="196" y="649"/>
                    </a:lnTo>
                    <a:lnTo>
                      <a:pt x="196" y="651"/>
                    </a:lnTo>
                    <a:lnTo>
                      <a:pt x="196" y="653"/>
                    </a:lnTo>
                    <a:lnTo>
                      <a:pt x="194" y="654"/>
                    </a:lnTo>
                    <a:lnTo>
                      <a:pt x="192" y="656"/>
                    </a:lnTo>
                    <a:lnTo>
                      <a:pt x="192" y="658"/>
                    </a:lnTo>
                    <a:lnTo>
                      <a:pt x="192" y="660"/>
                    </a:lnTo>
                    <a:lnTo>
                      <a:pt x="192" y="662"/>
                    </a:lnTo>
                    <a:lnTo>
                      <a:pt x="190" y="664"/>
                    </a:lnTo>
                    <a:lnTo>
                      <a:pt x="190" y="666"/>
                    </a:lnTo>
                    <a:lnTo>
                      <a:pt x="186" y="666"/>
                    </a:lnTo>
                    <a:lnTo>
                      <a:pt x="185" y="666"/>
                    </a:lnTo>
                    <a:lnTo>
                      <a:pt x="181" y="666"/>
                    </a:lnTo>
                    <a:lnTo>
                      <a:pt x="179" y="666"/>
                    </a:lnTo>
                    <a:lnTo>
                      <a:pt x="173" y="666"/>
                    </a:lnTo>
                    <a:lnTo>
                      <a:pt x="171" y="668"/>
                    </a:lnTo>
                    <a:lnTo>
                      <a:pt x="169" y="668"/>
                    </a:lnTo>
                    <a:lnTo>
                      <a:pt x="167" y="670"/>
                    </a:lnTo>
                    <a:lnTo>
                      <a:pt x="165" y="670"/>
                    </a:lnTo>
                    <a:lnTo>
                      <a:pt x="156" y="670"/>
                    </a:lnTo>
                    <a:lnTo>
                      <a:pt x="154" y="670"/>
                    </a:lnTo>
                    <a:lnTo>
                      <a:pt x="154" y="672"/>
                    </a:lnTo>
                    <a:lnTo>
                      <a:pt x="152" y="674"/>
                    </a:lnTo>
                    <a:lnTo>
                      <a:pt x="152" y="677"/>
                    </a:lnTo>
                    <a:lnTo>
                      <a:pt x="150" y="677"/>
                    </a:lnTo>
                    <a:lnTo>
                      <a:pt x="146" y="679"/>
                    </a:lnTo>
                    <a:lnTo>
                      <a:pt x="142" y="679"/>
                    </a:lnTo>
                    <a:lnTo>
                      <a:pt x="140" y="677"/>
                    </a:lnTo>
                    <a:lnTo>
                      <a:pt x="137" y="676"/>
                    </a:lnTo>
                    <a:lnTo>
                      <a:pt x="131" y="672"/>
                    </a:lnTo>
                    <a:lnTo>
                      <a:pt x="127" y="668"/>
                    </a:lnTo>
                    <a:lnTo>
                      <a:pt x="127" y="670"/>
                    </a:lnTo>
                    <a:lnTo>
                      <a:pt x="125" y="670"/>
                    </a:lnTo>
                    <a:lnTo>
                      <a:pt x="123" y="670"/>
                    </a:lnTo>
                    <a:lnTo>
                      <a:pt x="123" y="672"/>
                    </a:lnTo>
                    <a:lnTo>
                      <a:pt x="123" y="674"/>
                    </a:lnTo>
                    <a:lnTo>
                      <a:pt x="123" y="676"/>
                    </a:lnTo>
                    <a:lnTo>
                      <a:pt x="125" y="676"/>
                    </a:lnTo>
                    <a:lnTo>
                      <a:pt x="123" y="677"/>
                    </a:lnTo>
                    <a:lnTo>
                      <a:pt x="121" y="679"/>
                    </a:lnTo>
                    <a:lnTo>
                      <a:pt x="121" y="681"/>
                    </a:lnTo>
                    <a:lnTo>
                      <a:pt x="119" y="681"/>
                    </a:lnTo>
                    <a:lnTo>
                      <a:pt x="117" y="681"/>
                    </a:lnTo>
                    <a:lnTo>
                      <a:pt x="117" y="683"/>
                    </a:lnTo>
                    <a:lnTo>
                      <a:pt x="115" y="683"/>
                    </a:lnTo>
                    <a:lnTo>
                      <a:pt x="115" y="685"/>
                    </a:lnTo>
                    <a:lnTo>
                      <a:pt x="113" y="683"/>
                    </a:lnTo>
                    <a:lnTo>
                      <a:pt x="113" y="685"/>
                    </a:lnTo>
                    <a:lnTo>
                      <a:pt x="113" y="687"/>
                    </a:lnTo>
                    <a:lnTo>
                      <a:pt x="113" y="689"/>
                    </a:lnTo>
                    <a:lnTo>
                      <a:pt x="112" y="689"/>
                    </a:lnTo>
                    <a:lnTo>
                      <a:pt x="110" y="689"/>
                    </a:lnTo>
                    <a:lnTo>
                      <a:pt x="108" y="687"/>
                    </a:lnTo>
                    <a:lnTo>
                      <a:pt x="106" y="687"/>
                    </a:lnTo>
                    <a:lnTo>
                      <a:pt x="104" y="685"/>
                    </a:lnTo>
                    <a:lnTo>
                      <a:pt x="104" y="683"/>
                    </a:lnTo>
                    <a:lnTo>
                      <a:pt x="104" y="681"/>
                    </a:lnTo>
                    <a:lnTo>
                      <a:pt x="102" y="681"/>
                    </a:lnTo>
                    <a:lnTo>
                      <a:pt x="100" y="679"/>
                    </a:lnTo>
                    <a:lnTo>
                      <a:pt x="98" y="677"/>
                    </a:lnTo>
                    <a:lnTo>
                      <a:pt x="98" y="676"/>
                    </a:lnTo>
                    <a:lnTo>
                      <a:pt x="96" y="676"/>
                    </a:lnTo>
                    <a:lnTo>
                      <a:pt x="94" y="674"/>
                    </a:lnTo>
                    <a:lnTo>
                      <a:pt x="89" y="674"/>
                    </a:lnTo>
                    <a:lnTo>
                      <a:pt x="85" y="674"/>
                    </a:lnTo>
                    <a:lnTo>
                      <a:pt x="81" y="674"/>
                    </a:lnTo>
                    <a:lnTo>
                      <a:pt x="81" y="676"/>
                    </a:lnTo>
                    <a:lnTo>
                      <a:pt x="79" y="676"/>
                    </a:lnTo>
                    <a:lnTo>
                      <a:pt x="75" y="676"/>
                    </a:lnTo>
                    <a:lnTo>
                      <a:pt x="71" y="676"/>
                    </a:lnTo>
                    <a:lnTo>
                      <a:pt x="69" y="676"/>
                    </a:lnTo>
                    <a:lnTo>
                      <a:pt x="69" y="674"/>
                    </a:lnTo>
                    <a:lnTo>
                      <a:pt x="69" y="672"/>
                    </a:lnTo>
                    <a:lnTo>
                      <a:pt x="71" y="672"/>
                    </a:lnTo>
                    <a:lnTo>
                      <a:pt x="71" y="670"/>
                    </a:lnTo>
                    <a:lnTo>
                      <a:pt x="71" y="668"/>
                    </a:lnTo>
                    <a:lnTo>
                      <a:pt x="73" y="668"/>
                    </a:lnTo>
                    <a:lnTo>
                      <a:pt x="75" y="668"/>
                    </a:lnTo>
                    <a:lnTo>
                      <a:pt x="75" y="666"/>
                    </a:lnTo>
                    <a:lnTo>
                      <a:pt x="79" y="668"/>
                    </a:lnTo>
                    <a:lnTo>
                      <a:pt x="81" y="668"/>
                    </a:lnTo>
                    <a:lnTo>
                      <a:pt x="83" y="666"/>
                    </a:lnTo>
                    <a:lnTo>
                      <a:pt x="83" y="664"/>
                    </a:lnTo>
                    <a:lnTo>
                      <a:pt x="83" y="662"/>
                    </a:lnTo>
                    <a:lnTo>
                      <a:pt x="83" y="660"/>
                    </a:lnTo>
                    <a:lnTo>
                      <a:pt x="85" y="660"/>
                    </a:lnTo>
                    <a:lnTo>
                      <a:pt x="85" y="658"/>
                    </a:lnTo>
                    <a:lnTo>
                      <a:pt x="83" y="658"/>
                    </a:lnTo>
                    <a:lnTo>
                      <a:pt x="81" y="658"/>
                    </a:lnTo>
                    <a:lnTo>
                      <a:pt x="79" y="658"/>
                    </a:lnTo>
                    <a:lnTo>
                      <a:pt x="79" y="656"/>
                    </a:lnTo>
                    <a:lnTo>
                      <a:pt x="81" y="656"/>
                    </a:lnTo>
                    <a:lnTo>
                      <a:pt x="83" y="656"/>
                    </a:lnTo>
                    <a:lnTo>
                      <a:pt x="85" y="656"/>
                    </a:lnTo>
                    <a:lnTo>
                      <a:pt x="87" y="656"/>
                    </a:lnTo>
                    <a:lnTo>
                      <a:pt x="87" y="658"/>
                    </a:lnTo>
                    <a:lnTo>
                      <a:pt x="89" y="656"/>
                    </a:lnTo>
                    <a:lnTo>
                      <a:pt x="89" y="654"/>
                    </a:lnTo>
                    <a:lnTo>
                      <a:pt x="89" y="653"/>
                    </a:lnTo>
                    <a:lnTo>
                      <a:pt x="89" y="651"/>
                    </a:lnTo>
                    <a:lnTo>
                      <a:pt x="89" y="649"/>
                    </a:lnTo>
                    <a:lnTo>
                      <a:pt x="89" y="647"/>
                    </a:lnTo>
                    <a:lnTo>
                      <a:pt x="87" y="647"/>
                    </a:lnTo>
                    <a:lnTo>
                      <a:pt x="87" y="645"/>
                    </a:lnTo>
                    <a:lnTo>
                      <a:pt x="87" y="643"/>
                    </a:lnTo>
                    <a:lnTo>
                      <a:pt x="85" y="643"/>
                    </a:lnTo>
                    <a:lnTo>
                      <a:pt x="87" y="641"/>
                    </a:lnTo>
                    <a:lnTo>
                      <a:pt x="87" y="639"/>
                    </a:lnTo>
                    <a:lnTo>
                      <a:pt x="87" y="637"/>
                    </a:lnTo>
                    <a:lnTo>
                      <a:pt x="87" y="635"/>
                    </a:lnTo>
                    <a:lnTo>
                      <a:pt x="87" y="633"/>
                    </a:lnTo>
                    <a:lnTo>
                      <a:pt x="83" y="631"/>
                    </a:lnTo>
                    <a:lnTo>
                      <a:pt x="81" y="629"/>
                    </a:lnTo>
                    <a:lnTo>
                      <a:pt x="79" y="629"/>
                    </a:lnTo>
                    <a:lnTo>
                      <a:pt x="77" y="628"/>
                    </a:lnTo>
                    <a:lnTo>
                      <a:pt x="75" y="629"/>
                    </a:lnTo>
                    <a:lnTo>
                      <a:pt x="73" y="628"/>
                    </a:lnTo>
                    <a:lnTo>
                      <a:pt x="73" y="626"/>
                    </a:lnTo>
                    <a:lnTo>
                      <a:pt x="71" y="624"/>
                    </a:lnTo>
                    <a:lnTo>
                      <a:pt x="71" y="622"/>
                    </a:lnTo>
                    <a:lnTo>
                      <a:pt x="73" y="620"/>
                    </a:lnTo>
                    <a:lnTo>
                      <a:pt x="73" y="618"/>
                    </a:lnTo>
                    <a:lnTo>
                      <a:pt x="75" y="618"/>
                    </a:lnTo>
                    <a:lnTo>
                      <a:pt x="77" y="618"/>
                    </a:lnTo>
                    <a:lnTo>
                      <a:pt x="79" y="618"/>
                    </a:lnTo>
                    <a:lnTo>
                      <a:pt x="81" y="616"/>
                    </a:lnTo>
                    <a:lnTo>
                      <a:pt x="83" y="616"/>
                    </a:lnTo>
                    <a:lnTo>
                      <a:pt x="83" y="618"/>
                    </a:lnTo>
                    <a:lnTo>
                      <a:pt x="85" y="616"/>
                    </a:lnTo>
                    <a:lnTo>
                      <a:pt x="85" y="614"/>
                    </a:lnTo>
                    <a:lnTo>
                      <a:pt x="85" y="612"/>
                    </a:lnTo>
                    <a:lnTo>
                      <a:pt x="85" y="610"/>
                    </a:lnTo>
                    <a:lnTo>
                      <a:pt x="87" y="610"/>
                    </a:lnTo>
                    <a:lnTo>
                      <a:pt x="87" y="608"/>
                    </a:lnTo>
                    <a:lnTo>
                      <a:pt x="87" y="606"/>
                    </a:lnTo>
                    <a:lnTo>
                      <a:pt x="83" y="606"/>
                    </a:lnTo>
                    <a:lnTo>
                      <a:pt x="83" y="605"/>
                    </a:lnTo>
                    <a:lnTo>
                      <a:pt x="81" y="605"/>
                    </a:lnTo>
                    <a:lnTo>
                      <a:pt x="81" y="603"/>
                    </a:lnTo>
                    <a:lnTo>
                      <a:pt x="79" y="601"/>
                    </a:lnTo>
                    <a:lnTo>
                      <a:pt x="77" y="601"/>
                    </a:lnTo>
                    <a:lnTo>
                      <a:pt x="77" y="597"/>
                    </a:lnTo>
                    <a:lnTo>
                      <a:pt x="75" y="597"/>
                    </a:lnTo>
                    <a:lnTo>
                      <a:pt x="73" y="595"/>
                    </a:lnTo>
                    <a:lnTo>
                      <a:pt x="73" y="593"/>
                    </a:lnTo>
                    <a:lnTo>
                      <a:pt x="75" y="593"/>
                    </a:lnTo>
                    <a:lnTo>
                      <a:pt x="75" y="591"/>
                    </a:lnTo>
                    <a:lnTo>
                      <a:pt x="71" y="591"/>
                    </a:lnTo>
                    <a:lnTo>
                      <a:pt x="67" y="589"/>
                    </a:lnTo>
                    <a:lnTo>
                      <a:pt x="65" y="587"/>
                    </a:lnTo>
                    <a:lnTo>
                      <a:pt x="64" y="585"/>
                    </a:lnTo>
                    <a:lnTo>
                      <a:pt x="64" y="583"/>
                    </a:lnTo>
                    <a:lnTo>
                      <a:pt x="62" y="583"/>
                    </a:lnTo>
                    <a:lnTo>
                      <a:pt x="60" y="582"/>
                    </a:lnTo>
                    <a:lnTo>
                      <a:pt x="58" y="578"/>
                    </a:lnTo>
                    <a:lnTo>
                      <a:pt x="56" y="576"/>
                    </a:lnTo>
                    <a:lnTo>
                      <a:pt x="54" y="576"/>
                    </a:lnTo>
                    <a:lnTo>
                      <a:pt x="54" y="572"/>
                    </a:lnTo>
                    <a:lnTo>
                      <a:pt x="52" y="570"/>
                    </a:lnTo>
                    <a:lnTo>
                      <a:pt x="54" y="568"/>
                    </a:lnTo>
                    <a:lnTo>
                      <a:pt x="54" y="566"/>
                    </a:lnTo>
                    <a:lnTo>
                      <a:pt x="56" y="564"/>
                    </a:lnTo>
                    <a:lnTo>
                      <a:pt x="56" y="562"/>
                    </a:lnTo>
                    <a:lnTo>
                      <a:pt x="58" y="562"/>
                    </a:lnTo>
                    <a:lnTo>
                      <a:pt x="60" y="564"/>
                    </a:lnTo>
                    <a:lnTo>
                      <a:pt x="62" y="562"/>
                    </a:lnTo>
                    <a:lnTo>
                      <a:pt x="62" y="560"/>
                    </a:lnTo>
                    <a:lnTo>
                      <a:pt x="60" y="560"/>
                    </a:lnTo>
                    <a:lnTo>
                      <a:pt x="60" y="558"/>
                    </a:lnTo>
                    <a:lnTo>
                      <a:pt x="60" y="557"/>
                    </a:lnTo>
                    <a:lnTo>
                      <a:pt x="58" y="557"/>
                    </a:lnTo>
                    <a:lnTo>
                      <a:pt x="58" y="555"/>
                    </a:lnTo>
                    <a:lnTo>
                      <a:pt x="56" y="553"/>
                    </a:lnTo>
                    <a:lnTo>
                      <a:pt x="56" y="551"/>
                    </a:lnTo>
                    <a:lnTo>
                      <a:pt x="58" y="551"/>
                    </a:lnTo>
                    <a:lnTo>
                      <a:pt x="56" y="549"/>
                    </a:lnTo>
                    <a:lnTo>
                      <a:pt x="54" y="549"/>
                    </a:lnTo>
                    <a:lnTo>
                      <a:pt x="52" y="547"/>
                    </a:lnTo>
                    <a:lnTo>
                      <a:pt x="46" y="545"/>
                    </a:lnTo>
                    <a:lnTo>
                      <a:pt x="44" y="545"/>
                    </a:lnTo>
                    <a:lnTo>
                      <a:pt x="41" y="543"/>
                    </a:lnTo>
                    <a:lnTo>
                      <a:pt x="41" y="541"/>
                    </a:lnTo>
                    <a:lnTo>
                      <a:pt x="42" y="541"/>
                    </a:lnTo>
                    <a:lnTo>
                      <a:pt x="41" y="541"/>
                    </a:lnTo>
                    <a:lnTo>
                      <a:pt x="39" y="539"/>
                    </a:lnTo>
                    <a:lnTo>
                      <a:pt x="37" y="539"/>
                    </a:lnTo>
                    <a:lnTo>
                      <a:pt x="37" y="537"/>
                    </a:lnTo>
                    <a:lnTo>
                      <a:pt x="35" y="537"/>
                    </a:lnTo>
                    <a:lnTo>
                      <a:pt x="33" y="537"/>
                    </a:lnTo>
                    <a:lnTo>
                      <a:pt x="33" y="539"/>
                    </a:lnTo>
                    <a:lnTo>
                      <a:pt x="33" y="537"/>
                    </a:lnTo>
                    <a:lnTo>
                      <a:pt x="31" y="537"/>
                    </a:lnTo>
                    <a:lnTo>
                      <a:pt x="31" y="535"/>
                    </a:lnTo>
                    <a:lnTo>
                      <a:pt x="31" y="534"/>
                    </a:lnTo>
                    <a:lnTo>
                      <a:pt x="31" y="532"/>
                    </a:lnTo>
                    <a:lnTo>
                      <a:pt x="31" y="530"/>
                    </a:lnTo>
                    <a:lnTo>
                      <a:pt x="33" y="526"/>
                    </a:lnTo>
                    <a:lnTo>
                      <a:pt x="33" y="524"/>
                    </a:lnTo>
                    <a:lnTo>
                      <a:pt x="33" y="522"/>
                    </a:lnTo>
                    <a:lnTo>
                      <a:pt x="33" y="518"/>
                    </a:lnTo>
                    <a:lnTo>
                      <a:pt x="33" y="514"/>
                    </a:lnTo>
                    <a:lnTo>
                      <a:pt x="33" y="510"/>
                    </a:lnTo>
                    <a:lnTo>
                      <a:pt x="31" y="510"/>
                    </a:lnTo>
                    <a:lnTo>
                      <a:pt x="29" y="509"/>
                    </a:lnTo>
                    <a:lnTo>
                      <a:pt x="27" y="509"/>
                    </a:lnTo>
                    <a:lnTo>
                      <a:pt x="27" y="507"/>
                    </a:lnTo>
                    <a:lnTo>
                      <a:pt x="25" y="507"/>
                    </a:lnTo>
                    <a:lnTo>
                      <a:pt x="25" y="505"/>
                    </a:lnTo>
                    <a:lnTo>
                      <a:pt x="25" y="501"/>
                    </a:lnTo>
                    <a:lnTo>
                      <a:pt x="25" y="499"/>
                    </a:lnTo>
                    <a:lnTo>
                      <a:pt x="25" y="495"/>
                    </a:lnTo>
                    <a:lnTo>
                      <a:pt x="25" y="493"/>
                    </a:lnTo>
                    <a:lnTo>
                      <a:pt x="25" y="491"/>
                    </a:lnTo>
                    <a:lnTo>
                      <a:pt x="23" y="491"/>
                    </a:lnTo>
                    <a:lnTo>
                      <a:pt x="21" y="491"/>
                    </a:lnTo>
                    <a:lnTo>
                      <a:pt x="21" y="489"/>
                    </a:lnTo>
                    <a:lnTo>
                      <a:pt x="21" y="487"/>
                    </a:lnTo>
                    <a:lnTo>
                      <a:pt x="23" y="487"/>
                    </a:lnTo>
                    <a:lnTo>
                      <a:pt x="25" y="487"/>
                    </a:lnTo>
                    <a:lnTo>
                      <a:pt x="27" y="486"/>
                    </a:lnTo>
                    <a:lnTo>
                      <a:pt x="29" y="486"/>
                    </a:lnTo>
                    <a:lnTo>
                      <a:pt x="29" y="484"/>
                    </a:lnTo>
                    <a:lnTo>
                      <a:pt x="27" y="484"/>
                    </a:lnTo>
                    <a:lnTo>
                      <a:pt x="23" y="484"/>
                    </a:lnTo>
                    <a:lnTo>
                      <a:pt x="23" y="482"/>
                    </a:lnTo>
                    <a:lnTo>
                      <a:pt x="21" y="482"/>
                    </a:lnTo>
                    <a:lnTo>
                      <a:pt x="19" y="480"/>
                    </a:lnTo>
                    <a:lnTo>
                      <a:pt x="16" y="482"/>
                    </a:lnTo>
                    <a:lnTo>
                      <a:pt x="12" y="476"/>
                    </a:lnTo>
                    <a:lnTo>
                      <a:pt x="10" y="476"/>
                    </a:lnTo>
                    <a:lnTo>
                      <a:pt x="10" y="474"/>
                    </a:lnTo>
                    <a:lnTo>
                      <a:pt x="12" y="474"/>
                    </a:lnTo>
                    <a:lnTo>
                      <a:pt x="12" y="472"/>
                    </a:lnTo>
                    <a:lnTo>
                      <a:pt x="10" y="472"/>
                    </a:lnTo>
                    <a:lnTo>
                      <a:pt x="10" y="470"/>
                    </a:lnTo>
                    <a:lnTo>
                      <a:pt x="8" y="470"/>
                    </a:lnTo>
                    <a:lnTo>
                      <a:pt x="8" y="468"/>
                    </a:lnTo>
                    <a:lnTo>
                      <a:pt x="10" y="466"/>
                    </a:lnTo>
                    <a:lnTo>
                      <a:pt x="10" y="464"/>
                    </a:lnTo>
                    <a:lnTo>
                      <a:pt x="10" y="462"/>
                    </a:lnTo>
                    <a:lnTo>
                      <a:pt x="8" y="461"/>
                    </a:lnTo>
                    <a:lnTo>
                      <a:pt x="10" y="459"/>
                    </a:lnTo>
                    <a:lnTo>
                      <a:pt x="12" y="457"/>
                    </a:lnTo>
                    <a:lnTo>
                      <a:pt x="14" y="455"/>
                    </a:lnTo>
                    <a:lnTo>
                      <a:pt x="16" y="453"/>
                    </a:lnTo>
                    <a:lnTo>
                      <a:pt x="17" y="449"/>
                    </a:lnTo>
                    <a:lnTo>
                      <a:pt x="19" y="447"/>
                    </a:lnTo>
                    <a:lnTo>
                      <a:pt x="23" y="445"/>
                    </a:lnTo>
                    <a:lnTo>
                      <a:pt x="21" y="443"/>
                    </a:lnTo>
                    <a:lnTo>
                      <a:pt x="19" y="441"/>
                    </a:lnTo>
                    <a:lnTo>
                      <a:pt x="21" y="439"/>
                    </a:lnTo>
                    <a:lnTo>
                      <a:pt x="21" y="438"/>
                    </a:lnTo>
                    <a:lnTo>
                      <a:pt x="21" y="439"/>
                    </a:lnTo>
                    <a:lnTo>
                      <a:pt x="19" y="439"/>
                    </a:lnTo>
                    <a:lnTo>
                      <a:pt x="19" y="438"/>
                    </a:lnTo>
                    <a:lnTo>
                      <a:pt x="19" y="436"/>
                    </a:lnTo>
                    <a:lnTo>
                      <a:pt x="21" y="434"/>
                    </a:lnTo>
                    <a:lnTo>
                      <a:pt x="19" y="434"/>
                    </a:lnTo>
                    <a:lnTo>
                      <a:pt x="19" y="436"/>
                    </a:lnTo>
                    <a:lnTo>
                      <a:pt x="17" y="434"/>
                    </a:lnTo>
                    <a:lnTo>
                      <a:pt x="16" y="434"/>
                    </a:lnTo>
                    <a:lnTo>
                      <a:pt x="16" y="436"/>
                    </a:lnTo>
                    <a:lnTo>
                      <a:pt x="14" y="436"/>
                    </a:lnTo>
                    <a:lnTo>
                      <a:pt x="14" y="438"/>
                    </a:lnTo>
                    <a:lnTo>
                      <a:pt x="12" y="438"/>
                    </a:lnTo>
                    <a:lnTo>
                      <a:pt x="12" y="436"/>
                    </a:lnTo>
                    <a:lnTo>
                      <a:pt x="10" y="436"/>
                    </a:lnTo>
                    <a:lnTo>
                      <a:pt x="8" y="438"/>
                    </a:lnTo>
                    <a:lnTo>
                      <a:pt x="8" y="436"/>
                    </a:lnTo>
                    <a:lnTo>
                      <a:pt x="6" y="434"/>
                    </a:lnTo>
                    <a:lnTo>
                      <a:pt x="6" y="432"/>
                    </a:lnTo>
                    <a:lnTo>
                      <a:pt x="6" y="430"/>
                    </a:lnTo>
                    <a:lnTo>
                      <a:pt x="4" y="428"/>
                    </a:lnTo>
                    <a:lnTo>
                      <a:pt x="4" y="426"/>
                    </a:lnTo>
                    <a:lnTo>
                      <a:pt x="4" y="424"/>
                    </a:lnTo>
                    <a:lnTo>
                      <a:pt x="2" y="424"/>
                    </a:lnTo>
                    <a:lnTo>
                      <a:pt x="2" y="422"/>
                    </a:lnTo>
                    <a:lnTo>
                      <a:pt x="2" y="420"/>
                    </a:lnTo>
                    <a:lnTo>
                      <a:pt x="2" y="418"/>
                    </a:lnTo>
                    <a:lnTo>
                      <a:pt x="0" y="418"/>
                    </a:lnTo>
                    <a:lnTo>
                      <a:pt x="2" y="418"/>
                    </a:lnTo>
                    <a:lnTo>
                      <a:pt x="4" y="418"/>
                    </a:lnTo>
                    <a:lnTo>
                      <a:pt x="4" y="420"/>
                    </a:lnTo>
                    <a:lnTo>
                      <a:pt x="6" y="420"/>
                    </a:lnTo>
                    <a:lnTo>
                      <a:pt x="6" y="422"/>
                    </a:lnTo>
                    <a:lnTo>
                      <a:pt x="8" y="422"/>
                    </a:lnTo>
                    <a:lnTo>
                      <a:pt x="6" y="422"/>
                    </a:lnTo>
                    <a:lnTo>
                      <a:pt x="6" y="420"/>
                    </a:lnTo>
                    <a:lnTo>
                      <a:pt x="8" y="420"/>
                    </a:lnTo>
                    <a:lnTo>
                      <a:pt x="10" y="420"/>
                    </a:lnTo>
                    <a:lnTo>
                      <a:pt x="10" y="418"/>
                    </a:lnTo>
                    <a:lnTo>
                      <a:pt x="10" y="416"/>
                    </a:lnTo>
                    <a:lnTo>
                      <a:pt x="10" y="414"/>
                    </a:lnTo>
                    <a:lnTo>
                      <a:pt x="12" y="411"/>
                    </a:lnTo>
                    <a:lnTo>
                      <a:pt x="12" y="409"/>
                    </a:lnTo>
                    <a:lnTo>
                      <a:pt x="14" y="407"/>
                    </a:lnTo>
                    <a:lnTo>
                      <a:pt x="16" y="403"/>
                    </a:lnTo>
                    <a:lnTo>
                      <a:pt x="17" y="403"/>
                    </a:lnTo>
                    <a:lnTo>
                      <a:pt x="17" y="405"/>
                    </a:lnTo>
                    <a:lnTo>
                      <a:pt x="19" y="405"/>
                    </a:lnTo>
                    <a:lnTo>
                      <a:pt x="21" y="405"/>
                    </a:lnTo>
                    <a:lnTo>
                      <a:pt x="21" y="407"/>
                    </a:lnTo>
                    <a:lnTo>
                      <a:pt x="23" y="407"/>
                    </a:lnTo>
                    <a:lnTo>
                      <a:pt x="25" y="407"/>
                    </a:lnTo>
                    <a:lnTo>
                      <a:pt x="25" y="405"/>
                    </a:lnTo>
                    <a:lnTo>
                      <a:pt x="23" y="403"/>
                    </a:lnTo>
                    <a:lnTo>
                      <a:pt x="23" y="401"/>
                    </a:lnTo>
                    <a:lnTo>
                      <a:pt x="23" y="397"/>
                    </a:lnTo>
                    <a:lnTo>
                      <a:pt x="25" y="397"/>
                    </a:lnTo>
                    <a:lnTo>
                      <a:pt x="25" y="395"/>
                    </a:lnTo>
                    <a:lnTo>
                      <a:pt x="31" y="395"/>
                    </a:lnTo>
                    <a:lnTo>
                      <a:pt x="33" y="395"/>
                    </a:lnTo>
                    <a:lnTo>
                      <a:pt x="35" y="395"/>
                    </a:lnTo>
                    <a:lnTo>
                      <a:pt x="37" y="395"/>
                    </a:lnTo>
                    <a:lnTo>
                      <a:pt x="39" y="395"/>
                    </a:lnTo>
                    <a:lnTo>
                      <a:pt x="39" y="391"/>
                    </a:lnTo>
                    <a:lnTo>
                      <a:pt x="37" y="390"/>
                    </a:lnTo>
                    <a:lnTo>
                      <a:pt x="35" y="388"/>
                    </a:lnTo>
                    <a:lnTo>
                      <a:pt x="35" y="386"/>
                    </a:lnTo>
                    <a:lnTo>
                      <a:pt x="35" y="384"/>
                    </a:lnTo>
                    <a:lnTo>
                      <a:pt x="35" y="382"/>
                    </a:lnTo>
                    <a:lnTo>
                      <a:pt x="35" y="380"/>
                    </a:lnTo>
                    <a:lnTo>
                      <a:pt x="37" y="380"/>
                    </a:lnTo>
                    <a:lnTo>
                      <a:pt x="37" y="378"/>
                    </a:lnTo>
                    <a:lnTo>
                      <a:pt x="37" y="376"/>
                    </a:lnTo>
                    <a:lnTo>
                      <a:pt x="39" y="374"/>
                    </a:lnTo>
                    <a:lnTo>
                      <a:pt x="37" y="374"/>
                    </a:lnTo>
                    <a:lnTo>
                      <a:pt x="39" y="372"/>
                    </a:lnTo>
                    <a:lnTo>
                      <a:pt x="39" y="370"/>
                    </a:lnTo>
                    <a:lnTo>
                      <a:pt x="39" y="368"/>
                    </a:lnTo>
                    <a:lnTo>
                      <a:pt x="41" y="368"/>
                    </a:lnTo>
                    <a:lnTo>
                      <a:pt x="41" y="370"/>
                    </a:lnTo>
                    <a:lnTo>
                      <a:pt x="41" y="368"/>
                    </a:lnTo>
                    <a:lnTo>
                      <a:pt x="41" y="366"/>
                    </a:lnTo>
                    <a:lnTo>
                      <a:pt x="41" y="365"/>
                    </a:lnTo>
                    <a:lnTo>
                      <a:pt x="42" y="361"/>
                    </a:lnTo>
                    <a:lnTo>
                      <a:pt x="39" y="359"/>
                    </a:lnTo>
                    <a:lnTo>
                      <a:pt x="37" y="359"/>
                    </a:lnTo>
                    <a:lnTo>
                      <a:pt x="37" y="353"/>
                    </a:lnTo>
                    <a:lnTo>
                      <a:pt x="37" y="351"/>
                    </a:lnTo>
                    <a:lnTo>
                      <a:pt x="39" y="351"/>
                    </a:lnTo>
                    <a:lnTo>
                      <a:pt x="41" y="353"/>
                    </a:lnTo>
                    <a:lnTo>
                      <a:pt x="42" y="353"/>
                    </a:lnTo>
                    <a:lnTo>
                      <a:pt x="44" y="353"/>
                    </a:lnTo>
                    <a:lnTo>
                      <a:pt x="44" y="351"/>
                    </a:lnTo>
                    <a:lnTo>
                      <a:pt x="46" y="351"/>
                    </a:lnTo>
                    <a:lnTo>
                      <a:pt x="48" y="351"/>
                    </a:lnTo>
                    <a:lnTo>
                      <a:pt x="48" y="353"/>
                    </a:lnTo>
                    <a:lnTo>
                      <a:pt x="50" y="351"/>
                    </a:lnTo>
                    <a:lnTo>
                      <a:pt x="50" y="353"/>
                    </a:lnTo>
                    <a:lnTo>
                      <a:pt x="48" y="353"/>
                    </a:lnTo>
                    <a:lnTo>
                      <a:pt x="48" y="355"/>
                    </a:lnTo>
                    <a:lnTo>
                      <a:pt x="46" y="355"/>
                    </a:lnTo>
                    <a:lnTo>
                      <a:pt x="46" y="357"/>
                    </a:lnTo>
                    <a:lnTo>
                      <a:pt x="44" y="357"/>
                    </a:lnTo>
                    <a:lnTo>
                      <a:pt x="44" y="359"/>
                    </a:lnTo>
                    <a:lnTo>
                      <a:pt x="42" y="359"/>
                    </a:lnTo>
                    <a:lnTo>
                      <a:pt x="42" y="361"/>
                    </a:lnTo>
                    <a:lnTo>
                      <a:pt x="44" y="361"/>
                    </a:lnTo>
                    <a:lnTo>
                      <a:pt x="44" y="363"/>
                    </a:lnTo>
                    <a:lnTo>
                      <a:pt x="46" y="363"/>
                    </a:lnTo>
                    <a:lnTo>
                      <a:pt x="46" y="365"/>
                    </a:lnTo>
                    <a:lnTo>
                      <a:pt x="46" y="366"/>
                    </a:lnTo>
                    <a:lnTo>
                      <a:pt x="48" y="366"/>
                    </a:lnTo>
                    <a:lnTo>
                      <a:pt x="48" y="368"/>
                    </a:lnTo>
                    <a:lnTo>
                      <a:pt x="50" y="370"/>
                    </a:lnTo>
                    <a:lnTo>
                      <a:pt x="50" y="372"/>
                    </a:lnTo>
                    <a:lnTo>
                      <a:pt x="54" y="370"/>
                    </a:lnTo>
                    <a:lnTo>
                      <a:pt x="56" y="370"/>
                    </a:lnTo>
                    <a:lnTo>
                      <a:pt x="58" y="370"/>
                    </a:lnTo>
                    <a:lnTo>
                      <a:pt x="64" y="370"/>
                    </a:lnTo>
                    <a:lnTo>
                      <a:pt x="65" y="370"/>
                    </a:lnTo>
                    <a:lnTo>
                      <a:pt x="65" y="372"/>
                    </a:lnTo>
                    <a:lnTo>
                      <a:pt x="65" y="374"/>
                    </a:lnTo>
                    <a:lnTo>
                      <a:pt x="67" y="374"/>
                    </a:lnTo>
                    <a:lnTo>
                      <a:pt x="69" y="372"/>
                    </a:lnTo>
                    <a:lnTo>
                      <a:pt x="71" y="372"/>
                    </a:lnTo>
                    <a:lnTo>
                      <a:pt x="73" y="372"/>
                    </a:lnTo>
                    <a:lnTo>
                      <a:pt x="75" y="372"/>
                    </a:lnTo>
                    <a:lnTo>
                      <a:pt x="77" y="370"/>
                    </a:lnTo>
                    <a:lnTo>
                      <a:pt x="79" y="372"/>
                    </a:lnTo>
                    <a:lnTo>
                      <a:pt x="81" y="372"/>
                    </a:lnTo>
                    <a:lnTo>
                      <a:pt x="83" y="372"/>
                    </a:lnTo>
                    <a:lnTo>
                      <a:pt x="85" y="372"/>
                    </a:lnTo>
                    <a:lnTo>
                      <a:pt x="85" y="370"/>
                    </a:lnTo>
                    <a:lnTo>
                      <a:pt x="85" y="368"/>
                    </a:lnTo>
                    <a:lnTo>
                      <a:pt x="83" y="368"/>
                    </a:lnTo>
                    <a:lnTo>
                      <a:pt x="83" y="366"/>
                    </a:lnTo>
                    <a:lnTo>
                      <a:pt x="85" y="366"/>
                    </a:lnTo>
                    <a:lnTo>
                      <a:pt x="87" y="366"/>
                    </a:lnTo>
                    <a:lnTo>
                      <a:pt x="89" y="366"/>
                    </a:lnTo>
                    <a:lnTo>
                      <a:pt x="89" y="365"/>
                    </a:lnTo>
                    <a:lnTo>
                      <a:pt x="90" y="363"/>
                    </a:lnTo>
                    <a:lnTo>
                      <a:pt x="92" y="361"/>
                    </a:lnTo>
                    <a:lnTo>
                      <a:pt x="92" y="359"/>
                    </a:lnTo>
                    <a:lnTo>
                      <a:pt x="94" y="357"/>
                    </a:lnTo>
                    <a:lnTo>
                      <a:pt x="96" y="357"/>
                    </a:lnTo>
                    <a:lnTo>
                      <a:pt x="96" y="355"/>
                    </a:lnTo>
                    <a:lnTo>
                      <a:pt x="98" y="353"/>
                    </a:lnTo>
                    <a:lnTo>
                      <a:pt x="100" y="351"/>
                    </a:lnTo>
                    <a:lnTo>
                      <a:pt x="100" y="349"/>
                    </a:lnTo>
                    <a:lnTo>
                      <a:pt x="102" y="349"/>
                    </a:lnTo>
                    <a:lnTo>
                      <a:pt x="104" y="349"/>
                    </a:lnTo>
                    <a:lnTo>
                      <a:pt x="106" y="349"/>
                    </a:lnTo>
                    <a:lnTo>
                      <a:pt x="106" y="347"/>
                    </a:lnTo>
                    <a:lnTo>
                      <a:pt x="108" y="347"/>
                    </a:lnTo>
                    <a:lnTo>
                      <a:pt x="108" y="345"/>
                    </a:lnTo>
                    <a:lnTo>
                      <a:pt x="108" y="343"/>
                    </a:lnTo>
                    <a:lnTo>
                      <a:pt x="108" y="340"/>
                    </a:lnTo>
                    <a:lnTo>
                      <a:pt x="110" y="338"/>
                    </a:lnTo>
                    <a:lnTo>
                      <a:pt x="110" y="336"/>
                    </a:lnTo>
                    <a:lnTo>
                      <a:pt x="110" y="334"/>
                    </a:lnTo>
                    <a:lnTo>
                      <a:pt x="110" y="332"/>
                    </a:lnTo>
                    <a:lnTo>
                      <a:pt x="108" y="330"/>
                    </a:lnTo>
                    <a:lnTo>
                      <a:pt x="108" y="328"/>
                    </a:lnTo>
                    <a:lnTo>
                      <a:pt x="106" y="326"/>
                    </a:lnTo>
                    <a:lnTo>
                      <a:pt x="108" y="326"/>
                    </a:lnTo>
                    <a:lnTo>
                      <a:pt x="108" y="324"/>
                    </a:lnTo>
                    <a:lnTo>
                      <a:pt x="108" y="322"/>
                    </a:lnTo>
                    <a:lnTo>
                      <a:pt x="110" y="322"/>
                    </a:lnTo>
                    <a:lnTo>
                      <a:pt x="110" y="324"/>
                    </a:lnTo>
                    <a:lnTo>
                      <a:pt x="112" y="324"/>
                    </a:lnTo>
                    <a:lnTo>
                      <a:pt x="113" y="324"/>
                    </a:lnTo>
                    <a:lnTo>
                      <a:pt x="115" y="322"/>
                    </a:lnTo>
                    <a:lnTo>
                      <a:pt x="117" y="322"/>
                    </a:lnTo>
                    <a:lnTo>
                      <a:pt x="119" y="322"/>
                    </a:lnTo>
                    <a:lnTo>
                      <a:pt x="121" y="322"/>
                    </a:lnTo>
                    <a:lnTo>
                      <a:pt x="123" y="322"/>
                    </a:lnTo>
                    <a:lnTo>
                      <a:pt x="125" y="322"/>
                    </a:lnTo>
                    <a:lnTo>
                      <a:pt x="125" y="320"/>
                    </a:lnTo>
                    <a:lnTo>
                      <a:pt x="125" y="318"/>
                    </a:lnTo>
                    <a:lnTo>
                      <a:pt x="127" y="318"/>
                    </a:lnTo>
                    <a:lnTo>
                      <a:pt x="127" y="317"/>
                    </a:lnTo>
                    <a:lnTo>
                      <a:pt x="129" y="317"/>
                    </a:lnTo>
                    <a:lnTo>
                      <a:pt x="129" y="318"/>
                    </a:lnTo>
                    <a:lnTo>
                      <a:pt x="129" y="317"/>
                    </a:lnTo>
                    <a:lnTo>
                      <a:pt x="131" y="315"/>
                    </a:lnTo>
                    <a:lnTo>
                      <a:pt x="133" y="317"/>
                    </a:lnTo>
                    <a:lnTo>
                      <a:pt x="137" y="318"/>
                    </a:lnTo>
                    <a:lnTo>
                      <a:pt x="142" y="320"/>
                    </a:lnTo>
                    <a:lnTo>
                      <a:pt x="142" y="322"/>
                    </a:lnTo>
                    <a:lnTo>
                      <a:pt x="144" y="322"/>
                    </a:lnTo>
                    <a:lnTo>
                      <a:pt x="144" y="324"/>
                    </a:lnTo>
                    <a:lnTo>
                      <a:pt x="146" y="324"/>
                    </a:lnTo>
                    <a:lnTo>
                      <a:pt x="146" y="326"/>
                    </a:lnTo>
                    <a:lnTo>
                      <a:pt x="146" y="328"/>
                    </a:lnTo>
                    <a:lnTo>
                      <a:pt x="146" y="330"/>
                    </a:lnTo>
                    <a:lnTo>
                      <a:pt x="146" y="332"/>
                    </a:lnTo>
                    <a:lnTo>
                      <a:pt x="144" y="332"/>
                    </a:lnTo>
                    <a:lnTo>
                      <a:pt x="144" y="334"/>
                    </a:lnTo>
                    <a:lnTo>
                      <a:pt x="146" y="334"/>
                    </a:lnTo>
                    <a:lnTo>
                      <a:pt x="146" y="336"/>
                    </a:lnTo>
                    <a:lnTo>
                      <a:pt x="146" y="338"/>
                    </a:lnTo>
                    <a:lnTo>
                      <a:pt x="146" y="340"/>
                    </a:lnTo>
                    <a:lnTo>
                      <a:pt x="148" y="340"/>
                    </a:lnTo>
                    <a:lnTo>
                      <a:pt x="148" y="342"/>
                    </a:lnTo>
                    <a:lnTo>
                      <a:pt x="148" y="343"/>
                    </a:lnTo>
                    <a:lnTo>
                      <a:pt x="150" y="343"/>
                    </a:lnTo>
                    <a:lnTo>
                      <a:pt x="150" y="345"/>
                    </a:lnTo>
                    <a:lnTo>
                      <a:pt x="152" y="345"/>
                    </a:lnTo>
                    <a:lnTo>
                      <a:pt x="152" y="343"/>
                    </a:lnTo>
                    <a:lnTo>
                      <a:pt x="154" y="343"/>
                    </a:lnTo>
                    <a:lnTo>
                      <a:pt x="154" y="342"/>
                    </a:lnTo>
                    <a:lnTo>
                      <a:pt x="154" y="340"/>
                    </a:lnTo>
                    <a:lnTo>
                      <a:pt x="156" y="340"/>
                    </a:lnTo>
                    <a:lnTo>
                      <a:pt x="156" y="338"/>
                    </a:lnTo>
                    <a:lnTo>
                      <a:pt x="154" y="336"/>
                    </a:lnTo>
                    <a:lnTo>
                      <a:pt x="154" y="334"/>
                    </a:lnTo>
                    <a:lnTo>
                      <a:pt x="154" y="332"/>
                    </a:lnTo>
                    <a:lnTo>
                      <a:pt x="152" y="332"/>
                    </a:lnTo>
                    <a:lnTo>
                      <a:pt x="152" y="330"/>
                    </a:lnTo>
                    <a:lnTo>
                      <a:pt x="154" y="330"/>
                    </a:lnTo>
                    <a:lnTo>
                      <a:pt x="154" y="328"/>
                    </a:lnTo>
                    <a:lnTo>
                      <a:pt x="154" y="330"/>
                    </a:lnTo>
                    <a:lnTo>
                      <a:pt x="156" y="330"/>
                    </a:lnTo>
                    <a:lnTo>
                      <a:pt x="156" y="328"/>
                    </a:lnTo>
                    <a:lnTo>
                      <a:pt x="158" y="328"/>
                    </a:lnTo>
                    <a:lnTo>
                      <a:pt x="160" y="328"/>
                    </a:lnTo>
                    <a:lnTo>
                      <a:pt x="160" y="326"/>
                    </a:lnTo>
                    <a:lnTo>
                      <a:pt x="160" y="322"/>
                    </a:lnTo>
                    <a:lnTo>
                      <a:pt x="161" y="320"/>
                    </a:lnTo>
                    <a:lnTo>
                      <a:pt x="163" y="320"/>
                    </a:lnTo>
                    <a:lnTo>
                      <a:pt x="163" y="318"/>
                    </a:lnTo>
                    <a:lnTo>
                      <a:pt x="163" y="320"/>
                    </a:lnTo>
                    <a:lnTo>
                      <a:pt x="163" y="322"/>
                    </a:lnTo>
                    <a:lnTo>
                      <a:pt x="165" y="322"/>
                    </a:lnTo>
                    <a:lnTo>
                      <a:pt x="167" y="322"/>
                    </a:lnTo>
                    <a:lnTo>
                      <a:pt x="169" y="322"/>
                    </a:lnTo>
                    <a:lnTo>
                      <a:pt x="171" y="322"/>
                    </a:lnTo>
                    <a:lnTo>
                      <a:pt x="173" y="322"/>
                    </a:lnTo>
                    <a:lnTo>
                      <a:pt x="177" y="324"/>
                    </a:lnTo>
                    <a:lnTo>
                      <a:pt x="179" y="324"/>
                    </a:lnTo>
                    <a:lnTo>
                      <a:pt x="177" y="326"/>
                    </a:lnTo>
                    <a:lnTo>
                      <a:pt x="177" y="330"/>
                    </a:lnTo>
                    <a:lnTo>
                      <a:pt x="175" y="334"/>
                    </a:lnTo>
                    <a:lnTo>
                      <a:pt x="175" y="336"/>
                    </a:lnTo>
                    <a:lnTo>
                      <a:pt x="175" y="338"/>
                    </a:lnTo>
                    <a:lnTo>
                      <a:pt x="175" y="340"/>
                    </a:lnTo>
                    <a:lnTo>
                      <a:pt x="173" y="342"/>
                    </a:lnTo>
                    <a:lnTo>
                      <a:pt x="173" y="343"/>
                    </a:lnTo>
                    <a:lnTo>
                      <a:pt x="173" y="345"/>
                    </a:lnTo>
                    <a:lnTo>
                      <a:pt x="175" y="347"/>
                    </a:lnTo>
                    <a:lnTo>
                      <a:pt x="177" y="347"/>
                    </a:lnTo>
                    <a:lnTo>
                      <a:pt x="179" y="347"/>
                    </a:lnTo>
                    <a:lnTo>
                      <a:pt x="181" y="347"/>
                    </a:lnTo>
                    <a:lnTo>
                      <a:pt x="183" y="349"/>
                    </a:lnTo>
                    <a:lnTo>
                      <a:pt x="185" y="349"/>
                    </a:lnTo>
                    <a:lnTo>
                      <a:pt x="186" y="349"/>
                    </a:lnTo>
                    <a:lnTo>
                      <a:pt x="188" y="349"/>
                    </a:lnTo>
                    <a:lnTo>
                      <a:pt x="190" y="349"/>
                    </a:lnTo>
                    <a:lnTo>
                      <a:pt x="190" y="351"/>
                    </a:lnTo>
                    <a:lnTo>
                      <a:pt x="190" y="349"/>
                    </a:lnTo>
                    <a:lnTo>
                      <a:pt x="192" y="349"/>
                    </a:lnTo>
                    <a:lnTo>
                      <a:pt x="194" y="351"/>
                    </a:lnTo>
                    <a:lnTo>
                      <a:pt x="198" y="351"/>
                    </a:lnTo>
                    <a:lnTo>
                      <a:pt x="202" y="353"/>
                    </a:lnTo>
                    <a:lnTo>
                      <a:pt x="204" y="353"/>
                    </a:lnTo>
                    <a:lnTo>
                      <a:pt x="206" y="355"/>
                    </a:lnTo>
                    <a:lnTo>
                      <a:pt x="208" y="355"/>
                    </a:lnTo>
                    <a:lnTo>
                      <a:pt x="210" y="357"/>
                    </a:lnTo>
                    <a:lnTo>
                      <a:pt x="211" y="357"/>
                    </a:lnTo>
                    <a:lnTo>
                      <a:pt x="217" y="359"/>
                    </a:lnTo>
                    <a:lnTo>
                      <a:pt x="219" y="359"/>
                    </a:lnTo>
                    <a:lnTo>
                      <a:pt x="221" y="359"/>
                    </a:lnTo>
                    <a:lnTo>
                      <a:pt x="221" y="361"/>
                    </a:lnTo>
                    <a:lnTo>
                      <a:pt x="219" y="361"/>
                    </a:lnTo>
                    <a:lnTo>
                      <a:pt x="219" y="363"/>
                    </a:lnTo>
                    <a:lnTo>
                      <a:pt x="219" y="365"/>
                    </a:lnTo>
                    <a:lnTo>
                      <a:pt x="221" y="365"/>
                    </a:lnTo>
                    <a:lnTo>
                      <a:pt x="221" y="366"/>
                    </a:lnTo>
                    <a:lnTo>
                      <a:pt x="221" y="368"/>
                    </a:lnTo>
                    <a:lnTo>
                      <a:pt x="223" y="366"/>
                    </a:lnTo>
                    <a:lnTo>
                      <a:pt x="223" y="365"/>
                    </a:lnTo>
                    <a:lnTo>
                      <a:pt x="223" y="363"/>
                    </a:lnTo>
                    <a:lnTo>
                      <a:pt x="225" y="361"/>
                    </a:lnTo>
                    <a:lnTo>
                      <a:pt x="225" y="359"/>
                    </a:lnTo>
                    <a:lnTo>
                      <a:pt x="227" y="357"/>
                    </a:lnTo>
                    <a:lnTo>
                      <a:pt x="227" y="355"/>
                    </a:lnTo>
                    <a:lnTo>
                      <a:pt x="227" y="353"/>
                    </a:lnTo>
                    <a:lnTo>
                      <a:pt x="229" y="351"/>
                    </a:lnTo>
                    <a:lnTo>
                      <a:pt x="229" y="349"/>
                    </a:lnTo>
                    <a:lnTo>
                      <a:pt x="229" y="347"/>
                    </a:lnTo>
                    <a:lnTo>
                      <a:pt x="229" y="345"/>
                    </a:lnTo>
                    <a:lnTo>
                      <a:pt x="231" y="343"/>
                    </a:lnTo>
                    <a:lnTo>
                      <a:pt x="231" y="340"/>
                    </a:lnTo>
                    <a:lnTo>
                      <a:pt x="233" y="340"/>
                    </a:lnTo>
                    <a:lnTo>
                      <a:pt x="233" y="342"/>
                    </a:lnTo>
                    <a:lnTo>
                      <a:pt x="234" y="342"/>
                    </a:lnTo>
                    <a:lnTo>
                      <a:pt x="236" y="342"/>
                    </a:lnTo>
                    <a:lnTo>
                      <a:pt x="238" y="342"/>
                    </a:lnTo>
                    <a:lnTo>
                      <a:pt x="238" y="340"/>
                    </a:lnTo>
                    <a:lnTo>
                      <a:pt x="236" y="338"/>
                    </a:lnTo>
                    <a:lnTo>
                      <a:pt x="236" y="330"/>
                    </a:lnTo>
                    <a:lnTo>
                      <a:pt x="238" y="330"/>
                    </a:lnTo>
                    <a:lnTo>
                      <a:pt x="240" y="330"/>
                    </a:lnTo>
                    <a:lnTo>
                      <a:pt x="242" y="330"/>
                    </a:lnTo>
                    <a:lnTo>
                      <a:pt x="244" y="328"/>
                    </a:lnTo>
                    <a:lnTo>
                      <a:pt x="244" y="324"/>
                    </a:lnTo>
                    <a:lnTo>
                      <a:pt x="244" y="322"/>
                    </a:lnTo>
                    <a:lnTo>
                      <a:pt x="244" y="320"/>
                    </a:lnTo>
                    <a:lnTo>
                      <a:pt x="246" y="320"/>
                    </a:lnTo>
                    <a:lnTo>
                      <a:pt x="248" y="320"/>
                    </a:lnTo>
                    <a:lnTo>
                      <a:pt x="248" y="318"/>
                    </a:lnTo>
                    <a:lnTo>
                      <a:pt x="250" y="318"/>
                    </a:lnTo>
                    <a:lnTo>
                      <a:pt x="252" y="318"/>
                    </a:lnTo>
                    <a:lnTo>
                      <a:pt x="254" y="318"/>
                    </a:lnTo>
                    <a:lnTo>
                      <a:pt x="254" y="317"/>
                    </a:lnTo>
                    <a:lnTo>
                      <a:pt x="256" y="317"/>
                    </a:lnTo>
                    <a:lnTo>
                      <a:pt x="256" y="318"/>
                    </a:lnTo>
                    <a:lnTo>
                      <a:pt x="258" y="322"/>
                    </a:lnTo>
                    <a:lnTo>
                      <a:pt x="259" y="324"/>
                    </a:lnTo>
                    <a:lnTo>
                      <a:pt x="259" y="326"/>
                    </a:lnTo>
                    <a:lnTo>
                      <a:pt x="259" y="328"/>
                    </a:lnTo>
                    <a:lnTo>
                      <a:pt x="261" y="330"/>
                    </a:lnTo>
                    <a:lnTo>
                      <a:pt x="263" y="332"/>
                    </a:lnTo>
                    <a:lnTo>
                      <a:pt x="265" y="334"/>
                    </a:lnTo>
                    <a:lnTo>
                      <a:pt x="267" y="334"/>
                    </a:lnTo>
                    <a:lnTo>
                      <a:pt x="269" y="334"/>
                    </a:lnTo>
                    <a:lnTo>
                      <a:pt x="271" y="334"/>
                    </a:lnTo>
                    <a:lnTo>
                      <a:pt x="273" y="334"/>
                    </a:lnTo>
                    <a:lnTo>
                      <a:pt x="273" y="332"/>
                    </a:lnTo>
                    <a:lnTo>
                      <a:pt x="273" y="330"/>
                    </a:lnTo>
                    <a:lnTo>
                      <a:pt x="275" y="330"/>
                    </a:lnTo>
                    <a:lnTo>
                      <a:pt x="277" y="330"/>
                    </a:lnTo>
                    <a:lnTo>
                      <a:pt x="277" y="328"/>
                    </a:lnTo>
                    <a:lnTo>
                      <a:pt x="279" y="328"/>
                    </a:lnTo>
                    <a:lnTo>
                      <a:pt x="279" y="326"/>
                    </a:lnTo>
                    <a:lnTo>
                      <a:pt x="281" y="326"/>
                    </a:lnTo>
                    <a:lnTo>
                      <a:pt x="281" y="324"/>
                    </a:lnTo>
                    <a:lnTo>
                      <a:pt x="282" y="324"/>
                    </a:lnTo>
                    <a:lnTo>
                      <a:pt x="282" y="326"/>
                    </a:lnTo>
                    <a:lnTo>
                      <a:pt x="284" y="326"/>
                    </a:lnTo>
                    <a:lnTo>
                      <a:pt x="286" y="324"/>
                    </a:lnTo>
                    <a:lnTo>
                      <a:pt x="288" y="322"/>
                    </a:lnTo>
                    <a:lnTo>
                      <a:pt x="292" y="318"/>
                    </a:lnTo>
                    <a:lnTo>
                      <a:pt x="292" y="320"/>
                    </a:lnTo>
                    <a:lnTo>
                      <a:pt x="294" y="320"/>
                    </a:lnTo>
                    <a:lnTo>
                      <a:pt x="296" y="322"/>
                    </a:lnTo>
                    <a:lnTo>
                      <a:pt x="298" y="324"/>
                    </a:lnTo>
                    <a:lnTo>
                      <a:pt x="300" y="326"/>
                    </a:lnTo>
                    <a:lnTo>
                      <a:pt x="302" y="326"/>
                    </a:lnTo>
                    <a:lnTo>
                      <a:pt x="304" y="324"/>
                    </a:lnTo>
                    <a:lnTo>
                      <a:pt x="306" y="324"/>
                    </a:lnTo>
                    <a:lnTo>
                      <a:pt x="306" y="326"/>
                    </a:lnTo>
                    <a:lnTo>
                      <a:pt x="306" y="328"/>
                    </a:lnTo>
                    <a:lnTo>
                      <a:pt x="307" y="328"/>
                    </a:lnTo>
                    <a:lnTo>
                      <a:pt x="307" y="326"/>
                    </a:lnTo>
                    <a:lnTo>
                      <a:pt x="309" y="328"/>
                    </a:lnTo>
                    <a:lnTo>
                      <a:pt x="311" y="328"/>
                    </a:lnTo>
                    <a:lnTo>
                      <a:pt x="313" y="330"/>
                    </a:lnTo>
                    <a:lnTo>
                      <a:pt x="315" y="332"/>
                    </a:lnTo>
                    <a:lnTo>
                      <a:pt x="315" y="334"/>
                    </a:lnTo>
                    <a:lnTo>
                      <a:pt x="317" y="334"/>
                    </a:lnTo>
                    <a:lnTo>
                      <a:pt x="319" y="336"/>
                    </a:lnTo>
                    <a:lnTo>
                      <a:pt x="321" y="336"/>
                    </a:lnTo>
                    <a:lnTo>
                      <a:pt x="321" y="338"/>
                    </a:lnTo>
                    <a:lnTo>
                      <a:pt x="323" y="338"/>
                    </a:lnTo>
                    <a:lnTo>
                      <a:pt x="323" y="340"/>
                    </a:lnTo>
                    <a:lnTo>
                      <a:pt x="325" y="338"/>
                    </a:lnTo>
                    <a:lnTo>
                      <a:pt x="327" y="336"/>
                    </a:lnTo>
                    <a:lnTo>
                      <a:pt x="329" y="336"/>
                    </a:lnTo>
                    <a:lnTo>
                      <a:pt x="329" y="334"/>
                    </a:lnTo>
                    <a:lnTo>
                      <a:pt x="330" y="334"/>
                    </a:lnTo>
                    <a:lnTo>
                      <a:pt x="332" y="334"/>
                    </a:lnTo>
                    <a:lnTo>
                      <a:pt x="334" y="334"/>
                    </a:lnTo>
                    <a:lnTo>
                      <a:pt x="336" y="336"/>
                    </a:lnTo>
                    <a:lnTo>
                      <a:pt x="338" y="336"/>
                    </a:lnTo>
                    <a:lnTo>
                      <a:pt x="338" y="334"/>
                    </a:lnTo>
                    <a:lnTo>
                      <a:pt x="340" y="334"/>
                    </a:lnTo>
                    <a:lnTo>
                      <a:pt x="342" y="334"/>
                    </a:lnTo>
                    <a:lnTo>
                      <a:pt x="344" y="332"/>
                    </a:lnTo>
                    <a:lnTo>
                      <a:pt x="346" y="332"/>
                    </a:lnTo>
                    <a:lnTo>
                      <a:pt x="348" y="332"/>
                    </a:lnTo>
                    <a:lnTo>
                      <a:pt x="350" y="332"/>
                    </a:lnTo>
                    <a:lnTo>
                      <a:pt x="352" y="332"/>
                    </a:lnTo>
                    <a:lnTo>
                      <a:pt x="352" y="334"/>
                    </a:lnTo>
                    <a:lnTo>
                      <a:pt x="354" y="334"/>
                    </a:lnTo>
                    <a:lnTo>
                      <a:pt x="355" y="334"/>
                    </a:lnTo>
                    <a:lnTo>
                      <a:pt x="357" y="334"/>
                    </a:lnTo>
                    <a:lnTo>
                      <a:pt x="359" y="334"/>
                    </a:lnTo>
                    <a:lnTo>
                      <a:pt x="361" y="334"/>
                    </a:lnTo>
                    <a:lnTo>
                      <a:pt x="363" y="334"/>
                    </a:lnTo>
                    <a:lnTo>
                      <a:pt x="363" y="332"/>
                    </a:lnTo>
                    <a:lnTo>
                      <a:pt x="365" y="332"/>
                    </a:lnTo>
                    <a:lnTo>
                      <a:pt x="365" y="330"/>
                    </a:lnTo>
                    <a:lnTo>
                      <a:pt x="367" y="330"/>
                    </a:lnTo>
                    <a:lnTo>
                      <a:pt x="369" y="330"/>
                    </a:lnTo>
                    <a:lnTo>
                      <a:pt x="371" y="330"/>
                    </a:lnTo>
                    <a:lnTo>
                      <a:pt x="373" y="332"/>
                    </a:lnTo>
                    <a:lnTo>
                      <a:pt x="375" y="332"/>
                    </a:lnTo>
                    <a:lnTo>
                      <a:pt x="375" y="330"/>
                    </a:lnTo>
                    <a:lnTo>
                      <a:pt x="377" y="328"/>
                    </a:lnTo>
                    <a:lnTo>
                      <a:pt x="377" y="326"/>
                    </a:lnTo>
                    <a:lnTo>
                      <a:pt x="377" y="324"/>
                    </a:lnTo>
                    <a:lnTo>
                      <a:pt x="378" y="324"/>
                    </a:lnTo>
                    <a:lnTo>
                      <a:pt x="380" y="324"/>
                    </a:lnTo>
                    <a:lnTo>
                      <a:pt x="380" y="322"/>
                    </a:lnTo>
                    <a:lnTo>
                      <a:pt x="380" y="320"/>
                    </a:lnTo>
                    <a:lnTo>
                      <a:pt x="380" y="318"/>
                    </a:lnTo>
                    <a:lnTo>
                      <a:pt x="382" y="318"/>
                    </a:lnTo>
                    <a:lnTo>
                      <a:pt x="382" y="317"/>
                    </a:lnTo>
                    <a:lnTo>
                      <a:pt x="382" y="315"/>
                    </a:lnTo>
                    <a:lnTo>
                      <a:pt x="384" y="315"/>
                    </a:lnTo>
                    <a:lnTo>
                      <a:pt x="384" y="313"/>
                    </a:lnTo>
                    <a:lnTo>
                      <a:pt x="382" y="313"/>
                    </a:lnTo>
                    <a:lnTo>
                      <a:pt x="380" y="311"/>
                    </a:lnTo>
                    <a:lnTo>
                      <a:pt x="380" y="309"/>
                    </a:lnTo>
                    <a:lnTo>
                      <a:pt x="382" y="309"/>
                    </a:lnTo>
                    <a:lnTo>
                      <a:pt x="384" y="307"/>
                    </a:lnTo>
                    <a:lnTo>
                      <a:pt x="386" y="307"/>
                    </a:lnTo>
                    <a:lnTo>
                      <a:pt x="388" y="307"/>
                    </a:lnTo>
                    <a:lnTo>
                      <a:pt x="390" y="307"/>
                    </a:lnTo>
                    <a:lnTo>
                      <a:pt x="392" y="307"/>
                    </a:lnTo>
                    <a:lnTo>
                      <a:pt x="396" y="307"/>
                    </a:lnTo>
                    <a:lnTo>
                      <a:pt x="398" y="309"/>
                    </a:lnTo>
                    <a:lnTo>
                      <a:pt x="400" y="309"/>
                    </a:lnTo>
                    <a:lnTo>
                      <a:pt x="402" y="309"/>
                    </a:lnTo>
                    <a:lnTo>
                      <a:pt x="402" y="307"/>
                    </a:lnTo>
                    <a:lnTo>
                      <a:pt x="403" y="307"/>
                    </a:lnTo>
                    <a:lnTo>
                      <a:pt x="403" y="305"/>
                    </a:lnTo>
                    <a:lnTo>
                      <a:pt x="403" y="303"/>
                    </a:lnTo>
                    <a:lnTo>
                      <a:pt x="403" y="301"/>
                    </a:lnTo>
                    <a:lnTo>
                      <a:pt x="403" y="299"/>
                    </a:lnTo>
                    <a:lnTo>
                      <a:pt x="403" y="297"/>
                    </a:lnTo>
                    <a:lnTo>
                      <a:pt x="405" y="297"/>
                    </a:lnTo>
                    <a:lnTo>
                      <a:pt x="405" y="295"/>
                    </a:lnTo>
                    <a:lnTo>
                      <a:pt x="409" y="292"/>
                    </a:lnTo>
                    <a:lnTo>
                      <a:pt x="411" y="290"/>
                    </a:lnTo>
                    <a:lnTo>
                      <a:pt x="413" y="290"/>
                    </a:lnTo>
                    <a:lnTo>
                      <a:pt x="413" y="292"/>
                    </a:lnTo>
                    <a:lnTo>
                      <a:pt x="413" y="294"/>
                    </a:lnTo>
                    <a:lnTo>
                      <a:pt x="413" y="295"/>
                    </a:lnTo>
                    <a:lnTo>
                      <a:pt x="415" y="295"/>
                    </a:lnTo>
                    <a:lnTo>
                      <a:pt x="415" y="294"/>
                    </a:lnTo>
                    <a:lnTo>
                      <a:pt x="415" y="290"/>
                    </a:lnTo>
                    <a:lnTo>
                      <a:pt x="415" y="288"/>
                    </a:lnTo>
                    <a:lnTo>
                      <a:pt x="417" y="288"/>
                    </a:lnTo>
                    <a:lnTo>
                      <a:pt x="417" y="286"/>
                    </a:lnTo>
                    <a:lnTo>
                      <a:pt x="419" y="288"/>
                    </a:lnTo>
                    <a:lnTo>
                      <a:pt x="421" y="288"/>
                    </a:lnTo>
                    <a:lnTo>
                      <a:pt x="421" y="286"/>
                    </a:lnTo>
                    <a:lnTo>
                      <a:pt x="421" y="284"/>
                    </a:lnTo>
                    <a:lnTo>
                      <a:pt x="423" y="284"/>
                    </a:lnTo>
                    <a:lnTo>
                      <a:pt x="425" y="284"/>
                    </a:lnTo>
                    <a:lnTo>
                      <a:pt x="426" y="284"/>
                    </a:lnTo>
                    <a:lnTo>
                      <a:pt x="428" y="284"/>
                    </a:lnTo>
                    <a:lnTo>
                      <a:pt x="428" y="282"/>
                    </a:lnTo>
                    <a:lnTo>
                      <a:pt x="428" y="280"/>
                    </a:lnTo>
                    <a:lnTo>
                      <a:pt x="430" y="280"/>
                    </a:lnTo>
                    <a:lnTo>
                      <a:pt x="430" y="278"/>
                    </a:lnTo>
                    <a:lnTo>
                      <a:pt x="432" y="278"/>
                    </a:lnTo>
                    <a:lnTo>
                      <a:pt x="432" y="276"/>
                    </a:lnTo>
                    <a:lnTo>
                      <a:pt x="430" y="276"/>
                    </a:lnTo>
                    <a:lnTo>
                      <a:pt x="432" y="276"/>
                    </a:lnTo>
                    <a:lnTo>
                      <a:pt x="432" y="274"/>
                    </a:lnTo>
                    <a:lnTo>
                      <a:pt x="430" y="274"/>
                    </a:lnTo>
                    <a:lnTo>
                      <a:pt x="432" y="274"/>
                    </a:lnTo>
                    <a:lnTo>
                      <a:pt x="432" y="272"/>
                    </a:lnTo>
                    <a:lnTo>
                      <a:pt x="432" y="270"/>
                    </a:lnTo>
                    <a:lnTo>
                      <a:pt x="434" y="270"/>
                    </a:lnTo>
                    <a:lnTo>
                      <a:pt x="434" y="269"/>
                    </a:lnTo>
                    <a:lnTo>
                      <a:pt x="434" y="267"/>
                    </a:lnTo>
                    <a:lnTo>
                      <a:pt x="434" y="265"/>
                    </a:lnTo>
                    <a:lnTo>
                      <a:pt x="434" y="263"/>
                    </a:lnTo>
                    <a:lnTo>
                      <a:pt x="434" y="261"/>
                    </a:lnTo>
                    <a:lnTo>
                      <a:pt x="434" y="259"/>
                    </a:lnTo>
                    <a:lnTo>
                      <a:pt x="436" y="259"/>
                    </a:lnTo>
                    <a:lnTo>
                      <a:pt x="436" y="257"/>
                    </a:lnTo>
                    <a:lnTo>
                      <a:pt x="438" y="257"/>
                    </a:lnTo>
                    <a:lnTo>
                      <a:pt x="438" y="255"/>
                    </a:lnTo>
                    <a:lnTo>
                      <a:pt x="440" y="255"/>
                    </a:lnTo>
                    <a:lnTo>
                      <a:pt x="440" y="253"/>
                    </a:lnTo>
                    <a:lnTo>
                      <a:pt x="442" y="253"/>
                    </a:lnTo>
                    <a:lnTo>
                      <a:pt x="442" y="255"/>
                    </a:lnTo>
                    <a:lnTo>
                      <a:pt x="444" y="257"/>
                    </a:lnTo>
                    <a:lnTo>
                      <a:pt x="446" y="257"/>
                    </a:lnTo>
                    <a:lnTo>
                      <a:pt x="446" y="259"/>
                    </a:lnTo>
                    <a:lnTo>
                      <a:pt x="446" y="257"/>
                    </a:lnTo>
                    <a:lnTo>
                      <a:pt x="448" y="255"/>
                    </a:lnTo>
                    <a:lnTo>
                      <a:pt x="448" y="257"/>
                    </a:lnTo>
                    <a:lnTo>
                      <a:pt x="450" y="257"/>
                    </a:lnTo>
                    <a:lnTo>
                      <a:pt x="450" y="255"/>
                    </a:lnTo>
                    <a:lnTo>
                      <a:pt x="450" y="253"/>
                    </a:lnTo>
                    <a:lnTo>
                      <a:pt x="450" y="251"/>
                    </a:lnTo>
                    <a:lnTo>
                      <a:pt x="448" y="251"/>
                    </a:lnTo>
                    <a:lnTo>
                      <a:pt x="448" y="249"/>
                    </a:lnTo>
                    <a:lnTo>
                      <a:pt x="446" y="249"/>
                    </a:lnTo>
                    <a:lnTo>
                      <a:pt x="448" y="249"/>
                    </a:lnTo>
                    <a:lnTo>
                      <a:pt x="450" y="247"/>
                    </a:lnTo>
                    <a:lnTo>
                      <a:pt x="450" y="246"/>
                    </a:lnTo>
                    <a:lnTo>
                      <a:pt x="448" y="246"/>
                    </a:lnTo>
                    <a:lnTo>
                      <a:pt x="446" y="246"/>
                    </a:lnTo>
                    <a:lnTo>
                      <a:pt x="444" y="246"/>
                    </a:lnTo>
                    <a:lnTo>
                      <a:pt x="444" y="244"/>
                    </a:lnTo>
                    <a:lnTo>
                      <a:pt x="446" y="244"/>
                    </a:lnTo>
                    <a:lnTo>
                      <a:pt x="446" y="242"/>
                    </a:lnTo>
                    <a:lnTo>
                      <a:pt x="446" y="240"/>
                    </a:lnTo>
                    <a:lnTo>
                      <a:pt x="446" y="238"/>
                    </a:lnTo>
                    <a:lnTo>
                      <a:pt x="448" y="238"/>
                    </a:lnTo>
                    <a:lnTo>
                      <a:pt x="448" y="236"/>
                    </a:lnTo>
                    <a:lnTo>
                      <a:pt x="448" y="234"/>
                    </a:lnTo>
                    <a:lnTo>
                      <a:pt x="450" y="234"/>
                    </a:lnTo>
                    <a:lnTo>
                      <a:pt x="450" y="232"/>
                    </a:lnTo>
                    <a:lnTo>
                      <a:pt x="451" y="230"/>
                    </a:lnTo>
                    <a:lnTo>
                      <a:pt x="451" y="228"/>
                    </a:lnTo>
                    <a:lnTo>
                      <a:pt x="453" y="226"/>
                    </a:lnTo>
                    <a:lnTo>
                      <a:pt x="453" y="224"/>
                    </a:lnTo>
                    <a:lnTo>
                      <a:pt x="455" y="224"/>
                    </a:lnTo>
                    <a:lnTo>
                      <a:pt x="455" y="222"/>
                    </a:lnTo>
                    <a:lnTo>
                      <a:pt x="457" y="222"/>
                    </a:lnTo>
                    <a:lnTo>
                      <a:pt x="457" y="221"/>
                    </a:lnTo>
                    <a:lnTo>
                      <a:pt x="459" y="219"/>
                    </a:lnTo>
                    <a:lnTo>
                      <a:pt x="461" y="217"/>
                    </a:lnTo>
                    <a:lnTo>
                      <a:pt x="463" y="215"/>
                    </a:lnTo>
                    <a:lnTo>
                      <a:pt x="465" y="213"/>
                    </a:lnTo>
                    <a:lnTo>
                      <a:pt x="467" y="211"/>
                    </a:lnTo>
                    <a:lnTo>
                      <a:pt x="469" y="209"/>
                    </a:lnTo>
                    <a:lnTo>
                      <a:pt x="469" y="207"/>
                    </a:lnTo>
                    <a:lnTo>
                      <a:pt x="467" y="207"/>
                    </a:lnTo>
                    <a:lnTo>
                      <a:pt x="467" y="205"/>
                    </a:lnTo>
                    <a:lnTo>
                      <a:pt x="467" y="203"/>
                    </a:lnTo>
                    <a:lnTo>
                      <a:pt x="469" y="203"/>
                    </a:lnTo>
                    <a:lnTo>
                      <a:pt x="469" y="201"/>
                    </a:lnTo>
                    <a:lnTo>
                      <a:pt x="471" y="203"/>
                    </a:lnTo>
                    <a:lnTo>
                      <a:pt x="473" y="203"/>
                    </a:lnTo>
                    <a:lnTo>
                      <a:pt x="473" y="201"/>
                    </a:lnTo>
                    <a:lnTo>
                      <a:pt x="473" y="199"/>
                    </a:lnTo>
                    <a:lnTo>
                      <a:pt x="471" y="199"/>
                    </a:lnTo>
                    <a:lnTo>
                      <a:pt x="471" y="198"/>
                    </a:lnTo>
                    <a:lnTo>
                      <a:pt x="469" y="198"/>
                    </a:lnTo>
                    <a:lnTo>
                      <a:pt x="467" y="198"/>
                    </a:lnTo>
                    <a:lnTo>
                      <a:pt x="469" y="194"/>
                    </a:lnTo>
                    <a:lnTo>
                      <a:pt x="471" y="192"/>
                    </a:lnTo>
                    <a:lnTo>
                      <a:pt x="471" y="190"/>
                    </a:lnTo>
                    <a:lnTo>
                      <a:pt x="473" y="186"/>
                    </a:lnTo>
                    <a:lnTo>
                      <a:pt x="475" y="186"/>
                    </a:lnTo>
                    <a:lnTo>
                      <a:pt x="476" y="184"/>
                    </a:lnTo>
                    <a:lnTo>
                      <a:pt x="475" y="184"/>
                    </a:lnTo>
                    <a:lnTo>
                      <a:pt x="475" y="182"/>
                    </a:lnTo>
                    <a:lnTo>
                      <a:pt x="475" y="180"/>
                    </a:lnTo>
                    <a:lnTo>
                      <a:pt x="475" y="178"/>
                    </a:lnTo>
                    <a:lnTo>
                      <a:pt x="475" y="176"/>
                    </a:lnTo>
                    <a:lnTo>
                      <a:pt x="473" y="176"/>
                    </a:lnTo>
                    <a:lnTo>
                      <a:pt x="473" y="174"/>
                    </a:lnTo>
                    <a:lnTo>
                      <a:pt x="475" y="174"/>
                    </a:lnTo>
                    <a:lnTo>
                      <a:pt x="475" y="173"/>
                    </a:lnTo>
                    <a:lnTo>
                      <a:pt x="473" y="173"/>
                    </a:lnTo>
                    <a:lnTo>
                      <a:pt x="475" y="173"/>
                    </a:lnTo>
                    <a:lnTo>
                      <a:pt x="475" y="169"/>
                    </a:lnTo>
                    <a:lnTo>
                      <a:pt x="476" y="167"/>
                    </a:lnTo>
                    <a:lnTo>
                      <a:pt x="475" y="165"/>
                    </a:lnTo>
                    <a:lnTo>
                      <a:pt x="471" y="161"/>
                    </a:lnTo>
                    <a:lnTo>
                      <a:pt x="471" y="159"/>
                    </a:lnTo>
                    <a:lnTo>
                      <a:pt x="471" y="157"/>
                    </a:lnTo>
                    <a:lnTo>
                      <a:pt x="473" y="155"/>
                    </a:lnTo>
                    <a:lnTo>
                      <a:pt x="473" y="153"/>
                    </a:lnTo>
                    <a:lnTo>
                      <a:pt x="475" y="153"/>
                    </a:lnTo>
                    <a:lnTo>
                      <a:pt x="475" y="151"/>
                    </a:lnTo>
                    <a:lnTo>
                      <a:pt x="475" y="150"/>
                    </a:lnTo>
                    <a:lnTo>
                      <a:pt x="475" y="151"/>
                    </a:lnTo>
                    <a:lnTo>
                      <a:pt x="476" y="150"/>
                    </a:lnTo>
                    <a:lnTo>
                      <a:pt x="476" y="148"/>
                    </a:lnTo>
                    <a:lnTo>
                      <a:pt x="478" y="146"/>
                    </a:lnTo>
                    <a:lnTo>
                      <a:pt x="480" y="144"/>
                    </a:lnTo>
                    <a:lnTo>
                      <a:pt x="480" y="140"/>
                    </a:lnTo>
                    <a:lnTo>
                      <a:pt x="478" y="140"/>
                    </a:lnTo>
                    <a:lnTo>
                      <a:pt x="478" y="138"/>
                    </a:lnTo>
                    <a:lnTo>
                      <a:pt x="478" y="136"/>
                    </a:lnTo>
                    <a:lnTo>
                      <a:pt x="476" y="136"/>
                    </a:lnTo>
                    <a:lnTo>
                      <a:pt x="478" y="136"/>
                    </a:lnTo>
                    <a:lnTo>
                      <a:pt x="478" y="134"/>
                    </a:lnTo>
                    <a:lnTo>
                      <a:pt x="480" y="134"/>
                    </a:lnTo>
                    <a:lnTo>
                      <a:pt x="488" y="128"/>
                    </a:lnTo>
                    <a:lnTo>
                      <a:pt x="490" y="130"/>
                    </a:lnTo>
                    <a:lnTo>
                      <a:pt x="492" y="132"/>
                    </a:lnTo>
                    <a:lnTo>
                      <a:pt x="492" y="134"/>
                    </a:lnTo>
                    <a:lnTo>
                      <a:pt x="492" y="132"/>
                    </a:lnTo>
                    <a:lnTo>
                      <a:pt x="494" y="132"/>
                    </a:lnTo>
                    <a:lnTo>
                      <a:pt x="496" y="128"/>
                    </a:lnTo>
                    <a:lnTo>
                      <a:pt x="498" y="128"/>
                    </a:lnTo>
                    <a:lnTo>
                      <a:pt x="498" y="126"/>
                    </a:lnTo>
                    <a:lnTo>
                      <a:pt x="501" y="125"/>
                    </a:lnTo>
                    <a:lnTo>
                      <a:pt x="503" y="123"/>
                    </a:lnTo>
                    <a:lnTo>
                      <a:pt x="507" y="123"/>
                    </a:lnTo>
                    <a:lnTo>
                      <a:pt x="507" y="121"/>
                    </a:lnTo>
                    <a:lnTo>
                      <a:pt x="509" y="121"/>
                    </a:lnTo>
                    <a:lnTo>
                      <a:pt x="513" y="121"/>
                    </a:lnTo>
                    <a:lnTo>
                      <a:pt x="515" y="121"/>
                    </a:lnTo>
                    <a:lnTo>
                      <a:pt x="517" y="119"/>
                    </a:lnTo>
                    <a:lnTo>
                      <a:pt x="519" y="121"/>
                    </a:lnTo>
                    <a:lnTo>
                      <a:pt x="521" y="121"/>
                    </a:lnTo>
                    <a:lnTo>
                      <a:pt x="523" y="121"/>
                    </a:lnTo>
                    <a:lnTo>
                      <a:pt x="523" y="119"/>
                    </a:lnTo>
                    <a:lnTo>
                      <a:pt x="524" y="119"/>
                    </a:lnTo>
                    <a:lnTo>
                      <a:pt x="526" y="117"/>
                    </a:lnTo>
                    <a:lnTo>
                      <a:pt x="526" y="115"/>
                    </a:lnTo>
                    <a:lnTo>
                      <a:pt x="526" y="113"/>
                    </a:lnTo>
                    <a:lnTo>
                      <a:pt x="521" y="107"/>
                    </a:lnTo>
                    <a:lnTo>
                      <a:pt x="519" y="102"/>
                    </a:lnTo>
                    <a:lnTo>
                      <a:pt x="515" y="102"/>
                    </a:lnTo>
                    <a:lnTo>
                      <a:pt x="517" y="100"/>
                    </a:lnTo>
                    <a:lnTo>
                      <a:pt x="519" y="98"/>
                    </a:lnTo>
                    <a:lnTo>
                      <a:pt x="521" y="98"/>
                    </a:lnTo>
                    <a:lnTo>
                      <a:pt x="519" y="96"/>
                    </a:lnTo>
                    <a:lnTo>
                      <a:pt x="515" y="94"/>
                    </a:lnTo>
                    <a:lnTo>
                      <a:pt x="511" y="90"/>
                    </a:lnTo>
                    <a:lnTo>
                      <a:pt x="507" y="92"/>
                    </a:lnTo>
                    <a:lnTo>
                      <a:pt x="505" y="92"/>
                    </a:lnTo>
                    <a:lnTo>
                      <a:pt x="503" y="94"/>
                    </a:lnTo>
                    <a:lnTo>
                      <a:pt x="505" y="92"/>
                    </a:lnTo>
                    <a:lnTo>
                      <a:pt x="505" y="90"/>
                    </a:lnTo>
                    <a:lnTo>
                      <a:pt x="507" y="90"/>
                    </a:lnTo>
                    <a:lnTo>
                      <a:pt x="509" y="88"/>
                    </a:lnTo>
                    <a:lnTo>
                      <a:pt x="513" y="86"/>
                    </a:lnTo>
                    <a:lnTo>
                      <a:pt x="511" y="82"/>
                    </a:lnTo>
                    <a:lnTo>
                      <a:pt x="507" y="84"/>
                    </a:lnTo>
                    <a:lnTo>
                      <a:pt x="507" y="82"/>
                    </a:lnTo>
                    <a:lnTo>
                      <a:pt x="509" y="80"/>
                    </a:lnTo>
                    <a:lnTo>
                      <a:pt x="511" y="78"/>
                    </a:lnTo>
                    <a:lnTo>
                      <a:pt x="515" y="78"/>
                    </a:lnTo>
                    <a:lnTo>
                      <a:pt x="517" y="78"/>
                    </a:lnTo>
                    <a:lnTo>
                      <a:pt x="519" y="78"/>
                    </a:lnTo>
                    <a:lnTo>
                      <a:pt x="521" y="80"/>
                    </a:lnTo>
                    <a:lnTo>
                      <a:pt x="523" y="80"/>
                    </a:lnTo>
                    <a:lnTo>
                      <a:pt x="524" y="80"/>
                    </a:lnTo>
                    <a:lnTo>
                      <a:pt x="526" y="80"/>
                    </a:lnTo>
                    <a:lnTo>
                      <a:pt x="532" y="78"/>
                    </a:lnTo>
                    <a:lnTo>
                      <a:pt x="532" y="80"/>
                    </a:lnTo>
                    <a:lnTo>
                      <a:pt x="536" y="80"/>
                    </a:lnTo>
                    <a:lnTo>
                      <a:pt x="540" y="82"/>
                    </a:lnTo>
                    <a:lnTo>
                      <a:pt x="542" y="82"/>
                    </a:lnTo>
                    <a:lnTo>
                      <a:pt x="544" y="84"/>
                    </a:lnTo>
                    <a:lnTo>
                      <a:pt x="546" y="84"/>
                    </a:lnTo>
                    <a:lnTo>
                      <a:pt x="546" y="88"/>
                    </a:lnTo>
                    <a:lnTo>
                      <a:pt x="547" y="88"/>
                    </a:lnTo>
                    <a:lnTo>
                      <a:pt x="547" y="90"/>
                    </a:lnTo>
                    <a:lnTo>
                      <a:pt x="546" y="90"/>
                    </a:lnTo>
                    <a:lnTo>
                      <a:pt x="546" y="92"/>
                    </a:lnTo>
                    <a:lnTo>
                      <a:pt x="544" y="94"/>
                    </a:lnTo>
                    <a:lnTo>
                      <a:pt x="544" y="96"/>
                    </a:lnTo>
                    <a:lnTo>
                      <a:pt x="544" y="98"/>
                    </a:lnTo>
                    <a:lnTo>
                      <a:pt x="542" y="100"/>
                    </a:lnTo>
                    <a:lnTo>
                      <a:pt x="542" y="102"/>
                    </a:lnTo>
                    <a:lnTo>
                      <a:pt x="542" y="103"/>
                    </a:lnTo>
                    <a:lnTo>
                      <a:pt x="540" y="105"/>
                    </a:lnTo>
                    <a:lnTo>
                      <a:pt x="540" y="107"/>
                    </a:lnTo>
                    <a:lnTo>
                      <a:pt x="540" y="109"/>
                    </a:lnTo>
                    <a:lnTo>
                      <a:pt x="540" y="111"/>
                    </a:lnTo>
                    <a:lnTo>
                      <a:pt x="538" y="113"/>
                    </a:lnTo>
                    <a:lnTo>
                      <a:pt x="538" y="115"/>
                    </a:lnTo>
                    <a:lnTo>
                      <a:pt x="538" y="117"/>
                    </a:lnTo>
                    <a:lnTo>
                      <a:pt x="538" y="121"/>
                    </a:lnTo>
                    <a:lnTo>
                      <a:pt x="540" y="121"/>
                    </a:lnTo>
                    <a:lnTo>
                      <a:pt x="542" y="126"/>
                    </a:lnTo>
                    <a:lnTo>
                      <a:pt x="542" y="130"/>
                    </a:lnTo>
                    <a:lnTo>
                      <a:pt x="547" y="130"/>
                    </a:lnTo>
                    <a:lnTo>
                      <a:pt x="547" y="132"/>
                    </a:lnTo>
                    <a:lnTo>
                      <a:pt x="549" y="132"/>
                    </a:lnTo>
                    <a:lnTo>
                      <a:pt x="549" y="138"/>
                    </a:lnTo>
                    <a:lnTo>
                      <a:pt x="551" y="138"/>
                    </a:lnTo>
                    <a:lnTo>
                      <a:pt x="551" y="140"/>
                    </a:lnTo>
                    <a:lnTo>
                      <a:pt x="553" y="140"/>
                    </a:lnTo>
                    <a:lnTo>
                      <a:pt x="555" y="138"/>
                    </a:lnTo>
                    <a:lnTo>
                      <a:pt x="555" y="140"/>
                    </a:lnTo>
                    <a:lnTo>
                      <a:pt x="555" y="144"/>
                    </a:lnTo>
                    <a:lnTo>
                      <a:pt x="557" y="144"/>
                    </a:lnTo>
                    <a:lnTo>
                      <a:pt x="557" y="146"/>
                    </a:lnTo>
                    <a:lnTo>
                      <a:pt x="559" y="146"/>
                    </a:lnTo>
                    <a:lnTo>
                      <a:pt x="561" y="146"/>
                    </a:lnTo>
                    <a:lnTo>
                      <a:pt x="561" y="144"/>
                    </a:lnTo>
                    <a:lnTo>
                      <a:pt x="559" y="142"/>
                    </a:lnTo>
                    <a:lnTo>
                      <a:pt x="561" y="142"/>
                    </a:lnTo>
                    <a:lnTo>
                      <a:pt x="561" y="140"/>
                    </a:lnTo>
                    <a:lnTo>
                      <a:pt x="563" y="138"/>
                    </a:lnTo>
                    <a:lnTo>
                      <a:pt x="563" y="136"/>
                    </a:lnTo>
                    <a:lnTo>
                      <a:pt x="561" y="136"/>
                    </a:lnTo>
                    <a:lnTo>
                      <a:pt x="563" y="134"/>
                    </a:lnTo>
                    <a:lnTo>
                      <a:pt x="565" y="134"/>
                    </a:lnTo>
                    <a:lnTo>
                      <a:pt x="567" y="134"/>
                    </a:lnTo>
                    <a:lnTo>
                      <a:pt x="569" y="134"/>
                    </a:lnTo>
                    <a:lnTo>
                      <a:pt x="569" y="132"/>
                    </a:lnTo>
                    <a:lnTo>
                      <a:pt x="571" y="134"/>
                    </a:lnTo>
                    <a:lnTo>
                      <a:pt x="572" y="134"/>
                    </a:lnTo>
                    <a:lnTo>
                      <a:pt x="574" y="132"/>
                    </a:lnTo>
                    <a:lnTo>
                      <a:pt x="576" y="130"/>
                    </a:lnTo>
                    <a:lnTo>
                      <a:pt x="576" y="128"/>
                    </a:lnTo>
                    <a:lnTo>
                      <a:pt x="578" y="126"/>
                    </a:lnTo>
                    <a:lnTo>
                      <a:pt x="580" y="126"/>
                    </a:lnTo>
                    <a:lnTo>
                      <a:pt x="580" y="125"/>
                    </a:lnTo>
                    <a:lnTo>
                      <a:pt x="582" y="125"/>
                    </a:lnTo>
                    <a:lnTo>
                      <a:pt x="582" y="123"/>
                    </a:lnTo>
                    <a:lnTo>
                      <a:pt x="582" y="121"/>
                    </a:lnTo>
                    <a:lnTo>
                      <a:pt x="584" y="123"/>
                    </a:lnTo>
                    <a:lnTo>
                      <a:pt x="586" y="123"/>
                    </a:lnTo>
                    <a:lnTo>
                      <a:pt x="588" y="123"/>
                    </a:lnTo>
                    <a:lnTo>
                      <a:pt x="590" y="123"/>
                    </a:lnTo>
                    <a:lnTo>
                      <a:pt x="590" y="125"/>
                    </a:lnTo>
                    <a:lnTo>
                      <a:pt x="590" y="126"/>
                    </a:lnTo>
                    <a:lnTo>
                      <a:pt x="590" y="128"/>
                    </a:lnTo>
                    <a:lnTo>
                      <a:pt x="588" y="128"/>
                    </a:lnTo>
                    <a:lnTo>
                      <a:pt x="588" y="130"/>
                    </a:lnTo>
                    <a:lnTo>
                      <a:pt x="590" y="130"/>
                    </a:lnTo>
                    <a:lnTo>
                      <a:pt x="590" y="132"/>
                    </a:lnTo>
                    <a:lnTo>
                      <a:pt x="590" y="134"/>
                    </a:lnTo>
                    <a:lnTo>
                      <a:pt x="590" y="136"/>
                    </a:lnTo>
                    <a:lnTo>
                      <a:pt x="590" y="140"/>
                    </a:lnTo>
                    <a:lnTo>
                      <a:pt x="588" y="144"/>
                    </a:lnTo>
                    <a:lnTo>
                      <a:pt x="590" y="144"/>
                    </a:lnTo>
                    <a:lnTo>
                      <a:pt x="592" y="144"/>
                    </a:lnTo>
                    <a:lnTo>
                      <a:pt x="595" y="144"/>
                    </a:lnTo>
                    <a:lnTo>
                      <a:pt x="597" y="144"/>
                    </a:lnTo>
                    <a:lnTo>
                      <a:pt x="599" y="144"/>
                    </a:lnTo>
                    <a:lnTo>
                      <a:pt x="601" y="144"/>
                    </a:lnTo>
                    <a:lnTo>
                      <a:pt x="603" y="144"/>
                    </a:lnTo>
                    <a:lnTo>
                      <a:pt x="603" y="146"/>
                    </a:lnTo>
                    <a:lnTo>
                      <a:pt x="605" y="146"/>
                    </a:lnTo>
                    <a:lnTo>
                      <a:pt x="609" y="148"/>
                    </a:lnTo>
                    <a:lnTo>
                      <a:pt x="611" y="148"/>
                    </a:lnTo>
                    <a:lnTo>
                      <a:pt x="613" y="148"/>
                    </a:lnTo>
                    <a:lnTo>
                      <a:pt x="615" y="150"/>
                    </a:lnTo>
                    <a:lnTo>
                      <a:pt x="617" y="148"/>
                    </a:lnTo>
                    <a:lnTo>
                      <a:pt x="615" y="148"/>
                    </a:lnTo>
                    <a:lnTo>
                      <a:pt x="617" y="148"/>
                    </a:lnTo>
                    <a:lnTo>
                      <a:pt x="617" y="146"/>
                    </a:lnTo>
                    <a:lnTo>
                      <a:pt x="619" y="144"/>
                    </a:lnTo>
                    <a:lnTo>
                      <a:pt x="619" y="142"/>
                    </a:lnTo>
                    <a:lnTo>
                      <a:pt x="620" y="142"/>
                    </a:lnTo>
                    <a:lnTo>
                      <a:pt x="624" y="136"/>
                    </a:lnTo>
                    <a:lnTo>
                      <a:pt x="626" y="134"/>
                    </a:lnTo>
                    <a:lnTo>
                      <a:pt x="626" y="132"/>
                    </a:lnTo>
                    <a:lnTo>
                      <a:pt x="630" y="132"/>
                    </a:lnTo>
                    <a:lnTo>
                      <a:pt x="632" y="132"/>
                    </a:lnTo>
                    <a:lnTo>
                      <a:pt x="634" y="130"/>
                    </a:lnTo>
                    <a:lnTo>
                      <a:pt x="634" y="128"/>
                    </a:lnTo>
                    <a:lnTo>
                      <a:pt x="632" y="126"/>
                    </a:lnTo>
                    <a:lnTo>
                      <a:pt x="632" y="125"/>
                    </a:lnTo>
                    <a:lnTo>
                      <a:pt x="632" y="123"/>
                    </a:lnTo>
                    <a:lnTo>
                      <a:pt x="632" y="121"/>
                    </a:lnTo>
                    <a:lnTo>
                      <a:pt x="634" y="121"/>
                    </a:lnTo>
                    <a:lnTo>
                      <a:pt x="636" y="119"/>
                    </a:lnTo>
                    <a:lnTo>
                      <a:pt x="638" y="119"/>
                    </a:lnTo>
                    <a:lnTo>
                      <a:pt x="640" y="117"/>
                    </a:lnTo>
                    <a:lnTo>
                      <a:pt x="642" y="115"/>
                    </a:lnTo>
                    <a:lnTo>
                      <a:pt x="643" y="111"/>
                    </a:lnTo>
                    <a:lnTo>
                      <a:pt x="645" y="109"/>
                    </a:lnTo>
                    <a:lnTo>
                      <a:pt x="645" y="107"/>
                    </a:lnTo>
                    <a:lnTo>
                      <a:pt x="645" y="105"/>
                    </a:lnTo>
                    <a:lnTo>
                      <a:pt x="647" y="105"/>
                    </a:lnTo>
                    <a:lnTo>
                      <a:pt x="647" y="103"/>
                    </a:lnTo>
                    <a:lnTo>
                      <a:pt x="649" y="103"/>
                    </a:lnTo>
                    <a:lnTo>
                      <a:pt x="653" y="103"/>
                    </a:lnTo>
                    <a:lnTo>
                      <a:pt x="657" y="105"/>
                    </a:lnTo>
                    <a:lnTo>
                      <a:pt x="659" y="105"/>
                    </a:lnTo>
                    <a:lnTo>
                      <a:pt x="663" y="105"/>
                    </a:lnTo>
                    <a:lnTo>
                      <a:pt x="665" y="105"/>
                    </a:lnTo>
                    <a:lnTo>
                      <a:pt x="667" y="107"/>
                    </a:lnTo>
                    <a:lnTo>
                      <a:pt x="667" y="109"/>
                    </a:lnTo>
                    <a:lnTo>
                      <a:pt x="667" y="111"/>
                    </a:lnTo>
                    <a:lnTo>
                      <a:pt x="668" y="111"/>
                    </a:lnTo>
                    <a:lnTo>
                      <a:pt x="668" y="113"/>
                    </a:lnTo>
                    <a:lnTo>
                      <a:pt x="670" y="115"/>
                    </a:lnTo>
                    <a:lnTo>
                      <a:pt x="670" y="113"/>
                    </a:lnTo>
                    <a:lnTo>
                      <a:pt x="672" y="111"/>
                    </a:lnTo>
                    <a:lnTo>
                      <a:pt x="672" y="109"/>
                    </a:lnTo>
                    <a:lnTo>
                      <a:pt x="674" y="109"/>
                    </a:lnTo>
                    <a:lnTo>
                      <a:pt x="674" y="107"/>
                    </a:lnTo>
                    <a:lnTo>
                      <a:pt x="674" y="105"/>
                    </a:lnTo>
                    <a:lnTo>
                      <a:pt x="674" y="103"/>
                    </a:lnTo>
                    <a:lnTo>
                      <a:pt x="674" y="102"/>
                    </a:lnTo>
                    <a:lnTo>
                      <a:pt x="674" y="100"/>
                    </a:lnTo>
                    <a:lnTo>
                      <a:pt x="674" y="98"/>
                    </a:lnTo>
                    <a:lnTo>
                      <a:pt x="674" y="96"/>
                    </a:lnTo>
                    <a:lnTo>
                      <a:pt x="674" y="94"/>
                    </a:lnTo>
                    <a:lnTo>
                      <a:pt x="674" y="90"/>
                    </a:lnTo>
                    <a:lnTo>
                      <a:pt x="674" y="88"/>
                    </a:lnTo>
                    <a:lnTo>
                      <a:pt x="674" y="86"/>
                    </a:lnTo>
                    <a:lnTo>
                      <a:pt x="674" y="84"/>
                    </a:lnTo>
                    <a:lnTo>
                      <a:pt x="672" y="84"/>
                    </a:lnTo>
                    <a:lnTo>
                      <a:pt x="672" y="82"/>
                    </a:lnTo>
                    <a:lnTo>
                      <a:pt x="674" y="82"/>
                    </a:lnTo>
                    <a:lnTo>
                      <a:pt x="674" y="80"/>
                    </a:lnTo>
                    <a:lnTo>
                      <a:pt x="676" y="80"/>
                    </a:lnTo>
                    <a:lnTo>
                      <a:pt x="678" y="78"/>
                    </a:lnTo>
                    <a:lnTo>
                      <a:pt x="680" y="78"/>
                    </a:lnTo>
                    <a:lnTo>
                      <a:pt x="682" y="78"/>
                    </a:lnTo>
                    <a:lnTo>
                      <a:pt x="684" y="78"/>
                    </a:lnTo>
                    <a:lnTo>
                      <a:pt x="686" y="77"/>
                    </a:lnTo>
                    <a:lnTo>
                      <a:pt x="688" y="77"/>
                    </a:lnTo>
                    <a:lnTo>
                      <a:pt x="690" y="75"/>
                    </a:lnTo>
                    <a:lnTo>
                      <a:pt x="692" y="75"/>
                    </a:lnTo>
                    <a:lnTo>
                      <a:pt x="693" y="75"/>
                    </a:lnTo>
                    <a:lnTo>
                      <a:pt x="695" y="77"/>
                    </a:lnTo>
                    <a:lnTo>
                      <a:pt x="695" y="73"/>
                    </a:lnTo>
                    <a:lnTo>
                      <a:pt x="697" y="73"/>
                    </a:lnTo>
                    <a:lnTo>
                      <a:pt x="697" y="71"/>
                    </a:lnTo>
                    <a:lnTo>
                      <a:pt x="695" y="71"/>
                    </a:lnTo>
                    <a:lnTo>
                      <a:pt x="693" y="71"/>
                    </a:lnTo>
                    <a:lnTo>
                      <a:pt x="692" y="69"/>
                    </a:lnTo>
                    <a:lnTo>
                      <a:pt x="690" y="69"/>
                    </a:lnTo>
                    <a:lnTo>
                      <a:pt x="688" y="69"/>
                    </a:lnTo>
                    <a:lnTo>
                      <a:pt x="686" y="69"/>
                    </a:lnTo>
                    <a:lnTo>
                      <a:pt x="686" y="67"/>
                    </a:lnTo>
                    <a:lnTo>
                      <a:pt x="684" y="67"/>
                    </a:lnTo>
                    <a:lnTo>
                      <a:pt x="682" y="67"/>
                    </a:lnTo>
                    <a:lnTo>
                      <a:pt x="680" y="67"/>
                    </a:lnTo>
                    <a:lnTo>
                      <a:pt x="678" y="67"/>
                    </a:lnTo>
                    <a:lnTo>
                      <a:pt x="676" y="67"/>
                    </a:lnTo>
                    <a:lnTo>
                      <a:pt x="674" y="67"/>
                    </a:lnTo>
                    <a:lnTo>
                      <a:pt x="676" y="67"/>
                    </a:lnTo>
                    <a:lnTo>
                      <a:pt x="676" y="65"/>
                    </a:lnTo>
                    <a:lnTo>
                      <a:pt x="676" y="63"/>
                    </a:lnTo>
                    <a:lnTo>
                      <a:pt x="676" y="61"/>
                    </a:lnTo>
                    <a:lnTo>
                      <a:pt x="676" y="59"/>
                    </a:lnTo>
                    <a:lnTo>
                      <a:pt x="678" y="57"/>
                    </a:lnTo>
                    <a:lnTo>
                      <a:pt x="678" y="55"/>
                    </a:lnTo>
                    <a:lnTo>
                      <a:pt x="678" y="54"/>
                    </a:lnTo>
                    <a:lnTo>
                      <a:pt x="678" y="50"/>
                    </a:lnTo>
                    <a:lnTo>
                      <a:pt x="680" y="48"/>
                    </a:lnTo>
                    <a:lnTo>
                      <a:pt x="684" y="48"/>
                    </a:lnTo>
                    <a:lnTo>
                      <a:pt x="684" y="46"/>
                    </a:lnTo>
                    <a:lnTo>
                      <a:pt x="686" y="46"/>
                    </a:lnTo>
                    <a:lnTo>
                      <a:pt x="688" y="44"/>
                    </a:lnTo>
                    <a:lnTo>
                      <a:pt x="690" y="44"/>
                    </a:lnTo>
                    <a:lnTo>
                      <a:pt x="692" y="42"/>
                    </a:lnTo>
                    <a:lnTo>
                      <a:pt x="693" y="42"/>
                    </a:lnTo>
                    <a:lnTo>
                      <a:pt x="695" y="42"/>
                    </a:lnTo>
                    <a:lnTo>
                      <a:pt x="695" y="40"/>
                    </a:lnTo>
                    <a:lnTo>
                      <a:pt x="697" y="40"/>
                    </a:lnTo>
                    <a:lnTo>
                      <a:pt x="695" y="38"/>
                    </a:lnTo>
                    <a:lnTo>
                      <a:pt x="695" y="36"/>
                    </a:lnTo>
                    <a:lnTo>
                      <a:pt x="693" y="36"/>
                    </a:lnTo>
                    <a:lnTo>
                      <a:pt x="693" y="34"/>
                    </a:lnTo>
                    <a:lnTo>
                      <a:pt x="693" y="32"/>
                    </a:lnTo>
                    <a:lnTo>
                      <a:pt x="692" y="34"/>
                    </a:lnTo>
                    <a:lnTo>
                      <a:pt x="690" y="34"/>
                    </a:lnTo>
                    <a:lnTo>
                      <a:pt x="688" y="31"/>
                    </a:lnTo>
                    <a:lnTo>
                      <a:pt x="688" y="29"/>
                    </a:lnTo>
                    <a:lnTo>
                      <a:pt x="688" y="27"/>
                    </a:lnTo>
                    <a:lnTo>
                      <a:pt x="688" y="25"/>
                    </a:lnTo>
                    <a:lnTo>
                      <a:pt x="690" y="27"/>
                    </a:lnTo>
                    <a:lnTo>
                      <a:pt x="692" y="27"/>
                    </a:lnTo>
                    <a:lnTo>
                      <a:pt x="692" y="29"/>
                    </a:lnTo>
                    <a:lnTo>
                      <a:pt x="695" y="29"/>
                    </a:lnTo>
                    <a:lnTo>
                      <a:pt x="697" y="25"/>
                    </a:lnTo>
                    <a:lnTo>
                      <a:pt x="697" y="23"/>
                    </a:lnTo>
                    <a:lnTo>
                      <a:pt x="699" y="23"/>
                    </a:lnTo>
                    <a:lnTo>
                      <a:pt x="699" y="21"/>
                    </a:lnTo>
                    <a:lnTo>
                      <a:pt x="699" y="19"/>
                    </a:lnTo>
                    <a:lnTo>
                      <a:pt x="701" y="19"/>
                    </a:lnTo>
                    <a:lnTo>
                      <a:pt x="701" y="17"/>
                    </a:lnTo>
                    <a:lnTo>
                      <a:pt x="703" y="17"/>
                    </a:lnTo>
                    <a:lnTo>
                      <a:pt x="703" y="15"/>
                    </a:lnTo>
                    <a:lnTo>
                      <a:pt x="705" y="13"/>
                    </a:lnTo>
                    <a:lnTo>
                      <a:pt x="707" y="11"/>
                    </a:lnTo>
                    <a:lnTo>
                      <a:pt x="705" y="11"/>
                    </a:lnTo>
                    <a:lnTo>
                      <a:pt x="703" y="11"/>
                    </a:lnTo>
                    <a:lnTo>
                      <a:pt x="705" y="9"/>
                    </a:lnTo>
                    <a:lnTo>
                      <a:pt x="707" y="7"/>
                    </a:lnTo>
                    <a:lnTo>
                      <a:pt x="709" y="7"/>
                    </a:lnTo>
                    <a:lnTo>
                      <a:pt x="711" y="7"/>
                    </a:lnTo>
                    <a:lnTo>
                      <a:pt x="711" y="9"/>
                    </a:lnTo>
                    <a:lnTo>
                      <a:pt x="713" y="9"/>
                    </a:lnTo>
                    <a:lnTo>
                      <a:pt x="713" y="11"/>
                    </a:lnTo>
                    <a:lnTo>
                      <a:pt x="715" y="13"/>
                    </a:lnTo>
                    <a:lnTo>
                      <a:pt x="716" y="15"/>
                    </a:lnTo>
                    <a:lnTo>
                      <a:pt x="718" y="15"/>
                    </a:lnTo>
                    <a:lnTo>
                      <a:pt x="720" y="17"/>
                    </a:lnTo>
                    <a:lnTo>
                      <a:pt x="722" y="15"/>
                    </a:lnTo>
                    <a:lnTo>
                      <a:pt x="722" y="13"/>
                    </a:lnTo>
                    <a:lnTo>
                      <a:pt x="724" y="13"/>
                    </a:lnTo>
                    <a:lnTo>
                      <a:pt x="724" y="11"/>
                    </a:lnTo>
                    <a:lnTo>
                      <a:pt x="724" y="9"/>
                    </a:lnTo>
                    <a:lnTo>
                      <a:pt x="726" y="9"/>
                    </a:lnTo>
                    <a:lnTo>
                      <a:pt x="728" y="7"/>
                    </a:lnTo>
                    <a:lnTo>
                      <a:pt x="728" y="6"/>
                    </a:lnTo>
                    <a:lnTo>
                      <a:pt x="730" y="4"/>
                    </a:lnTo>
                    <a:lnTo>
                      <a:pt x="732" y="4"/>
                    </a:lnTo>
                    <a:lnTo>
                      <a:pt x="734" y="4"/>
                    </a:lnTo>
                    <a:lnTo>
                      <a:pt x="736" y="4"/>
                    </a:lnTo>
                    <a:lnTo>
                      <a:pt x="740" y="0"/>
                    </a:lnTo>
                    <a:lnTo>
                      <a:pt x="741"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4" name="Freeform 216">
                <a:extLst>
                  <a:ext uri="{FF2B5EF4-FFF2-40B4-BE49-F238E27FC236}">
                    <a16:creationId xmlns:a16="http://schemas.microsoft.com/office/drawing/2014/main" id="{73A2150A-9E7F-43FB-8B40-1A67C47D9198}"/>
                  </a:ext>
                </a:extLst>
              </p:cNvPr>
              <p:cNvSpPr>
                <a:spLocks noEditPoints="1"/>
              </p:cNvSpPr>
              <p:nvPr/>
            </p:nvSpPr>
            <p:spPr bwMode="auto">
              <a:xfrm>
                <a:off x="6147010" y="1491383"/>
                <a:ext cx="1228765" cy="1256962"/>
              </a:xfrm>
              <a:custGeom>
                <a:avLst/>
                <a:gdLst>
                  <a:gd name="T0" fmla="*/ 812 w 828"/>
                  <a:gd name="T1" fmla="*/ 12 h 847"/>
                  <a:gd name="T2" fmla="*/ 805 w 828"/>
                  <a:gd name="T3" fmla="*/ 50 h 847"/>
                  <a:gd name="T4" fmla="*/ 783 w 828"/>
                  <a:gd name="T5" fmla="*/ 85 h 847"/>
                  <a:gd name="T6" fmla="*/ 814 w 828"/>
                  <a:gd name="T7" fmla="*/ 129 h 847"/>
                  <a:gd name="T8" fmla="*/ 778 w 828"/>
                  <a:gd name="T9" fmla="*/ 150 h 847"/>
                  <a:gd name="T10" fmla="*/ 789 w 828"/>
                  <a:gd name="T11" fmla="*/ 187 h 847"/>
                  <a:gd name="T12" fmla="*/ 749 w 828"/>
                  <a:gd name="T13" fmla="*/ 200 h 847"/>
                  <a:gd name="T14" fmla="*/ 726 w 828"/>
                  <a:gd name="T15" fmla="*/ 231 h 847"/>
                  <a:gd name="T16" fmla="*/ 722 w 828"/>
                  <a:gd name="T17" fmla="*/ 275 h 847"/>
                  <a:gd name="T18" fmla="*/ 724 w 828"/>
                  <a:gd name="T19" fmla="*/ 325 h 847"/>
                  <a:gd name="T20" fmla="*/ 716 w 828"/>
                  <a:gd name="T21" fmla="*/ 371 h 847"/>
                  <a:gd name="T22" fmla="*/ 701 w 828"/>
                  <a:gd name="T23" fmla="*/ 425 h 847"/>
                  <a:gd name="T24" fmla="*/ 687 w 828"/>
                  <a:gd name="T25" fmla="*/ 434 h 847"/>
                  <a:gd name="T26" fmla="*/ 686 w 828"/>
                  <a:gd name="T27" fmla="*/ 467 h 847"/>
                  <a:gd name="T28" fmla="*/ 651 w 828"/>
                  <a:gd name="T29" fmla="*/ 540 h 847"/>
                  <a:gd name="T30" fmla="*/ 682 w 828"/>
                  <a:gd name="T31" fmla="*/ 582 h 847"/>
                  <a:gd name="T32" fmla="*/ 707 w 828"/>
                  <a:gd name="T33" fmla="*/ 624 h 847"/>
                  <a:gd name="T34" fmla="*/ 703 w 828"/>
                  <a:gd name="T35" fmla="*/ 688 h 847"/>
                  <a:gd name="T36" fmla="*/ 689 w 828"/>
                  <a:gd name="T37" fmla="*/ 720 h 847"/>
                  <a:gd name="T38" fmla="*/ 659 w 828"/>
                  <a:gd name="T39" fmla="*/ 772 h 847"/>
                  <a:gd name="T40" fmla="*/ 626 w 828"/>
                  <a:gd name="T41" fmla="*/ 816 h 847"/>
                  <a:gd name="T42" fmla="*/ 570 w 828"/>
                  <a:gd name="T43" fmla="*/ 841 h 847"/>
                  <a:gd name="T44" fmla="*/ 507 w 828"/>
                  <a:gd name="T45" fmla="*/ 834 h 847"/>
                  <a:gd name="T46" fmla="*/ 449 w 828"/>
                  <a:gd name="T47" fmla="*/ 822 h 847"/>
                  <a:gd name="T48" fmla="*/ 399 w 828"/>
                  <a:gd name="T49" fmla="*/ 818 h 847"/>
                  <a:gd name="T50" fmla="*/ 367 w 828"/>
                  <a:gd name="T51" fmla="*/ 768 h 847"/>
                  <a:gd name="T52" fmla="*/ 355 w 828"/>
                  <a:gd name="T53" fmla="*/ 719 h 847"/>
                  <a:gd name="T54" fmla="*/ 282 w 828"/>
                  <a:gd name="T55" fmla="*/ 742 h 847"/>
                  <a:gd name="T56" fmla="*/ 213 w 828"/>
                  <a:gd name="T57" fmla="*/ 736 h 847"/>
                  <a:gd name="T58" fmla="*/ 165 w 828"/>
                  <a:gd name="T59" fmla="*/ 711 h 847"/>
                  <a:gd name="T60" fmla="*/ 159 w 828"/>
                  <a:gd name="T61" fmla="*/ 638 h 847"/>
                  <a:gd name="T62" fmla="*/ 100 w 828"/>
                  <a:gd name="T63" fmla="*/ 623 h 847"/>
                  <a:gd name="T64" fmla="*/ 71 w 828"/>
                  <a:gd name="T65" fmla="*/ 619 h 847"/>
                  <a:gd name="T66" fmla="*/ 63 w 828"/>
                  <a:gd name="T67" fmla="*/ 592 h 847"/>
                  <a:gd name="T68" fmla="*/ 36 w 828"/>
                  <a:gd name="T69" fmla="*/ 527 h 847"/>
                  <a:gd name="T70" fmla="*/ 4 w 828"/>
                  <a:gd name="T71" fmla="*/ 455 h 847"/>
                  <a:gd name="T72" fmla="*/ 23 w 828"/>
                  <a:gd name="T73" fmla="*/ 417 h 847"/>
                  <a:gd name="T74" fmla="*/ 56 w 828"/>
                  <a:gd name="T75" fmla="*/ 375 h 847"/>
                  <a:gd name="T76" fmla="*/ 44 w 828"/>
                  <a:gd name="T77" fmla="*/ 323 h 847"/>
                  <a:gd name="T78" fmla="*/ 35 w 828"/>
                  <a:gd name="T79" fmla="*/ 275 h 847"/>
                  <a:gd name="T80" fmla="*/ 44 w 828"/>
                  <a:gd name="T81" fmla="*/ 244 h 847"/>
                  <a:gd name="T82" fmla="*/ 75 w 828"/>
                  <a:gd name="T83" fmla="*/ 200 h 847"/>
                  <a:gd name="T84" fmla="*/ 92 w 828"/>
                  <a:gd name="T85" fmla="*/ 158 h 847"/>
                  <a:gd name="T86" fmla="*/ 133 w 828"/>
                  <a:gd name="T87" fmla="*/ 121 h 847"/>
                  <a:gd name="T88" fmla="*/ 163 w 828"/>
                  <a:gd name="T89" fmla="*/ 96 h 847"/>
                  <a:gd name="T90" fmla="*/ 194 w 828"/>
                  <a:gd name="T91" fmla="*/ 72 h 847"/>
                  <a:gd name="T92" fmla="*/ 236 w 828"/>
                  <a:gd name="T93" fmla="*/ 89 h 847"/>
                  <a:gd name="T94" fmla="*/ 280 w 828"/>
                  <a:gd name="T95" fmla="*/ 62 h 847"/>
                  <a:gd name="T96" fmla="*/ 334 w 828"/>
                  <a:gd name="T97" fmla="*/ 73 h 847"/>
                  <a:gd name="T98" fmla="*/ 394 w 828"/>
                  <a:gd name="T99" fmla="*/ 87 h 847"/>
                  <a:gd name="T100" fmla="*/ 422 w 828"/>
                  <a:gd name="T101" fmla="*/ 108 h 847"/>
                  <a:gd name="T102" fmla="*/ 453 w 828"/>
                  <a:gd name="T103" fmla="*/ 120 h 847"/>
                  <a:gd name="T104" fmla="*/ 492 w 828"/>
                  <a:gd name="T105" fmla="*/ 110 h 847"/>
                  <a:gd name="T106" fmla="*/ 517 w 828"/>
                  <a:gd name="T107" fmla="*/ 91 h 847"/>
                  <a:gd name="T108" fmla="*/ 532 w 828"/>
                  <a:gd name="T109" fmla="*/ 66 h 847"/>
                  <a:gd name="T110" fmla="*/ 545 w 828"/>
                  <a:gd name="T111" fmla="*/ 27 h 847"/>
                  <a:gd name="T112" fmla="*/ 574 w 828"/>
                  <a:gd name="T113" fmla="*/ 14 h 847"/>
                  <a:gd name="T114" fmla="*/ 622 w 828"/>
                  <a:gd name="T115" fmla="*/ 35 h 847"/>
                  <a:gd name="T116" fmla="*/ 670 w 828"/>
                  <a:gd name="T117" fmla="*/ 39 h 847"/>
                  <a:gd name="T118" fmla="*/ 714 w 828"/>
                  <a:gd name="T119" fmla="*/ 31 h 847"/>
                  <a:gd name="T120" fmla="*/ 743 w 828"/>
                  <a:gd name="T121" fmla="*/ 14 h 847"/>
                  <a:gd name="T122" fmla="*/ 48 w 828"/>
                  <a:gd name="T123" fmla="*/ 294 h 847"/>
                  <a:gd name="T124" fmla="*/ 100 w 828"/>
                  <a:gd name="T125" fmla="*/ 300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8" h="847">
                    <a:moveTo>
                      <a:pt x="760" y="4"/>
                    </a:moveTo>
                    <a:lnTo>
                      <a:pt x="762" y="4"/>
                    </a:lnTo>
                    <a:lnTo>
                      <a:pt x="764" y="4"/>
                    </a:lnTo>
                    <a:lnTo>
                      <a:pt x="766" y="4"/>
                    </a:lnTo>
                    <a:lnTo>
                      <a:pt x="766" y="6"/>
                    </a:lnTo>
                    <a:lnTo>
                      <a:pt x="768" y="6"/>
                    </a:lnTo>
                    <a:lnTo>
                      <a:pt x="770" y="6"/>
                    </a:lnTo>
                    <a:lnTo>
                      <a:pt x="770" y="8"/>
                    </a:lnTo>
                    <a:lnTo>
                      <a:pt x="772" y="8"/>
                    </a:lnTo>
                    <a:lnTo>
                      <a:pt x="774" y="8"/>
                    </a:lnTo>
                    <a:lnTo>
                      <a:pt x="774" y="10"/>
                    </a:lnTo>
                    <a:lnTo>
                      <a:pt x="776" y="10"/>
                    </a:lnTo>
                    <a:lnTo>
                      <a:pt x="778" y="10"/>
                    </a:lnTo>
                    <a:lnTo>
                      <a:pt x="780" y="12"/>
                    </a:lnTo>
                    <a:lnTo>
                      <a:pt x="782" y="12"/>
                    </a:lnTo>
                    <a:lnTo>
                      <a:pt x="783" y="12"/>
                    </a:lnTo>
                    <a:lnTo>
                      <a:pt x="783" y="14"/>
                    </a:lnTo>
                    <a:lnTo>
                      <a:pt x="785" y="14"/>
                    </a:lnTo>
                    <a:lnTo>
                      <a:pt x="785" y="16"/>
                    </a:lnTo>
                    <a:lnTo>
                      <a:pt x="787" y="16"/>
                    </a:lnTo>
                    <a:lnTo>
                      <a:pt x="787" y="14"/>
                    </a:lnTo>
                    <a:lnTo>
                      <a:pt x="789" y="14"/>
                    </a:lnTo>
                    <a:lnTo>
                      <a:pt x="791" y="14"/>
                    </a:lnTo>
                    <a:lnTo>
                      <a:pt x="791" y="16"/>
                    </a:lnTo>
                    <a:lnTo>
                      <a:pt x="793" y="16"/>
                    </a:lnTo>
                    <a:lnTo>
                      <a:pt x="795" y="16"/>
                    </a:lnTo>
                    <a:lnTo>
                      <a:pt x="797" y="16"/>
                    </a:lnTo>
                    <a:lnTo>
                      <a:pt x="799" y="16"/>
                    </a:lnTo>
                    <a:lnTo>
                      <a:pt x="799" y="14"/>
                    </a:lnTo>
                    <a:lnTo>
                      <a:pt x="801" y="14"/>
                    </a:lnTo>
                    <a:lnTo>
                      <a:pt x="801" y="12"/>
                    </a:lnTo>
                    <a:lnTo>
                      <a:pt x="803" y="12"/>
                    </a:lnTo>
                    <a:lnTo>
                      <a:pt x="803" y="14"/>
                    </a:lnTo>
                    <a:lnTo>
                      <a:pt x="803" y="12"/>
                    </a:lnTo>
                    <a:lnTo>
                      <a:pt x="805" y="12"/>
                    </a:lnTo>
                    <a:lnTo>
                      <a:pt x="805" y="10"/>
                    </a:lnTo>
                    <a:lnTo>
                      <a:pt x="805" y="8"/>
                    </a:lnTo>
                    <a:lnTo>
                      <a:pt x="807" y="8"/>
                    </a:lnTo>
                    <a:lnTo>
                      <a:pt x="808" y="8"/>
                    </a:lnTo>
                    <a:lnTo>
                      <a:pt x="808" y="10"/>
                    </a:lnTo>
                    <a:lnTo>
                      <a:pt x="810" y="10"/>
                    </a:lnTo>
                    <a:lnTo>
                      <a:pt x="812" y="10"/>
                    </a:lnTo>
                    <a:lnTo>
                      <a:pt x="812" y="12"/>
                    </a:lnTo>
                    <a:lnTo>
                      <a:pt x="814" y="12"/>
                    </a:lnTo>
                    <a:lnTo>
                      <a:pt x="812" y="12"/>
                    </a:lnTo>
                    <a:lnTo>
                      <a:pt x="812" y="14"/>
                    </a:lnTo>
                    <a:lnTo>
                      <a:pt x="814" y="14"/>
                    </a:lnTo>
                    <a:lnTo>
                      <a:pt x="816" y="14"/>
                    </a:lnTo>
                    <a:lnTo>
                      <a:pt x="816" y="16"/>
                    </a:lnTo>
                    <a:lnTo>
                      <a:pt x="814" y="16"/>
                    </a:lnTo>
                    <a:lnTo>
                      <a:pt x="814" y="18"/>
                    </a:lnTo>
                    <a:lnTo>
                      <a:pt x="814" y="20"/>
                    </a:lnTo>
                    <a:lnTo>
                      <a:pt x="816" y="20"/>
                    </a:lnTo>
                    <a:lnTo>
                      <a:pt x="818" y="22"/>
                    </a:lnTo>
                    <a:lnTo>
                      <a:pt x="816" y="24"/>
                    </a:lnTo>
                    <a:lnTo>
                      <a:pt x="814" y="27"/>
                    </a:lnTo>
                    <a:lnTo>
                      <a:pt x="814" y="29"/>
                    </a:lnTo>
                    <a:lnTo>
                      <a:pt x="812" y="29"/>
                    </a:lnTo>
                    <a:lnTo>
                      <a:pt x="812" y="31"/>
                    </a:lnTo>
                    <a:lnTo>
                      <a:pt x="810" y="31"/>
                    </a:lnTo>
                    <a:lnTo>
                      <a:pt x="810" y="33"/>
                    </a:lnTo>
                    <a:lnTo>
                      <a:pt x="808" y="33"/>
                    </a:lnTo>
                    <a:lnTo>
                      <a:pt x="807" y="33"/>
                    </a:lnTo>
                    <a:lnTo>
                      <a:pt x="807" y="35"/>
                    </a:lnTo>
                    <a:lnTo>
                      <a:pt x="808" y="35"/>
                    </a:lnTo>
                    <a:lnTo>
                      <a:pt x="808" y="37"/>
                    </a:lnTo>
                    <a:lnTo>
                      <a:pt x="810" y="37"/>
                    </a:lnTo>
                    <a:lnTo>
                      <a:pt x="810" y="39"/>
                    </a:lnTo>
                    <a:lnTo>
                      <a:pt x="808" y="39"/>
                    </a:lnTo>
                    <a:lnTo>
                      <a:pt x="810" y="39"/>
                    </a:lnTo>
                    <a:lnTo>
                      <a:pt x="808" y="39"/>
                    </a:lnTo>
                    <a:lnTo>
                      <a:pt x="810" y="39"/>
                    </a:lnTo>
                    <a:lnTo>
                      <a:pt x="808" y="39"/>
                    </a:lnTo>
                    <a:lnTo>
                      <a:pt x="807" y="41"/>
                    </a:lnTo>
                    <a:lnTo>
                      <a:pt x="807" y="43"/>
                    </a:lnTo>
                    <a:lnTo>
                      <a:pt x="805" y="43"/>
                    </a:lnTo>
                    <a:lnTo>
                      <a:pt x="805" y="45"/>
                    </a:lnTo>
                    <a:lnTo>
                      <a:pt x="805" y="47"/>
                    </a:lnTo>
                    <a:lnTo>
                      <a:pt x="805" y="48"/>
                    </a:lnTo>
                    <a:lnTo>
                      <a:pt x="805" y="47"/>
                    </a:lnTo>
                    <a:lnTo>
                      <a:pt x="805" y="48"/>
                    </a:lnTo>
                    <a:lnTo>
                      <a:pt x="803" y="48"/>
                    </a:lnTo>
                    <a:lnTo>
                      <a:pt x="803" y="50"/>
                    </a:lnTo>
                    <a:lnTo>
                      <a:pt x="805" y="50"/>
                    </a:lnTo>
                    <a:lnTo>
                      <a:pt x="803" y="50"/>
                    </a:lnTo>
                    <a:lnTo>
                      <a:pt x="805" y="50"/>
                    </a:lnTo>
                    <a:lnTo>
                      <a:pt x="805" y="52"/>
                    </a:lnTo>
                    <a:lnTo>
                      <a:pt x="803" y="54"/>
                    </a:lnTo>
                    <a:lnTo>
                      <a:pt x="801" y="56"/>
                    </a:lnTo>
                    <a:lnTo>
                      <a:pt x="799" y="56"/>
                    </a:lnTo>
                    <a:lnTo>
                      <a:pt x="799" y="58"/>
                    </a:lnTo>
                    <a:lnTo>
                      <a:pt x="797" y="56"/>
                    </a:lnTo>
                    <a:lnTo>
                      <a:pt x="797" y="58"/>
                    </a:lnTo>
                    <a:lnTo>
                      <a:pt x="797" y="60"/>
                    </a:lnTo>
                    <a:lnTo>
                      <a:pt x="797" y="62"/>
                    </a:lnTo>
                    <a:lnTo>
                      <a:pt x="799" y="62"/>
                    </a:lnTo>
                    <a:lnTo>
                      <a:pt x="799" y="64"/>
                    </a:lnTo>
                    <a:lnTo>
                      <a:pt x="797" y="64"/>
                    </a:lnTo>
                    <a:lnTo>
                      <a:pt x="797" y="66"/>
                    </a:lnTo>
                    <a:lnTo>
                      <a:pt x="799" y="66"/>
                    </a:lnTo>
                    <a:lnTo>
                      <a:pt x="799" y="68"/>
                    </a:lnTo>
                    <a:lnTo>
                      <a:pt x="797" y="68"/>
                    </a:lnTo>
                    <a:lnTo>
                      <a:pt x="795" y="68"/>
                    </a:lnTo>
                    <a:lnTo>
                      <a:pt x="795" y="70"/>
                    </a:lnTo>
                    <a:lnTo>
                      <a:pt x="795" y="72"/>
                    </a:lnTo>
                    <a:lnTo>
                      <a:pt x="793" y="72"/>
                    </a:lnTo>
                    <a:lnTo>
                      <a:pt x="791" y="72"/>
                    </a:lnTo>
                    <a:lnTo>
                      <a:pt x="791" y="73"/>
                    </a:lnTo>
                    <a:lnTo>
                      <a:pt x="789" y="73"/>
                    </a:lnTo>
                    <a:lnTo>
                      <a:pt x="787" y="73"/>
                    </a:lnTo>
                    <a:lnTo>
                      <a:pt x="787" y="72"/>
                    </a:lnTo>
                    <a:lnTo>
                      <a:pt x="785" y="72"/>
                    </a:lnTo>
                    <a:lnTo>
                      <a:pt x="783" y="73"/>
                    </a:lnTo>
                    <a:lnTo>
                      <a:pt x="785" y="73"/>
                    </a:lnTo>
                    <a:lnTo>
                      <a:pt x="785" y="75"/>
                    </a:lnTo>
                    <a:lnTo>
                      <a:pt x="787" y="75"/>
                    </a:lnTo>
                    <a:lnTo>
                      <a:pt x="787" y="77"/>
                    </a:lnTo>
                    <a:lnTo>
                      <a:pt x="787" y="79"/>
                    </a:lnTo>
                    <a:lnTo>
                      <a:pt x="787" y="81"/>
                    </a:lnTo>
                    <a:lnTo>
                      <a:pt x="785" y="81"/>
                    </a:lnTo>
                    <a:lnTo>
                      <a:pt x="785" y="83"/>
                    </a:lnTo>
                    <a:lnTo>
                      <a:pt x="785" y="81"/>
                    </a:lnTo>
                    <a:lnTo>
                      <a:pt x="785" y="83"/>
                    </a:lnTo>
                    <a:lnTo>
                      <a:pt x="785" y="85"/>
                    </a:lnTo>
                    <a:lnTo>
                      <a:pt x="785" y="83"/>
                    </a:lnTo>
                    <a:lnTo>
                      <a:pt x="783" y="83"/>
                    </a:lnTo>
                    <a:lnTo>
                      <a:pt x="783" y="85"/>
                    </a:lnTo>
                    <a:lnTo>
                      <a:pt x="783" y="87"/>
                    </a:lnTo>
                    <a:lnTo>
                      <a:pt x="783" y="85"/>
                    </a:lnTo>
                    <a:lnTo>
                      <a:pt x="782" y="85"/>
                    </a:lnTo>
                    <a:lnTo>
                      <a:pt x="782" y="87"/>
                    </a:lnTo>
                    <a:lnTo>
                      <a:pt x="783" y="87"/>
                    </a:lnTo>
                    <a:lnTo>
                      <a:pt x="783" y="89"/>
                    </a:lnTo>
                    <a:lnTo>
                      <a:pt x="783" y="91"/>
                    </a:lnTo>
                    <a:lnTo>
                      <a:pt x="785" y="91"/>
                    </a:lnTo>
                    <a:lnTo>
                      <a:pt x="785" y="93"/>
                    </a:lnTo>
                    <a:lnTo>
                      <a:pt x="787" y="93"/>
                    </a:lnTo>
                    <a:lnTo>
                      <a:pt x="787" y="95"/>
                    </a:lnTo>
                    <a:lnTo>
                      <a:pt x="787" y="96"/>
                    </a:lnTo>
                    <a:lnTo>
                      <a:pt x="789" y="96"/>
                    </a:lnTo>
                    <a:lnTo>
                      <a:pt x="789" y="98"/>
                    </a:lnTo>
                    <a:lnTo>
                      <a:pt x="785" y="98"/>
                    </a:lnTo>
                    <a:lnTo>
                      <a:pt x="785" y="100"/>
                    </a:lnTo>
                    <a:lnTo>
                      <a:pt x="785" y="102"/>
                    </a:lnTo>
                    <a:lnTo>
                      <a:pt x="783" y="104"/>
                    </a:lnTo>
                    <a:lnTo>
                      <a:pt x="783" y="106"/>
                    </a:lnTo>
                    <a:lnTo>
                      <a:pt x="789" y="108"/>
                    </a:lnTo>
                    <a:lnTo>
                      <a:pt x="789" y="106"/>
                    </a:lnTo>
                    <a:lnTo>
                      <a:pt x="787" y="106"/>
                    </a:lnTo>
                    <a:lnTo>
                      <a:pt x="785" y="106"/>
                    </a:lnTo>
                    <a:lnTo>
                      <a:pt x="785" y="104"/>
                    </a:lnTo>
                    <a:lnTo>
                      <a:pt x="787" y="104"/>
                    </a:lnTo>
                    <a:lnTo>
                      <a:pt x="789" y="104"/>
                    </a:lnTo>
                    <a:lnTo>
                      <a:pt x="789" y="102"/>
                    </a:lnTo>
                    <a:lnTo>
                      <a:pt x="789" y="104"/>
                    </a:lnTo>
                    <a:lnTo>
                      <a:pt x="791" y="104"/>
                    </a:lnTo>
                    <a:lnTo>
                      <a:pt x="795" y="106"/>
                    </a:lnTo>
                    <a:lnTo>
                      <a:pt x="797" y="106"/>
                    </a:lnTo>
                    <a:lnTo>
                      <a:pt x="797" y="108"/>
                    </a:lnTo>
                    <a:lnTo>
                      <a:pt x="799" y="110"/>
                    </a:lnTo>
                    <a:lnTo>
                      <a:pt x="801" y="110"/>
                    </a:lnTo>
                    <a:lnTo>
                      <a:pt x="805" y="112"/>
                    </a:lnTo>
                    <a:lnTo>
                      <a:pt x="808" y="114"/>
                    </a:lnTo>
                    <a:lnTo>
                      <a:pt x="807" y="118"/>
                    </a:lnTo>
                    <a:lnTo>
                      <a:pt x="808" y="118"/>
                    </a:lnTo>
                    <a:lnTo>
                      <a:pt x="812" y="120"/>
                    </a:lnTo>
                    <a:lnTo>
                      <a:pt x="812" y="121"/>
                    </a:lnTo>
                    <a:lnTo>
                      <a:pt x="814" y="123"/>
                    </a:lnTo>
                    <a:lnTo>
                      <a:pt x="814" y="125"/>
                    </a:lnTo>
                    <a:lnTo>
                      <a:pt x="814" y="127"/>
                    </a:lnTo>
                    <a:lnTo>
                      <a:pt x="812" y="129"/>
                    </a:lnTo>
                    <a:lnTo>
                      <a:pt x="814" y="129"/>
                    </a:lnTo>
                    <a:lnTo>
                      <a:pt x="816" y="129"/>
                    </a:lnTo>
                    <a:lnTo>
                      <a:pt x="818" y="129"/>
                    </a:lnTo>
                    <a:lnTo>
                      <a:pt x="822" y="131"/>
                    </a:lnTo>
                    <a:lnTo>
                      <a:pt x="826" y="133"/>
                    </a:lnTo>
                    <a:lnTo>
                      <a:pt x="826" y="131"/>
                    </a:lnTo>
                    <a:lnTo>
                      <a:pt x="828" y="131"/>
                    </a:lnTo>
                    <a:lnTo>
                      <a:pt x="828" y="129"/>
                    </a:lnTo>
                    <a:lnTo>
                      <a:pt x="828" y="131"/>
                    </a:lnTo>
                    <a:lnTo>
                      <a:pt x="828" y="133"/>
                    </a:lnTo>
                    <a:lnTo>
                      <a:pt x="828" y="139"/>
                    </a:lnTo>
                    <a:lnTo>
                      <a:pt x="828" y="143"/>
                    </a:lnTo>
                    <a:lnTo>
                      <a:pt x="828" y="152"/>
                    </a:lnTo>
                    <a:lnTo>
                      <a:pt x="822" y="150"/>
                    </a:lnTo>
                    <a:lnTo>
                      <a:pt x="820" y="150"/>
                    </a:lnTo>
                    <a:lnTo>
                      <a:pt x="818" y="150"/>
                    </a:lnTo>
                    <a:lnTo>
                      <a:pt x="816" y="150"/>
                    </a:lnTo>
                    <a:lnTo>
                      <a:pt x="816" y="152"/>
                    </a:lnTo>
                    <a:lnTo>
                      <a:pt x="814" y="152"/>
                    </a:lnTo>
                    <a:lnTo>
                      <a:pt x="812" y="152"/>
                    </a:lnTo>
                    <a:lnTo>
                      <a:pt x="810" y="152"/>
                    </a:lnTo>
                    <a:lnTo>
                      <a:pt x="810" y="154"/>
                    </a:lnTo>
                    <a:lnTo>
                      <a:pt x="808" y="154"/>
                    </a:lnTo>
                    <a:lnTo>
                      <a:pt x="808" y="156"/>
                    </a:lnTo>
                    <a:lnTo>
                      <a:pt x="807" y="154"/>
                    </a:lnTo>
                    <a:lnTo>
                      <a:pt x="805" y="152"/>
                    </a:lnTo>
                    <a:lnTo>
                      <a:pt x="803" y="150"/>
                    </a:lnTo>
                    <a:lnTo>
                      <a:pt x="803" y="148"/>
                    </a:lnTo>
                    <a:lnTo>
                      <a:pt x="803" y="144"/>
                    </a:lnTo>
                    <a:lnTo>
                      <a:pt x="801" y="144"/>
                    </a:lnTo>
                    <a:lnTo>
                      <a:pt x="799" y="144"/>
                    </a:lnTo>
                    <a:lnTo>
                      <a:pt x="795" y="146"/>
                    </a:lnTo>
                    <a:lnTo>
                      <a:pt x="793" y="148"/>
                    </a:lnTo>
                    <a:lnTo>
                      <a:pt x="791" y="148"/>
                    </a:lnTo>
                    <a:lnTo>
                      <a:pt x="791" y="150"/>
                    </a:lnTo>
                    <a:lnTo>
                      <a:pt x="789" y="150"/>
                    </a:lnTo>
                    <a:lnTo>
                      <a:pt x="789" y="152"/>
                    </a:lnTo>
                    <a:lnTo>
                      <a:pt x="787" y="152"/>
                    </a:lnTo>
                    <a:lnTo>
                      <a:pt x="785" y="152"/>
                    </a:lnTo>
                    <a:lnTo>
                      <a:pt x="783" y="152"/>
                    </a:lnTo>
                    <a:lnTo>
                      <a:pt x="783" y="150"/>
                    </a:lnTo>
                    <a:lnTo>
                      <a:pt x="782" y="150"/>
                    </a:lnTo>
                    <a:lnTo>
                      <a:pt x="780" y="150"/>
                    </a:lnTo>
                    <a:lnTo>
                      <a:pt x="778" y="150"/>
                    </a:lnTo>
                    <a:lnTo>
                      <a:pt x="778" y="152"/>
                    </a:lnTo>
                    <a:lnTo>
                      <a:pt x="778" y="154"/>
                    </a:lnTo>
                    <a:lnTo>
                      <a:pt x="778" y="156"/>
                    </a:lnTo>
                    <a:lnTo>
                      <a:pt x="780" y="156"/>
                    </a:lnTo>
                    <a:lnTo>
                      <a:pt x="778" y="156"/>
                    </a:lnTo>
                    <a:lnTo>
                      <a:pt x="778" y="158"/>
                    </a:lnTo>
                    <a:lnTo>
                      <a:pt x="776" y="158"/>
                    </a:lnTo>
                    <a:lnTo>
                      <a:pt x="776" y="156"/>
                    </a:lnTo>
                    <a:lnTo>
                      <a:pt x="776" y="158"/>
                    </a:lnTo>
                    <a:lnTo>
                      <a:pt x="778" y="158"/>
                    </a:lnTo>
                    <a:lnTo>
                      <a:pt x="778" y="160"/>
                    </a:lnTo>
                    <a:lnTo>
                      <a:pt x="780" y="160"/>
                    </a:lnTo>
                    <a:lnTo>
                      <a:pt x="782" y="160"/>
                    </a:lnTo>
                    <a:lnTo>
                      <a:pt x="782" y="162"/>
                    </a:lnTo>
                    <a:lnTo>
                      <a:pt x="783" y="162"/>
                    </a:lnTo>
                    <a:lnTo>
                      <a:pt x="783" y="164"/>
                    </a:lnTo>
                    <a:lnTo>
                      <a:pt x="785" y="164"/>
                    </a:lnTo>
                    <a:lnTo>
                      <a:pt x="785" y="166"/>
                    </a:lnTo>
                    <a:lnTo>
                      <a:pt x="785" y="168"/>
                    </a:lnTo>
                    <a:lnTo>
                      <a:pt x="785" y="169"/>
                    </a:lnTo>
                    <a:lnTo>
                      <a:pt x="785" y="171"/>
                    </a:lnTo>
                    <a:lnTo>
                      <a:pt x="787" y="171"/>
                    </a:lnTo>
                    <a:lnTo>
                      <a:pt x="787" y="173"/>
                    </a:lnTo>
                    <a:lnTo>
                      <a:pt x="789" y="173"/>
                    </a:lnTo>
                    <a:lnTo>
                      <a:pt x="791" y="173"/>
                    </a:lnTo>
                    <a:lnTo>
                      <a:pt x="791" y="175"/>
                    </a:lnTo>
                    <a:lnTo>
                      <a:pt x="791" y="177"/>
                    </a:lnTo>
                    <a:lnTo>
                      <a:pt x="793" y="177"/>
                    </a:lnTo>
                    <a:lnTo>
                      <a:pt x="795" y="177"/>
                    </a:lnTo>
                    <a:lnTo>
                      <a:pt x="795" y="179"/>
                    </a:lnTo>
                    <a:lnTo>
                      <a:pt x="797" y="179"/>
                    </a:lnTo>
                    <a:lnTo>
                      <a:pt x="797" y="181"/>
                    </a:lnTo>
                    <a:lnTo>
                      <a:pt x="797" y="183"/>
                    </a:lnTo>
                    <a:lnTo>
                      <a:pt x="797" y="185"/>
                    </a:lnTo>
                    <a:lnTo>
                      <a:pt x="795" y="185"/>
                    </a:lnTo>
                    <a:lnTo>
                      <a:pt x="793" y="185"/>
                    </a:lnTo>
                    <a:lnTo>
                      <a:pt x="791" y="185"/>
                    </a:lnTo>
                    <a:lnTo>
                      <a:pt x="789" y="185"/>
                    </a:lnTo>
                    <a:lnTo>
                      <a:pt x="789" y="187"/>
                    </a:lnTo>
                    <a:lnTo>
                      <a:pt x="791" y="187"/>
                    </a:lnTo>
                    <a:lnTo>
                      <a:pt x="789" y="187"/>
                    </a:lnTo>
                    <a:lnTo>
                      <a:pt x="789" y="189"/>
                    </a:lnTo>
                    <a:lnTo>
                      <a:pt x="789" y="187"/>
                    </a:lnTo>
                    <a:lnTo>
                      <a:pt x="787" y="187"/>
                    </a:lnTo>
                    <a:lnTo>
                      <a:pt x="787" y="189"/>
                    </a:lnTo>
                    <a:lnTo>
                      <a:pt x="787" y="191"/>
                    </a:lnTo>
                    <a:lnTo>
                      <a:pt x="787" y="192"/>
                    </a:lnTo>
                    <a:lnTo>
                      <a:pt x="785" y="192"/>
                    </a:lnTo>
                    <a:lnTo>
                      <a:pt x="785" y="194"/>
                    </a:lnTo>
                    <a:lnTo>
                      <a:pt x="783" y="194"/>
                    </a:lnTo>
                    <a:lnTo>
                      <a:pt x="782" y="194"/>
                    </a:lnTo>
                    <a:lnTo>
                      <a:pt x="780" y="194"/>
                    </a:lnTo>
                    <a:lnTo>
                      <a:pt x="780" y="192"/>
                    </a:lnTo>
                    <a:lnTo>
                      <a:pt x="778" y="192"/>
                    </a:lnTo>
                    <a:lnTo>
                      <a:pt x="776" y="192"/>
                    </a:lnTo>
                    <a:lnTo>
                      <a:pt x="776" y="191"/>
                    </a:lnTo>
                    <a:lnTo>
                      <a:pt x="774" y="191"/>
                    </a:lnTo>
                    <a:lnTo>
                      <a:pt x="772" y="191"/>
                    </a:lnTo>
                    <a:lnTo>
                      <a:pt x="770" y="191"/>
                    </a:lnTo>
                    <a:lnTo>
                      <a:pt x="770" y="192"/>
                    </a:lnTo>
                    <a:lnTo>
                      <a:pt x="770" y="194"/>
                    </a:lnTo>
                    <a:lnTo>
                      <a:pt x="768" y="194"/>
                    </a:lnTo>
                    <a:lnTo>
                      <a:pt x="768" y="196"/>
                    </a:lnTo>
                    <a:lnTo>
                      <a:pt x="766" y="196"/>
                    </a:lnTo>
                    <a:lnTo>
                      <a:pt x="764" y="194"/>
                    </a:lnTo>
                    <a:lnTo>
                      <a:pt x="762" y="194"/>
                    </a:lnTo>
                    <a:lnTo>
                      <a:pt x="762" y="196"/>
                    </a:lnTo>
                    <a:lnTo>
                      <a:pt x="760" y="196"/>
                    </a:lnTo>
                    <a:lnTo>
                      <a:pt x="760" y="194"/>
                    </a:lnTo>
                    <a:lnTo>
                      <a:pt x="759" y="194"/>
                    </a:lnTo>
                    <a:lnTo>
                      <a:pt x="759" y="196"/>
                    </a:lnTo>
                    <a:lnTo>
                      <a:pt x="757" y="196"/>
                    </a:lnTo>
                    <a:lnTo>
                      <a:pt x="759" y="196"/>
                    </a:lnTo>
                    <a:lnTo>
                      <a:pt x="759" y="198"/>
                    </a:lnTo>
                    <a:lnTo>
                      <a:pt x="757" y="198"/>
                    </a:lnTo>
                    <a:lnTo>
                      <a:pt x="755" y="198"/>
                    </a:lnTo>
                    <a:lnTo>
                      <a:pt x="755" y="200"/>
                    </a:lnTo>
                    <a:lnTo>
                      <a:pt x="753" y="200"/>
                    </a:lnTo>
                    <a:lnTo>
                      <a:pt x="751" y="200"/>
                    </a:lnTo>
                    <a:lnTo>
                      <a:pt x="751" y="198"/>
                    </a:lnTo>
                    <a:lnTo>
                      <a:pt x="749" y="198"/>
                    </a:lnTo>
                    <a:lnTo>
                      <a:pt x="749" y="200"/>
                    </a:lnTo>
                    <a:lnTo>
                      <a:pt x="751" y="200"/>
                    </a:lnTo>
                    <a:lnTo>
                      <a:pt x="751" y="202"/>
                    </a:lnTo>
                    <a:lnTo>
                      <a:pt x="749" y="202"/>
                    </a:lnTo>
                    <a:lnTo>
                      <a:pt x="749" y="200"/>
                    </a:lnTo>
                    <a:lnTo>
                      <a:pt x="749" y="198"/>
                    </a:lnTo>
                    <a:lnTo>
                      <a:pt x="747" y="198"/>
                    </a:lnTo>
                    <a:lnTo>
                      <a:pt x="745" y="198"/>
                    </a:lnTo>
                    <a:lnTo>
                      <a:pt x="745" y="200"/>
                    </a:lnTo>
                    <a:lnTo>
                      <a:pt x="743" y="200"/>
                    </a:lnTo>
                    <a:lnTo>
                      <a:pt x="743" y="198"/>
                    </a:lnTo>
                    <a:lnTo>
                      <a:pt x="741" y="198"/>
                    </a:lnTo>
                    <a:lnTo>
                      <a:pt x="741" y="200"/>
                    </a:lnTo>
                    <a:lnTo>
                      <a:pt x="741" y="202"/>
                    </a:lnTo>
                    <a:lnTo>
                      <a:pt x="739" y="202"/>
                    </a:lnTo>
                    <a:lnTo>
                      <a:pt x="739" y="200"/>
                    </a:lnTo>
                    <a:lnTo>
                      <a:pt x="737" y="200"/>
                    </a:lnTo>
                    <a:lnTo>
                      <a:pt x="737" y="202"/>
                    </a:lnTo>
                    <a:lnTo>
                      <a:pt x="737" y="204"/>
                    </a:lnTo>
                    <a:lnTo>
                      <a:pt x="739" y="204"/>
                    </a:lnTo>
                    <a:lnTo>
                      <a:pt x="739" y="206"/>
                    </a:lnTo>
                    <a:lnTo>
                      <a:pt x="739" y="208"/>
                    </a:lnTo>
                    <a:lnTo>
                      <a:pt x="739" y="210"/>
                    </a:lnTo>
                    <a:lnTo>
                      <a:pt x="737" y="210"/>
                    </a:lnTo>
                    <a:lnTo>
                      <a:pt x="735" y="210"/>
                    </a:lnTo>
                    <a:lnTo>
                      <a:pt x="735" y="212"/>
                    </a:lnTo>
                    <a:lnTo>
                      <a:pt x="734" y="212"/>
                    </a:lnTo>
                    <a:lnTo>
                      <a:pt x="732" y="212"/>
                    </a:lnTo>
                    <a:lnTo>
                      <a:pt x="730" y="212"/>
                    </a:lnTo>
                    <a:lnTo>
                      <a:pt x="730" y="214"/>
                    </a:lnTo>
                    <a:lnTo>
                      <a:pt x="728" y="214"/>
                    </a:lnTo>
                    <a:lnTo>
                      <a:pt x="726" y="214"/>
                    </a:lnTo>
                    <a:lnTo>
                      <a:pt x="726" y="216"/>
                    </a:lnTo>
                    <a:lnTo>
                      <a:pt x="726" y="217"/>
                    </a:lnTo>
                    <a:lnTo>
                      <a:pt x="724" y="217"/>
                    </a:lnTo>
                    <a:lnTo>
                      <a:pt x="722" y="217"/>
                    </a:lnTo>
                    <a:lnTo>
                      <a:pt x="724" y="217"/>
                    </a:lnTo>
                    <a:lnTo>
                      <a:pt x="724" y="219"/>
                    </a:lnTo>
                    <a:lnTo>
                      <a:pt x="726" y="219"/>
                    </a:lnTo>
                    <a:lnTo>
                      <a:pt x="726" y="221"/>
                    </a:lnTo>
                    <a:lnTo>
                      <a:pt x="724" y="221"/>
                    </a:lnTo>
                    <a:lnTo>
                      <a:pt x="722" y="221"/>
                    </a:lnTo>
                    <a:lnTo>
                      <a:pt x="722" y="223"/>
                    </a:lnTo>
                    <a:lnTo>
                      <a:pt x="722" y="225"/>
                    </a:lnTo>
                    <a:lnTo>
                      <a:pt x="724" y="225"/>
                    </a:lnTo>
                    <a:lnTo>
                      <a:pt x="724" y="227"/>
                    </a:lnTo>
                    <a:lnTo>
                      <a:pt x="724" y="229"/>
                    </a:lnTo>
                    <a:lnTo>
                      <a:pt x="726" y="231"/>
                    </a:lnTo>
                    <a:lnTo>
                      <a:pt x="726" y="233"/>
                    </a:lnTo>
                    <a:lnTo>
                      <a:pt x="728" y="233"/>
                    </a:lnTo>
                    <a:lnTo>
                      <a:pt x="728" y="235"/>
                    </a:lnTo>
                    <a:lnTo>
                      <a:pt x="728" y="237"/>
                    </a:lnTo>
                    <a:lnTo>
                      <a:pt x="728" y="239"/>
                    </a:lnTo>
                    <a:lnTo>
                      <a:pt x="726" y="239"/>
                    </a:lnTo>
                    <a:lnTo>
                      <a:pt x="724" y="237"/>
                    </a:lnTo>
                    <a:lnTo>
                      <a:pt x="724" y="239"/>
                    </a:lnTo>
                    <a:lnTo>
                      <a:pt x="722" y="239"/>
                    </a:lnTo>
                    <a:lnTo>
                      <a:pt x="720" y="239"/>
                    </a:lnTo>
                    <a:lnTo>
                      <a:pt x="720" y="240"/>
                    </a:lnTo>
                    <a:lnTo>
                      <a:pt x="720" y="242"/>
                    </a:lnTo>
                    <a:lnTo>
                      <a:pt x="718" y="242"/>
                    </a:lnTo>
                    <a:lnTo>
                      <a:pt x="718" y="244"/>
                    </a:lnTo>
                    <a:lnTo>
                      <a:pt x="716" y="246"/>
                    </a:lnTo>
                    <a:lnTo>
                      <a:pt x="714" y="248"/>
                    </a:lnTo>
                    <a:lnTo>
                      <a:pt x="714" y="250"/>
                    </a:lnTo>
                    <a:lnTo>
                      <a:pt x="714" y="252"/>
                    </a:lnTo>
                    <a:lnTo>
                      <a:pt x="712" y="250"/>
                    </a:lnTo>
                    <a:lnTo>
                      <a:pt x="712" y="252"/>
                    </a:lnTo>
                    <a:lnTo>
                      <a:pt x="711" y="250"/>
                    </a:lnTo>
                    <a:lnTo>
                      <a:pt x="711" y="252"/>
                    </a:lnTo>
                    <a:lnTo>
                      <a:pt x="709" y="252"/>
                    </a:lnTo>
                    <a:lnTo>
                      <a:pt x="709" y="254"/>
                    </a:lnTo>
                    <a:lnTo>
                      <a:pt x="709" y="256"/>
                    </a:lnTo>
                    <a:lnTo>
                      <a:pt x="711" y="256"/>
                    </a:lnTo>
                    <a:lnTo>
                      <a:pt x="711" y="254"/>
                    </a:lnTo>
                    <a:lnTo>
                      <a:pt x="712" y="254"/>
                    </a:lnTo>
                    <a:lnTo>
                      <a:pt x="712" y="256"/>
                    </a:lnTo>
                    <a:lnTo>
                      <a:pt x="712" y="258"/>
                    </a:lnTo>
                    <a:lnTo>
                      <a:pt x="712" y="260"/>
                    </a:lnTo>
                    <a:lnTo>
                      <a:pt x="712" y="262"/>
                    </a:lnTo>
                    <a:lnTo>
                      <a:pt x="712" y="264"/>
                    </a:lnTo>
                    <a:lnTo>
                      <a:pt x="712" y="265"/>
                    </a:lnTo>
                    <a:lnTo>
                      <a:pt x="714" y="265"/>
                    </a:lnTo>
                    <a:lnTo>
                      <a:pt x="714" y="267"/>
                    </a:lnTo>
                    <a:lnTo>
                      <a:pt x="716" y="267"/>
                    </a:lnTo>
                    <a:lnTo>
                      <a:pt x="716" y="269"/>
                    </a:lnTo>
                    <a:lnTo>
                      <a:pt x="718" y="269"/>
                    </a:lnTo>
                    <a:lnTo>
                      <a:pt x="718" y="271"/>
                    </a:lnTo>
                    <a:lnTo>
                      <a:pt x="720" y="271"/>
                    </a:lnTo>
                    <a:lnTo>
                      <a:pt x="720" y="273"/>
                    </a:lnTo>
                    <a:lnTo>
                      <a:pt x="722" y="275"/>
                    </a:lnTo>
                    <a:lnTo>
                      <a:pt x="720" y="277"/>
                    </a:lnTo>
                    <a:lnTo>
                      <a:pt x="722" y="279"/>
                    </a:lnTo>
                    <a:lnTo>
                      <a:pt x="724" y="279"/>
                    </a:lnTo>
                    <a:lnTo>
                      <a:pt x="724" y="281"/>
                    </a:lnTo>
                    <a:lnTo>
                      <a:pt x="726" y="283"/>
                    </a:lnTo>
                    <a:lnTo>
                      <a:pt x="726" y="285"/>
                    </a:lnTo>
                    <a:lnTo>
                      <a:pt x="726" y="287"/>
                    </a:lnTo>
                    <a:lnTo>
                      <a:pt x="728" y="287"/>
                    </a:lnTo>
                    <a:lnTo>
                      <a:pt x="730" y="287"/>
                    </a:lnTo>
                    <a:lnTo>
                      <a:pt x="730" y="288"/>
                    </a:lnTo>
                    <a:lnTo>
                      <a:pt x="730" y="290"/>
                    </a:lnTo>
                    <a:lnTo>
                      <a:pt x="728" y="290"/>
                    </a:lnTo>
                    <a:lnTo>
                      <a:pt x="726" y="290"/>
                    </a:lnTo>
                    <a:lnTo>
                      <a:pt x="724" y="290"/>
                    </a:lnTo>
                    <a:lnTo>
                      <a:pt x="722" y="290"/>
                    </a:lnTo>
                    <a:lnTo>
                      <a:pt x="722" y="292"/>
                    </a:lnTo>
                    <a:lnTo>
                      <a:pt x="724" y="294"/>
                    </a:lnTo>
                    <a:lnTo>
                      <a:pt x="726" y="294"/>
                    </a:lnTo>
                    <a:lnTo>
                      <a:pt x="728" y="294"/>
                    </a:lnTo>
                    <a:lnTo>
                      <a:pt x="728" y="296"/>
                    </a:lnTo>
                    <a:lnTo>
                      <a:pt x="726" y="296"/>
                    </a:lnTo>
                    <a:lnTo>
                      <a:pt x="724" y="296"/>
                    </a:lnTo>
                    <a:lnTo>
                      <a:pt x="724" y="294"/>
                    </a:lnTo>
                    <a:lnTo>
                      <a:pt x="722" y="294"/>
                    </a:lnTo>
                    <a:lnTo>
                      <a:pt x="722" y="296"/>
                    </a:lnTo>
                    <a:lnTo>
                      <a:pt x="720" y="296"/>
                    </a:lnTo>
                    <a:lnTo>
                      <a:pt x="720" y="298"/>
                    </a:lnTo>
                    <a:lnTo>
                      <a:pt x="722" y="298"/>
                    </a:lnTo>
                    <a:lnTo>
                      <a:pt x="722" y="300"/>
                    </a:lnTo>
                    <a:lnTo>
                      <a:pt x="720" y="302"/>
                    </a:lnTo>
                    <a:lnTo>
                      <a:pt x="718" y="302"/>
                    </a:lnTo>
                    <a:lnTo>
                      <a:pt x="718" y="304"/>
                    </a:lnTo>
                    <a:lnTo>
                      <a:pt x="716" y="306"/>
                    </a:lnTo>
                    <a:lnTo>
                      <a:pt x="716" y="308"/>
                    </a:lnTo>
                    <a:lnTo>
                      <a:pt x="716" y="310"/>
                    </a:lnTo>
                    <a:lnTo>
                      <a:pt x="718" y="310"/>
                    </a:lnTo>
                    <a:lnTo>
                      <a:pt x="720" y="312"/>
                    </a:lnTo>
                    <a:lnTo>
                      <a:pt x="724" y="312"/>
                    </a:lnTo>
                    <a:lnTo>
                      <a:pt x="724" y="315"/>
                    </a:lnTo>
                    <a:lnTo>
                      <a:pt x="724" y="317"/>
                    </a:lnTo>
                    <a:lnTo>
                      <a:pt x="722" y="319"/>
                    </a:lnTo>
                    <a:lnTo>
                      <a:pt x="722" y="325"/>
                    </a:lnTo>
                    <a:lnTo>
                      <a:pt x="724" y="325"/>
                    </a:lnTo>
                    <a:lnTo>
                      <a:pt x="724" y="327"/>
                    </a:lnTo>
                    <a:lnTo>
                      <a:pt x="728" y="331"/>
                    </a:lnTo>
                    <a:lnTo>
                      <a:pt x="730" y="331"/>
                    </a:lnTo>
                    <a:lnTo>
                      <a:pt x="730" y="333"/>
                    </a:lnTo>
                    <a:lnTo>
                      <a:pt x="730" y="335"/>
                    </a:lnTo>
                    <a:lnTo>
                      <a:pt x="732" y="336"/>
                    </a:lnTo>
                    <a:lnTo>
                      <a:pt x="735" y="336"/>
                    </a:lnTo>
                    <a:lnTo>
                      <a:pt x="737" y="336"/>
                    </a:lnTo>
                    <a:lnTo>
                      <a:pt x="739" y="338"/>
                    </a:lnTo>
                    <a:lnTo>
                      <a:pt x="737" y="338"/>
                    </a:lnTo>
                    <a:lnTo>
                      <a:pt x="735" y="340"/>
                    </a:lnTo>
                    <a:lnTo>
                      <a:pt x="735" y="342"/>
                    </a:lnTo>
                    <a:lnTo>
                      <a:pt x="732" y="340"/>
                    </a:lnTo>
                    <a:lnTo>
                      <a:pt x="730" y="340"/>
                    </a:lnTo>
                    <a:lnTo>
                      <a:pt x="726" y="340"/>
                    </a:lnTo>
                    <a:lnTo>
                      <a:pt x="724" y="340"/>
                    </a:lnTo>
                    <a:lnTo>
                      <a:pt x="722" y="340"/>
                    </a:lnTo>
                    <a:lnTo>
                      <a:pt x="722" y="342"/>
                    </a:lnTo>
                    <a:lnTo>
                      <a:pt x="722" y="344"/>
                    </a:lnTo>
                    <a:lnTo>
                      <a:pt x="722" y="346"/>
                    </a:lnTo>
                    <a:lnTo>
                      <a:pt x="722" y="348"/>
                    </a:lnTo>
                    <a:lnTo>
                      <a:pt x="724" y="348"/>
                    </a:lnTo>
                    <a:lnTo>
                      <a:pt x="724" y="350"/>
                    </a:lnTo>
                    <a:lnTo>
                      <a:pt x="724" y="352"/>
                    </a:lnTo>
                    <a:lnTo>
                      <a:pt x="726" y="354"/>
                    </a:lnTo>
                    <a:lnTo>
                      <a:pt x="728" y="354"/>
                    </a:lnTo>
                    <a:lnTo>
                      <a:pt x="728" y="356"/>
                    </a:lnTo>
                    <a:lnTo>
                      <a:pt x="728" y="358"/>
                    </a:lnTo>
                    <a:lnTo>
                      <a:pt x="728" y="360"/>
                    </a:lnTo>
                    <a:lnTo>
                      <a:pt x="730" y="360"/>
                    </a:lnTo>
                    <a:lnTo>
                      <a:pt x="730" y="361"/>
                    </a:lnTo>
                    <a:lnTo>
                      <a:pt x="730" y="365"/>
                    </a:lnTo>
                    <a:lnTo>
                      <a:pt x="730" y="367"/>
                    </a:lnTo>
                    <a:lnTo>
                      <a:pt x="730" y="369"/>
                    </a:lnTo>
                    <a:lnTo>
                      <a:pt x="726" y="367"/>
                    </a:lnTo>
                    <a:lnTo>
                      <a:pt x="724" y="371"/>
                    </a:lnTo>
                    <a:lnTo>
                      <a:pt x="722" y="371"/>
                    </a:lnTo>
                    <a:lnTo>
                      <a:pt x="720" y="373"/>
                    </a:lnTo>
                    <a:lnTo>
                      <a:pt x="718" y="373"/>
                    </a:lnTo>
                    <a:lnTo>
                      <a:pt x="716" y="373"/>
                    </a:lnTo>
                    <a:lnTo>
                      <a:pt x="718" y="373"/>
                    </a:lnTo>
                    <a:lnTo>
                      <a:pt x="718" y="371"/>
                    </a:lnTo>
                    <a:lnTo>
                      <a:pt x="716" y="371"/>
                    </a:lnTo>
                    <a:lnTo>
                      <a:pt x="714" y="371"/>
                    </a:lnTo>
                    <a:lnTo>
                      <a:pt x="714" y="373"/>
                    </a:lnTo>
                    <a:lnTo>
                      <a:pt x="712" y="373"/>
                    </a:lnTo>
                    <a:lnTo>
                      <a:pt x="712" y="375"/>
                    </a:lnTo>
                    <a:lnTo>
                      <a:pt x="712" y="377"/>
                    </a:lnTo>
                    <a:lnTo>
                      <a:pt x="712" y="379"/>
                    </a:lnTo>
                    <a:lnTo>
                      <a:pt x="712" y="381"/>
                    </a:lnTo>
                    <a:lnTo>
                      <a:pt x="712" y="384"/>
                    </a:lnTo>
                    <a:lnTo>
                      <a:pt x="711" y="386"/>
                    </a:lnTo>
                    <a:lnTo>
                      <a:pt x="709" y="388"/>
                    </a:lnTo>
                    <a:lnTo>
                      <a:pt x="709" y="392"/>
                    </a:lnTo>
                    <a:lnTo>
                      <a:pt x="707" y="394"/>
                    </a:lnTo>
                    <a:lnTo>
                      <a:pt x="707" y="400"/>
                    </a:lnTo>
                    <a:lnTo>
                      <a:pt x="705" y="400"/>
                    </a:lnTo>
                    <a:lnTo>
                      <a:pt x="711" y="404"/>
                    </a:lnTo>
                    <a:lnTo>
                      <a:pt x="711" y="406"/>
                    </a:lnTo>
                    <a:lnTo>
                      <a:pt x="709" y="409"/>
                    </a:lnTo>
                    <a:lnTo>
                      <a:pt x="707" y="409"/>
                    </a:lnTo>
                    <a:lnTo>
                      <a:pt x="707" y="411"/>
                    </a:lnTo>
                    <a:lnTo>
                      <a:pt x="709" y="411"/>
                    </a:lnTo>
                    <a:lnTo>
                      <a:pt x="711" y="411"/>
                    </a:lnTo>
                    <a:lnTo>
                      <a:pt x="711" y="413"/>
                    </a:lnTo>
                    <a:lnTo>
                      <a:pt x="709" y="415"/>
                    </a:lnTo>
                    <a:lnTo>
                      <a:pt x="709" y="417"/>
                    </a:lnTo>
                    <a:lnTo>
                      <a:pt x="709" y="419"/>
                    </a:lnTo>
                    <a:lnTo>
                      <a:pt x="707" y="419"/>
                    </a:lnTo>
                    <a:lnTo>
                      <a:pt x="705" y="419"/>
                    </a:lnTo>
                    <a:lnTo>
                      <a:pt x="705" y="417"/>
                    </a:lnTo>
                    <a:lnTo>
                      <a:pt x="703" y="417"/>
                    </a:lnTo>
                    <a:lnTo>
                      <a:pt x="703" y="415"/>
                    </a:lnTo>
                    <a:lnTo>
                      <a:pt x="701" y="415"/>
                    </a:lnTo>
                    <a:lnTo>
                      <a:pt x="699" y="415"/>
                    </a:lnTo>
                    <a:lnTo>
                      <a:pt x="697" y="417"/>
                    </a:lnTo>
                    <a:lnTo>
                      <a:pt x="699" y="417"/>
                    </a:lnTo>
                    <a:lnTo>
                      <a:pt x="701" y="417"/>
                    </a:lnTo>
                    <a:lnTo>
                      <a:pt x="701" y="419"/>
                    </a:lnTo>
                    <a:lnTo>
                      <a:pt x="703" y="419"/>
                    </a:lnTo>
                    <a:lnTo>
                      <a:pt x="703" y="421"/>
                    </a:lnTo>
                    <a:lnTo>
                      <a:pt x="701" y="421"/>
                    </a:lnTo>
                    <a:lnTo>
                      <a:pt x="703" y="423"/>
                    </a:lnTo>
                    <a:lnTo>
                      <a:pt x="703" y="425"/>
                    </a:lnTo>
                    <a:lnTo>
                      <a:pt x="701" y="427"/>
                    </a:lnTo>
                    <a:lnTo>
                      <a:pt x="701" y="425"/>
                    </a:lnTo>
                    <a:lnTo>
                      <a:pt x="699" y="425"/>
                    </a:lnTo>
                    <a:lnTo>
                      <a:pt x="697" y="425"/>
                    </a:lnTo>
                    <a:lnTo>
                      <a:pt x="697" y="423"/>
                    </a:lnTo>
                    <a:lnTo>
                      <a:pt x="695" y="423"/>
                    </a:lnTo>
                    <a:lnTo>
                      <a:pt x="695" y="425"/>
                    </a:lnTo>
                    <a:lnTo>
                      <a:pt x="693" y="423"/>
                    </a:lnTo>
                    <a:lnTo>
                      <a:pt x="691" y="423"/>
                    </a:lnTo>
                    <a:lnTo>
                      <a:pt x="689" y="423"/>
                    </a:lnTo>
                    <a:lnTo>
                      <a:pt x="689" y="421"/>
                    </a:lnTo>
                    <a:lnTo>
                      <a:pt x="691" y="421"/>
                    </a:lnTo>
                    <a:lnTo>
                      <a:pt x="691" y="419"/>
                    </a:lnTo>
                    <a:lnTo>
                      <a:pt x="689" y="419"/>
                    </a:lnTo>
                    <a:lnTo>
                      <a:pt x="689" y="417"/>
                    </a:lnTo>
                    <a:lnTo>
                      <a:pt x="687" y="417"/>
                    </a:lnTo>
                    <a:lnTo>
                      <a:pt x="687" y="415"/>
                    </a:lnTo>
                    <a:lnTo>
                      <a:pt x="686" y="415"/>
                    </a:lnTo>
                    <a:lnTo>
                      <a:pt x="686" y="413"/>
                    </a:lnTo>
                    <a:lnTo>
                      <a:pt x="686" y="411"/>
                    </a:lnTo>
                    <a:lnTo>
                      <a:pt x="686" y="413"/>
                    </a:lnTo>
                    <a:lnTo>
                      <a:pt x="689" y="411"/>
                    </a:lnTo>
                    <a:lnTo>
                      <a:pt x="689" y="409"/>
                    </a:lnTo>
                    <a:lnTo>
                      <a:pt x="687" y="406"/>
                    </a:lnTo>
                    <a:lnTo>
                      <a:pt x="687" y="407"/>
                    </a:lnTo>
                    <a:lnTo>
                      <a:pt x="686" y="407"/>
                    </a:lnTo>
                    <a:lnTo>
                      <a:pt x="686" y="409"/>
                    </a:lnTo>
                    <a:lnTo>
                      <a:pt x="682" y="411"/>
                    </a:lnTo>
                    <a:lnTo>
                      <a:pt x="680" y="411"/>
                    </a:lnTo>
                    <a:lnTo>
                      <a:pt x="680" y="413"/>
                    </a:lnTo>
                    <a:lnTo>
                      <a:pt x="680" y="415"/>
                    </a:lnTo>
                    <a:lnTo>
                      <a:pt x="680" y="417"/>
                    </a:lnTo>
                    <a:lnTo>
                      <a:pt x="682" y="417"/>
                    </a:lnTo>
                    <a:lnTo>
                      <a:pt x="682" y="421"/>
                    </a:lnTo>
                    <a:lnTo>
                      <a:pt x="684" y="423"/>
                    </a:lnTo>
                    <a:lnTo>
                      <a:pt x="686" y="423"/>
                    </a:lnTo>
                    <a:lnTo>
                      <a:pt x="684" y="425"/>
                    </a:lnTo>
                    <a:lnTo>
                      <a:pt x="684" y="427"/>
                    </a:lnTo>
                    <a:lnTo>
                      <a:pt x="684" y="431"/>
                    </a:lnTo>
                    <a:lnTo>
                      <a:pt x="684" y="432"/>
                    </a:lnTo>
                    <a:lnTo>
                      <a:pt x="684" y="434"/>
                    </a:lnTo>
                    <a:lnTo>
                      <a:pt x="686" y="434"/>
                    </a:lnTo>
                    <a:lnTo>
                      <a:pt x="686" y="432"/>
                    </a:lnTo>
                    <a:lnTo>
                      <a:pt x="686" y="434"/>
                    </a:lnTo>
                    <a:lnTo>
                      <a:pt x="687" y="434"/>
                    </a:lnTo>
                    <a:lnTo>
                      <a:pt x="687" y="432"/>
                    </a:lnTo>
                    <a:lnTo>
                      <a:pt x="689" y="432"/>
                    </a:lnTo>
                    <a:lnTo>
                      <a:pt x="693" y="436"/>
                    </a:lnTo>
                    <a:lnTo>
                      <a:pt x="691" y="438"/>
                    </a:lnTo>
                    <a:lnTo>
                      <a:pt x="691" y="440"/>
                    </a:lnTo>
                    <a:lnTo>
                      <a:pt x="691" y="442"/>
                    </a:lnTo>
                    <a:lnTo>
                      <a:pt x="693" y="442"/>
                    </a:lnTo>
                    <a:lnTo>
                      <a:pt x="693" y="444"/>
                    </a:lnTo>
                    <a:lnTo>
                      <a:pt x="691" y="444"/>
                    </a:lnTo>
                    <a:lnTo>
                      <a:pt x="691" y="446"/>
                    </a:lnTo>
                    <a:lnTo>
                      <a:pt x="691" y="448"/>
                    </a:lnTo>
                    <a:lnTo>
                      <a:pt x="689" y="448"/>
                    </a:lnTo>
                    <a:lnTo>
                      <a:pt x="691" y="448"/>
                    </a:lnTo>
                    <a:lnTo>
                      <a:pt x="689" y="450"/>
                    </a:lnTo>
                    <a:lnTo>
                      <a:pt x="687" y="450"/>
                    </a:lnTo>
                    <a:lnTo>
                      <a:pt x="686" y="452"/>
                    </a:lnTo>
                    <a:lnTo>
                      <a:pt x="686" y="450"/>
                    </a:lnTo>
                    <a:lnTo>
                      <a:pt x="684" y="450"/>
                    </a:lnTo>
                    <a:lnTo>
                      <a:pt x="684" y="452"/>
                    </a:lnTo>
                    <a:lnTo>
                      <a:pt x="686" y="452"/>
                    </a:lnTo>
                    <a:lnTo>
                      <a:pt x="686" y="454"/>
                    </a:lnTo>
                    <a:lnTo>
                      <a:pt x="687" y="452"/>
                    </a:lnTo>
                    <a:lnTo>
                      <a:pt x="687" y="454"/>
                    </a:lnTo>
                    <a:lnTo>
                      <a:pt x="686" y="454"/>
                    </a:lnTo>
                    <a:lnTo>
                      <a:pt x="684" y="454"/>
                    </a:lnTo>
                    <a:lnTo>
                      <a:pt x="682" y="455"/>
                    </a:lnTo>
                    <a:lnTo>
                      <a:pt x="682" y="457"/>
                    </a:lnTo>
                    <a:lnTo>
                      <a:pt x="684" y="457"/>
                    </a:lnTo>
                    <a:lnTo>
                      <a:pt x="686" y="457"/>
                    </a:lnTo>
                    <a:lnTo>
                      <a:pt x="687" y="455"/>
                    </a:lnTo>
                    <a:lnTo>
                      <a:pt x="687" y="457"/>
                    </a:lnTo>
                    <a:lnTo>
                      <a:pt x="689" y="457"/>
                    </a:lnTo>
                    <a:lnTo>
                      <a:pt x="691" y="457"/>
                    </a:lnTo>
                    <a:lnTo>
                      <a:pt x="689" y="457"/>
                    </a:lnTo>
                    <a:lnTo>
                      <a:pt x="689" y="459"/>
                    </a:lnTo>
                    <a:lnTo>
                      <a:pt x="691" y="459"/>
                    </a:lnTo>
                    <a:lnTo>
                      <a:pt x="689" y="459"/>
                    </a:lnTo>
                    <a:lnTo>
                      <a:pt x="687" y="459"/>
                    </a:lnTo>
                    <a:lnTo>
                      <a:pt x="689" y="459"/>
                    </a:lnTo>
                    <a:lnTo>
                      <a:pt x="689" y="463"/>
                    </a:lnTo>
                    <a:lnTo>
                      <a:pt x="687" y="463"/>
                    </a:lnTo>
                    <a:lnTo>
                      <a:pt x="687" y="465"/>
                    </a:lnTo>
                    <a:lnTo>
                      <a:pt x="686" y="467"/>
                    </a:lnTo>
                    <a:lnTo>
                      <a:pt x="686" y="469"/>
                    </a:lnTo>
                    <a:lnTo>
                      <a:pt x="686" y="471"/>
                    </a:lnTo>
                    <a:lnTo>
                      <a:pt x="687" y="471"/>
                    </a:lnTo>
                    <a:lnTo>
                      <a:pt x="687" y="473"/>
                    </a:lnTo>
                    <a:lnTo>
                      <a:pt x="682" y="477"/>
                    </a:lnTo>
                    <a:lnTo>
                      <a:pt x="680" y="479"/>
                    </a:lnTo>
                    <a:lnTo>
                      <a:pt x="678" y="480"/>
                    </a:lnTo>
                    <a:lnTo>
                      <a:pt x="676" y="482"/>
                    </a:lnTo>
                    <a:lnTo>
                      <a:pt x="678" y="484"/>
                    </a:lnTo>
                    <a:lnTo>
                      <a:pt x="680" y="486"/>
                    </a:lnTo>
                    <a:lnTo>
                      <a:pt x="680" y="488"/>
                    </a:lnTo>
                    <a:lnTo>
                      <a:pt x="680" y="490"/>
                    </a:lnTo>
                    <a:lnTo>
                      <a:pt x="680" y="492"/>
                    </a:lnTo>
                    <a:lnTo>
                      <a:pt x="676" y="492"/>
                    </a:lnTo>
                    <a:lnTo>
                      <a:pt x="676" y="494"/>
                    </a:lnTo>
                    <a:lnTo>
                      <a:pt x="674" y="494"/>
                    </a:lnTo>
                    <a:lnTo>
                      <a:pt x="672" y="494"/>
                    </a:lnTo>
                    <a:lnTo>
                      <a:pt x="670" y="494"/>
                    </a:lnTo>
                    <a:lnTo>
                      <a:pt x="668" y="494"/>
                    </a:lnTo>
                    <a:lnTo>
                      <a:pt x="666" y="494"/>
                    </a:lnTo>
                    <a:lnTo>
                      <a:pt x="664" y="494"/>
                    </a:lnTo>
                    <a:lnTo>
                      <a:pt x="663" y="498"/>
                    </a:lnTo>
                    <a:lnTo>
                      <a:pt x="663" y="500"/>
                    </a:lnTo>
                    <a:lnTo>
                      <a:pt x="664" y="500"/>
                    </a:lnTo>
                    <a:lnTo>
                      <a:pt x="663" y="500"/>
                    </a:lnTo>
                    <a:lnTo>
                      <a:pt x="661" y="503"/>
                    </a:lnTo>
                    <a:lnTo>
                      <a:pt x="659" y="505"/>
                    </a:lnTo>
                    <a:lnTo>
                      <a:pt x="657" y="507"/>
                    </a:lnTo>
                    <a:lnTo>
                      <a:pt x="659" y="511"/>
                    </a:lnTo>
                    <a:lnTo>
                      <a:pt x="661" y="513"/>
                    </a:lnTo>
                    <a:lnTo>
                      <a:pt x="661" y="515"/>
                    </a:lnTo>
                    <a:lnTo>
                      <a:pt x="663" y="515"/>
                    </a:lnTo>
                    <a:lnTo>
                      <a:pt x="664" y="517"/>
                    </a:lnTo>
                    <a:lnTo>
                      <a:pt x="663" y="519"/>
                    </a:lnTo>
                    <a:lnTo>
                      <a:pt x="659" y="525"/>
                    </a:lnTo>
                    <a:lnTo>
                      <a:pt x="657" y="527"/>
                    </a:lnTo>
                    <a:lnTo>
                      <a:pt x="657" y="528"/>
                    </a:lnTo>
                    <a:lnTo>
                      <a:pt x="655" y="528"/>
                    </a:lnTo>
                    <a:lnTo>
                      <a:pt x="655" y="530"/>
                    </a:lnTo>
                    <a:lnTo>
                      <a:pt x="651" y="534"/>
                    </a:lnTo>
                    <a:lnTo>
                      <a:pt x="651" y="536"/>
                    </a:lnTo>
                    <a:lnTo>
                      <a:pt x="649" y="538"/>
                    </a:lnTo>
                    <a:lnTo>
                      <a:pt x="651" y="540"/>
                    </a:lnTo>
                    <a:lnTo>
                      <a:pt x="653" y="540"/>
                    </a:lnTo>
                    <a:lnTo>
                      <a:pt x="655" y="540"/>
                    </a:lnTo>
                    <a:lnTo>
                      <a:pt x="661" y="540"/>
                    </a:lnTo>
                    <a:lnTo>
                      <a:pt x="663" y="542"/>
                    </a:lnTo>
                    <a:lnTo>
                      <a:pt x="666" y="542"/>
                    </a:lnTo>
                    <a:lnTo>
                      <a:pt x="672" y="544"/>
                    </a:lnTo>
                    <a:lnTo>
                      <a:pt x="674" y="544"/>
                    </a:lnTo>
                    <a:lnTo>
                      <a:pt x="674" y="548"/>
                    </a:lnTo>
                    <a:lnTo>
                      <a:pt x="678" y="550"/>
                    </a:lnTo>
                    <a:lnTo>
                      <a:pt x="680" y="550"/>
                    </a:lnTo>
                    <a:lnTo>
                      <a:pt x="682" y="550"/>
                    </a:lnTo>
                    <a:lnTo>
                      <a:pt x="682" y="551"/>
                    </a:lnTo>
                    <a:lnTo>
                      <a:pt x="682" y="555"/>
                    </a:lnTo>
                    <a:lnTo>
                      <a:pt x="678" y="557"/>
                    </a:lnTo>
                    <a:lnTo>
                      <a:pt x="682" y="561"/>
                    </a:lnTo>
                    <a:lnTo>
                      <a:pt x="686" y="563"/>
                    </a:lnTo>
                    <a:lnTo>
                      <a:pt x="684" y="565"/>
                    </a:lnTo>
                    <a:lnTo>
                      <a:pt x="682" y="567"/>
                    </a:lnTo>
                    <a:lnTo>
                      <a:pt x="682" y="565"/>
                    </a:lnTo>
                    <a:lnTo>
                      <a:pt x="680" y="567"/>
                    </a:lnTo>
                    <a:lnTo>
                      <a:pt x="680" y="569"/>
                    </a:lnTo>
                    <a:lnTo>
                      <a:pt x="678" y="569"/>
                    </a:lnTo>
                    <a:lnTo>
                      <a:pt x="678" y="571"/>
                    </a:lnTo>
                    <a:lnTo>
                      <a:pt x="678" y="573"/>
                    </a:lnTo>
                    <a:lnTo>
                      <a:pt x="676" y="573"/>
                    </a:lnTo>
                    <a:lnTo>
                      <a:pt x="674" y="575"/>
                    </a:lnTo>
                    <a:lnTo>
                      <a:pt x="674" y="576"/>
                    </a:lnTo>
                    <a:lnTo>
                      <a:pt x="672" y="578"/>
                    </a:lnTo>
                    <a:lnTo>
                      <a:pt x="672" y="580"/>
                    </a:lnTo>
                    <a:lnTo>
                      <a:pt x="670" y="580"/>
                    </a:lnTo>
                    <a:lnTo>
                      <a:pt x="672" y="580"/>
                    </a:lnTo>
                    <a:lnTo>
                      <a:pt x="672" y="582"/>
                    </a:lnTo>
                    <a:lnTo>
                      <a:pt x="674" y="582"/>
                    </a:lnTo>
                    <a:lnTo>
                      <a:pt x="674" y="584"/>
                    </a:lnTo>
                    <a:lnTo>
                      <a:pt x="676" y="584"/>
                    </a:lnTo>
                    <a:lnTo>
                      <a:pt x="678" y="584"/>
                    </a:lnTo>
                    <a:lnTo>
                      <a:pt x="678" y="586"/>
                    </a:lnTo>
                    <a:lnTo>
                      <a:pt x="680" y="586"/>
                    </a:lnTo>
                    <a:lnTo>
                      <a:pt x="682" y="586"/>
                    </a:lnTo>
                    <a:lnTo>
                      <a:pt x="682" y="588"/>
                    </a:lnTo>
                    <a:lnTo>
                      <a:pt x="682" y="586"/>
                    </a:lnTo>
                    <a:lnTo>
                      <a:pt x="682" y="584"/>
                    </a:lnTo>
                    <a:lnTo>
                      <a:pt x="682" y="582"/>
                    </a:lnTo>
                    <a:lnTo>
                      <a:pt x="684" y="582"/>
                    </a:lnTo>
                    <a:lnTo>
                      <a:pt x="687" y="580"/>
                    </a:lnTo>
                    <a:lnTo>
                      <a:pt x="687" y="578"/>
                    </a:lnTo>
                    <a:lnTo>
                      <a:pt x="689" y="578"/>
                    </a:lnTo>
                    <a:lnTo>
                      <a:pt x="691" y="578"/>
                    </a:lnTo>
                    <a:lnTo>
                      <a:pt x="693" y="576"/>
                    </a:lnTo>
                    <a:lnTo>
                      <a:pt x="693" y="578"/>
                    </a:lnTo>
                    <a:lnTo>
                      <a:pt x="695" y="578"/>
                    </a:lnTo>
                    <a:lnTo>
                      <a:pt x="695" y="580"/>
                    </a:lnTo>
                    <a:lnTo>
                      <a:pt x="693" y="580"/>
                    </a:lnTo>
                    <a:lnTo>
                      <a:pt x="693" y="582"/>
                    </a:lnTo>
                    <a:lnTo>
                      <a:pt x="695" y="586"/>
                    </a:lnTo>
                    <a:lnTo>
                      <a:pt x="695" y="588"/>
                    </a:lnTo>
                    <a:lnTo>
                      <a:pt x="697" y="592"/>
                    </a:lnTo>
                    <a:lnTo>
                      <a:pt x="697" y="594"/>
                    </a:lnTo>
                    <a:lnTo>
                      <a:pt x="697" y="596"/>
                    </a:lnTo>
                    <a:lnTo>
                      <a:pt x="699" y="596"/>
                    </a:lnTo>
                    <a:lnTo>
                      <a:pt x="703" y="598"/>
                    </a:lnTo>
                    <a:lnTo>
                      <a:pt x="705" y="598"/>
                    </a:lnTo>
                    <a:lnTo>
                      <a:pt x="707" y="598"/>
                    </a:lnTo>
                    <a:lnTo>
                      <a:pt x="709" y="598"/>
                    </a:lnTo>
                    <a:lnTo>
                      <a:pt x="711" y="598"/>
                    </a:lnTo>
                    <a:lnTo>
                      <a:pt x="712" y="598"/>
                    </a:lnTo>
                    <a:lnTo>
                      <a:pt x="712" y="603"/>
                    </a:lnTo>
                    <a:lnTo>
                      <a:pt x="712" y="607"/>
                    </a:lnTo>
                    <a:lnTo>
                      <a:pt x="712" y="609"/>
                    </a:lnTo>
                    <a:lnTo>
                      <a:pt x="711" y="611"/>
                    </a:lnTo>
                    <a:lnTo>
                      <a:pt x="711" y="613"/>
                    </a:lnTo>
                    <a:lnTo>
                      <a:pt x="711" y="615"/>
                    </a:lnTo>
                    <a:lnTo>
                      <a:pt x="712" y="619"/>
                    </a:lnTo>
                    <a:lnTo>
                      <a:pt x="712" y="621"/>
                    </a:lnTo>
                    <a:lnTo>
                      <a:pt x="712" y="623"/>
                    </a:lnTo>
                    <a:lnTo>
                      <a:pt x="714" y="623"/>
                    </a:lnTo>
                    <a:lnTo>
                      <a:pt x="712" y="623"/>
                    </a:lnTo>
                    <a:lnTo>
                      <a:pt x="712" y="624"/>
                    </a:lnTo>
                    <a:lnTo>
                      <a:pt x="712" y="626"/>
                    </a:lnTo>
                    <a:lnTo>
                      <a:pt x="711" y="626"/>
                    </a:lnTo>
                    <a:lnTo>
                      <a:pt x="711" y="624"/>
                    </a:lnTo>
                    <a:lnTo>
                      <a:pt x="711" y="626"/>
                    </a:lnTo>
                    <a:lnTo>
                      <a:pt x="709" y="626"/>
                    </a:lnTo>
                    <a:lnTo>
                      <a:pt x="707" y="626"/>
                    </a:lnTo>
                    <a:lnTo>
                      <a:pt x="709" y="626"/>
                    </a:lnTo>
                    <a:lnTo>
                      <a:pt x="707" y="624"/>
                    </a:lnTo>
                    <a:lnTo>
                      <a:pt x="707" y="626"/>
                    </a:lnTo>
                    <a:lnTo>
                      <a:pt x="705" y="624"/>
                    </a:lnTo>
                    <a:lnTo>
                      <a:pt x="705" y="626"/>
                    </a:lnTo>
                    <a:lnTo>
                      <a:pt x="703" y="626"/>
                    </a:lnTo>
                    <a:lnTo>
                      <a:pt x="703" y="628"/>
                    </a:lnTo>
                    <a:lnTo>
                      <a:pt x="703" y="630"/>
                    </a:lnTo>
                    <a:lnTo>
                      <a:pt x="703" y="632"/>
                    </a:lnTo>
                    <a:lnTo>
                      <a:pt x="703" y="634"/>
                    </a:lnTo>
                    <a:lnTo>
                      <a:pt x="703" y="636"/>
                    </a:lnTo>
                    <a:lnTo>
                      <a:pt x="705" y="636"/>
                    </a:lnTo>
                    <a:lnTo>
                      <a:pt x="703" y="638"/>
                    </a:lnTo>
                    <a:lnTo>
                      <a:pt x="703" y="642"/>
                    </a:lnTo>
                    <a:lnTo>
                      <a:pt x="701" y="642"/>
                    </a:lnTo>
                    <a:lnTo>
                      <a:pt x="701" y="644"/>
                    </a:lnTo>
                    <a:lnTo>
                      <a:pt x="703" y="644"/>
                    </a:lnTo>
                    <a:lnTo>
                      <a:pt x="705" y="644"/>
                    </a:lnTo>
                    <a:lnTo>
                      <a:pt x="705" y="646"/>
                    </a:lnTo>
                    <a:lnTo>
                      <a:pt x="703" y="647"/>
                    </a:lnTo>
                    <a:lnTo>
                      <a:pt x="703" y="646"/>
                    </a:lnTo>
                    <a:lnTo>
                      <a:pt x="703" y="647"/>
                    </a:lnTo>
                    <a:lnTo>
                      <a:pt x="701" y="647"/>
                    </a:lnTo>
                    <a:lnTo>
                      <a:pt x="701" y="649"/>
                    </a:lnTo>
                    <a:lnTo>
                      <a:pt x="701" y="651"/>
                    </a:lnTo>
                    <a:lnTo>
                      <a:pt x="699" y="651"/>
                    </a:lnTo>
                    <a:lnTo>
                      <a:pt x="699" y="653"/>
                    </a:lnTo>
                    <a:lnTo>
                      <a:pt x="697" y="653"/>
                    </a:lnTo>
                    <a:lnTo>
                      <a:pt x="697" y="655"/>
                    </a:lnTo>
                    <a:lnTo>
                      <a:pt x="697" y="657"/>
                    </a:lnTo>
                    <a:lnTo>
                      <a:pt x="697" y="659"/>
                    </a:lnTo>
                    <a:lnTo>
                      <a:pt x="699" y="659"/>
                    </a:lnTo>
                    <a:lnTo>
                      <a:pt x="699" y="661"/>
                    </a:lnTo>
                    <a:lnTo>
                      <a:pt x="699" y="663"/>
                    </a:lnTo>
                    <a:lnTo>
                      <a:pt x="699" y="665"/>
                    </a:lnTo>
                    <a:lnTo>
                      <a:pt x="697" y="669"/>
                    </a:lnTo>
                    <a:lnTo>
                      <a:pt x="697" y="667"/>
                    </a:lnTo>
                    <a:lnTo>
                      <a:pt x="695" y="667"/>
                    </a:lnTo>
                    <a:lnTo>
                      <a:pt x="695" y="671"/>
                    </a:lnTo>
                    <a:lnTo>
                      <a:pt x="697" y="674"/>
                    </a:lnTo>
                    <a:lnTo>
                      <a:pt x="699" y="676"/>
                    </a:lnTo>
                    <a:lnTo>
                      <a:pt x="701" y="680"/>
                    </a:lnTo>
                    <a:lnTo>
                      <a:pt x="701" y="684"/>
                    </a:lnTo>
                    <a:lnTo>
                      <a:pt x="703" y="686"/>
                    </a:lnTo>
                    <a:lnTo>
                      <a:pt x="703" y="688"/>
                    </a:lnTo>
                    <a:lnTo>
                      <a:pt x="705" y="688"/>
                    </a:lnTo>
                    <a:lnTo>
                      <a:pt x="707" y="688"/>
                    </a:lnTo>
                    <a:lnTo>
                      <a:pt x="709" y="688"/>
                    </a:lnTo>
                    <a:lnTo>
                      <a:pt x="709" y="690"/>
                    </a:lnTo>
                    <a:lnTo>
                      <a:pt x="709" y="692"/>
                    </a:lnTo>
                    <a:lnTo>
                      <a:pt x="714" y="692"/>
                    </a:lnTo>
                    <a:lnTo>
                      <a:pt x="714" y="694"/>
                    </a:lnTo>
                    <a:lnTo>
                      <a:pt x="716" y="695"/>
                    </a:lnTo>
                    <a:lnTo>
                      <a:pt x="714" y="695"/>
                    </a:lnTo>
                    <a:lnTo>
                      <a:pt x="712" y="695"/>
                    </a:lnTo>
                    <a:lnTo>
                      <a:pt x="711" y="695"/>
                    </a:lnTo>
                    <a:lnTo>
                      <a:pt x="709" y="695"/>
                    </a:lnTo>
                    <a:lnTo>
                      <a:pt x="709" y="697"/>
                    </a:lnTo>
                    <a:lnTo>
                      <a:pt x="709" y="699"/>
                    </a:lnTo>
                    <a:lnTo>
                      <a:pt x="707" y="699"/>
                    </a:lnTo>
                    <a:lnTo>
                      <a:pt x="707" y="697"/>
                    </a:lnTo>
                    <a:lnTo>
                      <a:pt x="705" y="697"/>
                    </a:lnTo>
                    <a:lnTo>
                      <a:pt x="703" y="697"/>
                    </a:lnTo>
                    <a:lnTo>
                      <a:pt x="703" y="699"/>
                    </a:lnTo>
                    <a:lnTo>
                      <a:pt x="701" y="699"/>
                    </a:lnTo>
                    <a:lnTo>
                      <a:pt x="699" y="699"/>
                    </a:lnTo>
                    <a:lnTo>
                      <a:pt x="697" y="699"/>
                    </a:lnTo>
                    <a:lnTo>
                      <a:pt x="695" y="699"/>
                    </a:lnTo>
                    <a:lnTo>
                      <a:pt x="695" y="701"/>
                    </a:lnTo>
                    <a:lnTo>
                      <a:pt x="693" y="699"/>
                    </a:lnTo>
                    <a:lnTo>
                      <a:pt x="693" y="701"/>
                    </a:lnTo>
                    <a:lnTo>
                      <a:pt x="693" y="703"/>
                    </a:lnTo>
                    <a:lnTo>
                      <a:pt x="691" y="703"/>
                    </a:lnTo>
                    <a:lnTo>
                      <a:pt x="691" y="701"/>
                    </a:lnTo>
                    <a:lnTo>
                      <a:pt x="689" y="701"/>
                    </a:lnTo>
                    <a:lnTo>
                      <a:pt x="687" y="701"/>
                    </a:lnTo>
                    <a:lnTo>
                      <a:pt x="687" y="703"/>
                    </a:lnTo>
                    <a:lnTo>
                      <a:pt x="689" y="703"/>
                    </a:lnTo>
                    <a:lnTo>
                      <a:pt x="689" y="705"/>
                    </a:lnTo>
                    <a:lnTo>
                      <a:pt x="689" y="707"/>
                    </a:lnTo>
                    <a:lnTo>
                      <a:pt x="691" y="707"/>
                    </a:lnTo>
                    <a:lnTo>
                      <a:pt x="691" y="709"/>
                    </a:lnTo>
                    <a:lnTo>
                      <a:pt x="691" y="711"/>
                    </a:lnTo>
                    <a:lnTo>
                      <a:pt x="691" y="713"/>
                    </a:lnTo>
                    <a:lnTo>
                      <a:pt x="689" y="715"/>
                    </a:lnTo>
                    <a:lnTo>
                      <a:pt x="689" y="717"/>
                    </a:lnTo>
                    <a:lnTo>
                      <a:pt x="689" y="719"/>
                    </a:lnTo>
                    <a:lnTo>
                      <a:pt x="689" y="720"/>
                    </a:lnTo>
                    <a:lnTo>
                      <a:pt x="689" y="722"/>
                    </a:lnTo>
                    <a:lnTo>
                      <a:pt x="689" y="726"/>
                    </a:lnTo>
                    <a:lnTo>
                      <a:pt x="687" y="726"/>
                    </a:lnTo>
                    <a:lnTo>
                      <a:pt x="686" y="726"/>
                    </a:lnTo>
                    <a:lnTo>
                      <a:pt x="686" y="728"/>
                    </a:lnTo>
                    <a:lnTo>
                      <a:pt x="684" y="728"/>
                    </a:lnTo>
                    <a:lnTo>
                      <a:pt x="684" y="726"/>
                    </a:lnTo>
                    <a:lnTo>
                      <a:pt x="682" y="726"/>
                    </a:lnTo>
                    <a:lnTo>
                      <a:pt x="682" y="728"/>
                    </a:lnTo>
                    <a:lnTo>
                      <a:pt x="680" y="728"/>
                    </a:lnTo>
                    <a:lnTo>
                      <a:pt x="680" y="730"/>
                    </a:lnTo>
                    <a:lnTo>
                      <a:pt x="682" y="730"/>
                    </a:lnTo>
                    <a:lnTo>
                      <a:pt x="682" y="732"/>
                    </a:lnTo>
                    <a:lnTo>
                      <a:pt x="680" y="736"/>
                    </a:lnTo>
                    <a:lnTo>
                      <a:pt x="680" y="738"/>
                    </a:lnTo>
                    <a:lnTo>
                      <a:pt x="678" y="742"/>
                    </a:lnTo>
                    <a:lnTo>
                      <a:pt x="678" y="743"/>
                    </a:lnTo>
                    <a:lnTo>
                      <a:pt x="676" y="743"/>
                    </a:lnTo>
                    <a:lnTo>
                      <a:pt x="676" y="745"/>
                    </a:lnTo>
                    <a:lnTo>
                      <a:pt x="676" y="747"/>
                    </a:lnTo>
                    <a:lnTo>
                      <a:pt x="678" y="747"/>
                    </a:lnTo>
                    <a:lnTo>
                      <a:pt x="680" y="747"/>
                    </a:lnTo>
                    <a:lnTo>
                      <a:pt x="680" y="749"/>
                    </a:lnTo>
                    <a:lnTo>
                      <a:pt x="680" y="751"/>
                    </a:lnTo>
                    <a:lnTo>
                      <a:pt x="678" y="751"/>
                    </a:lnTo>
                    <a:lnTo>
                      <a:pt x="676" y="749"/>
                    </a:lnTo>
                    <a:lnTo>
                      <a:pt x="674" y="751"/>
                    </a:lnTo>
                    <a:lnTo>
                      <a:pt x="672" y="753"/>
                    </a:lnTo>
                    <a:lnTo>
                      <a:pt x="672" y="755"/>
                    </a:lnTo>
                    <a:lnTo>
                      <a:pt x="672" y="757"/>
                    </a:lnTo>
                    <a:lnTo>
                      <a:pt x="670" y="757"/>
                    </a:lnTo>
                    <a:lnTo>
                      <a:pt x="670" y="759"/>
                    </a:lnTo>
                    <a:lnTo>
                      <a:pt x="668" y="761"/>
                    </a:lnTo>
                    <a:lnTo>
                      <a:pt x="666" y="761"/>
                    </a:lnTo>
                    <a:lnTo>
                      <a:pt x="666" y="763"/>
                    </a:lnTo>
                    <a:lnTo>
                      <a:pt x="666" y="765"/>
                    </a:lnTo>
                    <a:lnTo>
                      <a:pt x="664" y="765"/>
                    </a:lnTo>
                    <a:lnTo>
                      <a:pt x="664" y="767"/>
                    </a:lnTo>
                    <a:lnTo>
                      <a:pt x="663" y="768"/>
                    </a:lnTo>
                    <a:lnTo>
                      <a:pt x="661" y="768"/>
                    </a:lnTo>
                    <a:lnTo>
                      <a:pt x="661" y="770"/>
                    </a:lnTo>
                    <a:lnTo>
                      <a:pt x="659" y="770"/>
                    </a:lnTo>
                    <a:lnTo>
                      <a:pt x="659" y="772"/>
                    </a:lnTo>
                    <a:lnTo>
                      <a:pt x="661" y="776"/>
                    </a:lnTo>
                    <a:lnTo>
                      <a:pt x="661" y="778"/>
                    </a:lnTo>
                    <a:lnTo>
                      <a:pt x="661" y="780"/>
                    </a:lnTo>
                    <a:lnTo>
                      <a:pt x="663" y="780"/>
                    </a:lnTo>
                    <a:lnTo>
                      <a:pt x="661" y="780"/>
                    </a:lnTo>
                    <a:lnTo>
                      <a:pt x="661" y="782"/>
                    </a:lnTo>
                    <a:lnTo>
                      <a:pt x="659" y="784"/>
                    </a:lnTo>
                    <a:lnTo>
                      <a:pt x="657" y="786"/>
                    </a:lnTo>
                    <a:lnTo>
                      <a:pt x="655" y="788"/>
                    </a:lnTo>
                    <a:lnTo>
                      <a:pt x="653" y="788"/>
                    </a:lnTo>
                    <a:lnTo>
                      <a:pt x="653" y="786"/>
                    </a:lnTo>
                    <a:lnTo>
                      <a:pt x="651" y="786"/>
                    </a:lnTo>
                    <a:lnTo>
                      <a:pt x="651" y="788"/>
                    </a:lnTo>
                    <a:lnTo>
                      <a:pt x="651" y="790"/>
                    </a:lnTo>
                    <a:lnTo>
                      <a:pt x="649" y="790"/>
                    </a:lnTo>
                    <a:lnTo>
                      <a:pt x="651" y="790"/>
                    </a:lnTo>
                    <a:lnTo>
                      <a:pt x="651" y="791"/>
                    </a:lnTo>
                    <a:lnTo>
                      <a:pt x="649" y="793"/>
                    </a:lnTo>
                    <a:lnTo>
                      <a:pt x="647" y="795"/>
                    </a:lnTo>
                    <a:lnTo>
                      <a:pt x="647" y="799"/>
                    </a:lnTo>
                    <a:lnTo>
                      <a:pt x="645" y="799"/>
                    </a:lnTo>
                    <a:lnTo>
                      <a:pt x="643" y="799"/>
                    </a:lnTo>
                    <a:lnTo>
                      <a:pt x="643" y="797"/>
                    </a:lnTo>
                    <a:lnTo>
                      <a:pt x="641" y="797"/>
                    </a:lnTo>
                    <a:lnTo>
                      <a:pt x="639" y="797"/>
                    </a:lnTo>
                    <a:lnTo>
                      <a:pt x="638" y="797"/>
                    </a:lnTo>
                    <a:lnTo>
                      <a:pt x="636" y="797"/>
                    </a:lnTo>
                    <a:lnTo>
                      <a:pt x="636" y="799"/>
                    </a:lnTo>
                    <a:lnTo>
                      <a:pt x="638" y="801"/>
                    </a:lnTo>
                    <a:lnTo>
                      <a:pt x="638" y="803"/>
                    </a:lnTo>
                    <a:lnTo>
                      <a:pt x="636" y="803"/>
                    </a:lnTo>
                    <a:lnTo>
                      <a:pt x="634" y="803"/>
                    </a:lnTo>
                    <a:lnTo>
                      <a:pt x="634" y="805"/>
                    </a:lnTo>
                    <a:lnTo>
                      <a:pt x="634" y="807"/>
                    </a:lnTo>
                    <a:lnTo>
                      <a:pt x="634" y="809"/>
                    </a:lnTo>
                    <a:lnTo>
                      <a:pt x="632" y="811"/>
                    </a:lnTo>
                    <a:lnTo>
                      <a:pt x="630" y="809"/>
                    </a:lnTo>
                    <a:lnTo>
                      <a:pt x="628" y="809"/>
                    </a:lnTo>
                    <a:lnTo>
                      <a:pt x="626" y="811"/>
                    </a:lnTo>
                    <a:lnTo>
                      <a:pt x="624" y="813"/>
                    </a:lnTo>
                    <a:lnTo>
                      <a:pt x="624" y="815"/>
                    </a:lnTo>
                    <a:lnTo>
                      <a:pt x="626" y="815"/>
                    </a:lnTo>
                    <a:lnTo>
                      <a:pt x="626" y="816"/>
                    </a:lnTo>
                    <a:lnTo>
                      <a:pt x="624" y="815"/>
                    </a:lnTo>
                    <a:lnTo>
                      <a:pt x="624" y="816"/>
                    </a:lnTo>
                    <a:lnTo>
                      <a:pt x="622" y="815"/>
                    </a:lnTo>
                    <a:lnTo>
                      <a:pt x="620" y="815"/>
                    </a:lnTo>
                    <a:lnTo>
                      <a:pt x="620" y="816"/>
                    </a:lnTo>
                    <a:lnTo>
                      <a:pt x="618" y="816"/>
                    </a:lnTo>
                    <a:lnTo>
                      <a:pt x="618" y="818"/>
                    </a:lnTo>
                    <a:lnTo>
                      <a:pt x="618" y="820"/>
                    </a:lnTo>
                    <a:lnTo>
                      <a:pt x="618" y="822"/>
                    </a:lnTo>
                    <a:lnTo>
                      <a:pt x="618" y="824"/>
                    </a:lnTo>
                    <a:lnTo>
                      <a:pt x="616" y="824"/>
                    </a:lnTo>
                    <a:lnTo>
                      <a:pt x="615" y="824"/>
                    </a:lnTo>
                    <a:lnTo>
                      <a:pt x="613" y="824"/>
                    </a:lnTo>
                    <a:lnTo>
                      <a:pt x="611" y="826"/>
                    </a:lnTo>
                    <a:lnTo>
                      <a:pt x="607" y="830"/>
                    </a:lnTo>
                    <a:lnTo>
                      <a:pt x="603" y="832"/>
                    </a:lnTo>
                    <a:lnTo>
                      <a:pt x="599" y="834"/>
                    </a:lnTo>
                    <a:lnTo>
                      <a:pt x="595" y="836"/>
                    </a:lnTo>
                    <a:lnTo>
                      <a:pt x="593" y="836"/>
                    </a:lnTo>
                    <a:lnTo>
                      <a:pt x="590" y="836"/>
                    </a:lnTo>
                    <a:lnTo>
                      <a:pt x="588" y="836"/>
                    </a:lnTo>
                    <a:lnTo>
                      <a:pt x="586" y="836"/>
                    </a:lnTo>
                    <a:lnTo>
                      <a:pt x="586" y="838"/>
                    </a:lnTo>
                    <a:lnTo>
                      <a:pt x="584" y="838"/>
                    </a:lnTo>
                    <a:lnTo>
                      <a:pt x="582" y="838"/>
                    </a:lnTo>
                    <a:lnTo>
                      <a:pt x="582" y="839"/>
                    </a:lnTo>
                    <a:lnTo>
                      <a:pt x="584" y="839"/>
                    </a:lnTo>
                    <a:lnTo>
                      <a:pt x="582" y="839"/>
                    </a:lnTo>
                    <a:lnTo>
                      <a:pt x="582" y="841"/>
                    </a:lnTo>
                    <a:lnTo>
                      <a:pt x="584" y="841"/>
                    </a:lnTo>
                    <a:lnTo>
                      <a:pt x="584" y="843"/>
                    </a:lnTo>
                    <a:lnTo>
                      <a:pt x="586" y="843"/>
                    </a:lnTo>
                    <a:lnTo>
                      <a:pt x="586" y="845"/>
                    </a:lnTo>
                    <a:lnTo>
                      <a:pt x="584" y="845"/>
                    </a:lnTo>
                    <a:lnTo>
                      <a:pt x="584" y="847"/>
                    </a:lnTo>
                    <a:lnTo>
                      <a:pt x="578" y="843"/>
                    </a:lnTo>
                    <a:lnTo>
                      <a:pt x="576" y="843"/>
                    </a:lnTo>
                    <a:lnTo>
                      <a:pt x="576" y="845"/>
                    </a:lnTo>
                    <a:lnTo>
                      <a:pt x="574" y="845"/>
                    </a:lnTo>
                    <a:lnTo>
                      <a:pt x="574" y="843"/>
                    </a:lnTo>
                    <a:lnTo>
                      <a:pt x="572" y="843"/>
                    </a:lnTo>
                    <a:lnTo>
                      <a:pt x="572" y="841"/>
                    </a:lnTo>
                    <a:lnTo>
                      <a:pt x="570" y="841"/>
                    </a:lnTo>
                    <a:lnTo>
                      <a:pt x="570" y="843"/>
                    </a:lnTo>
                    <a:lnTo>
                      <a:pt x="568" y="843"/>
                    </a:lnTo>
                    <a:lnTo>
                      <a:pt x="570" y="841"/>
                    </a:lnTo>
                    <a:lnTo>
                      <a:pt x="568" y="841"/>
                    </a:lnTo>
                    <a:lnTo>
                      <a:pt x="566" y="841"/>
                    </a:lnTo>
                    <a:lnTo>
                      <a:pt x="565" y="841"/>
                    </a:lnTo>
                    <a:lnTo>
                      <a:pt x="563" y="841"/>
                    </a:lnTo>
                    <a:lnTo>
                      <a:pt x="561" y="841"/>
                    </a:lnTo>
                    <a:lnTo>
                      <a:pt x="559" y="841"/>
                    </a:lnTo>
                    <a:lnTo>
                      <a:pt x="555" y="839"/>
                    </a:lnTo>
                    <a:lnTo>
                      <a:pt x="553" y="839"/>
                    </a:lnTo>
                    <a:lnTo>
                      <a:pt x="551" y="839"/>
                    </a:lnTo>
                    <a:lnTo>
                      <a:pt x="551" y="836"/>
                    </a:lnTo>
                    <a:lnTo>
                      <a:pt x="551" y="834"/>
                    </a:lnTo>
                    <a:lnTo>
                      <a:pt x="551" y="836"/>
                    </a:lnTo>
                    <a:lnTo>
                      <a:pt x="549" y="836"/>
                    </a:lnTo>
                    <a:lnTo>
                      <a:pt x="545" y="836"/>
                    </a:lnTo>
                    <a:lnTo>
                      <a:pt x="543" y="836"/>
                    </a:lnTo>
                    <a:lnTo>
                      <a:pt x="542" y="836"/>
                    </a:lnTo>
                    <a:lnTo>
                      <a:pt x="542" y="838"/>
                    </a:lnTo>
                    <a:lnTo>
                      <a:pt x="542" y="839"/>
                    </a:lnTo>
                    <a:lnTo>
                      <a:pt x="540" y="839"/>
                    </a:lnTo>
                    <a:lnTo>
                      <a:pt x="538" y="839"/>
                    </a:lnTo>
                    <a:lnTo>
                      <a:pt x="536" y="839"/>
                    </a:lnTo>
                    <a:lnTo>
                      <a:pt x="532" y="839"/>
                    </a:lnTo>
                    <a:lnTo>
                      <a:pt x="528" y="839"/>
                    </a:lnTo>
                    <a:lnTo>
                      <a:pt x="528" y="838"/>
                    </a:lnTo>
                    <a:lnTo>
                      <a:pt x="526" y="838"/>
                    </a:lnTo>
                    <a:lnTo>
                      <a:pt x="524" y="838"/>
                    </a:lnTo>
                    <a:lnTo>
                      <a:pt x="524" y="836"/>
                    </a:lnTo>
                    <a:lnTo>
                      <a:pt x="522" y="838"/>
                    </a:lnTo>
                    <a:lnTo>
                      <a:pt x="520" y="838"/>
                    </a:lnTo>
                    <a:lnTo>
                      <a:pt x="518" y="838"/>
                    </a:lnTo>
                    <a:lnTo>
                      <a:pt x="518" y="839"/>
                    </a:lnTo>
                    <a:lnTo>
                      <a:pt x="517" y="838"/>
                    </a:lnTo>
                    <a:lnTo>
                      <a:pt x="517" y="839"/>
                    </a:lnTo>
                    <a:lnTo>
                      <a:pt x="515" y="839"/>
                    </a:lnTo>
                    <a:lnTo>
                      <a:pt x="515" y="841"/>
                    </a:lnTo>
                    <a:lnTo>
                      <a:pt x="513" y="841"/>
                    </a:lnTo>
                    <a:lnTo>
                      <a:pt x="511" y="841"/>
                    </a:lnTo>
                    <a:lnTo>
                      <a:pt x="511" y="839"/>
                    </a:lnTo>
                    <a:lnTo>
                      <a:pt x="507" y="836"/>
                    </a:lnTo>
                    <a:lnTo>
                      <a:pt x="507" y="834"/>
                    </a:lnTo>
                    <a:lnTo>
                      <a:pt x="505" y="834"/>
                    </a:lnTo>
                    <a:lnTo>
                      <a:pt x="503" y="832"/>
                    </a:lnTo>
                    <a:lnTo>
                      <a:pt x="501" y="832"/>
                    </a:lnTo>
                    <a:lnTo>
                      <a:pt x="501" y="830"/>
                    </a:lnTo>
                    <a:lnTo>
                      <a:pt x="501" y="828"/>
                    </a:lnTo>
                    <a:lnTo>
                      <a:pt x="503" y="828"/>
                    </a:lnTo>
                    <a:lnTo>
                      <a:pt x="503" y="822"/>
                    </a:lnTo>
                    <a:lnTo>
                      <a:pt x="505" y="822"/>
                    </a:lnTo>
                    <a:lnTo>
                      <a:pt x="503" y="820"/>
                    </a:lnTo>
                    <a:lnTo>
                      <a:pt x="505" y="820"/>
                    </a:lnTo>
                    <a:lnTo>
                      <a:pt x="503" y="818"/>
                    </a:lnTo>
                    <a:lnTo>
                      <a:pt x="505" y="818"/>
                    </a:lnTo>
                    <a:lnTo>
                      <a:pt x="503" y="818"/>
                    </a:lnTo>
                    <a:lnTo>
                      <a:pt x="503" y="816"/>
                    </a:lnTo>
                    <a:lnTo>
                      <a:pt x="499" y="818"/>
                    </a:lnTo>
                    <a:lnTo>
                      <a:pt x="497" y="818"/>
                    </a:lnTo>
                    <a:lnTo>
                      <a:pt x="492" y="816"/>
                    </a:lnTo>
                    <a:lnTo>
                      <a:pt x="490" y="815"/>
                    </a:lnTo>
                    <a:lnTo>
                      <a:pt x="486" y="813"/>
                    </a:lnTo>
                    <a:lnTo>
                      <a:pt x="480" y="811"/>
                    </a:lnTo>
                    <a:lnTo>
                      <a:pt x="478" y="813"/>
                    </a:lnTo>
                    <a:lnTo>
                      <a:pt x="472" y="809"/>
                    </a:lnTo>
                    <a:lnTo>
                      <a:pt x="472" y="807"/>
                    </a:lnTo>
                    <a:lnTo>
                      <a:pt x="470" y="807"/>
                    </a:lnTo>
                    <a:lnTo>
                      <a:pt x="470" y="805"/>
                    </a:lnTo>
                    <a:lnTo>
                      <a:pt x="470" y="803"/>
                    </a:lnTo>
                    <a:lnTo>
                      <a:pt x="469" y="803"/>
                    </a:lnTo>
                    <a:lnTo>
                      <a:pt x="465" y="803"/>
                    </a:lnTo>
                    <a:lnTo>
                      <a:pt x="463" y="803"/>
                    </a:lnTo>
                    <a:lnTo>
                      <a:pt x="461" y="803"/>
                    </a:lnTo>
                    <a:lnTo>
                      <a:pt x="459" y="803"/>
                    </a:lnTo>
                    <a:lnTo>
                      <a:pt x="459" y="805"/>
                    </a:lnTo>
                    <a:lnTo>
                      <a:pt x="457" y="805"/>
                    </a:lnTo>
                    <a:lnTo>
                      <a:pt x="457" y="807"/>
                    </a:lnTo>
                    <a:lnTo>
                      <a:pt x="459" y="809"/>
                    </a:lnTo>
                    <a:lnTo>
                      <a:pt x="459" y="811"/>
                    </a:lnTo>
                    <a:lnTo>
                      <a:pt x="459" y="813"/>
                    </a:lnTo>
                    <a:lnTo>
                      <a:pt x="455" y="813"/>
                    </a:lnTo>
                    <a:lnTo>
                      <a:pt x="453" y="815"/>
                    </a:lnTo>
                    <a:lnTo>
                      <a:pt x="451" y="815"/>
                    </a:lnTo>
                    <a:lnTo>
                      <a:pt x="451" y="816"/>
                    </a:lnTo>
                    <a:lnTo>
                      <a:pt x="449" y="820"/>
                    </a:lnTo>
                    <a:lnTo>
                      <a:pt x="449" y="822"/>
                    </a:lnTo>
                    <a:lnTo>
                      <a:pt x="446" y="820"/>
                    </a:lnTo>
                    <a:lnTo>
                      <a:pt x="446" y="824"/>
                    </a:lnTo>
                    <a:lnTo>
                      <a:pt x="440" y="822"/>
                    </a:lnTo>
                    <a:lnTo>
                      <a:pt x="438" y="822"/>
                    </a:lnTo>
                    <a:lnTo>
                      <a:pt x="440" y="824"/>
                    </a:lnTo>
                    <a:lnTo>
                      <a:pt x="440" y="826"/>
                    </a:lnTo>
                    <a:lnTo>
                      <a:pt x="442" y="826"/>
                    </a:lnTo>
                    <a:lnTo>
                      <a:pt x="440" y="826"/>
                    </a:lnTo>
                    <a:lnTo>
                      <a:pt x="440" y="828"/>
                    </a:lnTo>
                    <a:lnTo>
                      <a:pt x="442" y="828"/>
                    </a:lnTo>
                    <a:lnTo>
                      <a:pt x="442" y="830"/>
                    </a:lnTo>
                    <a:lnTo>
                      <a:pt x="440" y="830"/>
                    </a:lnTo>
                    <a:lnTo>
                      <a:pt x="438" y="832"/>
                    </a:lnTo>
                    <a:lnTo>
                      <a:pt x="440" y="832"/>
                    </a:lnTo>
                    <a:lnTo>
                      <a:pt x="442" y="832"/>
                    </a:lnTo>
                    <a:lnTo>
                      <a:pt x="442" y="834"/>
                    </a:lnTo>
                    <a:lnTo>
                      <a:pt x="438" y="834"/>
                    </a:lnTo>
                    <a:lnTo>
                      <a:pt x="434" y="832"/>
                    </a:lnTo>
                    <a:lnTo>
                      <a:pt x="434" y="830"/>
                    </a:lnTo>
                    <a:lnTo>
                      <a:pt x="434" y="832"/>
                    </a:lnTo>
                    <a:lnTo>
                      <a:pt x="432" y="832"/>
                    </a:lnTo>
                    <a:lnTo>
                      <a:pt x="430" y="832"/>
                    </a:lnTo>
                    <a:lnTo>
                      <a:pt x="430" y="830"/>
                    </a:lnTo>
                    <a:lnTo>
                      <a:pt x="428" y="828"/>
                    </a:lnTo>
                    <a:lnTo>
                      <a:pt x="426" y="830"/>
                    </a:lnTo>
                    <a:lnTo>
                      <a:pt x="421" y="830"/>
                    </a:lnTo>
                    <a:lnTo>
                      <a:pt x="419" y="830"/>
                    </a:lnTo>
                    <a:lnTo>
                      <a:pt x="415" y="830"/>
                    </a:lnTo>
                    <a:lnTo>
                      <a:pt x="413" y="830"/>
                    </a:lnTo>
                    <a:lnTo>
                      <a:pt x="411" y="830"/>
                    </a:lnTo>
                    <a:lnTo>
                      <a:pt x="409" y="830"/>
                    </a:lnTo>
                    <a:lnTo>
                      <a:pt x="409" y="832"/>
                    </a:lnTo>
                    <a:lnTo>
                      <a:pt x="409" y="830"/>
                    </a:lnTo>
                    <a:lnTo>
                      <a:pt x="409" y="828"/>
                    </a:lnTo>
                    <a:lnTo>
                      <a:pt x="411" y="826"/>
                    </a:lnTo>
                    <a:lnTo>
                      <a:pt x="415" y="822"/>
                    </a:lnTo>
                    <a:lnTo>
                      <a:pt x="413" y="820"/>
                    </a:lnTo>
                    <a:lnTo>
                      <a:pt x="413" y="818"/>
                    </a:lnTo>
                    <a:lnTo>
                      <a:pt x="409" y="818"/>
                    </a:lnTo>
                    <a:lnTo>
                      <a:pt x="407" y="818"/>
                    </a:lnTo>
                    <a:lnTo>
                      <a:pt x="405" y="818"/>
                    </a:lnTo>
                    <a:lnTo>
                      <a:pt x="403" y="816"/>
                    </a:lnTo>
                    <a:lnTo>
                      <a:pt x="399" y="818"/>
                    </a:lnTo>
                    <a:lnTo>
                      <a:pt x="398" y="820"/>
                    </a:lnTo>
                    <a:lnTo>
                      <a:pt x="396" y="820"/>
                    </a:lnTo>
                    <a:lnTo>
                      <a:pt x="394" y="820"/>
                    </a:lnTo>
                    <a:lnTo>
                      <a:pt x="392" y="818"/>
                    </a:lnTo>
                    <a:lnTo>
                      <a:pt x="394" y="816"/>
                    </a:lnTo>
                    <a:lnTo>
                      <a:pt x="394" y="815"/>
                    </a:lnTo>
                    <a:lnTo>
                      <a:pt x="392" y="811"/>
                    </a:lnTo>
                    <a:lnTo>
                      <a:pt x="394" y="809"/>
                    </a:lnTo>
                    <a:lnTo>
                      <a:pt x="399" y="803"/>
                    </a:lnTo>
                    <a:lnTo>
                      <a:pt x="399" y="801"/>
                    </a:lnTo>
                    <a:lnTo>
                      <a:pt x="396" y="803"/>
                    </a:lnTo>
                    <a:lnTo>
                      <a:pt x="394" y="805"/>
                    </a:lnTo>
                    <a:lnTo>
                      <a:pt x="392" y="807"/>
                    </a:lnTo>
                    <a:lnTo>
                      <a:pt x="390" y="807"/>
                    </a:lnTo>
                    <a:lnTo>
                      <a:pt x="388" y="809"/>
                    </a:lnTo>
                    <a:lnTo>
                      <a:pt x="386" y="807"/>
                    </a:lnTo>
                    <a:lnTo>
                      <a:pt x="384" y="807"/>
                    </a:lnTo>
                    <a:lnTo>
                      <a:pt x="384" y="803"/>
                    </a:lnTo>
                    <a:lnTo>
                      <a:pt x="384" y="801"/>
                    </a:lnTo>
                    <a:lnTo>
                      <a:pt x="384" y="797"/>
                    </a:lnTo>
                    <a:lnTo>
                      <a:pt x="384" y="795"/>
                    </a:lnTo>
                    <a:lnTo>
                      <a:pt x="384" y="793"/>
                    </a:lnTo>
                    <a:lnTo>
                      <a:pt x="382" y="791"/>
                    </a:lnTo>
                    <a:lnTo>
                      <a:pt x="380" y="791"/>
                    </a:lnTo>
                    <a:lnTo>
                      <a:pt x="380" y="790"/>
                    </a:lnTo>
                    <a:lnTo>
                      <a:pt x="380" y="788"/>
                    </a:lnTo>
                    <a:lnTo>
                      <a:pt x="380" y="786"/>
                    </a:lnTo>
                    <a:lnTo>
                      <a:pt x="380" y="784"/>
                    </a:lnTo>
                    <a:lnTo>
                      <a:pt x="380" y="782"/>
                    </a:lnTo>
                    <a:lnTo>
                      <a:pt x="378" y="780"/>
                    </a:lnTo>
                    <a:lnTo>
                      <a:pt x="374" y="780"/>
                    </a:lnTo>
                    <a:lnTo>
                      <a:pt x="369" y="778"/>
                    </a:lnTo>
                    <a:lnTo>
                      <a:pt x="367" y="776"/>
                    </a:lnTo>
                    <a:lnTo>
                      <a:pt x="367" y="774"/>
                    </a:lnTo>
                    <a:lnTo>
                      <a:pt x="369" y="774"/>
                    </a:lnTo>
                    <a:lnTo>
                      <a:pt x="369" y="772"/>
                    </a:lnTo>
                    <a:lnTo>
                      <a:pt x="371" y="772"/>
                    </a:lnTo>
                    <a:lnTo>
                      <a:pt x="371" y="770"/>
                    </a:lnTo>
                    <a:lnTo>
                      <a:pt x="369" y="770"/>
                    </a:lnTo>
                    <a:lnTo>
                      <a:pt x="367" y="770"/>
                    </a:lnTo>
                    <a:lnTo>
                      <a:pt x="369" y="770"/>
                    </a:lnTo>
                    <a:lnTo>
                      <a:pt x="367" y="770"/>
                    </a:lnTo>
                    <a:lnTo>
                      <a:pt x="367" y="768"/>
                    </a:lnTo>
                    <a:lnTo>
                      <a:pt x="369" y="768"/>
                    </a:lnTo>
                    <a:lnTo>
                      <a:pt x="369" y="767"/>
                    </a:lnTo>
                    <a:lnTo>
                      <a:pt x="369" y="768"/>
                    </a:lnTo>
                    <a:lnTo>
                      <a:pt x="371" y="768"/>
                    </a:lnTo>
                    <a:lnTo>
                      <a:pt x="371" y="770"/>
                    </a:lnTo>
                    <a:lnTo>
                      <a:pt x="373" y="768"/>
                    </a:lnTo>
                    <a:lnTo>
                      <a:pt x="373" y="767"/>
                    </a:lnTo>
                    <a:lnTo>
                      <a:pt x="373" y="765"/>
                    </a:lnTo>
                    <a:lnTo>
                      <a:pt x="374" y="767"/>
                    </a:lnTo>
                    <a:lnTo>
                      <a:pt x="374" y="765"/>
                    </a:lnTo>
                    <a:lnTo>
                      <a:pt x="376" y="765"/>
                    </a:lnTo>
                    <a:lnTo>
                      <a:pt x="376" y="767"/>
                    </a:lnTo>
                    <a:lnTo>
                      <a:pt x="376" y="768"/>
                    </a:lnTo>
                    <a:lnTo>
                      <a:pt x="378" y="768"/>
                    </a:lnTo>
                    <a:lnTo>
                      <a:pt x="388" y="767"/>
                    </a:lnTo>
                    <a:lnTo>
                      <a:pt x="394" y="761"/>
                    </a:lnTo>
                    <a:lnTo>
                      <a:pt x="392" y="755"/>
                    </a:lnTo>
                    <a:lnTo>
                      <a:pt x="394" y="753"/>
                    </a:lnTo>
                    <a:lnTo>
                      <a:pt x="394" y="751"/>
                    </a:lnTo>
                    <a:lnTo>
                      <a:pt x="394" y="749"/>
                    </a:lnTo>
                    <a:lnTo>
                      <a:pt x="396" y="747"/>
                    </a:lnTo>
                    <a:lnTo>
                      <a:pt x="394" y="747"/>
                    </a:lnTo>
                    <a:lnTo>
                      <a:pt x="390" y="747"/>
                    </a:lnTo>
                    <a:lnTo>
                      <a:pt x="380" y="747"/>
                    </a:lnTo>
                    <a:lnTo>
                      <a:pt x="376" y="747"/>
                    </a:lnTo>
                    <a:lnTo>
                      <a:pt x="371" y="745"/>
                    </a:lnTo>
                    <a:lnTo>
                      <a:pt x="367" y="743"/>
                    </a:lnTo>
                    <a:lnTo>
                      <a:pt x="365" y="742"/>
                    </a:lnTo>
                    <a:lnTo>
                      <a:pt x="365" y="740"/>
                    </a:lnTo>
                    <a:lnTo>
                      <a:pt x="365" y="738"/>
                    </a:lnTo>
                    <a:lnTo>
                      <a:pt x="365" y="736"/>
                    </a:lnTo>
                    <a:lnTo>
                      <a:pt x="363" y="736"/>
                    </a:lnTo>
                    <a:lnTo>
                      <a:pt x="363" y="734"/>
                    </a:lnTo>
                    <a:lnTo>
                      <a:pt x="363" y="732"/>
                    </a:lnTo>
                    <a:lnTo>
                      <a:pt x="363" y="730"/>
                    </a:lnTo>
                    <a:lnTo>
                      <a:pt x="361" y="730"/>
                    </a:lnTo>
                    <a:lnTo>
                      <a:pt x="361" y="728"/>
                    </a:lnTo>
                    <a:lnTo>
                      <a:pt x="359" y="728"/>
                    </a:lnTo>
                    <a:lnTo>
                      <a:pt x="359" y="726"/>
                    </a:lnTo>
                    <a:lnTo>
                      <a:pt x="359" y="724"/>
                    </a:lnTo>
                    <a:lnTo>
                      <a:pt x="359" y="722"/>
                    </a:lnTo>
                    <a:lnTo>
                      <a:pt x="357" y="720"/>
                    </a:lnTo>
                    <a:lnTo>
                      <a:pt x="355" y="719"/>
                    </a:lnTo>
                    <a:lnTo>
                      <a:pt x="353" y="717"/>
                    </a:lnTo>
                    <a:lnTo>
                      <a:pt x="351" y="715"/>
                    </a:lnTo>
                    <a:lnTo>
                      <a:pt x="350" y="715"/>
                    </a:lnTo>
                    <a:lnTo>
                      <a:pt x="348" y="711"/>
                    </a:lnTo>
                    <a:lnTo>
                      <a:pt x="346" y="711"/>
                    </a:lnTo>
                    <a:lnTo>
                      <a:pt x="344" y="705"/>
                    </a:lnTo>
                    <a:lnTo>
                      <a:pt x="340" y="705"/>
                    </a:lnTo>
                    <a:lnTo>
                      <a:pt x="330" y="707"/>
                    </a:lnTo>
                    <a:lnTo>
                      <a:pt x="330" y="711"/>
                    </a:lnTo>
                    <a:lnTo>
                      <a:pt x="330" y="715"/>
                    </a:lnTo>
                    <a:lnTo>
                      <a:pt x="328" y="715"/>
                    </a:lnTo>
                    <a:lnTo>
                      <a:pt x="326" y="715"/>
                    </a:lnTo>
                    <a:lnTo>
                      <a:pt x="326" y="713"/>
                    </a:lnTo>
                    <a:lnTo>
                      <a:pt x="325" y="713"/>
                    </a:lnTo>
                    <a:lnTo>
                      <a:pt x="323" y="713"/>
                    </a:lnTo>
                    <a:lnTo>
                      <a:pt x="323" y="717"/>
                    </a:lnTo>
                    <a:lnTo>
                      <a:pt x="323" y="719"/>
                    </a:lnTo>
                    <a:lnTo>
                      <a:pt x="323" y="720"/>
                    </a:lnTo>
                    <a:lnTo>
                      <a:pt x="323" y="722"/>
                    </a:lnTo>
                    <a:lnTo>
                      <a:pt x="323" y="724"/>
                    </a:lnTo>
                    <a:lnTo>
                      <a:pt x="321" y="724"/>
                    </a:lnTo>
                    <a:lnTo>
                      <a:pt x="321" y="726"/>
                    </a:lnTo>
                    <a:lnTo>
                      <a:pt x="319" y="726"/>
                    </a:lnTo>
                    <a:lnTo>
                      <a:pt x="321" y="728"/>
                    </a:lnTo>
                    <a:lnTo>
                      <a:pt x="321" y="730"/>
                    </a:lnTo>
                    <a:lnTo>
                      <a:pt x="321" y="734"/>
                    </a:lnTo>
                    <a:lnTo>
                      <a:pt x="319" y="734"/>
                    </a:lnTo>
                    <a:lnTo>
                      <a:pt x="319" y="732"/>
                    </a:lnTo>
                    <a:lnTo>
                      <a:pt x="317" y="732"/>
                    </a:lnTo>
                    <a:lnTo>
                      <a:pt x="313" y="732"/>
                    </a:lnTo>
                    <a:lnTo>
                      <a:pt x="309" y="732"/>
                    </a:lnTo>
                    <a:lnTo>
                      <a:pt x="305" y="732"/>
                    </a:lnTo>
                    <a:lnTo>
                      <a:pt x="303" y="730"/>
                    </a:lnTo>
                    <a:lnTo>
                      <a:pt x="300" y="730"/>
                    </a:lnTo>
                    <a:lnTo>
                      <a:pt x="296" y="730"/>
                    </a:lnTo>
                    <a:lnTo>
                      <a:pt x="294" y="730"/>
                    </a:lnTo>
                    <a:lnTo>
                      <a:pt x="292" y="732"/>
                    </a:lnTo>
                    <a:lnTo>
                      <a:pt x="290" y="734"/>
                    </a:lnTo>
                    <a:lnTo>
                      <a:pt x="288" y="734"/>
                    </a:lnTo>
                    <a:lnTo>
                      <a:pt x="288" y="732"/>
                    </a:lnTo>
                    <a:lnTo>
                      <a:pt x="284" y="732"/>
                    </a:lnTo>
                    <a:lnTo>
                      <a:pt x="282" y="740"/>
                    </a:lnTo>
                    <a:lnTo>
                      <a:pt x="282" y="742"/>
                    </a:lnTo>
                    <a:lnTo>
                      <a:pt x="282" y="743"/>
                    </a:lnTo>
                    <a:lnTo>
                      <a:pt x="280" y="743"/>
                    </a:lnTo>
                    <a:lnTo>
                      <a:pt x="278" y="745"/>
                    </a:lnTo>
                    <a:lnTo>
                      <a:pt x="277" y="745"/>
                    </a:lnTo>
                    <a:lnTo>
                      <a:pt x="275" y="745"/>
                    </a:lnTo>
                    <a:lnTo>
                      <a:pt x="275" y="743"/>
                    </a:lnTo>
                    <a:lnTo>
                      <a:pt x="273" y="743"/>
                    </a:lnTo>
                    <a:lnTo>
                      <a:pt x="271" y="743"/>
                    </a:lnTo>
                    <a:lnTo>
                      <a:pt x="269" y="743"/>
                    </a:lnTo>
                    <a:lnTo>
                      <a:pt x="267" y="742"/>
                    </a:lnTo>
                    <a:lnTo>
                      <a:pt x="265" y="742"/>
                    </a:lnTo>
                    <a:lnTo>
                      <a:pt x="263" y="742"/>
                    </a:lnTo>
                    <a:lnTo>
                      <a:pt x="261" y="742"/>
                    </a:lnTo>
                    <a:lnTo>
                      <a:pt x="261" y="743"/>
                    </a:lnTo>
                    <a:lnTo>
                      <a:pt x="259" y="743"/>
                    </a:lnTo>
                    <a:lnTo>
                      <a:pt x="259" y="745"/>
                    </a:lnTo>
                    <a:lnTo>
                      <a:pt x="259" y="743"/>
                    </a:lnTo>
                    <a:lnTo>
                      <a:pt x="257" y="743"/>
                    </a:lnTo>
                    <a:lnTo>
                      <a:pt x="255" y="743"/>
                    </a:lnTo>
                    <a:lnTo>
                      <a:pt x="255" y="742"/>
                    </a:lnTo>
                    <a:lnTo>
                      <a:pt x="253" y="740"/>
                    </a:lnTo>
                    <a:lnTo>
                      <a:pt x="252" y="740"/>
                    </a:lnTo>
                    <a:lnTo>
                      <a:pt x="250" y="738"/>
                    </a:lnTo>
                    <a:lnTo>
                      <a:pt x="248" y="742"/>
                    </a:lnTo>
                    <a:lnTo>
                      <a:pt x="246" y="742"/>
                    </a:lnTo>
                    <a:lnTo>
                      <a:pt x="244" y="742"/>
                    </a:lnTo>
                    <a:lnTo>
                      <a:pt x="242" y="742"/>
                    </a:lnTo>
                    <a:lnTo>
                      <a:pt x="238" y="743"/>
                    </a:lnTo>
                    <a:lnTo>
                      <a:pt x="234" y="743"/>
                    </a:lnTo>
                    <a:lnTo>
                      <a:pt x="230" y="745"/>
                    </a:lnTo>
                    <a:lnTo>
                      <a:pt x="230" y="747"/>
                    </a:lnTo>
                    <a:lnTo>
                      <a:pt x="229" y="747"/>
                    </a:lnTo>
                    <a:lnTo>
                      <a:pt x="227" y="749"/>
                    </a:lnTo>
                    <a:lnTo>
                      <a:pt x="225" y="747"/>
                    </a:lnTo>
                    <a:lnTo>
                      <a:pt x="221" y="747"/>
                    </a:lnTo>
                    <a:lnTo>
                      <a:pt x="221" y="745"/>
                    </a:lnTo>
                    <a:lnTo>
                      <a:pt x="221" y="743"/>
                    </a:lnTo>
                    <a:lnTo>
                      <a:pt x="221" y="742"/>
                    </a:lnTo>
                    <a:lnTo>
                      <a:pt x="219" y="740"/>
                    </a:lnTo>
                    <a:lnTo>
                      <a:pt x="217" y="738"/>
                    </a:lnTo>
                    <a:lnTo>
                      <a:pt x="215" y="738"/>
                    </a:lnTo>
                    <a:lnTo>
                      <a:pt x="213" y="738"/>
                    </a:lnTo>
                    <a:lnTo>
                      <a:pt x="213" y="736"/>
                    </a:lnTo>
                    <a:lnTo>
                      <a:pt x="211" y="736"/>
                    </a:lnTo>
                    <a:lnTo>
                      <a:pt x="209" y="736"/>
                    </a:lnTo>
                    <a:lnTo>
                      <a:pt x="209" y="734"/>
                    </a:lnTo>
                    <a:lnTo>
                      <a:pt x="207" y="734"/>
                    </a:lnTo>
                    <a:lnTo>
                      <a:pt x="205" y="734"/>
                    </a:lnTo>
                    <a:lnTo>
                      <a:pt x="205" y="736"/>
                    </a:lnTo>
                    <a:lnTo>
                      <a:pt x="204" y="738"/>
                    </a:lnTo>
                    <a:lnTo>
                      <a:pt x="202" y="740"/>
                    </a:lnTo>
                    <a:lnTo>
                      <a:pt x="202" y="742"/>
                    </a:lnTo>
                    <a:lnTo>
                      <a:pt x="200" y="742"/>
                    </a:lnTo>
                    <a:lnTo>
                      <a:pt x="198" y="745"/>
                    </a:lnTo>
                    <a:lnTo>
                      <a:pt x="196" y="745"/>
                    </a:lnTo>
                    <a:lnTo>
                      <a:pt x="196" y="743"/>
                    </a:lnTo>
                    <a:lnTo>
                      <a:pt x="196" y="740"/>
                    </a:lnTo>
                    <a:lnTo>
                      <a:pt x="196" y="738"/>
                    </a:lnTo>
                    <a:lnTo>
                      <a:pt x="196" y="736"/>
                    </a:lnTo>
                    <a:lnTo>
                      <a:pt x="196" y="734"/>
                    </a:lnTo>
                    <a:lnTo>
                      <a:pt x="194" y="734"/>
                    </a:lnTo>
                    <a:lnTo>
                      <a:pt x="192" y="732"/>
                    </a:lnTo>
                    <a:lnTo>
                      <a:pt x="190" y="732"/>
                    </a:lnTo>
                    <a:lnTo>
                      <a:pt x="188" y="732"/>
                    </a:lnTo>
                    <a:lnTo>
                      <a:pt x="188" y="730"/>
                    </a:lnTo>
                    <a:lnTo>
                      <a:pt x="186" y="730"/>
                    </a:lnTo>
                    <a:lnTo>
                      <a:pt x="184" y="730"/>
                    </a:lnTo>
                    <a:lnTo>
                      <a:pt x="184" y="728"/>
                    </a:lnTo>
                    <a:lnTo>
                      <a:pt x="182" y="728"/>
                    </a:lnTo>
                    <a:lnTo>
                      <a:pt x="181" y="728"/>
                    </a:lnTo>
                    <a:lnTo>
                      <a:pt x="181" y="726"/>
                    </a:lnTo>
                    <a:lnTo>
                      <a:pt x="179" y="726"/>
                    </a:lnTo>
                    <a:lnTo>
                      <a:pt x="179" y="724"/>
                    </a:lnTo>
                    <a:lnTo>
                      <a:pt x="181" y="724"/>
                    </a:lnTo>
                    <a:lnTo>
                      <a:pt x="181" y="722"/>
                    </a:lnTo>
                    <a:lnTo>
                      <a:pt x="181" y="720"/>
                    </a:lnTo>
                    <a:lnTo>
                      <a:pt x="179" y="720"/>
                    </a:lnTo>
                    <a:lnTo>
                      <a:pt x="177" y="719"/>
                    </a:lnTo>
                    <a:lnTo>
                      <a:pt x="177" y="717"/>
                    </a:lnTo>
                    <a:lnTo>
                      <a:pt x="177" y="715"/>
                    </a:lnTo>
                    <a:lnTo>
                      <a:pt x="175" y="715"/>
                    </a:lnTo>
                    <a:lnTo>
                      <a:pt x="173" y="715"/>
                    </a:lnTo>
                    <a:lnTo>
                      <a:pt x="169" y="713"/>
                    </a:lnTo>
                    <a:lnTo>
                      <a:pt x="169" y="711"/>
                    </a:lnTo>
                    <a:lnTo>
                      <a:pt x="167" y="711"/>
                    </a:lnTo>
                    <a:lnTo>
                      <a:pt x="165" y="711"/>
                    </a:lnTo>
                    <a:lnTo>
                      <a:pt x="161" y="711"/>
                    </a:lnTo>
                    <a:lnTo>
                      <a:pt x="163" y="705"/>
                    </a:lnTo>
                    <a:lnTo>
                      <a:pt x="159" y="703"/>
                    </a:lnTo>
                    <a:lnTo>
                      <a:pt x="157" y="703"/>
                    </a:lnTo>
                    <a:lnTo>
                      <a:pt x="157" y="701"/>
                    </a:lnTo>
                    <a:lnTo>
                      <a:pt x="157" y="695"/>
                    </a:lnTo>
                    <a:lnTo>
                      <a:pt x="161" y="697"/>
                    </a:lnTo>
                    <a:lnTo>
                      <a:pt x="163" y="697"/>
                    </a:lnTo>
                    <a:lnTo>
                      <a:pt x="167" y="697"/>
                    </a:lnTo>
                    <a:lnTo>
                      <a:pt x="169" y="697"/>
                    </a:lnTo>
                    <a:lnTo>
                      <a:pt x="173" y="697"/>
                    </a:lnTo>
                    <a:lnTo>
                      <a:pt x="175" y="695"/>
                    </a:lnTo>
                    <a:lnTo>
                      <a:pt x="173" y="694"/>
                    </a:lnTo>
                    <a:lnTo>
                      <a:pt x="173" y="692"/>
                    </a:lnTo>
                    <a:lnTo>
                      <a:pt x="175" y="690"/>
                    </a:lnTo>
                    <a:lnTo>
                      <a:pt x="173" y="688"/>
                    </a:lnTo>
                    <a:lnTo>
                      <a:pt x="171" y="686"/>
                    </a:lnTo>
                    <a:lnTo>
                      <a:pt x="169" y="684"/>
                    </a:lnTo>
                    <a:lnTo>
                      <a:pt x="169" y="682"/>
                    </a:lnTo>
                    <a:lnTo>
                      <a:pt x="169" y="678"/>
                    </a:lnTo>
                    <a:lnTo>
                      <a:pt x="169" y="676"/>
                    </a:lnTo>
                    <a:lnTo>
                      <a:pt x="173" y="674"/>
                    </a:lnTo>
                    <a:lnTo>
                      <a:pt x="175" y="672"/>
                    </a:lnTo>
                    <a:lnTo>
                      <a:pt x="175" y="671"/>
                    </a:lnTo>
                    <a:lnTo>
                      <a:pt x="175" y="669"/>
                    </a:lnTo>
                    <a:lnTo>
                      <a:pt x="175" y="665"/>
                    </a:lnTo>
                    <a:lnTo>
                      <a:pt x="175" y="663"/>
                    </a:lnTo>
                    <a:lnTo>
                      <a:pt x="175" y="661"/>
                    </a:lnTo>
                    <a:lnTo>
                      <a:pt x="175" y="659"/>
                    </a:lnTo>
                    <a:lnTo>
                      <a:pt x="173" y="659"/>
                    </a:lnTo>
                    <a:lnTo>
                      <a:pt x="173" y="657"/>
                    </a:lnTo>
                    <a:lnTo>
                      <a:pt x="173" y="655"/>
                    </a:lnTo>
                    <a:lnTo>
                      <a:pt x="171" y="655"/>
                    </a:lnTo>
                    <a:lnTo>
                      <a:pt x="169" y="657"/>
                    </a:lnTo>
                    <a:lnTo>
                      <a:pt x="169" y="653"/>
                    </a:lnTo>
                    <a:lnTo>
                      <a:pt x="169" y="647"/>
                    </a:lnTo>
                    <a:lnTo>
                      <a:pt x="163" y="647"/>
                    </a:lnTo>
                    <a:lnTo>
                      <a:pt x="163" y="646"/>
                    </a:lnTo>
                    <a:lnTo>
                      <a:pt x="163" y="644"/>
                    </a:lnTo>
                    <a:lnTo>
                      <a:pt x="161" y="642"/>
                    </a:lnTo>
                    <a:lnTo>
                      <a:pt x="159" y="642"/>
                    </a:lnTo>
                    <a:lnTo>
                      <a:pt x="159" y="640"/>
                    </a:lnTo>
                    <a:lnTo>
                      <a:pt x="159" y="638"/>
                    </a:lnTo>
                    <a:lnTo>
                      <a:pt x="157" y="636"/>
                    </a:lnTo>
                    <a:lnTo>
                      <a:pt x="156" y="636"/>
                    </a:lnTo>
                    <a:lnTo>
                      <a:pt x="154" y="636"/>
                    </a:lnTo>
                    <a:lnTo>
                      <a:pt x="152" y="636"/>
                    </a:lnTo>
                    <a:lnTo>
                      <a:pt x="154" y="632"/>
                    </a:lnTo>
                    <a:lnTo>
                      <a:pt x="154" y="630"/>
                    </a:lnTo>
                    <a:lnTo>
                      <a:pt x="154" y="626"/>
                    </a:lnTo>
                    <a:lnTo>
                      <a:pt x="154" y="624"/>
                    </a:lnTo>
                    <a:lnTo>
                      <a:pt x="156" y="624"/>
                    </a:lnTo>
                    <a:lnTo>
                      <a:pt x="152" y="624"/>
                    </a:lnTo>
                    <a:lnTo>
                      <a:pt x="150" y="623"/>
                    </a:lnTo>
                    <a:lnTo>
                      <a:pt x="148" y="623"/>
                    </a:lnTo>
                    <a:lnTo>
                      <a:pt x="146" y="623"/>
                    </a:lnTo>
                    <a:lnTo>
                      <a:pt x="146" y="621"/>
                    </a:lnTo>
                    <a:lnTo>
                      <a:pt x="144" y="621"/>
                    </a:lnTo>
                    <a:lnTo>
                      <a:pt x="142" y="621"/>
                    </a:lnTo>
                    <a:lnTo>
                      <a:pt x="140" y="624"/>
                    </a:lnTo>
                    <a:lnTo>
                      <a:pt x="140" y="626"/>
                    </a:lnTo>
                    <a:lnTo>
                      <a:pt x="138" y="628"/>
                    </a:lnTo>
                    <a:lnTo>
                      <a:pt x="138" y="626"/>
                    </a:lnTo>
                    <a:lnTo>
                      <a:pt x="136" y="626"/>
                    </a:lnTo>
                    <a:lnTo>
                      <a:pt x="134" y="626"/>
                    </a:lnTo>
                    <a:lnTo>
                      <a:pt x="133" y="626"/>
                    </a:lnTo>
                    <a:lnTo>
                      <a:pt x="131" y="626"/>
                    </a:lnTo>
                    <a:lnTo>
                      <a:pt x="129" y="626"/>
                    </a:lnTo>
                    <a:lnTo>
                      <a:pt x="129" y="628"/>
                    </a:lnTo>
                    <a:lnTo>
                      <a:pt x="129" y="626"/>
                    </a:lnTo>
                    <a:lnTo>
                      <a:pt x="127" y="626"/>
                    </a:lnTo>
                    <a:lnTo>
                      <a:pt x="125" y="626"/>
                    </a:lnTo>
                    <a:lnTo>
                      <a:pt x="119" y="626"/>
                    </a:lnTo>
                    <a:lnTo>
                      <a:pt x="117" y="626"/>
                    </a:lnTo>
                    <a:lnTo>
                      <a:pt x="115" y="626"/>
                    </a:lnTo>
                    <a:lnTo>
                      <a:pt x="113" y="626"/>
                    </a:lnTo>
                    <a:lnTo>
                      <a:pt x="111" y="624"/>
                    </a:lnTo>
                    <a:lnTo>
                      <a:pt x="108" y="624"/>
                    </a:lnTo>
                    <a:lnTo>
                      <a:pt x="108" y="626"/>
                    </a:lnTo>
                    <a:lnTo>
                      <a:pt x="106" y="626"/>
                    </a:lnTo>
                    <a:lnTo>
                      <a:pt x="104" y="626"/>
                    </a:lnTo>
                    <a:lnTo>
                      <a:pt x="102" y="626"/>
                    </a:lnTo>
                    <a:lnTo>
                      <a:pt x="102" y="624"/>
                    </a:lnTo>
                    <a:lnTo>
                      <a:pt x="104" y="624"/>
                    </a:lnTo>
                    <a:lnTo>
                      <a:pt x="102" y="624"/>
                    </a:lnTo>
                    <a:lnTo>
                      <a:pt x="100" y="623"/>
                    </a:lnTo>
                    <a:lnTo>
                      <a:pt x="98" y="623"/>
                    </a:lnTo>
                    <a:lnTo>
                      <a:pt x="96" y="623"/>
                    </a:lnTo>
                    <a:lnTo>
                      <a:pt x="94" y="623"/>
                    </a:lnTo>
                    <a:lnTo>
                      <a:pt x="92" y="623"/>
                    </a:lnTo>
                    <a:lnTo>
                      <a:pt x="92" y="621"/>
                    </a:lnTo>
                    <a:lnTo>
                      <a:pt x="92" y="619"/>
                    </a:lnTo>
                    <a:lnTo>
                      <a:pt x="88" y="619"/>
                    </a:lnTo>
                    <a:lnTo>
                      <a:pt x="88" y="621"/>
                    </a:lnTo>
                    <a:lnTo>
                      <a:pt x="88" y="623"/>
                    </a:lnTo>
                    <a:lnTo>
                      <a:pt x="86" y="624"/>
                    </a:lnTo>
                    <a:lnTo>
                      <a:pt x="86" y="626"/>
                    </a:lnTo>
                    <a:lnTo>
                      <a:pt x="86" y="628"/>
                    </a:lnTo>
                    <a:lnTo>
                      <a:pt x="84" y="630"/>
                    </a:lnTo>
                    <a:lnTo>
                      <a:pt x="77" y="628"/>
                    </a:lnTo>
                    <a:lnTo>
                      <a:pt x="75" y="628"/>
                    </a:lnTo>
                    <a:lnTo>
                      <a:pt x="75" y="626"/>
                    </a:lnTo>
                    <a:lnTo>
                      <a:pt x="73" y="626"/>
                    </a:lnTo>
                    <a:lnTo>
                      <a:pt x="75" y="624"/>
                    </a:lnTo>
                    <a:lnTo>
                      <a:pt x="79" y="624"/>
                    </a:lnTo>
                    <a:lnTo>
                      <a:pt x="77" y="624"/>
                    </a:lnTo>
                    <a:lnTo>
                      <a:pt x="77" y="623"/>
                    </a:lnTo>
                    <a:lnTo>
                      <a:pt x="79" y="623"/>
                    </a:lnTo>
                    <a:lnTo>
                      <a:pt x="79" y="621"/>
                    </a:lnTo>
                    <a:lnTo>
                      <a:pt x="81" y="621"/>
                    </a:lnTo>
                    <a:lnTo>
                      <a:pt x="81" y="619"/>
                    </a:lnTo>
                    <a:lnTo>
                      <a:pt x="83" y="619"/>
                    </a:lnTo>
                    <a:lnTo>
                      <a:pt x="88" y="617"/>
                    </a:lnTo>
                    <a:lnTo>
                      <a:pt x="86" y="615"/>
                    </a:lnTo>
                    <a:lnTo>
                      <a:pt x="84" y="615"/>
                    </a:lnTo>
                    <a:lnTo>
                      <a:pt x="83" y="617"/>
                    </a:lnTo>
                    <a:lnTo>
                      <a:pt x="81" y="617"/>
                    </a:lnTo>
                    <a:lnTo>
                      <a:pt x="79" y="617"/>
                    </a:lnTo>
                    <a:lnTo>
                      <a:pt x="79" y="619"/>
                    </a:lnTo>
                    <a:lnTo>
                      <a:pt x="79" y="621"/>
                    </a:lnTo>
                    <a:lnTo>
                      <a:pt x="79" y="619"/>
                    </a:lnTo>
                    <a:lnTo>
                      <a:pt x="77" y="619"/>
                    </a:lnTo>
                    <a:lnTo>
                      <a:pt x="77" y="621"/>
                    </a:lnTo>
                    <a:lnTo>
                      <a:pt x="77" y="623"/>
                    </a:lnTo>
                    <a:lnTo>
                      <a:pt x="77" y="621"/>
                    </a:lnTo>
                    <a:lnTo>
                      <a:pt x="75" y="621"/>
                    </a:lnTo>
                    <a:lnTo>
                      <a:pt x="73" y="621"/>
                    </a:lnTo>
                    <a:lnTo>
                      <a:pt x="73" y="619"/>
                    </a:lnTo>
                    <a:lnTo>
                      <a:pt x="71" y="619"/>
                    </a:lnTo>
                    <a:lnTo>
                      <a:pt x="69" y="617"/>
                    </a:lnTo>
                    <a:lnTo>
                      <a:pt x="69" y="619"/>
                    </a:lnTo>
                    <a:lnTo>
                      <a:pt x="67" y="617"/>
                    </a:lnTo>
                    <a:lnTo>
                      <a:pt x="65" y="617"/>
                    </a:lnTo>
                    <a:lnTo>
                      <a:pt x="65" y="615"/>
                    </a:lnTo>
                    <a:lnTo>
                      <a:pt x="63" y="615"/>
                    </a:lnTo>
                    <a:lnTo>
                      <a:pt x="61" y="615"/>
                    </a:lnTo>
                    <a:lnTo>
                      <a:pt x="61" y="613"/>
                    </a:lnTo>
                    <a:lnTo>
                      <a:pt x="60" y="613"/>
                    </a:lnTo>
                    <a:lnTo>
                      <a:pt x="60" y="615"/>
                    </a:lnTo>
                    <a:lnTo>
                      <a:pt x="60" y="617"/>
                    </a:lnTo>
                    <a:lnTo>
                      <a:pt x="58" y="615"/>
                    </a:lnTo>
                    <a:lnTo>
                      <a:pt x="56" y="615"/>
                    </a:lnTo>
                    <a:lnTo>
                      <a:pt x="56" y="613"/>
                    </a:lnTo>
                    <a:lnTo>
                      <a:pt x="54" y="615"/>
                    </a:lnTo>
                    <a:lnTo>
                      <a:pt x="52" y="615"/>
                    </a:lnTo>
                    <a:lnTo>
                      <a:pt x="52" y="613"/>
                    </a:lnTo>
                    <a:lnTo>
                      <a:pt x="52" y="611"/>
                    </a:lnTo>
                    <a:lnTo>
                      <a:pt x="52" y="609"/>
                    </a:lnTo>
                    <a:lnTo>
                      <a:pt x="52" y="611"/>
                    </a:lnTo>
                    <a:lnTo>
                      <a:pt x="52" y="609"/>
                    </a:lnTo>
                    <a:lnTo>
                      <a:pt x="54" y="609"/>
                    </a:lnTo>
                    <a:lnTo>
                      <a:pt x="54" y="607"/>
                    </a:lnTo>
                    <a:lnTo>
                      <a:pt x="56" y="607"/>
                    </a:lnTo>
                    <a:lnTo>
                      <a:pt x="54" y="607"/>
                    </a:lnTo>
                    <a:lnTo>
                      <a:pt x="54" y="605"/>
                    </a:lnTo>
                    <a:lnTo>
                      <a:pt x="54" y="603"/>
                    </a:lnTo>
                    <a:lnTo>
                      <a:pt x="54" y="601"/>
                    </a:lnTo>
                    <a:lnTo>
                      <a:pt x="54" y="599"/>
                    </a:lnTo>
                    <a:lnTo>
                      <a:pt x="52" y="599"/>
                    </a:lnTo>
                    <a:lnTo>
                      <a:pt x="52" y="598"/>
                    </a:lnTo>
                    <a:lnTo>
                      <a:pt x="52" y="596"/>
                    </a:lnTo>
                    <a:lnTo>
                      <a:pt x="54" y="596"/>
                    </a:lnTo>
                    <a:lnTo>
                      <a:pt x="56" y="596"/>
                    </a:lnTo>
                    <a:lnTo>
                      <a:pt x="56" y="598"/>
                    </a:lnTo>
                    <a:lnTo>
                      <a:pt x="58" y="598"/>
                    </a:lnTo>
                    <a:lnTo>
                      <a:pt x="58" y="599"/>
                    </a:lnTo>
                    <a:lnTo>
                      <a:pt x="60" y="599"/>
                    </a:lnTo>
                    <a:lnTo>
                      <a:pt x="61" y="598"/>
                    </a:lnTo>
                    <a:lnTo>
                      <a:pt x="61" y="596"/>
                    </a:lnTo>
                    <a:lnTo>
                      <a:pt x="61" y="594"/>
                    </a:lnTo>
                    <a:lnTo>
                      <a:pt x="61" y="592"/>
                    </a:lnTo>
                    <a:lnTo>
                      <a:pt x="63" y="592"/>
                    </a:lnTo>
                    <a:lnTo>
                      <a:pt x="65" y="592"/>
                    </a:lnTo>
                    <a:lnTo>
                      <a:pt x="65" y="590"/>
                    </a:lnTo>
                    <a:lnTo>
                      <a:pt x="63" y="590"/>
                    </a:lnTo>
                    <a:lnTo>
                      <a:pt x="63" y="588"/>
                    </a:lnTo>
                    <a:lnTo>
                      <a:pt x="63" y="586"/>
                    </a:lnTo>
                    <a:lnTo>
                      <a:pt x="63" y="584"/>
                    </a:lnTo>
                    <a:lnTo>
                      <a:pt x="63" y="582"/>
                    </a:lnTo>
                    <a:lnTo>
                      <a:pt x="65" y="582"/>
                    </a:lnTo>
                    <a:lnTo>
                      <a:pt x="65" y="580"/>
                    </a:lnTo>
                    <a:lnTo>
                      <a:pt x="65" y="576"/>
                    </a:lnTo>
                    <a:lnTo>
                      <a:pt x="65" y="575"/>
                    </a:lnTo>
                    <a:lnTo>
                      <a:pt x="63" y="575"/>
                    </a:lnTo>
                    <a:lnTo>
                      <a:pt x="65" y="573"/>
                    </a:lnTo>
                    <a:lnTo>
                      <a:pt x="63" y="573"/>
                    </a:lnTo>
                    <a:lnTo>
                      <a:pt x="63" y="571"/>
                    </a:lnTo>
                    <a:lnTo>
                      <a:pt x="61" y="571"/>
                    </a:lnTo>
                    <a:lnTo>
                      <a:pt x="61" y="569"/>
                    </a:lnTo>
                    <a:lnTo>
                      <a:pt x="60" y="569"/>
                    </a:lnTo>
                    <a:lnTo>
                      <a:pt x="58" y="567"/>
                    </a:lnTo>
                    <a:lnTo>
                      <a:pt x="56" y="567"/>
                    </a:lnTo>
                    <a:lnTo>
                      <a:pt x="56" y="565"/>
                    </a:lnTo>
                    <a:lnTo>
                      <a:pt x="56" y="563"/>
                    </a:lnTo>
                    <a:lnTo>
                      <a:pt x="54" y="563"/>
                    </a:lnTo>
                    <a:lnTo>
                      <a:pt x="52" y="563"/>
                    </a:lnTo>
                    <a:lnTo>
                      <a:pt x="52" y="561"/>
                    </a:lnTo>
                    <a:lnTo>
                      <a:pt x="50" y="561"/>
                    </a:lnTo>
                    <a:lnTo>
                      <a:pt x="46" y="559"/>
                    </a:lnTo>
                    <a:lnTo>
                      <a:pt x="46" y="557"/>
                    </a:lnTo>
                    <a:lnTo>
                      <a:pt x="42" y="557"/>
                    </a:lnTo>
                    <a:lnTo>
                      <a:pt x="42" y="555"/>
                    </a:lnTo>
                    <a:lnTo>
                      <a:pt x="42" y="553"/>
                    </a:lnTo>
                    <a:lnTo>
                      <a:pt x="42" y="551"/>
                    </a:lnTo>
                    <a:lnTo>
                      <a:pt x="40" y="551"/>
                    </a:lnTo>
                    <a:lnTo>
                      <a:pt x="40" y="550"/>
                    </a:lnTo>
                    <a:lnTo>
                      <a:pt x="40" y="548"/>
                    </a:lnTo>
                    <a:lnTo>
                      <a:pt x="40" y="546"/>
                    </a:lnTo>
                    <a:lnTo>
                      <a:pt x="40" y="544"/>
                    </a:lnTo>
                    <a:lnTo>
                      <a:pt x="40" y="542"/>
                    </a:lnTo>
                    <a:lnTo>
                      <a:pt x="38" y="540"/>
                    </a:lnTo>
                    <a:lnTo>
                      <a:pt x="38" y="536"/>
                    </a:lnTo>
                    <a:lnTo>
                      <a:pt x="35" y="532"/>
                    </a:lnTo>
                    <a:lnTo>
                      <a:pt x="36" y="528"/>
                    </a:lnTo>
                    <a:lnTo>
                      <a:pt x="36" y="527"/>
                    </a:lnTo>
                    <a:lnTo>
                      <a:pt x="36" y="525"/>
                    </a:lnTo>
                    <a:lnTo>
                      <a:pt x="38" y="525"/>
                    </a:lnTo>
                    <a:lnTo>
                      <a:pt x="38" y="523"/>
                    </a:lnTo>
                    <a:lnTo>
                      <a:pt x="38" y="521"/>
                    </a:lnTo>
                    <a:lnTo>
                      <a:pt x="36" y="519"/>
                    </a:lnTo>
                    <a:lnTo>
                      <a:pt x="36" y="517"/>
                    </a:lnTo>
                    <a:lnTo>
                      <a:pt x="36" y="515"/>
                    </a:lnTo>
                    <a:lnTo>
                      <a:pt x="33" y="511"/>
                    </a:lnTo>
                    <a:lnTo>
                      <a:pt x="31" y="511"/>
                    </a:lnTo>
                    <a:lnTo>
                      <a:pt x="29" y="511"/>
                    </a:lnTo>
                    <a:lnTo>
                      <a:pt x="27" y="511"/>
                    </a:lnTo>
                    <a:lnTo>
                      <a:pt x="27" y="509"/>
                    </a:lnTo>
                    <a:lnTo>
                      <a:pt x="27" y="507"/>
                    </a:lnTo>
                    <a:lnTo>
                      <a:pt x="27" y="503"/>
                    </a:lnTo>
                    <a:lnTo>
                      <a:pt x="17" y="503"/>
                    </a:lnTo>
                    <a:lnTo>
                      <a:pt x="0" y="502"/>
                    </a:lnTo>
                    <a:lnTo>
                      <a:pt x="0" y="500"/>
                    </a:lnTo>
                    <a:lnTo>
                      <a:pt x="0" y="498"/>
                    </a:lnTo>
                    <a:lnTo>
                      <a:pt x="0" y="496"/>
                    </a:lnTo>
                    <a:lnTo>
                      <a:pt x="0" y="494"/>
                    </a:lnTo>
                    <a:lnTo>
                      <a:pt x="0" y="492"/>
                    </a:lnTo>
                    <a:lnTo>
                      <a:pt x="0" y="490"/>
                    </a:lnTo>
                    <a:lnTo>
                      <a:pt x="2" y="488"/>
                    </a:lnTo>
                    <a:lnTo>
                      <a:pt x="4" y="486"/>
                    </a:lnTo>
                    <a:lnTo>
                      <a:pt x="4" y="484"/>
                    </a:lnTo>
                    <a:lnTo>
                      <a:pt x="6" y="482"/>
                    </a:lnTo>
                    <a:lnTo>
                      <a:pt x="6" y="480"/>
                    </a:lnTo>
                    <a:lnTo>
                      <a:pt x="4" y="480"/>
                    </a:lnTo>
                    <a:lnTo>
                      <a:pt x="2" y="479"/>
                    </a:lnTo>
                    <a:lnTo>
                      <a:pt x="2" y="477"/>
                    </a:lnTo>
                    <a:lnTo>
                      <a:pt x="0" y="475"/>
                    </a:lnTo>
                    <a:lnTo>
                      <a:pt x="0" y="473"/>
                    </a:lnTo>
                    <a:lnTo>
                      <a:pt x="2" y="471"/>
                    </a:lnTo>
                    <a:lnTo>
                      <a:pt x="4" y="469"/>
                    </a:lnTo>
                    <a:lnTo>
                      <a:pt x="6" y="469"/>
                    </a:lnTo>
                    <a:lnTo>
                      <a:pt x="8" y="469"/>
                    </a:lnTo>
                    <a:lnTo>
                      <a:pt x="8" y="467"/>
                    </a:lnTo>
                    <a:lnTo>
                      <a:pt x="10" y="465"/>
                    </a:lnTo>
                    <a:lnTo>
                      <a:pt x="8" y="463"/>
                    </a:lnTo>
                    <a:lnTo>
                      <a:pt x="8" y="461"/>
                    </a:lnTo>
                    <a:lnTo>
                      <a:pt x="6" y="459"/>
                    </a:lnTo>
                    <a:lnTo>
                      <a:pt x="6" y="457"/>
                    </a:lnTo>
                    <a:lnTo>
                      <a:pt x="4" y="455"/>
                    </a:lnTo>
                    <a:lnTo>
                      <a:pt x="4" y="454"/>
                    </a:lnTo>
                    <a:lnTo>
                      <a:pt x="4" y="452"/>
                    </a:lnTo>
                    <a:lnTo>
                      <a:pt x="4" y="450"/>
                    </a:lnTo>
                    <a:lnTo>
                      <a:pt x="4" y="448"/>
                    </a:lnTo>
                    <a:lnTo>
                      <a:pt x="4" y="442"/>
                    </a:lnTo>
                    <a:lnTo>
                      <a:pt x="6" y="440"/>
                    </a:lnTo>
                    <a:lnTo>
                      <a:pt x="8" y="438"/>
                    </a:lnTo>
                    <a:lnTo>
                      <a:pt x="10" y="438"/>
                    </a:lnTo>
                    <a:lnTo>
                      <a:pt x="12" y="438"/>
                    </a:lnTo>
                    <a:lnTo>
                      <a:pt x="12" y="440"/>
                    </a:lnTo>
                    <a:lnTo>
                      <a:pt x="13" y="440"/>
                    </a:lnTo>
                    <a:lnTo>
                      <a:pt x="15" y="440"/>
                    </a:lnTo>
                    <a:lnTo>
                      <a:pt x="17" y="440"/>
                    </a:lnTo>
                    <a:lnTo>
                      <a:pt x="17" y="438"/>
                    </a:lnTo>
                    <a:lnTo>
                      <a:pt x="17" y="436"/>
                    </a:lnTo>
                    <a:lnTo>
                      <a:pt x="15" y="436"/>
                    </a:lnTo>
                    <a:lnTo>
                      <a:pt x="13" y="436"/>
                    </a:lnTo>
                    <a:lnTo>
                      <a:pt x="13" y="434"/>
                    </a:lnTo>
                    <a:lnTo>
                      <a:pt x="12" y="434"/>
                    </a:lnTo>
                    <a:lnTo>
                      <a:pt x="12" y="432"/>
                    </a:lnTo>
                    <a:lnTo>
                      <a:pt x="13" y="432"/>
                    </a:lnTo>
                    <a:lnTo>
                      <a:pt x="13" y="431"/>
                    </a:lnTo>
                    <a:lnTo>
                      <a:pt x="15" y="431"/>
                    </a:lnTo>
                    <a:lnTo>
                      <a:pt x="17" y="429"/>
                    </a:lnTo>
                    <a:lnTo>
                      <a:pt x="17" y="427"/>
                    </a:lnTo>
                    <a:lnTo>
                      <a:pt x="15" y="427"/>
                    </a:lnTo>
                    <a:lnTo>
                      <a:pt x="15" y="425"/>
                    </a:lnTo>
                    <a:lnTo>
                      <a:pt x="15" y="423"/>
                    </a:lnTo>
                    <a:lnTo>
                      <a:pt x="13" y="423"/>
                    </a:lnTo>
                    <a:lnTo>
                      <a:pt x="13" y="421"/>
                    </a:lnTo>
                    <a:lnTo>
                      <a:pt x="12" y="421"/>
                    </a:lnTo>
                    <a:lnTo>
                      <a:pt x="12" y="419"/>
                    </a:lnTo>
                    <a:lnTo>
                      <a:pt x="12" y="417"/>
                    </a:lnTo>
                    <a:lnTo>
                      <a:pt x="12" y="415"/>
                    </a:lnTo>
                    <a:lnTo>
                      <a:pt x="13" y="415"/>
                    </a:lnTo>
                    <a:lnTo>
                      <a:pt x="13" y="413"/>
                    </a:lnTo>
                    <a:lnTo>
                      <a:pt x="15" y="413"/>
                    </a:lnTo>
                    <a:lnTo>
                      <a:pt x="17" y="413"/>
                    </a:lnTo>
                    <a:lnTo>
                      <a:pt x="19" y="413"/>
                    </a:lnTo>
                    <a:lnTo>
                      <a:pt x="19" y="415"/>
                    </a:lnTo>
                    <a:lnTo>
                      <a:pt x="21" y="415"/>
                    </a:lnTo>
                    <a:lnTo>
                      <a:pt x="21" y="417"/>
                    </a:lnTo>
                    <a:lnTo>
                      <a:pt x="23" y="417"/>
                    </a:lnTo>
                    <a:lnTo>
                      <a:pt x="25" y="417"/>
                    </a:lnTo>
                    <a:lnTo>
                      <a:pt x="25" y="415"/>
                    </a:lnTo>
                    <a:lnTo>
                      <a:pt x="27" y="415"/>
                    </a:lnTo>
                    <a:lnTo>
                      <a:pt x="27" y="413"/>
                    </a:lnTo>
                    <a:lnTo>
                      <a:pt x="25" y="413"/>
                    </a:lnTo>
                    <a:lnTo>
                      <a:pt x="25" y="411"/>
                    </a:lnTo>
                    <a:lnTo>
                      <a:pt x="25" y="409"/>
                    </a:lnTo>
                    <a:lnTo>
                      <a:pt x="25" y="407"/>
                    </a:lnTo>
                    <a:lnTo>
                      <a:pt x="23" y="406"/>
                    </a:lnTo>
                    <a:lnTo>
                      <a:pt x="21" y="406"/>
                    </a:lnTo>
                    <a:lnTo>
                      <a:pt x="21" y="404"/>
                    </a:lnTo>
                    <a:lnTo>
                      <a:pt x="23" y="404"/>
                    </a:lnTo>
                    <a:lnTo>
                      <a:pt x="23" y="402"/>
                    </a:lnTo>
                    <a:lnTo>
                      <a:pt x="25" y="402"/>
                    </a:lnTo>
                    <a:lnTo>
                      <a:pt x="27" y="402"/>
                    </a:lnTo>
                    <a:lnTo>
                      <a:pt x="29" y="402"/>
                    </a:lnTo>
                    <a:lnTo>
                      <a:pt x="29" y="400"/>
                    </a:lnTo>
                    <a:lnTo>
                      <a:pt x="31" y="400"/>
                    </a:lnTo>
                    <a:lnTo>
                      <a:pt x="31" y="398"/>
                    </a:lnTo>
                    <a:lnTo>
                      <a:pt x="33" y="396"/>
                    </a:lnTo>
                    <a:lnTo>
                      <a:pt x="33" y="394"/>
                    </a:lnTo>
                    <a:lnTo>
                      <a:pt x="33" y="392"/>
                    </a:lnTo>
                    <a:lnTo>
                      <a:pt x="35" y="392"/>
                    </a:lnTo>
                    <a:lnTo>
                      <a:pt x="33" y="390"/>
                    </a:lnTo>
                    <a:lnTo>
                      <a:pt x="33" y="388"/>
                    </a:lnTo>
                    <a:lnTo>
                      <a:pt x="33" y="386"/>
                    </a:lnTo>
                    <a:lnTo>
                      <a:pt x="35" y="384"/>
                    </a:lnTo>
                    <a:lnTo>
                      <a:pt x="36" y="384"/>
                    </a:lnTo>
                    <a:lnTo>
                      <a:pt x="38" y="384"/>
                    </a:lnTo>
                    <a:lnTo>
                      <a:pt x="38" y="383"/>
                    </a:lnTo>
                    <a:lnTo>
                      <a:pt x="40" y="383"/>
                    </a:lnTo>
                    <a:lnTo>
                      <a:pt x="40" y="381"/>
                    </a:lnTo>
                    <a:lnTo>
                      <a:pt x="42" y="381"/>
                    </a:lnTo>
                    <a:lnTo>
                      <a:pt x="42" y="379"/>
                    </a:lnTo>
                    <a:lnTo>
                      <a:pt x="44" y="379"/>
                    </a:lnTo>
                    <a:lnTo>
                      <a:pt x="44" y="377"/>
                    </a:lnTo>
                    <a:lnTo>
                      <a:pt x="46" y="377"/>
                    </a:lnTo>
                    <a:lnTo>
                      <a:pt x="48" y="377"/>
                    </a:lnTo>
                    <a:lnTo>
                      <a:pt x="48" y="375"/>
                    </a:lnTo>
                    <a:lnTo>
                      <a:pt x="50" y="375"/>
                    </a:lnTo>
                    <a:lnTo>
                      <a:pt x="52" y="375"/>
                    </a:lnTo>
                    <a:lnTo>
                      <a:pt x="54" y="375"/>
                    </a:lnTo>
                    <a:lnTo>
                      <a:pt x="56" y="375"/>
                    </a:lnTo>
                    <a:lnTo>
                      <a:pt x="56" y="373"/>
                    </a:lnTo>
                    <a:lnTo>
                      <a:pt x="56" y="371"/>
                    </a:lnTo>
                    <a:lnTo>
                      <a:pt x="56" y="369"/>
                    </a:lnTo>
                    <a:lnTo>
                      <a:pt x="54" y="369"/>
                    </a:lnTo>
                    <a:lnTo>
                      <a:pt x="54" y="367"/>
                    </a:lnTo>
                    <a:lnTo>
                      <a:pt x="52" y="367"/>
                    </a:lnTo>
                    <a:lnTo>
                      <a:pt x="52" y="365"/>
                    </a:lnTo>
                    <a:lnTo>
                      <a:pt x="52" y="363"/>
                    </a:lnTo>
                    <a:lnTo>
                      <a:pt x="52" y="361"/>
                    </a:lnTo>
                    <a:lnTo>
                      <a:pt x="54" y="361"/>
                    </a:lnTo>
                    <a:lnTo>
                      <a:pt x="56" y="361"/>
                    </a:lnTo>
                    <a:lnTo>
                      <a:pt x="56" y="360"/>
                    </a:lnTo>
                    <a:lnTo>
                      <a:pt x="58" y="360"/>
                    </a:lnTo>
                    <a:lnTo>
                      <a:pt x="58" y="358"/>
                    </a:lnTo>
                    <a:lnTo>
                      <a:pt x="58" y="356"/>
                    </a:lnTo>
                    <a:lnTo>
                      <a:pt x="56" y="354"/>
                    </a:lnTo>
                    <a:lnTo>
                      <a:pt x="56" y="352"/>
                    </a:lnTo>
                    <a:lnTo>
                      <a:pt x="56" y="350"/>
                    </a:lnTo>
                    <a:lnTo>
                      <a:pt x="54" y="350"/>
                    </a:lnTo>
                    <a:lnTo>
                      <a:pt x="54" y="348"/>
                    </a:lnTo>
                    <a:lnTo>
                      <a:pt x="54" y="346"/>
                    </a:lnTo>
                    <a:lnTo>
                      <a:pt x="54" y="344"/>
                    </a:lnTo>
                    <a:lnTo>
                      <a:pt x="52" y="344"/>
                    </a:lnTo>
                    <a:lnTo>
                      <a:pt x="52" y="342"/>
                    </a:lnTo>
                    <a:lnTo>
                      <a:pt x="52" y="340"/>
                    </a:lnTo>
                    <a:lnTo>
                      <a:pt x="52" y="338"/>
                    </a:lnTo>
                    <a:lnTo>
                      <a:pt x="52" y="336"/>
                    </a:lnTo>
                    <a:lnTo>
                      <a:pt x="52" y="335"/>
                    </a:lnTo>
                    <a:lnTo>
                      <a:pt x="50" y="335"/>
                    </a:lnTo>
                    <a:lnTo>
                      <a:pt x="48" y="335"/>
                    </a:lnTo>
                    <a:lnTo>
                      <a:pt x="48" y="336"/>
                    </a:lnTo>
                    <a:lnTo>
                      <a:pt x="46" y="336"/>
                    </a:lnTo>
                    <a:lnTo>
                      <a:pt x="44" y="336"/>
                    </a:lnTo>
                    <a:lnTo>
                      <a:pt x="42" y="336"/>
                    </a:lnTo>
                    <a:lnTo>
                      <a:pt x="42" y="335"/>
                    </a:lnTo>
                    <a:lnTo>
                      <a:pt x="42" y="333"/>
                    </a:lnTo>
                    <a:lnTo>
                      <a:pt x="42" y="331"/>
                    </a:lnTo>
                    <a:lnTo>
                      <a:pt x="42" y="329"/>
                    </a:lnTo>
                    <a:lnTo>
                      <a:pt x="42" y="327"/>
                    </a:lnTo>
                    <a:lnTo>
                      <a:pt x="40" y="327"/>
                    </a:lnTo>
                    <a:lnTo>
                      <a:pt x="42" y="325"/>
                    </a:lnTo>
                    <a:lnTo>
                      <a:pt x="42" y="323"/>
                    </a:lnTo>
                    <a:lnTo>
                      <a:pt x="44" y="323"/>
                    </a:lnTo>
                    <a:lnTo>
                      <a:pt x="46" y="323"/>
                    </a:lnTo>
                    <a:lnTo>
                      <a:pt x="48" y="323"/>
                    </a:lnTo>
                    <a:lnTo>
                      <a:pt x="48" y="321"/>
                    </a:lnTo>
                    <a:lnTo>
                      <a:pt x="50" y="321"/>
                    </a:lnTo>
                    <a:lnTo>
                      <a:pt x="50" y="319"/>
                    </a:lnTo>
                    <a:lnTo>
                      <a:pt x="50" y="317"/>
                    </a:lnTo>
                    <a:lnTo>
                      <a:pt x="48" y="317"/>
                    </a:lnTo>
                    <a:lnTo>
                      <a:pt x="48" y="315"/>
                    </a:lnTo>
                    <a:lnTo>
                      <a:pt x="46" y="315"/>
                    </a:lnTo>
                    <a:lnTo>
                      <a:pt x="46" y="313"/>
                    </a:lnTo>
                    <a:lnTo>
                      <a:pt x="46" y="312"/>
                    </a:lnTo>
                    <a:lnTo>
                      <a:pt x="46" y="310"/>
                    </a:lnTo>
                    <a:lnTo>
                      <a:pt x="46" y="308"/>
                    </a:lnTo>
                    <a:lnTo>
                      <a:pt x="46" y="306"/>
                    </a:lnTo>
                    <a:lnTo>
                      <a:pt x="46" y="304"/>
                    </a:lnTo>
                    <a:lnTo>
                      <a:pt x="44" y="304"/>
                    </a:lnTo>
                    <a:lnTo>
                      <a:pt x="44" y="302"/>
                    </a:lnTo>
                    <a:lnTo>
                      <a:pt x="42" y="302"/>
                    </a:lnTo>
                    <a:lnTo>
                      <a:pt x="42" y="300"/>
                    </a:lnTo>
                    <a:lnTo>
                      <a:pt x="42" y="298"/>
                    </a:lnTo>
                    <a:lnTo>
                      <a:pt x="42" y="296"/>
                    </a:lnTo>
                    <a:lnTo>
                      <a:pt x="42" y="294"/>
                    </a:lnTo>
                    <a:lnTo>
                      <a:pt x="44" y="294"/>
                    </a:lnTo>
                    <a:lnTo>
                      <a:pt x="44" y="292"/>
                    </a:lnTo>
                    <a:lnTo>
                      <a:pt x="46" y="290"/>
                    </a:lnTo>
                    <a:lnTo>
                      <a:pt x="46" y="288"/>
                    </a:lnTo>
                    <a:lnTo>
                      <a:pt x="48" y="288"/>
                    </a:lnTo>
                    <a:lnTo>
                      <a:pt x="48" y="287"/>
                    </a:lnTo>
                    <a:lnTo>
                      <a:pt x="48" y="285"/>
                    </a:lnTo>
                    <a:lnTo>
                      <a:pt x="46" y="283"/>
                    </a:lnTo>
                    <a:lnTo>
                      <a:pt x="44" y="283"/>
                    </a:lnTo>
                    <a:lnTo>
                      <a:pt x="42" y="283"/>
                    </a:lnTo>
                    <a:lnTo>
                      <a:pt x="42" y="285"/>
                    </a:lnTo>
                    <a:lnTo>
                      <a:pt x="40" y="285"/>
                    </a:lnTo>
                    <a:lnTo>
                      <a:pt x="40" y="287"/>
                    </a:lnTo>
                    <a:lnTo>
                      <a:pt x="38" y="287"/>
                    </a:lnTo>
                    <a:lnTo>
                      <a:pt x="36" y="285"/>
                    </a:lnTo>
                    <a:lnTo>
                      <a:pt x="36" y="283"/>
                    </a:lnTo>
                    <a:lnTo>
                      <a:pt x="36" y="281"/>
                    </a:lnTo>
                    <a:lnTo>
                      <a:pt x="36" y="279"/>
                    </a:lnTo>
                    <a:lnTo>
                      <a:pt x="35" y="279"/>
                    </a:lnTo>
                    <a:lnTo>
                      <a:pt x="35" y="277"/>
                    </a:lnTo>
                    <a:lnTo>
                      <a:pt x="35" y="275"/>
                    </a:lnTo>
                    <a:lnTo>
                      <a:pt x="35" y="273"/>
                    </a:lnTo>
                    <a:lnTo>
                      <a:pt x="35" y="271"/>
                    </a:lnTo>
                    <a:lnTo>
                      <a:pt x="36" y="271"/>
                    </a:lnTo>
                    <a:lnTo>
                      <a:pt x="38" y="273"/>
                    </a:lnTo>
                    <a:lnTo>
                      <a:pt x="40" y="273"/>
                    </a:lnTo>
                    <a:lnTo>
                      <a:pt x="40" y="271"/>
                    </a:lnTo>
                    <a:lnTo>
                      <a:pt x="42" y="271"/>
                    </a:lnTo>
                    <a:lnTo>
                      <a:pt x="40" y="271"/>
                    </a:lnTo>
                    <a:lnTo>
                      <a:pt x="40" y="269"/>
                    </a:lnTo>
                    <a:lnTo>
                      <a:pt x="38" y="269"/>
                    </a:lnTo>
                    <a:lnTo>
                      <a:pt x="38" y="267"/>
                    </a:lnTo>
                    <a:lnTo>
                      <a:pt x="36" y="267"/>
                    </a:lnTo>
                    <a:lnTo>
                      <a:pt x="36" y="269"/>
                    </a:lnTo>
                    <a:lnTo>
                      <a:pt x="35" y="269"/>
                    </a:lnTo>
                    <a:lnTo>
                      <a:pt x="35" y="267"/>
                    </a:lnTo>
                    <a:lnTo>
                      <a:pt x="35" y="265"/>
                    </a:lnTo>
                    <a:lnTo>
                      <a:pt x="33" y="265"/>
                    </a:lnTo>
                    <a:lnTo>
                      <a:pt x="33" y="264"/>
                    </a:lnTo>
                    <a:lnTo>
                      <a:pt x="31" y="264"/>
                    </a:lnTo>
                    <a:lnTo>
                      <a:pt x="31" y="262"/>
                    </a:lnTo>
                    <a:lnTo>
                      <a:pt x="29" y="262"/>
                    </a:lnTo>
                    <a:lnTo>
                      <a:pt x="31" y="260"/>
                    </a:lnTo>
                    <a:lnTo>
                      <a:pt x="31" y="258"/>
                    </a:lnTo>
                    <a:lnTo>
                      <a:pt x="33" y="258"/>
                    </a:lnTo>
                    <a:lnTo>
                      <a:pt x="33" y="260"/>
                    </a:lnTo>
                    <a:lnTo>
                      <a:pt x="35" y="260"/>
                    </a:lnTo>
                    <a:lnTo>
                      <a:pt x="36" y="260"/>
                    </a:lnTo>
                    <a:lnTo>
                      <a:pt x="38" y="260"/>
                    </a:lnTo>
                    <a:lnTo>
                      <a:pt x="38" y="258"/>
                    </a:lnTo>
                    <a:lnTo>
                      <a:pt x="38" y="256"/>
                    </a:lnTo>
                    <a:lnTo>
                      <a:pt x="36" y="256"/>
                    </a:lnTo>
                    <a:lnTo>
                      <a:pt x="36" y="254"/>
                    </a:lnTo>
                    <a:lnTo>
                      <a:pt x="36" y="252"/>
                    </a:lnTo>
                    <a:lnTo>
                      <a:pt x="38" y="252"/>
                    </a:lnTo>
                    <a:lnTo>
                      <a:pt x="40" y="252"/>
                    </a:lnTo>
                    <a:lnTo>
                      <a:pt x="42" y="252"/>
                    </a:lnTo>
                    <a:lnTo>
                      <a:pt x="44" y="252"/>
                    </a:lnTo>
                    <a:lnTo>
                      <a:pt x="44" y="250"/>
                    </a:lnTo>
                    <a:lnTo>
                      <a:pt x="44" y="248"/>
                    </a:lnTo>
                    <a:lnTo>
                      <a:pt x="42" y="248"/>
                    </a:lnTo>
                    <a:lnTo>
                      <a:pt x="42" y="246"/>
                    </a:lnTo>
                    <a:lnTo>
                      <a:pt x="42" y="244"/>
                    </a:lnTo>
                    <a:lnTo>
                      <a:pt x="44" y="244"/>
                    </a:lnTo>
                    <a:lnTo>
                      <a:pt x="44" y="242"/>
                    </a:lnTo>
                    <a:lnTo>
                      <a:pt x="46" y="244"/>
                    </a:lnTo>
                    <a:lnTo>
                      <a:pt x="48" y="244"/>
                    </a:lnTo>
                    <a:lnTo>
                      <a:pt x="50" y="244"/>
                    </a:lnTo>
                    <a:lnTo>
                      <a:pt x="52" y="244"/>
                    </a:lnTo>
                    <a:lnTo>
                      <a:pt x="52" y="242"/>
                    </a:lnTo>
                    <a:lnTo>
                      <a:pt x="52" y="240"/>
                    </a:lnTo>
                    <a:lnTo>
                      <a:pt x="52" y="239"/>
                    </a:lnTo>
                    <a:lnTo>
                      <a:pt x="50" y="239"/>
                    </a:lnTo>
                    <a:lnTo>
                      <a:pt x="50" y="237"/>
                    </a:lnTo>
                    <a:lnTo>
                      <a:pt x="50" y="235"/>
                    </a:lnTo>
                    <a:lnTo>
                      <a:pt x="52" y="235"/>
                    </a:lnTo>
                    <a:lnTo>
                      <a:pt x="52" y="233"/>
                    </a:lnTo>
                    <a:lnTo>
                      <a:pt x="52" y="231"/>
                    </a:lnTo>
                    <a:lnTo>
                      <a:pt x="52" y="229"/>
                    </a:lnTo>
                    <a:lnTo>
                      <a:pt x="52" y="227"/>
                    </a:lnTo>
                    <a:lnTo>
                      <a:pt x="52" y="225"/>
                    </a:lnTo>
                    <a:lnTo>
                      <a:pt x="50" y="225"/>
                    </a:lnTo>
                    <a:lnTo>
                      <a:pt x="50" y="223"/>
                    </a:lnTo>
                    <a:lnTo>
                      <a:pt x="50" y="221"/>
                    </a:lnTo>
                    <a:lnTo>
                      <a:pt x="48" y="221"/>
                    </a:lnTo>
                    <a:lnTo>
                      <a:pt x="48" y="219"/>
                    </a:lnTo>
                    <a:lnTo>
                      <a:pt x="50" y="219"/>
                    </a:lnTo>
                    <a:lnTo>
                      <a:pt x="50" y="217"/>
                    </a:lnTo>
                    <a:lnTo>
                      <a:pt x="52" y="216"/>
                    </a:lnTo>
                    <a:lnTo>
                      <a:pt x="54" y="216"/>
                    </a:lnTo>
                    <a:lnTo>
                      <a:pt x="56" y="216"/>
                    </a:lnTo>
                    <a:lnTo>
                      <a:pt x="58" y="216"/>
                    </a:lnTo>
                    <a:lnTo>
                      <a:pt x="60" y="217"/>
                    </a:lnTo>
                    <a:lnTo>
                      <a:pt x="61" y="217"/>
                    </a:lnTo>
                    <a:lnTo>
                      <a:pt x="63" y="217"/>
                    </a:lnTo>
                    <a:lnTo>
                      <a:pt x="65" y="217"/>
                    </a:lnTo>
                    <a:lnTo>
                      <a:pt x="67" y="216"/>
                    </a:lnTo>
                    <a:lnTo>
                      <a:pt x="67" y="214"/>
                    </a:lnTo>
                    <a:lnTo>
                      <a:pt x="67" y="212"/>
                    </a:lnTo>
                    <a:lnTo>
                      <a:pt x="67" y="210"/>
                    </a:lnTo>
                    <a:lnTo>
                      <a:pt x="67" y="208"/>
                    </a:lnTo>
                    <a:lnTo>
                      <a:pt x="69" y="206"/>
                    </a:lnTo>
                    <a:lnTo>
                      <a:pt x="71" y="206"/>
                    </a:lnTo>
                    <a:lnTo>
                      <a:pt x="73" y="204"/>
                    </a:lnTo>
                    <a:lnTo>
                      <a:pt x="73" y="202"/>
                    </a:lnTo>
                    <a:lnTo>
                      <a:pt x="75" y="202"/>
                    </a:lnTo>
                    <a:lnTo>
                      <a:pt x="75" y="200"/>
                    </a:lnTo>
                    <a:lnTo>
                      <a:pt x="75" y="198"/>
                    </a:lnTo>
                    <a:lnTo>
                      <a:pt x="75" y="196"/>
                    </a:lnTo>
                    <a:lnTo>
                      <a:pt x="75" y="194"/>
                    </a:lnTo>
                    <a:lnTo>
                      <a:pt x="73" y="194"/>
                    </a:lnTo>
                    <a:lnTo>
                      <a:pt x="71" y="194"/>
                    </a:lnTo>
                    <a:lnTo>
                      <a:pt x="71" y="196"/>
                    </a:lnTo>
                    <a:lnTo>
                      <a:pt x="69" y="196"/>
                    </a:lnTo>
                    <a:lnTo>
                      <a:pt x="67" y="196"/>
                    </a:lnTo>
                    <a:lnTo>
                      <a:pt x="65" y="196"/>
                    </a:lnTo>
                    <a:lnTo>
                      <a:pt x="65" y="194"/>
                    </a:lnTo>
                    <a:lnTo>
                      <a:pt x="65" y="192"/>
                    </a:lnTo>
                    <a:lnTo>
                      <a:pt x="67" y="192"/>
                    </a:lnTo>
                    <a:lnTo>
                      <a:pt x="69" y="192"/>
                    </a:lnTo>
                    <a:lnTo>
                      <a:pt x="69" y="191"/>
                    </a:lnTo>
                    <a:lnTo>
                      <a:pt x="71" y="191"/>
                    </a:lnTo>
                    <a:lnTo>
                      <a:pt x="71" y="189"/>
                    </a:lnTo>
                    <a:lnTo>
                      <a:pt x="73" y="187"/>
                    </a:lnTo>
                    <a:lnTo>
                      <a:pt x="75" y="187"/>
                    </a:lnTo>
                    <a:lnTo>
                      <a:pt x="77" y="187"/>
                    </a:lnTo>
                    <a:lnTo>
                      <a:pt x="79" y="187"/>
                    </a:lnTo>
                    <a:lnTo>
                      <a:pt x="81" y="187"/>
                    </a:lnTo>
                    <a:lnTo>
                      <a:pt x="81" y="185"/>
                    </a:lnTo>
                    <a:lnTo>
                      <a:pt x="83" y="185"/>
                    </a:lnTo>
                    <a:lnTo>
                      <a:pt x="83" y="183"/>
                    </a:lnTo>
                    <a:lnTo>
                      <a:pt x="83" y="181"/>
                    </a:lnTo>
                    <a:lnTo>
                      <a:pt x="81" y="181"/>
                    </a:lnTo>
                    <a:lnTo>
                      <a:pt x="81" y="179"/>
                    </a:lnTo>
                    <a:lnTo>
                      <a:pt x="81" y="177"/>
                    </a:lnTo>
                    <a:lnTo>
                      <a:pt x="81" y="175"/>
                    </a:lnTo>
                    <a:lnTo>
                      <a:pt x="81" y="173"/>
                    </a:lnTo>
                    <a:lnTo>
                      <a:pt x="83" y="173"/>
                    </a:lnTo>
                    <a:lnTo>
                      <a:pt x="83" y="171"/>
                    </a:lnTo>
                    <a:lnTo>
                      <a:pt x="84" y="171"/>
                    </a:lnTo>
                    <a:lnTo>
                      <a:pt x="86" y="171"/>
                    </a:lnTo>
                    <a:lnTo>
                      <a:pt x="88" y="171"/>
                    </a:lnTo>
                    <a:lnTo>
                      <a:pt x="88" y="169"/>
                    </a:lnTo>
                    <a:lnTo>
                      <a:pt x="90" y="169"/>
                    </a:lnTo>
                    <a:lnTo>
                      <a:pt x="90" y="168"/>
                    </a:lnTo>
                    <a:lnTo>
                      <a:pt x="90" y="166"/>
                    </a:lnTo>
                    <a:lnTo>
                      <a:pt x="92" y="164"/>
                    </a:lnTo>
                    <a:lnTo>
                      <a:pt x="92" y="162"/>
                    </a:lnTo>
                    <a:lnTo>
                      <a:pt x="92" y="160"/>
                    </a:lnTo>
                    <a:lnTo>
                      <a:pt x="92" y="158"/>
                    </a:lnTo>
                    <a:lnTo>
                      <a:pt x="94" y="158"/>
                    </a:lnTo>
                    <a:lnTo>
                      <a:pt x="94" y="156"/>
                    </a:lnTo>
                    <a:lnTo>
                      <a:pt x="94" y="154"/>
                    </a:lnTo>
                    <a:lnTo>
                      <a:pt x="96" y="154"/>
                    </a:lnTo>
                    <a:lnTo>
                      <a:pt x="96" y="152"/>
                    </a:lnTo>
                    <a:lnTo>
                      <a:pt x="98" y="152"/>
                    </a:lnTo>
                    <a:lnTo>
                      <a:pt x="100" y="152"/>
                    </a:lnTo>
                    <a:lnTo>
                      <a:pt x="100" y="150"/>
                    </a:lnTo>
                    <a:lnTo>
                      <a:pt x="102" y="148"/>
                    </a:lnTo>
                    <a:lnTo>
                      <a:pt x="102" y="146"/>
                    </a:lnTo>
                    <a:lnTo>
                      <a:pt x="104" y="146"/>
                    </a:lnTo>
                    <a:lnTo>
                      <a:pt x="104" y="144"/>
                    </a:lnTo>
                    <a:lnTo>
                      <a:pt x="106" y="143"/>
                    </a:lnTo>
                    <a:lnTo>
                      <a:pt x="108" y="141"/>
                    </a:lnTo>
                    <a:lnTo>
                      <a:pt x="109" y="141"/>
                    </a:lnTo>
                    <a:lnTo>
                      <a:pt x="111" y="141"/>
                    </a:lnTo>
                    <a:lnTo>
                      <a:pt x="113" y="143"/>
                    </a:lnTo>
                    <a:lnTo>
                      <a:pt x="115" y="143"/>
                    </a:lnTo>
                    <a:lnTo>
                      <a:pt x="117" y="143"/>
                    </a:lnTo>
                    <a:lnTo>
                      <a:pt x="117" y="144"/>
                    </a:lnTo>
                    <a:lnTo>
                      <a:pt x="119" y="144"/>
                    </a:lnTo>
                    <a:lnTo>
                      <a:pt x="121" y="144"/>
                    </a:lnTo>
                    <a:lnTo>
                      <a:pt x="121" y="143"/>
                    </a:lnTo>
                    <a:lnTo>
                      <a:pt x="123" y="141"/>
                    </a:lnTo>
                    <a:lnTo>
                      <a:pt x="123" y="139"/>
                    </a:lnTo>
                    <a:lnTo>
                      <a:pt x="125" y="139"/>
                    </a:lnTo>
                    <a:lnTo>
                      <a:pt x="127" y="137"/>
                    </a:lnTo>
                    <a:lnTo>
                      <a:pt x="129" y="137"/>
                    </a:lnTo>
                    <a:lnTo>
                      <a:pt x="129" y="135"/>
                    </a:lnTo>
                    <a:lnTo>
                      <a:pt x="129" y="133"/>
                    </a:lnTo>
                    <a:lnTo>
                      <a:pt x="127" y="131"/>
                    </a:lnTo>
                    <a:lnTo>
                      <a:pt x="127" y="129"/>
                    </a:lnTo>
                    <a:lnTo>
                      <a:pt x="125" y="129"/>
                    </a:lnTo>
                    <a:lnTo>
                      <a:pt x="125" y="127"/>
                    </a:lnTo>
                    <a:lnTo>
                      <a:pt x="125" y="125"/>
                    </a:lnTo>
                    <a:lnTo>
                      <a:pt x="125" y="123"/>
                    </a:lnTo>
                    <a:lnTo>
                      <a:pt x="127" y="123"/>
                    </a:lnTo>
                    <a:lnTo>
                      <a:pt x="127" y="121"/>
                    </a:lnTo>
                    <a:lnTo>
                      <a:pt x="129" y="121"/>
                    </a:lnTo>
                    <a:lnTo>
                      <a:pt x="129" y="120"/>
                    </a:lnTo>
                    <a:lnTo>
                      <a:pt x="129" y="121"/>
                    </a:lnTo>
                    <a:lnTo>
                      <a:pt x="131" y="121"/>
                    </a:lnTo>
                    <a:lnTo>
                      <a:pt x="133" y="121"/>
                    </a:lnTo>
                    <a:lnTo>
                      <a:pt x="133" y="120"/>
                    </a:lnTo>
                    <a:lnTo>
                      <a:pt x="133" y="118"/>
                    </a:lnTo>
                    <a:lnTo>
                      <a:pt x="134" y="118"/>
                    </a:lnTo>
                    <a:lnTo>
                      <a:pt x="134" y="120"/>
                    </a:lnTo>
                    <a:lnTo>
                      <a:pt x="136" y="120"/>
                    </a:lnTo>
                    <a:lnTo>
                      <a:pt x="136" y="118"/>
                    </a:lnTo>
                    <a:lnTo>
                      <a:pt x="138" y="118"/>
                    </a:lnTo>
                    <a:lnTo>
                      <a:pt x="138" y="116"/>
                    </a:lnTo>
                    <a:lnTo>
                      <a:pt x="140" y="116"/>
                    </a:lnTo>
                    <a:lnTo>
                      <a:pt x="140" y="114"/>
                    </a:lnTo>
                    <a:lnTo>
                      <a:pt x="140" y="116"/>
                    </a:lnTo>
                    <a:lnTo>
                      <a:pt x="142" y="116"/>
                    </a:lnTo>
                    <a:lnTo>
                      <a:pt x="142" y="118"/>
                    </a:lnTo>
                    <a:lnTo>
                      <a:pt x="144" y="118"/>
                    </a:lnTo>
                    <a:lnTo>
                      <a:pt x="146" y="118"/>
                    </a:lnTo>
                    <a:lnTo>
                      <a:pt x="148" y="118"/>
                    </a:lnTo>
                    <a:lnTo>
                      <a:pt x="148" y="116"/>
                    </a:lnTo>
                    <a:lnTo>
                      <a:pt x="148" y="114"/>
                    </a:lnTo>
                    <a:lnTo>
                      <a:pt x="146" y="114"/>
                    </a:lnTo>
                    <a:lnTo>
                      <a:pt x="146" y="112"/>
                    </a:lnTo>
                    <a:lnTo>
                      <a:pt x="146" y="110"/>
                    </a:lnTo>
                    <a:lnTo>
                      <a:pt x="148" y="110"/>
                    </a:lnTo>
                    <a:lnTo>
                      <a:pt x="150" y="110"/>
                    </a:lnTo>
                    <a:lnTo>
                      <a:pt x="152" y="110"/>
                    </a:lnTo>
                    <a:lnTo>
                      <a:pt x="154" y="110"/>
                    </a:lnTo>
                    <a:lnTo>
                      <a:pt x="154" y="108"/>
                    </a:lnTo>
                    <a:lnTo>
                      <a:pt x="152" y="108"/>
                    </a:lnTo>
                    <a:lnTo>
                      <a:pt x="152" y="106"/>
                    </a:lnTo>
                    <a:lnTo>
                      <a:pt x="150" y="106"/>
                    </a:lnTo>
                    <a:lnTo>
                      <a:pt x="150" y="104"/>
                    </a:lnTo>
                    <a:lnTo>
                      <a:pt x="150" y="102"/>
                    </a:lnTo>
                    <a:lnTo>
                      <a:pt x="152" y="102"/>
                    </a:lnTo>
                    <a:lnTo>
                      <a:pt x="154" y="102"/>
                    </a:lnTo>
                    <a:lnTo>
                      <a:pt x="154" y="100"/>
                    </a:lnTo>
                    <a:lnTo>
                      <a:pt x="156" y="100"/>
                    </a:lnTo>
                    <a:lnTo>
                      <a:pt x="157" y="100"/>
                    </a:lnTo>
                    <a:lnTo>
                      <a:pt x="157" y="98"/>
                    </a:lnTo>
                    <a:lnTo>
                      <a:pt x="159" y="98"/>
                    </a:lnTo>
                    <a:lnTo>
                      <a:pt x="161" y="98"/>
                    </a:lnTo>
                    <a:lnTo>
                      <a:pt x="161" y="100"/>
                    </a:lnTo>
                    <a:lnTo>
                      <a:pt x="163" y="100"/>
                    </a:lnTo>
                    <a:lnTo>
                      <a:pt x="163" y="98"/>
                    </a:lnTo>
                    <a:lnTo>
                      <a:pt x="163" y="96"/>
                    </a:lnTo>
                    <a:lnTo>
                      <a:pt x="163" y="95"/>
                    </a:lnTo>
                    <a:lnTo>
                      <a:pt x="165" y="95"/>
                    </a:lnTo>
                    <a:lnTo>
                      <a:pt x="163" y="93"/>
                    </a:lnTo>
                    <a:lnTo>
                      <a:pt x="163" y="91"/>
                    </a:lnTo>
                    <a:lnTo>
                      <a:pt x="161" y="91"/>
                    </a:lnTo>
                    <a:lnTo>
                      <a:pt x="161" y="89"/>
                    </a:lnTo>
                    <a:lnTo>
                      <a:pt x="161" y="87"/>
                    </a:lnTo>
                    <a:lnTo>
                      <a:pt x="163" y="87"/>
                    </a:lnTo>
                    <a:lnTo>
                      <a:pt x="165" y="87"/>
                    </a:lnTo>
                    <a:lnTo>
                      <a:pt x="165" y="85"/>
                    </a:lnTo>
                    <a:lnTo>
                      <a:pt x="167" y="85"/>
                    </a:lnTo>
                    <a:lnTo>
                      <a:pt x="167" y="83"/>
                    </a:lnTo>
                    <a:lnTo>
                      <a:pt x="167" y="81"/>
                    </a:lnTo>
                    <a:lnTo>
                      <a:pt x="165" y="81"/>
                    </a:lnTo>
                    <a:lnTo>
                      <a:pt x="165" y="79"/>
                    </a:lnTo>
                    <a:lnTo>
                      <a:pt x="163" y="79"/>
                    </a:lnTo>
                    <a:lnTo>
                      <a:pt x="163" y="77"/>
                    </a:lnTo>
                    <a:lnTo>
                      <a:pt x="163" y="75"/>
                    </a:lnTo>
                    <a:lnTo>
                      <a:pt x="163" y="73"/>
                    </a:lnTo>
                    <a:lnTo>
                      <a:pt x="165" y="73"/>
                    </a:lnTo>
                    <a:lnTo>
                      <a:pt x="167" y="73"/>
                    </a:lnTo>
                    <a:lnTo>
                      <a:pt x="167" y="75"/>
                    </a:lnTo>
                    <a:lnTo>
                      <a:pt x="169" y="75"/>
                    </a:lnTo>
                    <a:lnTo>
                      <a:pt x="169" y="73"/>
                    </a:lnTo>
                    <a:lnTo>
                      <a:pt x="169" y="72"/>
                    </a:lnTo>
                    <a:lnTo>
                      <a:pt x="169" y="70"/>
                    </a:lnTo>
                    <a:lnTo>
                      <a:pt x="169" y="68"/>
                    </a:lnTo>
                    <a:lnTo>
                      <a:pt x="171" y="70"/>
                    </a:lnTo>
                    <a:lnTo>
                      <a:pt x="171" y="68"/>
                    </a:lnTo>
                    <a:lnTo>
                      <a:pt x="173" y="68"/>
                    </a:lnTo>
                    <a:lnTo>
                      <a:pt x="171" y="72"/>
                    </a:lnTo>
                    <a:lnTo>
                      <a:pt x="173" y="72"/>
                    </a:lnTo>
                    <a:lnTo>
                      <a:pt x="175" y="73"/>
                    </a:lnTo>
                    <a:lnTo>
                      <a:pt x="177" y="73"/>
                    </a:lnTo>
                    <a:lnTo>
                      <a:pt x="179" y="73"/>
                    </a:lnTo>
                    <a:lnTo>
                      <a:pt x="181" y="73"/>
                    </a:lnTo>
                    <a:lnTo>
                      <a:pt x="182" y="73"/>
                    </a:lnTo>
                    <a:lnTo>
                      <a:pt x="184" y="73"/>
                    </a:lnTo>
                    <a:lnTo>
                      <a:pt x="186" y="73"/>
                    </a:lnTo>
                    <a:lnTo>
                      <a:pt x="188" y="73"/>
                    </a:lnTo>
                    <a:lnTo>
                      <a:pt x="190" y="72"/>
                    </a:lnTo>
                    <a:lnTo>
                      <a:pt x="192" y="72"/>
                    </a:lnTo>
                    <a:lnTo>
                      <a:pt x="194" y="72"/>
                    </a:lnTo>
                    <a:lnTo>
                      <a:pt x="194" y="73"/>
                    </a:lnTo>
                    <a:lnTo>
                      <a:pt x="194" y="72"/>
                    </a:lnTo>
                    <a:lnTo>
                      <a:pt x="196" y="72"/>
                    </a:lnTo>
                    <a:lnTo>
                      <a:pt x="198" y="72"/>
                    </a:lnTo>
                    <a:lnTo>
                      <a:pt x="200" y="72"/>
                    </a:lnTo>
                    <a:lnTo>
                      <a:pt x="202" y="72"/>
                    </a:lnTo>
                    <a:lnTo>
                      <a:pt x="204" y="72"/>
                    </a:lnTo>
                    <a:lnTo>
                      <a:pt x="205" y="72"/>
                    </a:lnTo>
                    <a:lnTo>
                      <a:pt x="207" y="72"/>
                    </a:lnTo>
                    <a:lnTo>
                      <a:pt x="209" y="72"/>
                    </a:lnTo>
                    <a:lnTo>
                      <a:pt x="211" y="72"/>
                    </a:lnTo>
                    <a:lnTo>
                      <a:pt x="211" y="70"/>
                    </a:lnTo>
                    <a:lnTo>
                      <a:pt x="213" y="70"/>
                    </a:lnTo>
                    <a:lnTo>
                      <a:pt x="215" y="70"/>
                    </a:lnTo>
                    <a:lnTo>
                      <a:pt x="215" y="68"/>
                    </a:lnTo>
                    <a:lnTo>
                      <a:pt x="217" y="68"/>
                    </a:lnTo>
                    <a:lnTo>
                      <a:pt x="219" y="68"/>
                    </a:lnTo>
                    <a:lnTo>
                      <a:pt x="219" y="70"/>
                    </a:lnTo>
                    <a:lnTo>
                      <a:pt x="219" y="72"/>
                    </a:lnTo>
                    <a:lnTo>
                      <a:pt x="219" y="73"/>
                    </a:lnTo>
                    <a:lnTo>
                      <a:pt x="221" y="73"/>
                    </a:lnTo>
                    <a:lnTo>
                      <a:pt x="221" y="75"/>
                    </a:lnTo>
                    <a:lnTo>
                      <a:pt x="223" y="75"/>
                    </a:lnTo>
                    <a:lnTo>
                      <a:pt x="221" y="75"/>
                    </a:lnTo>
                    <a:lnTo>
                      <a:pt x="221" y="77"/>
                    </a:lnTo>
                    <a:lnTo>
                      <a:pt x="223" y="77"/>
                    </a:lnTo>
                    <a:lnTo>
                      <a:pt x="223" y="79"/>
                    </a:lnTo>
                    <a:lnTo>
                      <a:pt x="225" y="79"/>
                    </a:lnTo>
                    <a:lnTo>
                      <a:pt x="227" y="79"/>
                    </a:lnTo>
                    <a:lnTo>
                      <a:pt x="227" y="81"/>
                    </a:lnTo>
                    <a:lnTo>
                      <a:pt x="229" y="81"/>
                    </a:lnTo>
                    <a:lnTo>
                      <a:pt x="230" y="81"/>
                    </a:lnTo>
                    <a:lnTo>
                      <a:pt x="232" y="81"/>
                    </a:lnTo>
                    <a:lnTo>
                      <a:pt x="234" y="81"/>
                    </a:lnTo>
                    <a:lnTo>
                      <a:pt x="234" y="83"/>
                    </a:lnTo>
                    <a:lnTo>
                      <a:pt x="234" y="81"/>
                    </a:lnTo>
                    <a:lnTo>
                      <a:pt x="234" y="83"/>
                    </a:lnTo>
                    <a:lnTo>
                      <a:pt x="236" y="83"/>
                    </a:lnTo>
                    <a:lnTo>
                      <a:pt x="236" y="85"/>
                    </a:lnTo>
                    <a:lnTo>
                      <a:pt x="236" y="87"/>
                    </a:lnTo>
                    <a:lnTo>
                      <a:pt x="234" y="87"/>
                    </a:lnTo>
                    <a:lnTo>
                      <a:pt x="236" y="87"/>
                    </a:lnTo>
                    <a:lnTo>
                      <a:pt x="236" y="89"/>
                    </a:lnTo>
                    <a:lnTo>
                      <a:pt x="236" y="91"/>
                    </a:lnTo>
                    <a:lnTo>
                      <a:pt x="238" y="91"/>
                    </a:lnTo>
                    <a:lnTo>
                      <a:pt x="238" y="93"/>
                    </a:lnTo>
                    <a:lnTo>
                      <a:pt x="240" y="93"/>
                    </a:lnTo>
                    <a:lnTo>
                      <a:pt x="242" y="95"/>
                    </a:lnTo>
                    <a:lnTo>
                      <a:pt x="244" y="96"/>
                    </a:lnTo>
                    <a:lnTo>
                      <a:pt x="246" y="96"/>
                    </a:lnTo>
                    <a:lnTo>
                      <a:pt x="248" y="96"/>
                    </a:lnTo>
                    <a:lnTo>
                      <a:pt x="252" y="95"/>
                    </a:lnTo>
                    <a:lnTo>
                      <a:pt x="255" y="95"/>
                    </a:lnTo>
                    <a:lnTo>
                      <a:pt x="257" y="95"/>
                    </a:lnTo>
                    <a:lnTo>
                      <a:pt x="257" y="93"/>
                    </a:lnTo>
                    <a:lnTo>
                      <a:pt x="259" y="89"/>
                    </a:lnTo>
                    <a:lnTo>
                      <a:pt x="261" y="87"/>
                    </a:lnTo>
                    <a:lnTo>
                      <a:pt x="261" y="85"/>
                    </a:lnTo>
                    <a:lnTo>
                      <a:pt x="263" y="85"/>
                    </a:lnTo>
                    <a:lnTo>
                      <a:pt x="263" y="83"/>
                    </a:lnTo>
                    <a:lnTo>
                      <a:pt x="263" y="81"/>
                    </a:lnTo>
                    <a:lnTo>
                      <a:pt x="265" y="81"/>
                    </a:lnTo>
                    <a:lnTo>
                      <a:pt x="263" y="81"/>
                    </a:lnTo>
                    <a:lnTo>
                      <a:pt x="263" y="79"/>
                    </a:lnTo>
                    <a:lnTo>
                      <a:pt x="261" y="79"/>
                    </a:lnTo>
                    <a:lnTo>
                      <a:pt x="263" y="79"/>
                    </a:lnTo>
                    <a:lnTo>
                      <a:pt x="263" y="77"/>
                    </a:lnTo>
                    <a:lnTo>
                      <a:pt x="265" y="77"/>
                    </a:lnTo>
                    <a:lnTo>
                      <a:pt x="265" y="75"/>
                    </a:lnTo>
                    <a:lnTo>
                      <a:pt x="265" y="73"/>
                    </a:lnTo>
                    <a:lnTo>
                      <a:pt x="267" y="72"/>
                    </a:lnTo>
                    <a:lnTo>
                      <a:pt x="269" y="72"/>
                    </a:lnTo>
                    <a:lnTo>
                      <a:pt x="271" y="72"/>
                    </a:lnTo>
                    <a:lnTo>
                      <a:pt x="273" y="72"/>
                    </a:lnTo>
                    <a:lnTo>
                      <a:pt x="275" y="70"/>
                    </a:lnTo>
                    <a:lnTo>
                      <a:pt x="277" y="70"/>
                    </a:lnTo>
                    <a:lnTo>
                      <a:pt x="278" y="70"/>
                    </a:lnTo>
                    <a:lnTo>
                      <a:pt x="280" y="70"/>
                    </a:lnTo>
                    <a:lnTo>
                      <a:pt x="280" y="68"/>
                    </a:lnTo>
                    <a:lnTo>
                      <a:pt x="282" y="68"/>
                    </a:lnTo>
                    <a:lnTo>
                      <a:pt x="284" y="68"/>
                    </a:lnTo>
                    <a:lnTo>
                      <a:pt x="284" y="66"/>
                    </a:lnTo>
                    <a:lnTo>
                      <a:pt x="282" y="66"/>
                    </a:lnTo>
                    <a:lnTo>
                      <a:pt x="282" y="64"/>
                    </a:lnTo>
                    <a:lnTo>
                      <a:pt x="282" y="62"/>
                    </a:lnTo>
                    <a:lnTo>
                      <a:pt x="280" y="62"/>
                    </a:lnTo>
                    <a:lnTo>
                      <a:pt x="282" y="62"/>
                    </a:lnTo>
                    <a:lnTo>
                      <a:pt x="284" y="62"/>
                    </a:lnTo>
                    <a:lnTo>
                      <a:pt x="284" y="60"/>
                    </a:lnTo>
                    <a:lnTo>
                      <a:pt x="286" y="60"/>
                    </a:lnTo>
                    <a:lnTo>
                      <a:pt x="288" y="60"/>
                    </a:lnTo>
                    <a:lnTo>
                      <a:pt x="288" y="58"/>
                    </a:lnTo>
                    <a:lnTo>
                      <a:pt x="290" y="58"/>
                    </a:lnTo>
                    <a:lnTo>
                      <a:pt x="290" y="60"/>
                    </a:lnTo>
                    <a:lnTo>
                      <a:pt x="290" y="58"/>
                    </a:lnTo>
                    <a:lnTo>
                      <a:pt x="292" y="58"/>
                    </a:lnTo>
                    <a:lnTo>
                      <a:pt x="292" y="60"/>
                    </a:lnTo>
                    <a:lnTo>
                      <a:pt x="294" y="60"/>
                    </a:lnTo>
                    <a:lnTo>
                      <a:pt x="296" y="60"/>
                    </a:lnTo>
                    <a:lnTo>
                      <a:pt x="296" y="58"/>
                    </a:lnTo>
                    <a:lnTo>
                      <a:pt x="296" y="60"/>
                    </a:lnTo>
                    <a:lnTo>
                      <a:pt x="298" y="60"/>
                    </a:lnTo>
                    <a:lnTo>
                      <a:pt x="300" y="60"/>
                    </a:lnTo>
                    <a:lnTo>
                      <a:pt x="301" y="60"/>
                    </a:lnTo>
                    <a:lnTo>
                      <a:pt x="301" y="62"/>
                    </a:lnTo>
                    <a:lnTo>
                      <a:pt x="301" y="64"/>
                    </a:lnTo>
                    <a:lnTo>
                      <a:pt x="301" y="66"/>
                    </a:lnTo>
                    <a:lnTo>
                      <a:pt x="301" y="68"/>
                    </a:lnTo>
                    <a:lnTo>
                      <a:pt x="303" y="68"/>
                    </a:lnTo>
                    <a:lnTo>
                      <a:pt x="303" y="70"/>
                    </a:lnTo>
                    <a:lnTo>
                      <a:pt x="305" y="70"/>
                    </a:lnTo>
                    <a:lnTo>
                      <a:pt x="305" y="72"/>
                    </a:lnTo>
                    <a:lnTo>
                      <a:pt x="307" y="72"/>
                    </a:lnTo>
                    <a:lnTo>
                      <a:pt x="309" y="72"/>
                    </a:lnTo>
                    <a:lnTo>
                      <a:pt x="311" y="72"/>
                    </a:lnTo>
                    <a:lnTo>
                      <a:pt x="313" y="72"/>
                    </a:lnTo>
                    <a:lnTo>
                      <a:pt x="315" y="70"/>
                    </a:lnTo>
                    <a:lnTo>
                      <a:pt x="317" y="70"/>
                    </a:lnTo>
                    <a:lnTo>
                      <a:pt x="319" y="70"/>
                    </a:lnTo>
                    <a:lnTo>
                      <a:pt x="321" y="70"/>
                    </a:lnTo>
                    <a:lnTo>
                      <a:pt x="323" y="70"/>
                    </a:lnTo>
                    <a:lnTo>
                      <a:pt x="323" y="72"/>
                    </a:lnTo>
                    <a:lnTo>
                      <a:pt x="325" y="72"/>
                    </a:lnTo>
                    <a:lnTo>
                      <a:pt x="326" y="72"/>
                    </a:lnTo>
                    <a:lnTo>
                      <a:pt x="328" y="72"/>
                    </a:lnTo>
                    <a:lnTo>
                      <a:pt x="330" y="72"/>
                    </a:lnTo>
                    <a:lnTo>
                      <a:pt x="330" y="73"/>
                    </a:lnTo>
                    <a:lnTo>
                      <a:pt x="332" y="73"/>
                    </a:lnTo>
                    <a:lnTo>
                      <a:pt x="334" y="73"/>
                    </a:lnTo>
                    <a:lnTo>
                      <a:pt x="334" y="75"/>
                    </a:lnTo>
                    <a:lnTo>
                      <a:pt x="336" y="75"/>
                    </a:lnTo>
                    <a:lnTo>
                      <a:pt x="338" y="77"/>
                    </a:lnTo>
                    <a:lnTo>
                      <a:pt x="340" y="77"/>
                    </a:lnTo>
                    <a:lnTo>
                      <a:pt x="342" y="75"/>
                    </a:lnTo>
                    <a:lnTo>
                      <a:pt x="344" y="75"/>
                    </a:lnTo>
                    <a:lnTo>
                      <a:pt x="346" y="75"/>
                    </a:lnTo>
                    <a:lnTo>
                      <a:pt x="348" y="77"/>
                    </a:lnTo>
                    <a:lnTo>
                      <a:pt x="350" y="77"/>
                    </a:lnTo>
                    <a:lnTo>
                      <a:pt x="351" y="77"/>
                    </a:lnTo>
                    <a:lnTo>
                      <a:pt x="353" y="77"/>
                    </a:lnTo>
                    <a:lnTo>
                      <a:pt x="353" y="75"/>
                    </a:lnTo>
                    <a:lnTo>
                      <a:pt x="353" y="77"/>
                    </a:lnTo>
                    <a:lnTo>
                      <a:pt x="355" y="77"/>
                    </a:lnTo>
                    <a:lnTo>
                      <a:pt x="357" y="77"/>
                    </a:lnTo>
                    <a:lnTo>
                      <a:pt x="359" y="77"/>
                    </a:lnTo>
                    <a:lnTo>
                      <a:pt x="359" y="79"/>
                    </a:lnTo>
                    <a:lnTo>
                      <a:pt x="361" y="79"/>
                    </a:lnTo>
                    <a:lnTo>
                      <a:pt x="363" y="79"/>
                    </a:lnTo>
                    <a:lnTo>
                      <a:pt x="363" y="81"/>
                    </a:lnTo>
                    <a:lnTo>
                      <a:pt x="365" y="81"/>
                    </a:lnTo>
                    <a:lnTo>
                      <a:pt x="367" y="81"/>
                    </a:lnTo>
                    <a:lnTo>
                      <a:pt x="367" y="83"/>
                    </a:lnTo>
                    <a:lnTo>
                      <a:pt x="367" y="85"/>
                    </a:lnTo>
                    <a:lnTo>
                      <a:pt x="369" y="85"/>
                    </a:lnTo>
                    <a:lnTo>
                      <a:pt x="369" y="87"/>
                    </a:lnTo>
                    <a:lnTo>
                      <a:pt x="371" y="87"/>
                    </a:lnTo>
                    <a:lnTo>
                      <a:pt x="371" y="85"/>
                    </a:lnTo>
                    <a:lnTo>
                      <a:pt x="373" y="85"/>
                    </a:lnTo>
                    <a:lnTo>
                      <a:pt x="374" y="85"/>
                    </a:lnTo>
                    <a:lnTo>
                      <a:pt x="376" y="83"/>
                    </a:lnTo>
                    <a:lnTo>
                      <a:pt x="378" y="83"/>
                    </a:lnTo>
                    <a:lnTo>
                      <a:pt x="380" y="83"/>
                    </a:lnTo>
                    <a:lnTo>
                      <a:pt x="380" y="81"/>
                    </a:lnTo>
                    <a:lnTo>
                      <a:pt x="382" y="81"/>
                    </a:lnTo>
                    <a:lnTo>
                      <a:pt x="384" y="81"/>
                    </a:lnTo>
                    <a:lnTo>
                      <a:pt x="386" y="81"/>
                    </a:lnTo>
                    <a:lnTo>
                      <a:pt x="386" y="83"/>
                    </a:lnTo>
                    <a:lnTo>
                      <a:pt x="388" y="83"/>
                    </a:lnTo>
                    <a:lnTo>
                      <a:pt x="388" y="85"/>
                    </a:lnTo>
                    <a:lnTo>
                      <a:pt x="390" y="87"/>
                    </a:lnTo>
                    <a:lnTo>
                      <a:pt x="392" y="87"/>
                    </a:lnTo>
                    <a:lnTo>
                      <a:pt x="394" y="87"/>
                    </a:lnTo>
                    <a:lnTo>
                      <a:pt x="394" y="89"/>
                    </a:lnTo>
                    <a:lnTo>
                      <a:pt x="396" y="89"/>
                    </a:lnTo>
                    <a:lnTo>
                      <a:pt x="396" y="87"/>
                    </a:lnTo>
                    <a:lnTo>
                      <a:pt x="398" y="87"/>
                    </a:lnTo>
                    <a:lnTo>
                      <a:pt x="398" y="85"/>
                    </a:lnTo>
                    <a:lnTo>
                      <a:pt x="399" y="85"/>
                    </a:lnTo>
                    <a:lnTo>
                      <a:pt x="401" y="85"/>
                    </a:lnTo>
                    <a:lnTo>
                      <a:pt x="401" y="83"/>
                    </a:lnTo>
                    <a:lnTo>
                      <a:pt x="403" y="83"/>
                    </a:lnTo>
                    <a:lnTo>
                      <a:pt x="405" y="83"/>
                    </a:lnTo>
                    <a:lnTo>
                      <a:pt x="405" y="85"/>
                    </a:lnTo>
                    <a:lnTo>
                      <a:pt x="407" y="85"/>
                    </a:lnTo>
                    <a:lnTo>
                      <a:pt x="409" y="85"/>
                    </a:lnTo>
                    <a:lnTo>
                      <a:pt x="411" y="85"/>
                    </a:lnTo>
                    <a:lnTo>
                      <a:pt x="411" y="87"/>
                    </a:lnTo>
                    <a:lnTo>
                      <a:pt x="413" y="87"/>
                    </a:lnTo>
                    <a:lnTo>
                      <a:pt x="415" y="87"/>
                    </a:lnTo>
                    <a:lnTo>
                      <a:pt x="415" y="89"/>
                    </a:lnTo>
                    <a:lnTo>
                      <a:pt x="417" y="89"/>
                    </a:lnTo>
                    <a:lnTo>
                      <a:pt x="415" y="89"/>
                    </a:lnTo>
                    <a:lnTo>
                      <a:pt x="417" y="89"/>
                    </a:lnTo>
                    <a:lnTo>
                      <a:pt x="417" y="91"/>
                    </a:lnTo>
                    <a:lnTo>
                      <a:pt x="417" y="89"/>
                    </a:lnTo>
                    <a:lnTo>
                      <a:pt x="417" y="91"/>
                    </a:lnTo>
                    <a:lnTo>
                      <a:pt x="419" y="91"/>
                    </a:lnTo>
                    <a:lnTo>
                      <a:pt x="419" y="93"/>
                    </a:lnTo>
                    <a:lnTo>
                      <a:pt x="421" y="93"/>
                    </a:lnTo>
                    <a:lnTo>
                      <a:pt x="422" y="93"/>
                    </a:lnTo>
                    <a:lnTo>
                      <a:pt x="422" y="95"/>
                    </a:lnTo>
                    <a:lnTo>
                      <a:pt x="422" y="96"/>
                    </a:lnTo>
                    <a:lnTo>
                      <a:pt x="424" y="96"/>
                    </a:lnTo>
                    <a:lnTo>
                      <a:pt x="424" y="98"/>
                    </a:lnTo>
                    <a:lnTo>
                      <a:pt x="426" y="98"/>
                    </a:lnTo>
                    <a:lnTo>
                      <a:pt x="428" y="98"/>
                    </a:lnTo>
                    <a:lnTo>
                      <a:pt x="428" y="100"/>
                    </a:lnTo>
                    <a:lnTo>
                      <a:pt x="430" y="102"/>
                    </a:lnTo>
                    <a:lnTo>
                      <a:pt x="428" y="102"/>
                    </a:lnTo>
                    <a:lnTo>
                      <a:pt x="428" y="104"/>
                    </a:lnTo>
                    <a:lnTo>
                      <a:pt x="426" y="104"/>
                    </a:lnTo>
                    <a:lnTo>
                      <a:pt x="426" y="106"/>
                    </a:lnTo>
                    <a:lnTo>
                      <a:pt x="424" y="106"/>
                    </a:lnTo>
                    <a:lnTo>
                      <a:pt x="424" y="108"/>
                    </a:lnTo>
                    <a:lnTo>
                      <a:pt x="422" y="108"/>
                    </a:lnTo>
                    <a:lnTo>
                      <a:pt x="421" y="108"/>
                    </a:lnTo>
                    <a:lnTo>
                      <a:pt x="419" y="108"/>
                    </a:lnTo>
                    <a:lnTo>
                      <a:pt x="417" y="108"/>
                    </a:lnTo>
                    <a:lnTo>
                      <a:pt x="417" y="110"/>
                    </a:lnTo>
                    <a:lnTo>
                      <a:pt x="419" y="110"/>
                    </a:lnTo>
                    <a:lnTo>
                      <a:pt x="417" y="110"/>
                    </a:lnTo>
                    <a:lnTo>
                      <a:pt x="419" y="110"/>
                    </a:lnTo>
                    <a:lnTo>
                      <a:pt x="417" y="110"/>
                    </a:lnTo>
                    <a:lnTo>
                      <a:pt x="419" y="110"/>
                    </a:lnTo>
                    <a:lnTo>
                      <a:pt x="421" y="110"/>
                    </a:lnTo>
                    <a:lnTo>
                      <a:pt x="421" y="112"/>
                    </a:lnTo>
                    <a:lnTo>
                      <a:pt x="419" y="112"/>
                    </a:lnTo>
                    <a:lnTo>
                      <a:pt x="417" y="112"/>
                    </a:lnTo>
                    <a:lnTo>
                      <a:pt x="417" y="114"/>
                    </a:lnTo>
                    <a:lnTo>
                      <a:pt x="419" y="114"/>
                    </a:lnTo>
                    <a:lnTo>
                      <a:pt x="421" y="114"/>
                    </a:lnTo>
                    <a:lnTo>
                      <a:pt x="422" y="114"/>
                    </a:lnTo>
                    <a:lnTo>
                      <a:pt x="422" y="112"/>
                    </a:lnTo>
                    <a:lnTo>
                      <a:pt x="424" y="112"/>
                    </a:lnTo>
                    <a:lnTo>
                      <a:pt x="424" y="114"/>
                    </a:lnTo>
                    <a:lnTo>
                      <a:pt x="424" y="112"/>
                    </a:lnTo>
                    <a:lnTo>
                      <a:pt x="424" y="114"/>
                    </a:lnTo>
                    <a:lnTo>
                      <a:pt x="426" y="114"/>
                    </a:lnTo>
                    <a:lnTo>
                      <a:pt x="426" y="112"/>
                    </a:lnTo>
                    <a:lnTo>
                      <a:pt x="428" y="112"/>
                    </a:lnTo>
                    <a:lnTo>
                      <a:pt x="428" y="110"/>
                    </a:lnTo>
                    <a:lnTo>
                      <a:pt x="430" y="110"/>
                    </a:lnTo>
                    <a:lnTo>
                      <a:pt x="432" y="112"/>
                    </a:lnTo>
                    <a:lnTo>
                      <a:pt x="434" y="112"/>
                    </a:lnTo>
                    <a:lnTo>
                      <a:pt x="436" y="112"/>
                    </a:lnTo>
                    <a:lnTo>
                      <a:pt x="438" y="112"/>
                    </a:lnTo>
                    <a:lnTo>
                      <a:pt x="440" y="112"/>
                    </a:lnTo>
                    <a:lnTo>
                      <a:pt x="440" y="114"/>
                    </a:lnTo>
                    <a:lnTo>
                      <a:pt x="442" y="114"/>
                    </a:lnTo>
                    <a:lnTo>
                      <a:pt x="444" y="114"/>
                    </a:lnTo>
                    <a:lnTo>
                      <a:pt x="446" y="114"/>
                    </a:lnTo>
                    <a:lnTo>
                      <a:pt x="446" y="116"/>
                    </a:lnTo>
                    <a:lnTo>
                      <a:pt x="447" y="116"/>
                    </a:lnTo>
                    <a:lnTo>
                      <a:pt x="447" y="118"/>
                    </a:lnTo>
                    <a:lnTo>
                      <a:pt x="449" y="118"/>
                    </a:lnTo>
                    <a:lnTo>
                      <a:pt x="449" y="120"/>
                    </a:lnTo>
                    <a:lnTo>
                      <a:pt x="451" y="120"/>
                    </a:lnTo>
                    <a:lnTo>
                      <a:pt x="453" y="120"/>
                    </a:lnTo>
                    <a:lnTo>
                      <a:pt x="453" y="121"/>
                    </a:lnTo>
                    <a:lnTo>
                      <a:pt x="455" y="121"/>
                    </a:lnTo>
                    <a:lnTo>
                      <a:pt x="457" y="121"/>
                    </a:lnTo>
                    <a:lnTo>
                      <a:pt x="459" y="121"/>
                    </a:lnTo>
                    <a:lnTo>
                      <a:pt x="461" y="121"/>
                    </a:lnTo>
                    <a:lnTo>
                      <a:pt x="463" y="121"/>
                    </a:lnTo>
                    <a:lnTo>
                      <a:pt x="463" y="120"/>
                    </a:lnTo>
                    <a:lnTo>
                      <a:pt x="463" y="118"/>
                    </a:lnTo>
                    <a:lnTo>
                      <a:pt x="465" y="118"/>
                    </a:lnTo>
                    <a:lnTo>
                      <a:pt x="467" y="118"/>
                    </a:lnTo>
                    <a:lnTo>
                      <a:pt x="470" y="118"/>
                    </a:lnTo>
                    <a:lnTo>
                      <a:pt x="472" y="118"/>
                    </a:lnTo>
                    <a:lnTo>
                      <a:pt x="472" y="120"/>
                    </a:lnTo>
                    <a:lnTo>
                      <a:pt x="472" y="118"/>
                    </a:lnTo>
                    <a:lnTo>
                      <a:pt x="472" y="116"/>
                    </a:lnTo>
                    <a:lnTo>
                      <a:pt x="472" y="114"/>
                    </a:lnTo>
                    <a:lnTo>
                      <a:pt x="474" y="114"/>
                    </a:lnTo>
                    <a:lnTo>
                      <a:pt x="474" y="116"/>
                    </a:lnTo>
                    <a:lnTo>
                      <a:pt x="472" y="116"/>
                    </a:lnTo>
                    <a:lnTo>
                      <a:pt x="474" y="116"/>
                    </a:lnTo>
                    <a:lnTo>
                      <a:pt x="476" y="114"/>
                    </a:lnTo>
                    <a:lnTo>
                      <a:pt x="476" y="112"/>
                    </a:lnTo>
                    <a:lnTo>
                      <a:pt x="478" y="112"/>
                    </a:lnTo>
                    <a:lnTo>
                      <a:pt x="478" y="110"/>
                    </a:lnTo>
                    <a:lnTo>
                      <a:pt x="476" y="110"/>
                    </a:lnTo>
                    <a:lnTo>
                      <a:pt x="478" y="110"/>
                    </a:lnTo>
                    <a:lnTo>
                      <a:pt x="476" y="110"/>
                    </a:lnTo>
                    <a:lnTo>
                      <a:pt x="478" y="110"/>
                    </a:lnTo>
                    <a:lnTo>
                      <a:pt x="476" y="110"/>
                    </a:lnTo>
                    <a:lnTo>
                      <a:pt x="478" y="110"/>
                    </a:lnTo>
                    <a:lnTo>
                      <a:pt x="478" y="108"/>
                    </a:lnTo>
                    <a:lnTo>
                      <a:pt x="480" y="108"/>
                    </a:lnTo>
                    <a:lnTo>
                      <a:pt x="482" y="108"/>
                    </a:lnTo>
                    <a:lnTo>
                      <a:pt x="484" y="108"/>
                    </a:lnTo>
                    <a:lnTo>
                      <a:pt x="484" y="110"/>
                    </a:lnTo>
                    <a:lnTo>
                      <a:pt x="486" y="110"/>
                    </a:lnTo>
                    <a:lnTo>
                      <a:pt x="486" y="108"/>
                    </a:lnTo>
                    <a:lnTo>
                      <a:pt x="484" y="108"/>
                    </a:lnTo>
                    <a:lnTo>
                      <a:pt x="486" y="108"/>
                    </a:lnTo>
                    <a:lnTo>
                      <a:pt x="488" y="108"/>
                    </a:lnTo>
                    <a:lnTo>
                      <a:pt x="488" y="110"/>
                    </a:lnTo>
                    <a:lnTo>
                      <a:pt x="490" y="110"/>
                    </a:lnTo>
                    <a:lnTo>
                      <a:pt x="492" y="110"/>
                    </a:lnTo>
                    <a:lnTo>
                      <a:pt x="492" y="112"/>
                    </a:lnTo>
                    <a:lnTo>
                      <a:pt x="492" y="110"/>
                    </a:lnTo>
                    <a:lnTo>
                      <a:pt x="492" y="108"/>
                    </a:lnTo>
                    <a:lnTo>
                      <a:pt x="494" y="108"/>
                    </a:lnTo>
                    <a:lnTo>
                      <a:pt x="494" y="106"/>
                    </a:lnTo>
                    <a:lnTo>
                      <a:pt x="495" y="106"/>
                    </a:lnTo>
                    <a:lnTo>
                      <a:pt x="495" y="104"/>
                    </a:lnTo>
                    <a:lnTo>
                      <a:pt x="497" y="104"/>
                    </a:lnTo>
                    <a:lnTo>
                      <a:pt x="497" y="102"/>
                    </a:lnTo>
                    <a:lnTo>
                      <a:pt x="499" y="102"/>
                    </a:lnTo>
                    <a:lnTo>
                      <a:pt x="499" y="104"/>
                    </a:lnTo>
                    <a:lnTo>
                      <a:pt x="501" y="104"/>
                    </a:lnTo>
                    <a:lnTo>
                      <a:pt x="501" y="102"/>
                    </a:lnTo>
                    <a:lnTo>
                      <a:pt x="501" y="104"/>
                    </a:lnTo>
                    <a:lnTo>
                      <a:pt x="501" y="102"/>
                    </a:lnTo>
                    <a:lnTo>
                      <a:pt x="501" y="104"/>
                    </a:lnTo>
                    <a:lnTo>
                      <a:pt x="501" y="102"/>
                    </a:lnTo>
                    <a:lnTo>
                      <a:pt x="503" y="102"/>
                    </a:lnTo>
                    <a:lnTo>
                      <a:pt x="505" y="102"/>
                    </a:lnTo>
                    <a:lnTo>
                      <a:pt x="507" y="102"/>
                    </a:lnTo>
                    <a:lnTo>
                      <a:pt x="509" y="102"/>
                    </a:lnTo>
                    <a:lnTo>
                      <a:pt x="507" y="102"/>
                    </a:lnTo>
                    <a:lnTo>
                      <a:pt x="507" y="100"/>
                    </a:lnTo>
                    <a:lnTo>
                      <a:pt x="509" y="100"/>
                    </a:lnTo>
                    <a:lnTo>
                      <a:pt x="509" y="102"/>
                    </a:lnTo>
                    <a:lnTo>
                      <a:pt x="509" y="100"/>
                    </a:lnTo>
                    <a:lnTo>
                      <a:pt x="511" y="100"/>
                    </a:lnTo>
                    <a:lnTo>
                      <a:pt x="513" y="100"/>
                    </a:lnTo>
                    <a:lnTo>
                      <a:pt x="513" y="98"/>
                    </a:lnTo>
                    <a:lnTo>
                      <a:pt x="515" y="98"/>
                    </a:lnTo>
                    <a:lnTo>
                      <a:pt x="517" y="98"/>
                    </a:lnTo>
                    <a:lnTo>
                      <a:pt x="517" y="96"/>
                    </a:lnTo>
                    <a:lnTo>
                      <a:pt x="517" y="95"/>
                    </a:lnTo>
                    <a:lnTo>
                      <a:pt x="518" y="95"/>
                    </a:lnTo>
                    <a:lnTo>
                      <a:pt x="518" y="93"/>
                    </a:lnTo>
                    <a:lnTo>
                      <a:pt x="518" y="95"/>
                    </a:lnTo>
                    <a:lnTo>
                      <a:pt x="517" y="95"/>
                    </a:lnTo>
                    <a:lnTo>
                      <a:pt x="517" y="93"/>
                    </a:lnTo>
                    <a:lnTo>
                      <a:pt x="518" y="93"/>
                    </a:lnTo>
                    <a:lnTo>
                      <a:pt x="517" y="93"/>
                    </a:lnTo>
                    <a:lnTo>
                      <a:pt x="518" y="93"/>
                    </a:lnTo>
                    <a:lnTo>
                      <a:pt x="518" y="91"/>
                    </a:lnTo>
                    <a:lnTo>
                      <a:pt x="517" y="91"/>
                    </a:lnTo>
                    <a:lnTo>
                      <a:pt x="517" y="93"/>
                    </a:lnTo>
                    <a:lnTo>
                      <a:pt x="517" y="91"/>
                    </a:lnTo>
                    <a:lnTo>
                      <a:pt x="518" y="91"/>
                    </a:lnTo>
                    <a:lnTo>
                      <a:pt x="520" y="91"/>
                    </a:lnTo>
                    <a:lnTo>
                      <a:pt x="522" y="91"/>
                    </a:lnTo>
                    <a:lnTo>
                      <a:pt x="524" y="91"/>
                    </a:lnTo>
                    <a:lnTo>
                      <a:pt x="524" y="89"/>
                    </a:lnTo>
                    <a:lnTo>
                      <a:pt x="524" y="87"/>
                    </a:lnTo>
                    <a:lnTo>
                      <a:pt x="524" y="85"/>
                    </a:lnTo>
                    <a:lnTo>
                      <a:pt x="526" y="85"/>
                    </a:lnTo>
                    <a:lnTo>
                      <a:pt x="526" y="87"/>
                    </a:lnTo>
                    <a:lnTo>
                      <a:pt x="528" y="85"/>
                    </a:lnTo>
                    <a:lnTo>
                      <a:pt x="528" y="83"/>
                    </a:lnTo>
                    <a:lnTo>
                      <a:pt x="530" y="83"/>
                    </a:lnTo>
                    <a:lnTo>
                      <a:pt x="532" y="83"/>
                    </a:lnTo>
                    <a:lnTo>
                      <a:pt x="534" y="83"/>
                    </a:lnTo>
                    <a:lnTo>
                      <a:pt x="536" y="83"/>
                    </a:lnTo>
                    <a:lnTo>
                      <a:pt x="538" y="83"/>
                    </a:lnTo>
                    <a:lnTo>
                      <a:pt x="538" y="81"/>
                    </a:lnTo>
                    <a:lnTo>
                      <a:pt x="538" y="79"/>
                    </a:lnTo>
                    <a:lnTo>
                      <a:pt x="538" y="77"/>
                    </a:lnTo>
                    <a:lnTo>
                      <a:pt x="536" y="77"/>
                    </a:lnTo>
                    <a:lnTo>
                      <a:pt x="534" y="77"/>
                    </a:lnTo>
                    <a:lnTo>
                      <a:pt x="532" y="77"/>
                    </a:lnTo>
                    <a:lnTo>
                      <a:pt x="530" y="77"/>
                    </a:lnTo>
                    <a:lnTo>
                      <a:pt x="528" y="77"/>
                    </a:lnTo>
                    <a:lnTo>
                      <a:pt x="528" y="75"/>
                    </a:lnTo>
                    <a:lnTo>
                      <a:pt x="528" y="77"/>
                    </a:lnTo>
                    <a:lnTo>
                      <a:pt x="526" y="79"/>
                    </a:lnTo>
                    <a:lnTo>
                      <a:pt x="526" y="77"/>
                    </a:lnTo>
                    <a:lnTo>
                      <a:pt x="528" y="77"/>
                    </a:lnTo>
                    <a:lnTo>
                      <a:pt x="528" y="75"/>
                    </a:lnTo>
                    <a:lnTo>
                      <a:pt x="526" y="75"/>
                    </a:lnTo>
                    <a:lnTo>
                      <a:pt x="528" y="75"/>
                    </a:lnTo>
                    <a:lnTo>
                      <a:pt x="528" y="73"/>
                    </a:lnTo>
                    <a:lnTo>
                      <a:pt x="528" y="72"/>
                    </a:lnTo>
                    <a:lnTo>
                      <a:pt x="530" y="72"/>
                    </a:lnTo>
                    <a:lnTo>
                      <a:pt x="530" y="70"/>
                    </a:lnTo>
                    <a:lnTo>
                      <a:pt x="532" y="70"/>
                    </a:lnTo>
                    <a:lnTo>
                      <a:pt x="530" y="70"/>
                    </a:lnTo>
                    <a:lnTo>
                      <a:pt x="530" y="68"/>
                    </a:lnTo>
                    <a:lnTo>
                      <a:pt x="532" y="68"/>
                    </a:lnTo>
                    <a:lnTo>
                      <a:pt x="532" y="66"/>
                    </a:lnTo>
                    <a:lnTo>
                      <a:pt x="534" y="66"/>
                    </a:lnTo>
                    <a:lnTo>
                      <a:pt x="534" y="64"/>
                    </a:lnTo>
                    <a:lnTo>
                      <a:pt x="534" y="62"/>
                    </a:lnTo>
                    <a:lnTo>
                      <a:pt x="534" y="60"/>
                    </a:lnTo>
                    <a:lnTo>
                      <a:pt x="532" y="60"/>
                    </a:lnTo>
                    <a:lnTo>
                      <a:pt x="532" y="58"/>
                    </a:lnTo>
                    <a:lnTo>
                      <a:pt x="530" y="56"/>
                    </a:lnTo>
                    <a:lnTo>
                      <a:pt x="530" y="54"/>
                    </a:lnTo>
                    <a:lnTo>
                      <a:pt x="530" y="52"/>
                    </a:lnTo>
                    <a:lnTo>
                      <a:pt x="528" y="52"/>
                    </a:lnTo>
                    <a:lnTo>
                      <a:pt x="528" y="50"/>
                    </a:lnTo>
                    <a:lnTo>
                      <a:pt x="528" y="48"/>
                    </a:lnTo>
                    <a:lnTo>
                      <a:pt x="530" y="48"/>
                    </a:lnTo>
                    <a:lnTo>
                      <a:pt x="530" y="47"/>
                    </a:lnTo>
                    <a:lnTo>
                      <a:pt x="532" y="45"/>
                    </a:lnTo>
                    <a:lnTo>
                      <a:pt x="534" y="43"/>
                    </a:lnTo>
                    <a:lnTo>
                      <a:pt x="534" y="41"/>
                    </a:lnTo>
                    <a:lnTo>
                      <a:pt x="536" y="41"/>
                    </a:lnTo>
                    <a:lnTo>
                      <a:pt x="536" y="39"/>
                    </a:lnTo>
                    <a:lnTo>
                      <a:pt x="536" y="41"/>
                    </a:lnTo>
                    <a:lnTo>
                      <a:pt x="538" y="41"/>
                    </a:lnTo>
                    <a:lnTo>
                      <a:pt x="538" y="43"/>
                    </a:lnTo>
                    <a:lnTo>
                      <a:pt x="540" y="43"/>
                    </a:lnTo>
                    <a:lnTo>
                      <a:pt x="542" y="43"/>
                    </a:lnTo>
                    <a:lnTo>
                      <a:pt x="543" y="43"/>
                    </a:lnTo>
                    <a:lnTo>
                      <a:pt x="545" y="43"/>
                    </a:lnTo>
                    <a:lnTo>
                      <a:pt x="545" y="41"/>
                    </a:lnTo>
                    <a:lnTo>
                      <a:pt x="547" y="41"/>
                    </a:lnTo>
                    <a:lnTo>
                      <a:pt x="549" y="41"/>
                    </a:lnTo>
                    <a:lnTo>
                      <a:pt x="549" y="39"/>
                    </a:lnTo>
                    <a:lnTo>
                      <a:pt x="549" y="37"/>
                    </a:lnTo>
                    <a:lnTo>
                      <a:pt x="547" y="37"/>
                    </a:lnTo>
                    <a:lnTo>
                      <a:pt x="547" y="35"/>
                    </a:lnTo>
                    <a:lnTo>
                      <a:pt x="547" y="33"/>
                    </a:lnTo>
                    <a:lnTo>
                      <a:pt x="545" y="33"/>
                    </a:lnTo>
                    <a:lnTo>
                      <a:pt x="545" y="31"/>
                    </a:lnTo>
                    <a:lnTo>
                      <a:pt x="545" y="29"/>
                    </a:lnTo>
                    <a:lnTo>
                      <a:pt x="547" y="29"/>
                    </a:lnTo>
                    <a:lnTo>
                      <a:pt x="549" y="27"/>
                    </a:lnTo>
                    <a:lnTo>
                      <a:pt x="549" y="25"/>
                    </a:lnTo>
                    <a:lnTo>
                      <a:pt x="547" y="25"/>
                    </a:lnTo>
                    <a:lnTo>
                      <a:pt x="545" y="25"/>
                    </a:lnTo>
                    <a:lnTo>
                      <a:pt x="545" y="27"/>
                    </a:lnTo>
                    <a:lnTo>
                      <a:pt x="543" y="27"/>
                    </a:lnTo>
                    <a:lnTo>
                      <a:pt x="543" y="25"/>
                    </a:lnTo>
                    <a:lnTo>
                      <a:pt x="543" y="24"/>
                    </a:lnTo>
                    <a:lnTo>
                      <a:pt x="542" y="24"/>
                    </a:lnTo>
                    <a:lnTo>
                      <a:pt x="542" y="22"/>
                    </a:lnTo>
                    <a:lnTo>
                      <a:pt x="543" y="22"/>
                    </a:lnTo>
                    <a:lnTo>
                      <a:pt x="542" y="20"/>
                    </a:lnTo>
                    <a:lnTo>
                      <a:pt x="543" y="20"/>
                    </a:lnTo>
                    <a:lnTo>
                      <a:pt x="543" y="18"/>
                    </a:lnTo>
                    <a:lnTo>
                      <a:pt x="542" y="18"/>
                    </a:lnTo>
                    <a:lnTo>
                      <a:pt x="542" y="16"/>
                    </a:lnTo>
                    <a:lnTo>
                      <a:pt x="542" y="14"/>
                    </a:lnTo>
                    <a:lnTo>
                      <a:pt x="542" y="12"/>
                    </a:lnTo>
                    <a:lnTo>
                      <a:pt x="542" y="10"/>
                    </a:lnTo>
                    <a:lnTo>
                      <a:pt x="540" y="10"/>
                    </a:lnTo>
                    <a:lnTo>
                      <a:pt x="540" y="8"/>
                    </a:lnTo>
                    <a:lnTo>
                      <a:pt x="542" y="6"/>
                    </a:lnTo>
                    <a:lnTo>
                      <a:pt x="542" y="4"/>
                    </a:lnTo>
                    <a:lnTo>
                      <a:pt x="543" y="4"/>
                    </a:lnTo>
                    <a:lnTo>
                      <a:pt x="543" y="2"/>
                    </a:lnTo>
                    <a:lnTo>
                      <a:pt x="545" y="2"/>
                    </a:lnTo>
                    <a:lnTo>
                      <a:pt x="547" y="2"/>
                    </a:lnTo>
                    <a:lnTo>
                      <a:pt x="547" y="0"/>
                    </a:lnTo>
                    <a:lnTo>
                      <a:pt x="547" y="2"/>
                    </a:lnTo>
                    <a:lnTo>
                      <a:pt x="549" y="2"/>
                    </a:lnTo>
                    <a:lnTo>
                      <a:pt x="551" y="2"/>
                    </a:lnTo>
                    <a:lnTo>
                      <a:pt x="553" y="2"/>
                    </a:lnTo>
                    <a:lnTo>
                      <a:pt x="555" y="2"/>
                    </a:lnTo>
                    <a:lnTo>
                      <a:pt x="557" y="4"/>
                    </a:lnTo>
                    <a:lnTo>
                      <a:pt x="557" y="6"/>
                    </a:lnTo>
                    <a:lnTo>
                      <a:pt x="559" y="6"/>
                    </a:lnTo>
                    <a:lnTo>
                      <a:pt x="559" y="8"/>
                    </a:lnTo>
                    <a:lnTo>
                      <a:pt x="561" y="8"/>
                    </a:lnTo>
                    <a:lnTo>
                      <a:pt x="561" y="10"/>
                    </a:lnTo>
                    <a:lnTo>
                      <a:pt x="563" y="8"/>
                    </a:lnTo>
                    <a:lnTo>
                      <a:pt x="565" y="8"/>
                    </a:lnTo>
                    <a:lnTo>
                      <a:pt x="566" y="8"/>
                    </a:lnTo>
                    <a:lnTo>
                      <a:pt x="568" y="8"/>
                    </a:lnTo>
                    <a:lnTo>
                      <a:pt x="570" y="10"/>
                    </a:lnTo>
                    <a:lnTo>
                      <a:pt x="572" y="10"/>
                    </a:lnTo>
                    <a:lnTo>
                      <a:pt x="572" y="12"/>
                    </a:lnTo>
                    <a:lnTo>
                      <a:pt x="574" y="12"/>
                    </a:lnTo>
                    <a:lnTo>
                      <a:pt x="574" y="14"/>
                    </a:lnTo>
                    <a:lnTo>
                      <a:pt x="576" y="14"/>
                    </a:lnTo>
                    <a:lnTo>
                      <a:pt x="576" y="12"/>
                    </a:lnTo>
                    <a:lnTo>
                      <a:pt x="578" y="12"/>
                    </a:lnTo>
                    <a:lnTo>
                      <a:pt x="578" y="10"/>
                    </a:lnTo>
                    <a:lnTo>
                      <a:pt x="578" y="8"/>
                    </a:lnTo>
                    <a:lnTo>
                      <a:pt x="580" y="8"/>
                    </a:lnTo>
                    <a:lnTo>
                      <a:pt x="582" y="8"/>
                    </a:lnTo>
                    <a:lnTo>
                      <a:pt x="584" y="8"/>
                    </a:lnTo>
                    <a:lnTo>
                      <a:pt x="584" y="10"/>
                    </a:lnTo>
                    <a:lnTo>
                      <a:pt x="586" y="10"/>
                    </a:lnTo>
                    <a:lnTo>
                      <a:pt x="588" y="10"/>
                    </a:lnTo>
                    <a:lnTo>
                      <a:pt x="590" y="10"/>
                    </a:lnTo>
                    <a:lnTo>
                      <a:pt x="591" y="10"/>
                    </a:lnTo>
                    <a:lnTo>
                      <a:pt x="591" y="12"/>
                    </a:lnTo>
                    <a:lnTo>
                      <a:pt x="593" y="12"/>
                    </a:lnTo>
                    <a:lnTo>
                      <a:pt x="593" y="14"/>
                    </a:lnTo>
                    <a:lnTo>
                      <a:pt x="595" y="16"/>
                    </a:lnTo>
                    <a:lnTo>
                      <a:pt x="595" y="18"/>
                    </a:lnTo>
                    <a:lnTo>
                      <a:pt x="597" y="18"/>
                    </a:lnTo>
                    <a:lnTo>
                      <a:pt x="597" y="20"/>
                    </a:lnTo>
                    <a:lnTo>
                      <a:pt x="597" y="22"/>
                    </a:lnTo>
                    <a:lnTo>
                      <a:pt x="599" y="22"/>
                    </a:lnTo>
                    <a:lnTo>
                      <a:pt x="601" y="22"/>
                    </a:lnTo>
                    <a:lnTo>
                      <a:pt x="603" y="22"/>
                    </a:lnTo>
                    <a:lnTo>
                      <a:pt x="605" y="22"/>
                    </a:lnTo>
                    <a:lnTo>
                      <a:pt x="605" y="20"/>
                    </a:lnTo>
                    <a:lnTo>
                      <a:pt x="605" y="22"/>
                    </a:lnTo>
                    <a:lnTo>
                      <a:pt x="607" y="22"/>
                    </a:lnTo>
                    <a:lnTo>
                      <a:pt x="607" y="24"/>
                    </a:lnTo>
                    <a:lnTo>
                      <a:pt x="609" y="24"/>
                    </a:lnTo>
                    <a:lnTo>
                      <a:pt x="609" y="25"/>
                    </a:lnTo>
                    <a:lnTo>
                      <a:pt x="611" y="25"/>
                    </a:lnTo>
                    <a:lnTo>
                      <a:pt x="611" y="27"/>
                    </a:lnTo>
                    <a:lnTo>
                      <a:pt x="613" y="27"/>
                    </a:lnTo>
                    <a:lnTo>
                      <a:pt x="613" y="29"/>
                    </a:lnTo>
                    <a:lnTo>
                      <a:pt x="615" y="29"/>
                    </a:lnTo>
                    <a:lnTo>
                      <a:pt x="615" y="31"/>
                    </a:lnTo>
                    <a:lnTo>
                      <a:pt x="616" y="31"/>
                    </a:lnTo>
                    <a:lnTo>
                      <a:pt x="618" y="31"/>
                    </a:lnTo>
                    <a:lnTo>
                      <a:pt x="618" y="33"/>
                    </a:lnTo>
                    <a:lnTo>
                      <a:pt x="620" y="33"/>
                    </a:lnTo>
                    <a:lnTo>
                      <a:pt x="620" y="35"/>
                    </a:lnTo>
                    <a:lnTo>
                      <a:pt x="622" y="35"/>
                    </a:lnTo>
                    <a:lnTo>
                      <a:pt x="622" y="37"/>
                    </a:lnTo>
                    <a:lnTo>
                      <a:pt x="624" y="37"/>
                    </a:lnTo>
                    <a:lnTo>
                      <a:pt x="624" y="39"/>
                    </a:lnTo>
                    <a:lnTo>
                      <a:pt x="624" y="41"/>
                    </a:lnTo>
                    <a:lnTo>
                      <a:pt x="624" y="43"/>
                    </a:lnTo>
                    <a:lnTo>
                      <a:pt x="626" y="43"/>
                    </a:lnTo>
                    <a:lnTo>
                      <a:pt x="628" y="43"/>
                    </a:lnTo>
                    <a:lnTo>
                      <a:pt x="628" y="45"/>
                    </a:lnTo>
                    <a:lnTo>
                      <a:pt x="628" y="47"/>
                    </a:lnTo>
                    <a:lnTo>
                      <a:pt x="628" y="45"/>
                    </a:lnTo>
                    <a:lnTo>
                      <a:pt x="630" y="45"/>
                    </a:lnTo>
                    <a:lnTo>
                      <a:pt x="630" y="43"/>
                    </a:lnTo>
                    <a:lnTo>
                      <a:pt x="632" y="43"/>
                    </a:lnTo>
                    <a:lnTo>
                      <a:pt x="634" y="43"/>
                    </a:lnTo>
                    <a:lnTo>
                      <a:pt x="636" y="43"/>
                    </a:lnTo>
                    <a:lnTo>
                      <a:pt x="638" y="43"/>
                    </a:lnTo>
                    <a:lnTo>
                      <a:pt x="638" y="41"/>
                    </a:lnTo>
                    <a:lnTo>
                      <a:pt x="639" y="41"/>
                    </a:lnTo>
                    <a:lnTo>
                      <a:pt x="641" y="41"/>
                    </a:lnTo>
                    <a:lnTo>
                      <a:pt x="641" y="39"/>
                    </a:lnTo>
                    <a:lnTo>
                      <a:pt x="641" y="41"/>
                    </a:lnTo>
                    <a:lnTo>
                      <a:pt x="643" y="41"/>
                    </a:lnTo>
                    <a:lnTo>
                      <a:pt x="643" y="43"/>
                    </a:lnTo>
                    <a:lnTo>
                      <a:pt x="643" y="45"/>
                    </a:lnTo>
                    <a:lnTo>
                      <a:pt x="645" y="45"/>
                    </a:lnTo>
                    <a:lnTo>
                      <a:pt x="645" y="43"/>
                    </a:lnTo>
                    <a:lnTo>
                      <a:pt x="647" y="43"/>
                    </a:lnTo>
                    <a:lnTo>
                      <a:pt x="649" y="43"/>
                    </a:lnTo>
                    <a:lnTo>
                      <a:pt x="651" y="43"/>
                    </a:lnTo>
                    <a:lnTo>
                      <a:pt x="651" y="41"/>
                    </a:lnTo>
                    <a:lnTo>
                      <a:pt x="653" y="41"/>
                    </a:lnTo>
                    <a:lnTo>
                      <a:pt x="655" y="43"/>
                    </a:lnTo>
                    <a:lnTo>
                      <a:pt x="657" y="43"/>
                    </a:lnTo>
                    <a:lnTo>
                      <a:pt x="657" y="45"/>
                    </a:lnTo>
                    <a:lnTo>
                      <a:pt x="659" y="41"/>
                    </a:lnTo>
                    <a:lnTo>
                      <a:pt x="661" y="41"/>
                    </a:lnTo>
                    <a:lnTo>
                      <a:pt x="661" y="39"/>
                    </a:lnTo>
                    <a:lnTo>
                      <a:pt x="663" y="37"/>
                    </a:lnTo>
                    <a:lnTo>
                      <a:pt x="664" y="37"/>
                    </a:lnTo>
                    <a:lnTo>
                      <a:pt x="666" y="37"/>
                    </a:lnTo>
                    <a:lnTo>
                      <a:pt x="666" y="39"/>
                    </a:lnTo>
                    <a:lnTo>
                      <a:pt x="668" y="39"/>
                    </a:lnTo>
                    <a:lnTo>
                      <a:pt x="670" y="39"/>
                    </a:lnTo>
                    <a:lnTo>
                      <a:pt x="672" y="39"/>
                    </a:lnTo>
                    <a:lnTo>
                      <a:pt x="674" y="39"/>
                    </a:lnTo>
                    <a:lnTo>
                      <a:pt x="676" y="39"/>
                    </a:lnTo>
                    <a:lnTo>
                      <a:pt x="676" y="41"/>
                    </a:lnTo>
                    <a:lnTo>
                      <a:pt x="676" y="43"/>
                    </a:lnTo>
                    <a:lnTo>
                      <a:pt x="674" y="43"/>
                    </a:lnTo>
                    <a:lnTo>
                      <a:pt x="674" y="45"/>
                    </a:lnTo>
                    <a:lnTo>
                      <a:pt x="674" y="47"/>
                    </a:lnTo>
                    <a:lnTo>
                      <a:pt x="674" y="48"/>
                    </a:lnTo>
                    <a:lnTo>
                      <a:pt x="674" y="50"/>
                    </a:lnTo>
                    <a:lnTo>
                      <a:pt x="676" y="50"/>
                    </a:lnTo>
                    <a:lnTo>
                      <a:pt x="676" y="52"/>
                    </a:lnTo>
                    <a:lnTo>
                      <a:pt x="678" y="52"/>
                    </a:lnTo>
                    <a:lnTo>
                      <a:pt x="680" y="52"/>
                    </a:lnTo>
                    <a:lnTo>
                      <a:pt x="682" y="50"/>
                    </a:lnTo>
                    <a:lnTo>
                      <a:pt x="684" y="50"/>
                    </a:lnTo>
                    <a:lnTo>
                      <a:pt x="684" y="48"/>
                    </a:lnTo>
                    <a:lnTo>
                      <a:pt x="686" y="48"/>
                    </a:lnTo>
                    <a:lnTo>
                      <a:pt x="686" y="47"/>
                    </a:lnTo>
                    <a:lnTo>
                      <a:pt x="687" y="47"/>
                    </a:lnTo>
                    <a:lnTo>
                      <a:pt x="689" y="47"/>
                    </a:lnTo>
                    <a:lnTo>
                      <a:pt x="689" y="45"/>
                    </a:lnTo>
                    <a:lnTo>
                      <a:pt x="691" y="45"/>
                    </a:lnTo>
                    <a:lnTo>
                      <a:pt x="693" y="45"/>
                    </a:lnTo>
                    <a:lnTo>
                      <a:pt x="693" y="43"/>
                    </a:lnTo>
                    <a:lnTo>
                      <a:pt x="695" y="43"/>
                    </a:lnTo>
                    <a:lnTo>
                      <a:pt x="695" y="41"/>
                    </a:lnTo>
                    <a:lnTo>
                      <a:pt x="697" y="41"/>
                    </a:lnTo>
                    <a:lnTo>
                      <a:pt x="699" y="41"/>
                    </a:lnTo>
                    <a:lnTo>
                      <a:pt x="701" y="43"/>
                    </a:lnTo>
                    <a:lnTo>
                      <a:pt x="703" y="43"/>
                    </a:lnTo>
                    <a:lnTo>
                      <a:pt x="705" y="43"/>
                    </a:lnTo>
                    <a:lnTo>
                      <a:pt x="705" y="41"/>
                    </a:lnTo>
                    <a:lnTo>
                      <a:pt x="705" y="39"/>
                    </a:lnTo>
                    <a:lnTo>
                      <a:pt x="705" y="37"/>
                    </a:lnTo>
                    <a:lnTo>
                      <a:pt x="707" y="37"/>
                    </a:lnTo>
                    <a:lnTo>
                      <a:pt x="707" y="35"/>
                    </a:lnTo>
                    <a:lnTo>
                      <a:pt x="709" y="35"/>
                    </a:lnTo>
                    <a:lnTo>
                      <a:pt x="711" y="35"/>
                    </a:lnTo>
                    <a:lnTo>
                      <a:pt x="711" y="33"/>
                    </a:lnTo>
                    <a:lnTo>
                      <a:pt x="712" y="33"/>
                    </a:lnTo>
                    <a:lnTo>
                      <a:pt x="712" y="31"/>
                    </a:lnTo>
                    <a:lnTo>
                      <a:pt x="714" y="31"/>
                    </a:lnTo>
                    <a:lnTo>
                      <a:pt x="716" y="29"/>
                    </a:lnTo>
                    <a:lnTo>
                      <a:pt x="718" y="29"/>
                    </a:lnTo>
                    <a:lnTo>
                      <a:pt x="718" y="27"/>
                    </a:lnTo>
                    <a:lnTo>
                      <a:pt x="718" y="25"/>
                    </a:lnTo>
                    <a:lnTo>
                      <a:pt x="720" y="25"/>
                    </a:lnTo>
                    <a:lnTo>
                      <a:pt x="722" y="25"/>
                    </a:lnTo>
                    <a:lnTo>
                      <a:pt x="722" y="24"/>
                    </a:lnTo>
                    <a:lnTo>
                      <a:pt x="722" y="22"/>
                    </a:lnTo>
                    <a:lnTo>
                      <a:pt x="722" y="20"/>
                    </a:lnTo>
                    <a:lnTo>
                      <a:pt x="724" y="20"/>
                    </a:lnTo>
                    <a:lnTo>
                      <a:pt x="724" y="22"/>
                    </a:lnTo>
                    <a:lnTo>
                      <a:pt x="726" y="22"/>
                    </a:lnTo>
                    <a:lnTo>
                      <a:pt x="726" y="24"/>
                    </a:lnTo>
                    <a:lnTo>
                      <a:pt x="726" y="25"/>
                    </a:lnTo>
                    <a:lnTo>
                      <a:pt x="724" y="27"/>
                    </a:lnTo>
                    <a:lnTo>
                      <a:pt x="724" y="25"/>
                    </a:lnTo>
                    <a:lnTo>
                      <a:pt x="722" y="25"/>
                    </a:lnTo>
                    <a:lnTo>
                      <a:pt x="722" y="27"/>
                    </a:lnTo>
                    <a:lnTo>
                      <a:pt x="722" y="29"/>
                    </a:lnTo>
                    <a:lnTo>
                      <a:pt x="722" y="31"/>
                    </a:lnTo>
                    <a:lnTo>
                      <a:pt x="724" y="31"/>
                    </a:lnTo>
                    <a:lnTo>
                      <a:pt x="726" y="31"/>
                    </a:lnTo>
                    <a:lnTo>
                      <a:pt x="726" y="29"/>
                    </a:lnTo>
                    <a:lnTo>
                      <a:pt x="728" y="29"/>
                    </a:lnTo>
                    <a:lnTo>
                      <a:pt x="728" y="27"/>
                    </a:lnTo>
                    <a:lnTo>
                      <a:pt x="730" y="27"/>
                    </a:lnTo>
                    <a:lnTo>
                      <a:pt x="730" y="25"/>
                    </a:lnTo>
                    <a:lnTo>
                      <a:pt x="732" y="25"/>
                    </a:lnTo>
                    <a:lnTo>
                      <a:pt x="732" y="24"/>
                    </a:lnTo>
                    <a:lnTo>
                      <a:pt x="734" y="24"/>
                    </a:lnTo>
                    <a:lnTo>
                      <a:pt x="734" y="22"/>
                    </a:lnTo>
                    <a:lnTo>
                      <a:pt x="735" y="22"/>
                    </a:lnTo>
                    <a:lnTo>
                      <a:pt x="735" y="24"/>
                    </a:lnTo>
                    <a:lnTo>
                      <a:pt x="737" y="22"/>
                    </a:lnTo>
                    <a:lnTo>
                      <a:pt x="737" y="20"/>
                    </a:lnTo>
                    <a:lnTo>
                      <a:pt x="739" y="20"/>
                    </a:lnTo>
                    <a:lnTo>
                      <a:pt x="739" y="18"/>
                    </a:lnTo>
                    <a:lnTo>
                      <a:pt x="741" y="18"/>
                    </a:lnTo>
                    <a:lnTo>
                      <a:pt x="741" y="16"/>
                    </a:lnTo>
                    <a:lnTo>
                      <a:pt x="743" y="16"/>
                    </a:lnTo>
                    <a:lnTo>
                      <a:pt x="743" y="14"/>
                    </a:lnTo>
                    <a:lnTo>
                      <a:pt x="743" y="16"/>
                    </a:lnTo>
                    <a:lnTo>
                      <a:pt x="743" y="14"/>
                    </a:lnTo>
                    <a:lnTo>
                      <a:pt x="745" y="16"/>
                    </a:lnTo>
                    <a:lnTo>
                      <a:pt x="745" y="18"/>
                    </a:lnTo>
                    <a:lnTo>
                      <a:pt x="747" y="18"/>
                    </a:lnTo>
                    <a:lnTo>
                      <a:pt x="749" y="18"/>
                    </a:lnTo>
                    <a:lnTo>
                      <a:pt x="751" y="18"/>
                    </a:lnTo>
                    <a:lnTo>
                      <a:pt x="751" y="16"/>
                    </a:lnTo>
                    <a:lnTo>
                      <a:pt x="751" y="14"/>
                    </a:lnTo>
                    <a:lnTo>
                      <a:pt x="753" y="14"/>
                    </a:lnTo>
                    <a:lnTo>
                      <a:pt x="753" y="12"/>
                    </a:lnTo>
                    <a:lnTo>
                      <a:pt x="753" y="10"/>
                    </a:lnTo>
                    <a:lnTo>
                      <a:pt x="753" y="8"/>
                    </a:lnTo>
                    <a:lnTo>
                      <a:pt x="753" y="6"/>
                    </a:lnTo>
                    <a:lnTo>
                      <a:pt x="753" y="4"/>
                    </a:lnTo>
                    <a:lnTo>
                      <a:pt x="755" y="4"/>
                    </a:lnTo>
                    <a:lnTo>
                      <a:pt x="757" y="4"/>
                    </a:lnTo>
                    <a:lnTo>
                      <a:pt x="757" y="2"/>
                    </a:lnTo>
                    <a:lnTo>
                      <a:pt x="759" y="2"/>
                    </a:lnTo>
                    <a:lnTo>
                      <a:pt x="759" y="4"/>
                    </a:lnTo>
                    <a:lnTo>
                      <a:pt x="760" y="4"/>
                    </a:lnTo>
                    <a:close/>
                    <a:moveTo>
                      <a:pt x="81" y="287"/>
                    </a:moveTo>
                    <a:lnTo>
                      <a:pt x="81" y="290"/>
                    </a:lnTo>
                    <a:lnTo>
                      <a:pt x="81" y="292"/>
                    </a:lnTo>
                    <a:lnTo>
                      <a:pt x="81" y="294"/>
                    </a:lnTo>
                    <a:lnTo>
                      <a:pt x="81" y="296"/>
                    </a:lnTo>
                    <a:lnTo>
                      <a:pt x="79" y="296"/>
                    </a:lnTo>
                    <a:lnTo>
                      <a:pt x="77" y="296"/>
                    </a:lnTo>
                    <a:lnTo>
                      <a:pt x="75" y="296"/>
                    </a:lnTo>
                    <a:lnTo>
                      <a:pt x="75" y="294"/>
                    </a:lnTo>
                    <a:lnTo>
                      <a:pt x="73" y="294"/>
                    </a:lnTo>
                    <a:lnTo>
                      <a:pt x="71" y="294"/>
                    </a:lnTo>
                    <a:lnTo>
                      <a:pt x="69" y="294"/>
                    </a:lnTo>
                    <a:lnTo>
                      <a:pt x="69" y="296"/>
                    </a:lnTo>
                    <a:lnTo>
                      <a:pt x="67" y="296"/>
                    </a:lnTo>
                    <a:lnTo>
                      <a:pt x="63" y="296"/>
                    </a:lnTo>
                    <a:lnTo>
                      <a:pt x="61" y="298"/>
                    </a:lnTo>
                    <a:lnTo>
                      <a:pt x="60" y="298"/>
                    </a:lnTo>
                    <a:lnTo>
                      <a:pt x="58" y="300"/>
                    </a:lnTo>
                    <a:lnTo>
                      <a:pt x="56" y="300"/>
                    </a:lnTo>
                    <a:lnTo>
                      <a:pt x="54" y="298"/>
                    </a:lnTo>
                    <a:lnTo>
                      <a:pt x="52" y="298"/>
                    </a:lnTo>
                    <a:lnTo>
                      <a:pt x="52" y="296"/>
                    </a:lnTo>
                    <a:lnTo>
                      <a:pt x="52" y="294"/>
                    </a:lnTo>
                    <a:lnTo>
                      <a:pt x="48" y="294"/>
                    </a:lnTo>
                    <a:lnTo>
                      <a:pt x="48" y="296"/>
                    </a:lnTo>
                    <a:lnTo>
                      <a:pt x="46" y="296"/>
                    </a:lnTo>
                    <a:lnTo>
                      <a:pt x="46" y="298"/>
                    </a:lnTo>
                    <a:lnTo>
                      <a:pt x="48" y="298"/>
                    </a:lnTo>
                    <a:lnTo>
                      <a:pt x="50" y="298"/>
                    </a:lnTo>
                    <a:lnTo>
                      <a:pt x="48" y="296"/>
                    </a:lnTo>
                    <a:lnTo>
                      <a:pt x="50" y="296"/>
                    </a:lnTo>
                    <a:lnTo>
                      <a:pt x="50" y="298"/>
                    </a:lnTo>
                    <a:lnTo>
                      <a:pt x="50" y="300"/>
                    </a:lnTo>
                    <a:lnTo>
                      <a:pt x="52" y="300"/>
                    </a:lnTo>
                    <a:lnTo>
                      <a:pt x="52" y="298"/>
                    </a:lnTo>
                    <a:lnTo>
                      <a:pt x="54" y="298"/>
                    </a:lnTo>
                    <a:lnTo>
                      <a:pt x="56" y="300"/>
                    </a:lnTo>
                    <a:lnTo>
                      <a:pt x="58" y="300"/>
                    </a:lnTo>
                    <a:lnTo>
                      <a:pt x="61" y="298"/>
                    </a:lnTo>
                    <a:lnTo>
                      <a:pt x="63" y="298"/>
                    </a:lnTo>
                    <a:lnTo>
                      <a:pt x="63" y="296"/>
                    </a:lnTo>
                    <a:lnTo>
                      <a:pt x="65" y="298"/>
                    </a:lnTo>
                    <a:lnTo>
                      <a:pt x="67" y="298"/>
                    </a:lnTo>
                    <a:lnTo>
                      <a:pt x="69" y="298"/>
                    </a:lnTo>
                    <a:lnTo>
                      <a:pt x="71" y="298"/>
                    </a:lnTo>
                    <a:lnTo>
                      <a:pt x="73" y="298"/>
                    </a:lnTo>
                    <a:lnTo>
                      <a:pt x="75" y="298"/>
                    </a:lnTo>
                    <a:lnTo>
                      <a:pt x="77" y="298"/>
                    </a:lnTo>
                    <a:lnTo>
                      <a:pt x="77" y="300"/>
                    </a:lnTo>
                    <a:lnTo>
                      <a:pt x="79" y="300"/>
                    </a:lnTo>
                    <a:lnTo>
                      <a:pt x="81" y="300"/>
                    </a:lnTo>
                    <a:lnTo>
                      <a:pt x="83" y="300"/>
                    </a:lnTo>
                    <a:lnTo>
                      <a:pt x="84" y="302"/>
                    </a:lnTo>
                    <a:lnTo>
                      <a:pt x="86" y="302"/>
                    </a:lnTo>
                    <a:lnTo>
                      <a:pt x="88" y="302"/>
                    </a:lnTo>
                    <a:lnTo>
                      <a:pt x="90" y="302"/>
                    </a:lnTo>
                    <a:lnTo>
                      <a:pt x="90" y="304"/>
                    </a:lnTo>
                    <a:lnTo>
                      <a:pt x="92" y="304"/>
                    </a:lnTo>
                    <a:lnTo>
                      <a:pt x="94" y="304"/>
                    </a:lnTo>
                    <a:lnTo>
                      <a:pt x="96" y="306"/>
                    </a:lnTo>
                    <a:lnTo>
                      <a:pt x="98" y="306"/>
                    </a:lnTo>
                    <a:lnTo>
                      <a:pt x="98" y="304"/>
                    </a:lnTo>
                    <a:lnTo>
                      <a:pt x="98" y="302"/>
                    </a:lnTo>
                    <a:lnTo>
                      <a:pt x="98" y="300"/>
                    </a:lnTo>
                    <a:lnTo>
                      <a:pt x="100" y="300"/>
                    </a:lnTo>
                    <a:lnTo>
                      <a:pt x="100" y="302"/>
                    </a:lnTo>
                    <a:lnTo>
                      <a:pt x="100" y="300"/>
                    </a:lnTo>
                    <a:lnTo>
                      <a:pt x="98" y="300"/>
                    </a:lnTo>
                    <a:lnTo>
                      <a:pt x="100" y="300"/>
                    </a:lnTo>
                    <a:lnTo>
                      <a:pt x="100" y="298"/>
                    </a:lnTo>
                    <a:lnTo>
                      <a:pt x="100" y="296"/>
                    </a:lnTo>
                    <a:lnTo>
                      <a:pt x="100" y="294"/>
                    </a:lnTo>
                    <a:lnTo>
                      <a:pt x="98" y="294"/>
                    </a:lnTo>
                    <a:lnTo>
                      <a:pt x="96" y="294"/>
                    </a:lnTo>
                    <a:lnTo>
                      <a:pt x="94" y="292"/>
                    </a:lnTo>
                    <a:lnTo>
                      <a:pt x="92" y="292"/>
                    </a:lnTo>
                    <a:lnTo>
                      <a:pt x="90" y="292"/>
                    </a:lnTo>
                    <a:lnTo>
                      <a:pt x="88" y="292"/>
                    </a:lnTo>
                    <a:lnTo>
                      <a:pt x="86" y="292"/>
                    </a:lnTo>
                    <a:lnTo>
                      <a:pt x="86" y="290"/>
                    </a:lnTo>
                    <a:lnTo>
                      <a:pt x="86" y="288"/>
                    </a:lnTo>
                    <a:lnTo>
                      <a:pt x="84" y="288"/>
                    </a:lnTo>
                    <a:lnTo>
                      <a:pt x="84" y="287"/>
                    </a:lnTo>
                    <a:lnTo>
                      <a:pt x="83" y="287"/>
                    </a:lnTo>
                    <a:lnTo>
                      <a:pt x="81" y="287"/>
                    </a:lnTo>
                    <a:close/>
                    <a:moveTo>
                      <a:pt x="88" y="304"/>
                    </a:moveTo>
                    <a:lnTo>
                      <a:pt x="90" y="304"/>
                    </a:lnTo>
                    <a:lnTo>
                      <a:pt x="88" y="304"/>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5" name="Freeform 116">
                <a:extLst>
                  <a:ext uri="{FF2B5EF4-FFF2-40B4-BE49-F238E27FC236}">
                    <a16:creationId xmlns:a16="http://schemas.microsoft.com/office/drawing/2014/main" id="{C0670C2D-7644-428D-9003-DBE050C89FAA}"/>
                  </a:ext>
                </a:extLst>
              </p:cNvPr>
              <p:cNvSpPr>
                <a:spLocks/>
              </p:cNvSpPr>
              <p:nvPr/>
            </p:nvSpPr>
            <p:spPr bwMode="auto">
              <a:xfrm>
                <a:off x="6942442" y="3525969"/>
                <a:ext cx="1687326" cy="1059587"/>
              </a:xfrm>
              <a:custGeom>
                <a:avLst/>
                <a:gdLst>
                  <a:gd name="T0" fmla="*/ 633 w 1137"/>
                  <a:gd name="T1" fmla="*/ 14 h 714"/>
                  <a:gd name="T2" fmla="*/ 672 w 1137"/>
                  <a:gd name="T3" fmla="*/ 21 h 714"/>
                  <a:gd name="T4" fmla="*/ 680 w 1137"/>
                  <a:gd name="T5" fmla="*/ 39 h 714"/>
                  <a:gd name="T6" fmla="*/ 701 w 1137"/>
                  <a:gd name="T7" fmla="*/ 60 h 714"/>
                  <a:gd name="T8" fmla="*/ 729 w 1137"/>
                  <a:gd name="T9" fmla="*/ 85 h 714"/>
                  <a:gd name="T10" fmla="*/ 766 w 1137"/>
                  <a:gd name="T11" fmla="*/ 102 h 714"/>
                  <a:gd name="T12" fmla="*/ 802 w 1137"/>
                  <a:gd name="T13" fmla="*/ 112 h 714"/>
                  <a:gd name="T14" fmla="*/ 829 w 1137"/>
                  <a:gd name="T15" fmla="*/ 114 h 714"/>
                  <a:gd name="T16" fmla="*/ 870 w 1137"/>
                  <a:gd name="T17" fmla="*/ 106 h 714"/>
                  <a:gd name="T18" fmla="*/ 900 w 1137"/>
                  <a:gd name="T19" fmla="*/ 162 h 714"/>
                  <a:gd name="T20" fmla="*/ 927 w 1137"/>
                  <a:gd name="T21" fmla="*/ 202 h 714"/>
                  <a:gd name="T22" fmla="*/ 956 w 1137"/>
                  <a:gd name="T23" fmla="*/ 290 h 714"/>
                  <a:gd name="T24" fmla="*/ 998 w 1137"/>
                  <a:gd name="T25" fmla="*/ 254 h 714"/>
                  <a:gd name="T26" fmla="*/ 1087 w 1137"/>
                  <a:gd name="T27" fmla="*/ 259 h 714"/>
                  <a:gd name="T28" fmla="*/ 1110 w 1137"/>
                  <a:gd name="T29" fmla="*/ 321 h 714"/>
                  <a:gd name="T30" fmla="*/ 1102 w 1137"/>
                  <a:gd name="T31" fmla="*/ 377 h 714"/>
                  <a:gd name="T32" fmla="*/ 1125 w 1137"/>
                  <a:gd name="T33" fmla="*/ 450 h 714"/>
                  <a:gd name="T34" fmla="*/ 1110 w 1137"/>
                  <a:gd name="T35" fmla="*/ 507 h 714"/>
                  <a:gd name="T36" fmla="*/ 1077 w 1137"/>
                  <a:gd name="T37" fmla="*/ 490 h 714"/>
                  <a:gd name="T38" fmla="*/ 1050 w 1137"/>
                  <a:gd name="T39" fmla="*/ 484 h 714"/>
                  <a:gd name="T40" fmla="*/ 1037 w 1137"/>
                  <a:gd name="T41" fmla="*/ 515 h 714"/>
                  <a:gd name="T42" fmla="*/ 1033 w 1137"/>
                  <a:gd name="T43" fmla="*/ 559 h 714"/>
                  <a:gd name="T44" fmla="*/ 981 w 1137"/>
                  <a:gd name="T45" fmla="*/ 592 h 714"/>
                  <a:gd name="T46" fmla="*/ 920 w 1137"/>
                  <a:gd name="T47" fmla="*/ 578 h 714"/>
                  <a:gd name="T48" fmla="*/ 893 w 1137"/>
                  <a:gd name="T49" fmla="*/ 542 h 714"/>
                  <a:gd name="T50" fmla="*/ 868 w 1137"/>
                  <a:gd name="T51" fmla="*/ 482 h 714"/>
                  <a:gd name="T52" fmla="*/ 789 w 1137"/>
                  <a:gd name="T53" fmla="*/ 453 h 714"/>
                  <a:gd name="T54" fmla="*/ 703 w 1137"/>
                  <a:gd name="T55" fmla="*/ 461 h 714"/>
                  <a:gd name="T56" fmla="*/ 653 w 1137"/>
                  <a:gd name="T57" fmla="*/ 446 h 714"/>
                  <a:gd name="T58" fmla="*/ 580 w 1137"/>
                  <a:gd name="T59" fmla="*/ 463 h 714"/>
                  <a:gd name="T60" fmla="*/ 562 w 1137"/>
                  <a:gd name="T61" fmla="*/ 521 h 714"/>
                  <a:gd name="T62" fmla="*/ 549 w 1137"/>
                  <a:gd name="T63" fmla="*/ 559 h 714"/>
                  <a:gd name="T64" fmla="*/ 557 w 1137"/>
                  <a:gd name="T65" fmla="*/ 649 h 714"/>
                  <a:gd name="T66" fmla="*/ 557 w 1137"/>
                  <a:gd name="T67" fmla="*/ 701 h 714"/>
                  <a:gd name="T68" fmla="*/ 461 w 1137"/>
                  <a:gd name="T69" fmla="*/ 680 h 714"/>
                  <a:gd name="T70" fmla="*/ 380 w 1137"/>
                  <a:gd name="T71" fmla="*/ 693 h 714"/>
                  <a:gd name="T72" fmla="*/ 294 w 1137"/>
                  <a:gd name="T73" fmla="*/ 714 h 714"/>
                  <a:gd name="T74" fmla="*/ 198 w 1137"/>
                  <a:gd name="T75" fmla="*/ 695 h 714"/>
                  <a:gd name="T76" fmla="*/ 130 w 1137"/>
                  <a:gd name="T77" fmla="*/ 670 h 714"/>
                  <a:gd name="T78" fmla="*/ 90 w 1137"/>
                  <a:gd name="T79" fmla="*/ 672 h 714"/>
                  <a:gd name="T80" fmla="*/ 69 w 1137"/>
                  <a:gd name="T81" fmla="*/ 651 h 714"/>
                  <a:gd name="T82" fmla="*/ 9 w 1137"/>
                  <a:gd name="T83" fmla="*/ 617 h 714"/>
                  <a:gd name="T84" fmla="*/ 40 w 1137"/>
                  <a:gd name="T85" fmla="*/ 519 h 714"/>
                  <a:gd name="T86" fmla="*/ 30 w 1137"/>
                  <a:gd name="T87" fmla="*/ 467 h 714"/>
                  <a:gd name="T88" fmla="*/ 67 w 1137"/>
                  <a:gd name="T89" fmla="*/ 438 h 714"/>
                  <a:gd name="T90" fmla="*/ 100 w 1137"/>
                  <a:gd name="T91" fmla="*/ 405 h 714"/>
                  <a:gd name="T92" fmla="*/ 151 w 1137"/>
                  <a:gd name="T93" fmla="*/ 396 h 714"/>
                  <a:gd name="T94" fmla="*/ 178 w 1137"/>
                  <a:gd name="T95" fmla="*/ 338 h 714"/>
                  <a:gd name="T96" fmla="*/ 175 w 1137"/>
                  <a:gd name="T97" fmla="*/ 273 h 714"/>
                  <a:gd name="T98" fmla="*/ 226 w 1137"/>
                  <a:gd name="T99" fmla="*/ 234 h 714"/>
                  <a:gd name="T100" fmla="*/ 251 w 1137"/>
                  <a:gd name="T101" fmla="*/ 190 h 714"/>
                  <a:gd name="T102" fmla="*/ 219 w 1137"/>
                  <a:gd name="T103" fmla="*/ 144 h 714"/>
                  <a:gd name="T104" fmla="*/ 269 w 1137"/>
                  <a:gd name="T105" fmla="*/ 150 h 714"/>
                  <a:gd name="T106" fmla="*/ 301 w 1137"/>
                  <a:gd name="T107" fmla="*/ 112 h 714"/>
                  <a:gd name="T108" fmla="*/ 359 w 1137"/>
                  <a:gd name="T109" fmla="*/ 142 h 714"/>
                  <a:gd name="T110" fmla="*/ 407 w 1137"/>
                  <a:gd name="T111" fmla="*/ 188 h 714"/>
                  <a:gd name="T112" fmla="*/ 424 w 1137"/>
                  <a:gd name="T113" fmla="*/ 146 h 714"/>
                  <a:gd name="T114" fmla="*/ 418 w 1137"/>
                  <a:gd name="T115" fmla="*/ 96 h 714"/>
                  <a:gd name="T116" fmla="*/ 451 w 1137"/>
                  <a:gd name="T117" fmla="*/ 50 h 714"/>
                  <a:gd name="T118" fmla="*/ 495 w 1137"/>
                  <a:gd name="T119" fmla="*/ 41 h 714"/>
                  <a:gd name="T120" fmla="*/ 526 w 1137"/>
                  <a:gd name="T121" fmla="*/ 27 h 714"/>
                  <a:gd name="T122" fmla="*/ 559 w 1137"/>
                  <a:gd name="T123" fmla="*/ 4 h 714"/>
                  <a:gd name="T124" fmla="*/ 585 w 1137"/>
                  <a:gd name="T125" fmla="*/ 1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7" h="714">
                    <a:moveTo>
                      <a:pt x="601" y="2"/>
                    </a:moveTo>
                    <a:lnTo>
                      <a:pt x="601" y="0"/>
                    </a:lnTo>
                    <a:lnTo>
                      <a:pt x="601" y="2"/>
                    </a:lnTo>
                    <a:lnTo>
                      <a:pt x="603" y="2"/>
                    </a:lnTo>
                    <a:lnTo>
                      <a:pt x="603" y="0"/>
                    </a:lnTo>
                    <a:lnTo>
                      <a:pt x="603" y="2"/>
                    </a:lnTo>
                    <a:lnTo>
                      <a:pt x="603" y="4"/>
                    </a:lnTo>
                    <a:lnTo>
                      <a:pt x="605" y="4"/>
                    </a:lnTo>
                    <a:lnTo>
                      <a:pt x="605" y="2"/>
                    </a:lnTo>
                    <a:lnTo>
                      <a:pt x="605" y="4"/>
                    </a:lnTo>
                    <a:lnTo>
                      <a:pt x="605" y="6"/>
                    </a:lnTo>
                    <a:lnTo>
                      <a:pt x="607" y="6"/>
                    </a:lnTo>
                    <a:lnTo>
                      <a:pt x="609" y="6"/>
                    </a:lnTo>
                    <a:lnTo>
                      <a:pt x="609" y="8"/>
                    </a:lnTo>
                    <a:lnTo>
                      <a:pt x="610" y="12"/>
                    </a:lnTo>
                    <a:lnTo>
                      <a:pt x="612" y="12"/>
                    </a:lnTo>
                    <a:lnTo>
                      <a:pt x="612" y="14"/>
                    </a:lnTo>
                    <a:lnTo>
                      <a:pt x="614" y="16"/>
                    </a:lnTo>
                    <a:lnTo>
                      <a:pt x="614" y="14"/>
                    </a:lnTo>
                    <a:lnTo>
                      <a:pt x="616" y="16"/>
                    </a:lnTo>
                    <a:lnTo>
                      <a:pt x="616" y="18"/>
                    </a:lnTo>
                    <a:lnTo>
                      <a:pt x="618" y="18"/>
                    </a:lnTo>
                    <a:lnTo>
                      <a:pt x="618" y="19"/>
                    </a:lnTo>
                    <a:lnTo>
                      <a:pt x="616" y="19"/>
                    </a:lnTo>
                    <a:lnTo>
                      <a:pt x="618" y="19"/>
                    </a:lnTo>
                    <a:lnTo>
                      <a:pt x="620" y="19"/>
                    </a:lnTo>
                    <a:lnTo>
                      <a:pt x="622" y="19"/>
                    </a:lnTo>
                    <a:lnTo>
                      <a:pt x="624" y="19"/>
                    </a:lnTo>
                    <a:lnTo>
                      <a:pt x="624" y="18"/>
                    </a:lnTo>
                    <a:lnTo>
                      <a:pt x="626" y="18"/>
                    </a:lnTo>
                    <a:lnTo>
                      <a:pt x="626" y="16"/>
                    </a:lnTo>
                    <a:lnTo>
                      <a:pt x="628" y="16"/>
                    </a:lnTo>
                    <a:lnTo>
                      <a:pt x="628" y="14"/>
                    </a:lnTo>
                    <a:lnTo>
                      <a:pt x="628" y="12"/>
                    </a:lnTo>
                    <a:lnTo>
                      <a:pt x="628" y="10"/>
                    </a:lnTo>
                    <a:lnTo>
                      <a:pt x="630" y="10"/>
                    </a:lnTo>
                    <a:lnTo>
                      <a:pt x="632" y="10"/>
                    </a:lnTo>
                    <a:lnTo>
                      <a:pt x="632" y="12"/>
                    </a:lnTo>
                    <a:lnTo>
                      <a:pt x="633" y="12"/>
                    </a:lnTo>
                    <a:lnTo>
                      <a:pt x="635" y="12"/>
                    </a:lnTo>
                    <a:lnTo>
                      <a:pt x="633" y="14"/>
                    </a:lnTo>
                    <a:lnTo>
                      <a:pt x="633" y="18"/>
                    </a:lnTo>
                    <a:lnTo>
                      <a:pt x="635" y="16"/>
                    </a:lnTo>
                    <a:lnTo>
                      <a:pt x="635" y="18"/>
                    </a:lnTo>
                    <a:lnTo>
                      <a:pt x="635" y="19"/>
                    </a:lnTo>
                    <a:lnTo>
                      <a:pt x="635" y="21"/>
                    </a:lnTo>
                    <a:lnTo>
                      <a:pt x="635" y="23"/>
                    </a:lnTo>
                    <a:lnTo>
                      <a:pt x="635" y="25"/>
                    </a:lnTo>
                    <a:lnTo>
                      <a:pt x="637" y="25"/>
                    </a:lnTo>
                    <a:lnTo>
                      <a:pt x="637" y="23"/>
                    </a:lnTo>
                    <a:lnTo>
                      <a:pt x="637" y="21"/>
                    </a:lnTo>
                    <a:lnTo>
                      <a:pt x="639" y="21"/>
                    </a:lnTo>
                    <a:lnTo>
                      <a:pt x="639" y="19"/>
                    </a:lnTo>
                    <a:lnTo>
                      <a:pt x="641" y="19"/>
                    </a:lnTo>
                    <a:lnTo>
                      <a:pt x="641" y="18"/>
                    </a:lnTo>
                    <a:lnTo>
                      <a:pt x="643" y="18"/>
                    </a:lnTo>
                    <a:lnTo>
                      <a:pt x="645" y="18"/>
                    </a:lnTo>
                    <a:lnTo>
                      <a:pt x="647" y="18"/>
                    </a:lnTo>
                    <a:lnTo>
                      <a:pt x="647" y="16"/>
                    </a:lnTo>
                    <a:lnTo>
                      <a:pt x="649" y="16"/>
                    </a:lnTo>
                    <a:lnTo>
                      <a:pt x="649" y="18"/>
                    </a:lnTo>
                    <a:lnTo>
                      <a:pt x="651" y="18"/>
                    </a:lnTo>
                    <a:lnTo>
                      <a:pt x="649" y="18"/>
                    </a:lnTo>
                    <a:lnTo>
                      <a:pt x="651" y="18"/>
                    </a:lnTo>
                    <a:lnTo>
                      <a:pt x="653" y="18"/>
                    </a:lnTo>
                    <a:lnTo>
                      <a:pt x="651" y="19"/>
                    </a:lnTo>
                    <a:lnTo>
                      <a:pt x="651" y="21"/>
                    </a:lnTo>
                    <a:lnTo>
                      <a:pt x="653" y="21"/>
                    </a:lnTo>
                    <a:lnTo>
                      <a:pt x="655" y="21"/>
                    </a:lnTo>
                    <a:lnTo>
                      <a:pt x="657" y="21"/>
                    </a:lnTo>
                    <a:lnTo>
                      <a:pt x="657" y="19"/>
                    </a:lnTo>
                    <a:lnTo>
                      <a:pt x="657" y="18"/>
                    </a:lnTo>
                    <a:lnTo>
                      <a:pt x="658" y="18"/>
                    </a:lnTo>
                    <a:lnTo>
                      <a:pt x="660" y="18"/>
                    </a:lnTo>
                    <a:lnTo>
                      <a:pt x="662" y="18"/>
                    </a:lnTo>
                    <a:lnTo>
                      <a:pt x="664" y="18"/>
                    </a:lnTo>
                    <a:lnTo>
                      <a:pt x="666" y="18"/>
                    </a:lnTo>
                    <a:lnTo>
                      <a:pt x="668" y="18"/>
                    </a:lnTo>
                    <a:lnTo>
                      <a:pt x="668" y="19"/>
                    </a:lnTo>
                    <a:lnTo>
                      <a:pt x="670" y="19"/>
                    </a:lnTo>
                    <a:lnTo>
                      <a:pt x="670" y="21"/>
                    </a:lnTo>
                    <a:lnTo>
                      <a:pt x="672" y="21"/>
                    </a:lnTo>
                    <a:lnTo>
                      <a:pt x="672" y="23"/>
                    </a:lnTo>
                    <a:lnTo>
                      <a:pt x="670" y="23"/>
                    </a:lnTo>
                    <a:lnTo>
                      <a:pt x="668" y="23"/>
                    </a:lnTo>
                    <a:lnTo>
                      <a:pt x="666" y="23"/>
                    </a:lnTo>
                    <a:lnTo>
                      <a:pt x="666" y="25"/>
                    </a:lnTo>
                    <a:lnTo>
                      <a:pt x="666" y="27"/>
                    </a:lnTo>
                    <a:lnTo>
                      <a:pt x="668" y="27"/>
                    </a:lnTo>
                    <a:lnTo>
                      <a:pt x="668" y="29"/>
                    </a:lnTo>
                    <a:lnTo>
                      <a:pt x="670" y="29"/>
                    </a:lnTo>
                    <a:lnTo>
                      <a:pt x="670" y="27"/>
                    </a:lnTo>
                    <a:lnTo>
                      <a:pt x="670" y="29"/>
                    </a:lnTo>
                    <a:lnTo>
                      <a:pt x="672" y="31"/>
                    </a:lnTo>
                    <a:lnTo>
                      <a:pt x="674" y="31"/>
                    </a:lnTo>
                    <a:lnTo>
                      <a:pt x="676" y="33"/>
                    </a:lnTo>
                    <a:lnTo>
                      <a:pt x="674" y="33"/>
                    </a:lnTo>
                    <a:lnTo>
                      <a:pt x="672" y="33"/>
                    </a:lnTo>
                    <a:lnTo>
                      <a:pt x="672" y="35"/>
                    </a:lnTo>
                    <a:lnTo>
                      <a:pt x="670" y="35"/>
                    </a:lnTo>
                    <a:lnTo>
                      <a:pt x="672" y="35"/>
                    </a:lnTo>
                    <a:lnTo>
                      <a:pt x="670" y="37"/>
                    </a:lnTo>
                    <a:lnTo>
                      <a:pt x="670" y="35"/>
                    </a:lnTo>
                    <a:lnTo>
                      <a:pt x="668" y="35"/>
                    </a:lnTo>
                    <a:lnTo>
                      <a:pt x="668" y="37"/>
                    </a:lnTo>
                    <a:lnTo>
                      <a:pt x="666" y="37"/>
                    </a:lnTo>
                    <a:lnTo>
                      <a:pt x="666" y="39"/>
                    </a:lnTo>
                    <a:lnTo>
                      <a:pt x="666" y="41"/>
                    </a:lnTo>
                    <a:lnTo>
                      <a:pt x="668" y="41"/>
                    </a:lnTo>
                    <a:lnTo>
                      <a:pt x="670" y="41"/>
                    </a:lnTo>
                    <a:lnTo>
                      <a:pt x="672" y="41"/>
                    </a:lnTo>
                    <a:lnTo>
                      <a:pt x="674" y="41"/>
                    </a:lnTo>
                    <a:lnTo>
                      <a:pt x="674" y="43"/>
                    </a:lnTo>
                    <a:lnTo>
                      <a:pt x="674" y="44"/>
                    </a:lnTo>
                    <a:lnTo>
                      <a:pt x="676" y="43"/>
                    </a:lnTo>
                    <a:lnTo>
                      <a:pt x="676" y="44"/>
                    </a:lnTo>
                    <a:lnTo>
                      <a:pt x="676" y="43"/>
                    </a:lnTo>
                    <a:lnTo>
                      <a:pt x="678" y="43"/>
                    </a:lnTo>
                    <a:lnTo>
                      <a:pt x="678" y="41"/>
                    </a:lnTo>
                    <a:lnTo>
                      <a:pt x="678" y="39"/>
                    </a:lnTo>
                    <a:lnTo>
                      <a:pt x="680" y="39"/>
                    </a:lnTo>
                    <a:lnTo>
                      <a:pt x="678" y="39"/>
                    </a:lnTo>
                    <a:lnTo>
                      <a:pt x="680" y="39"/>
                    </a:lnTo>
                    <a:lnTo>
                      <a:pt x="681" y="39"/>
                    </a:lnTo>
                    <a:lnTo>
                      <a:pt x="683" y="39"/>
                    </a:lnTo>
                    <a:lnTo>
                      <a:pt x="685" y="39"/>
                    </a:lnTo>
                    <a:lnTo>
                      <a:pt x="683" y="41"/>
                    </a:lnTo>
                    <a:lnTo>
                      <a:pt x="683" y="43"/>
                    </a:lnTo>
                    <a:lnTo>
                      <a:pt x="685" y="43"/>
                    </a:lnTo>
                    <a:lnTo>
                      <a:pt x="687" y="43"/>
                    </a:lnTo>
                    <a:lnTo>
                      <a:pt x="687" y="44"/>
                    </a:lnTo>
                    <a:lnTo>
                      <a:pt x="687" y="46"/>
                    </a:lnTo>
                    <a:lnTo>
                      <a:pt x="689" y="48"/>
                    </a:lnTo>
                    <a:lnTo>
                      <a:pt x="689" y="46"/>
                    </a:lnTo>
                    <a:lnTo>
                      <a:pt x="691" y="46"/>
                    </a:lnTo>
                    <a:lnTo>
                      <a:pt x="691" y="48"/>
                    </a:lnTo>
                    <a:lnTo>
                      <a:pt x="691" y="46"/>
                    </a:lnTo>
                    <a:lnTo>
                      <a:pt x="691" y="48"/>
                    </a:lnTo>
                    <a:lnTo>
                      <a:pt x="693" y="48"/>
                    </a:lnTo>
                    <a:lnTo>
                      <a:pt x="693" y="46"/>
                    </a:lnTo>
                    <a:lnTo>
                      <a:pt x="693" y="48"/>
                    </a:lnTo>
                    <a:lnTo>
                      <a:pt x="693" y="46"/>
                    </a:lnTo>
                    <a:lnTo>
                      <a:pt x="693" y="48"/>
                    </a:lnTo>
                    <a:lnTo>
                      <a:pt x="693" y="46"/>
                    </a:lnTo>
                    <a:lnTo>
                      <a:pt x="693" y="48"/>
                    </a:lnTo>
                    <a:lnTo>
                      <a:pt x="695" y="48"/>
                    </a:lnTo>
                    <a:lnTo>
                      <a:pt x="695" y="50"/>
                    </a:lnTo>
                    <a:lnTo>
                      <a:pt x="697" y="50"/>
                    </a:lnTo>
                    <a:lnTo>
                      <a:pt x="697" y="48"/>
                    </a:lnTo>
                    <a:lnTo>
                      <a:pt x="697" y="50"/>
                    </a:lnTo>
                    <a:lnTo>
                      <a:pt x="699" y="50"/>
                    </a:lnTo>
                    <a:lnTo>
                      <a:pt x="699" y="52"/>
                    </a:lnTo>
                    <a:lnTo>
                      <a:pt x="699" y="54"/>
                    </a:lnTo>
                    <a:lnTo>
                      <a:pt x="699" y="56"/>
                    </a:lnTo>
                    <a:lnTo>
                      <a:pt x="699" y="54"/>
                    </a:lnTo>
                    <a:lnTo>
                      <a:pt x="697" y="54"/>
                    </a:lnTo>
                    <a:lnTo>
                      <a:pt x="697" y="56"/>
                    </a:lnTo>
                    <a:lnTo>
                      <a:pt x="695" y="56"/>
                    </a:lnTo>
                    <a:lnTo>
                      <a:pt x="695" y="58"/>
                    </a:lnTo>
                    <a:lnTo>
                      <a:pt x="697" y="58"/>
                    </a:lnTo>
                    <a:lnTo>
                      <a:pt x="699" y="58"/>
                    </a:lnTo>
                    <a:lnTo>
                      <a:pt x="699" y="60"/>
                    </a:lnTo>
                    <a:lnTo>
                      <a:pt x="699" y="58"/>
                    </a:lnTo>
                    <a:lnTo>
                      <a:pt x="701" y="60"/>
                    </a:lnTo>
                    <a:lnTo>
                      <a:pt x="701" y="62"/>
                    </a:lnTo>
                    <a:lnTo>
                      <a:pt x="703" y="60"/>
                    </a:lnTo>
                    <a:lnTo>
                      <a:pt x="703" y="62"/>
                    </a:lnTo>
                    <a:lnTo>
                      <a:pt x="705" y="62"/>
                    </a:lnTo>
                    <a:lnTo>
                      <a:pt x="705" y="64"/>
                    </a:lnTo>
                    <a:lnTo>
                      <a:pt x="706" y="64"/>
                    </a:lnTo>
                    <a:lnTo>
                      <a:pt x="706" y="66"/>
                    </a:lnTo>
                    <a:lnTo>
                      <a:pt x="705" y="66"/>
                    </a:lnTo>
                    <a:lnTo>
                      <a:pt x="705" y="67"/>
                    </a:lnTo>
                    <a:lnTo>
                      <a:pt x="706" y="67"/>
                    </a:lnTo>
                    <a:lnTo>
                      <a:pt x="706" y="69"/>
                    </a:lnTo>
                    <a:lnTo>
                      <a:pt x="708" y="69"/>
                    </a:lnTo>
                    <a:lnTo>
                      <a:pt x="708" y="71"/>
                    </a:lnTo>
                    <a:lnTo>
                      <a:pt x="710" y="71"/>
                    </a:lnTo>
                    <a:lnTo>
                      <a:pt x="710" y="69"/>
                    </a:lnTo>
                    <a:lnTo>
                      <a:pt x="712" y="69"/>
                    </a:lnTo>
                    <a:lnTo>
                      <a:pt x="712" y="71"/>
                    </a:lnTo>
                    <a:lnTo>
                      <a:pt x="714" y="71"/>
                    </a:lnTo>
                    <a:lnTo>
                      <a:pt x="714" y="73"/>
                    </a:lnTo>
                    <a:lnTo>
                      <a:pt x="716" y="73"/>
                    </a:lnTo>
                    <a:lnTo>
                      <a:pt x="716" y="75"/>
                    </a:lnTo>
                    <a:lnTo>
                      <a:pt x="718" y="75"/>
                    </a:lnTo>
                    <a:lnTo>
                      <a:pt x="718" y="77"/>
                    </a:lnTo>
                    <a:lnTo>
                      <a:pt x="720" y="77"/>
                    </a:lnTo>
                    <a:lnTo>
                      <a:pt x="720" y="75"/>
                    </a:lnTo>
                    <a:lnTo>
                      <a:pt x="722" y="75"/>
                    </a:lnTo>
                    <a:lnTo>
                      <a:pt x="722" y="77"/>
                    </a:lnTo>
                    <a:lnTo>
                      <a:pt x="724" y="77"/>
                    </a:lnTo>
                    <a:lnTo>
                      <a:pt x="722" y="77"/>
                    </a:lnTo>
                    <a:lnTo>
                      <a:pt x="722" y="79"/>
                    </a:lnTo>
                    <a:lnTo>
                      <a:pt x="724" y="79"/>
                    </a:lnTo>
                    <a:lnTo>
                      <a:pt x="724" y="81"/>
                    </a:lnTo>
                    <a:lnTo>
                      <a:pt x="722" y="81"/>
                    </a:lnTo>
                    <a:lnTo>
                      <a:pt x="722" y="79"/>
                    </a:lnTo>
                    <a:lnTo>
                      <a:pt x="722" y="81"/>
                    </a:lnTo>
                    <a:lnTo>
                      <a:pt x="722" y="83"/>
                    </a:lnTo>
                    <a:lnTo>
                      <a:pt x="724" y="83"/>
                    </a:lnTo>
                    <a:lnTo>
                      <a:pt x="726" y="83"/>
                    </a:lnTo>
                    <a:lnTo>
                      <a:pt x="728" y="83"/>
                    </a:lnTo>
                    <a:lnTo>
                      <a:pt x="728" y="85"/>
                    </a:lnTo>
                    <a:lnTo>
                      <a:pt x="729" y="85"/>
                    </a:lnTo>
                    <a:lnTo>
                      <a:pt x="729" y="83"/>
                    </a:lnTo>
                    <a:lnTo>
                      <a:pt x="731" y="83"/>
                    </a:lnTo>
                    <a:lnTo>
                      <a:pt x="731" y="85"/>
                    </a:lnTo>
                    <a:lnTo>
                      <a:pt x="731" y="87"/>
                    </a:lnTo>
                    <a:lnTo>
                      <a:pt x="731" y="89"/>
                    </a:lnTo>
                    <a:lnTo>
                      <a:pt x="733" y="89"/>
                    </a:lnTo>
                    <a:lnTo>
                      <a:pt x="735" y="89"/>
                    </a:lnTo>
                    <a:lnTo>
                      <a:pt x="735" y="91"/>
                    </a:lnTo>
                    <a:lnTo>
                      <a:pt x="735" y="89"/>
                    </a:lnTo>
                    <a:lnTo>
                      <a:pt x="735" y="91"/>
                    </a:lnTo>
                    <a:lnTo>
                      <a:pt x="737" y="91"/>
                    </a:lnTo>
                    <a:lnTo>
                      <a:pt x="737" y="92"/>
                    </a:lnTo>
                    <a:lnTo>
                      <a:pt x="737" y="94"/>
                    </a:lnTo>
                    <a:lnTo>
                      <a:pt x="739" y="94"/>
                    </a:lnTo>
                    <a:lnTo>
                      <a:pt x="741" y="94"/>
                    </a:lnTo>
                    <a:lnTo>
                      <a:pt x="741" y="96"/>
                    </a:lnTo>
                    <a:lnTo>
                      <a:pt x="741" y="98"/>
                    </a:lnTo>
                    <a:lnTo>
                      <a:pt x="743" y="98"/>
                    </a:lnTo>
                    <a:lnTo>
                      <a:pt x="745" y="98"/>
                    </a:lnTo>
                    <a:lnTo>
                      <a:pt x="745" y="96"/>
                    </a:lnTo>
                    <a:lnTo>
                      <a:pt x="745" y="98"/>
                    </a:lnTo>
                    <a:lnTo>
                      <a:pt x="745" y="100"/>
                    </a:lnTo>
                    <a:lnTo>
                      <a:pt x="743" y="100"/>
                    </a:lnTo>
                    <a:lnTo>
                      <a:pt x="745" y="100"/>
                    </a:lnTo>
                    <a:lnTo>
                      <a:pt x="747" y="100"/>
                    </a:lnTo>
                    <a:lnTo>
                      <a:pt x="747" y="98"/>
                    </a:lnTo>
                    <a:lnTo>
                      <a:pt x="749" y="98"/>
                    </a:lnTo>
                    <a:lnTo>
                      <a:pt x="751" y="98"/>
                    </a:lnTo>
                    <a:lnTo>
                      <a:pt x="751" y="96"/>
                    </a:lnTo>
                    <a:lnTo>
                      <a:pt x="753" y="96"/>
                    </a:lnTo>
                    <a:lnTo>
                      <a:pt x="753" y="98"/>
                    </a:lnTo>
                    <a:lnTo>
                      <a:pt x="754" y="100"/>
                    </a:lnTo>
                    <a:lnTo>
                      <a:pt x="756" y="100"/>
                    </a:lnTo>
                    <a:lnTo>
                      <a:pt x="756" y="98"/>
                    </a:lnTo>
                    <a:lnTo>
                      <a:pt x="758" y="98"/>
                    </a:lnTo>
                    <a:lnTo>
                      <a:pt x="760" y="98"/>
                    </a:lnTo>
                    <a:lnTo>
                      <a:pt x="760" y="100"/>
                    </a:lnTo>
                    <a:lnTo>
                      <a:pt x="762" y="100"/>
                    </a:lnTo>
                    <a:lnTo>
                      <a:pt x="764" y="100"/>
                    </a:lnTo>
                    <a:lnTo>
                      <a:pt x="764" y="102"/>
                    </a:lnTo>
                    <a:lnTo>
                      <a:pt x="766" y="102"/>
                    </a:lnTo>
                    <a:lnTo>
                      <a:pt x="766" y="100"/>
                    </a:lnTo>
                    <a:lnTo>
                      <a:pt x="768" y="100"/>
                    </a:lnTo>
                    <a:lnTo>
                      <a:pt x="768" y="102"/>
                    </a:lnTo>
                    <a:lnTo>
                      <a:pt x="770" y="102"/>
                    </a:lnTo>
                    <a:lnTo>
                      <a:pt x="770" y="100"/>
                    </a:lnTo>
                    <a:lnTo>
                      <a:pt x="772" y="98"/>
                    </a:lnTo>
                    <a:lnTo>
                      <a:pt x="772" y="96"/>
                    </a:lnTo>
                    <a:lnTo>
                      <a:pt x="774" y="96"/>
                    </a:lnTo>
                    <a:lnTo>
                      <a:pt x="776" y="96"/>
                    </a:lnTo>
                    <a:lnTo>
                      <a:pt x="776" y="98"/>
                    </a:lnTo>
                    <a:lnTo>
                      <a:pt x="777" y="98"/>
                    </a:lnTo>
                    <a:lnTo>
                      <a:pt x="779" y="98"/>
                    </a:lnTo>
                    <a:lnTo>
                      <a:pt x="781" y="98"/>
                    </a:lnTo>
                    <a:lnTo>
                      <a:pt x="783" y="98"/>
                    </a:lnTo>
                    <a:lnTo>
                      <a:pt x="783" y="100"/>
                    </a:lnTo>
                    <a:lnTo>
                      <a:pt x="783" y="102"/>
                    </a:lnTo>
                    <a:lnTo>
                      <a:pt x="783" y="104"/>
                    </a:lnTo>
                    <a:lnTo>
                      <a:pt x="785" y="108"/>
                    </a:lnTo>
                    <a:lnTo>
                      <a:pt x="785" y="106"/>
                    </a:lnTo>
                    <a:lnTo>
                      <a:pt x="787" y="106"/>
                    </a:lnTo>
                    <a:lnTo>
                      <a:pt x="789" y="106"/>
                    </a:lnTo>
                    <a:lnTo>
                      <a:pt x="789" y="104"/>
                    </a:lnTo>
                    <a:lnTo>
                      <a:pt x="787" y="104"/>
                    </a:lnTo>
                    <a:lnTo>
                      <a:pt x="789" y="104"/>
                    </a:lnTo>
                    <a:lnTo>
                      <a:pt x="789" y="102"/>
                    </a:lnTo>
                    <a:lnTo>
                      <a:pt x="791" y="102"/>
                    </a:lnTo>
                    <a:lnTo>
                      <a:pt x="793" y="102"/>
                    </a:lnTo>
                    <a:lnTo>
                      <a:pt x="793" y="104"/>
                    </a:lnTo>
                    <a:lnTo>
                      <a:pt x="793" y="106"/>
                    </a:lnTo>
                    <a:lnTo>
                      <a:pt x="793" y="104"/>
                    </a:lnTo>
                    <a:lnTo>
                      <a:pt x="795" y="104"/>
                    </a:lnTo>
                    <a:lnTo>
                      <a:pt x="797" y="104"/>
                    </a:lnTo>
                    <a:lnTo>
                      <a:pt x="799" y="104"/>
                    </a:lnTo>
                    <a:lnTo>
                      <a:pt x="801" y="104"/>
                    </a:lnTo>
                    <a:lnTo>
                      <a:pt x="801" y="106"/>
                    </a:lnTo>
                    <a:lnTo>
                      <a:pt x="802" y="106"/>
                    </a:lnTo>
                    <a:lnTo>
                      <a:pt x="802" y="108"/>
                    </a:lnTo>
                    <a:lnTo>
                      <a:pt x="802" y="110"/>
                    </a:lnTo>
                    <a:lnTo>
                      <a:pt x="801" y="110"/>
                    </a:lnTo>
                    <a:lnTo>
                      <a:pt x="802" y="110"/>
                    </a:lnTo>
                    <a:lnTo>
                      <a:pt x="802" y="112"/>
                    </a:lnTo>
                    <a:lnTo>
                      <a:pt x="801" y="112"/>
                    </a:lnTo>
                    <a:lnTo>
                      <a:pt x="801" y="114"/>
                    </a:lnTo>
                    <a:lnTo>
                      <a:pt x="801" y="115"/>
                    </a:lnTo>
                    <a:lnTo>
                      <a:pt x="802" y="115"/>
                    </a:lnTo>
                    <a:lnTo>
                      <a:pt x="802" y="114"/>
                    </a:lnTo>
                    <a:lnTo>
                      <a:pt x="802" y="115"/>
                    </a:lnTo>
                    <a:lnTo>
                      <a:pt x="804" y="115"/>
                    </a:lnTo>
                    <a:lnTo>
                      <a:pt x="806" y="114"/>
                    </a:lnTo>
                    <a:lnTo>
                      <a:pt x="808" y="114"/>
                    </a:lnTo>
                    <a:lnTo>
                      <a:pt x="808" y="112"/>
                    </a:lnTo>
                    <a:lnTo>
                      <a:pt x="808" y="110"/>
                    </a:lnTo>
                    <a:lnTo>
                      <a:pt x="806" y="110"/>
                    </a:lnTo>
                    <a:lnTo>
                      <a:pt x="808" y="110"/>
                    </a:lnTo>
                    <a:lnTo>
                      <a:pt x="808" y="108"/>
                    </a:lnTo>
                    <a:lnTo>
                      <a:pt x="808" y="106"/>
                    </a:lnTo>
                    <a:lnTo>
                      <a:pt x="810" y="106"/>
                    </a:lnTo>
                    <a:lnTo>
                      <a:pt x="810" y="108"/>
                    </a:lnTo>
                    <a:lnTo>
                      <a:pt x="812" y="108"/>
                    </a:lnTo>
                    <a:lnTo>
                      <a:pt x="812" y="106"/>
                    </a:lnTo>
                    <a:lnTo>
                      <a:pt x="814" y="106"/>
                    </a:lnTo>
                    <a:lnTo>
                      <a:pt x="814" y="108"/>
                    </a:lnTo>
                    <a:lnTo>
                      <a:pt x="814" y="110"/>
                    </a:lnTo>
                    <a:lnTo>
                      <a:pt x="814" y="112"/>
                    </a:lnTo>
                    <a:lnTo>
                      <a:pt x="814" y="114"/>
                    </a:lnTo>
                    <a:lnTo>
                      <a:pt x="816" y="114"/>
                    </a:lnTo>
                    <a:lnTo>
                      <a:pt x="818" y="115"/>
                    </a:lnTo>
                    <a:lnTo>
                      <a:pt x="820" y="115"/>
                    </a:lnTo>
                    <a:lnTo>
                      <a:pt x="820" y="114"/>
                    </a:lnTo>
                    <a:lnTo>
                      <a:pt x="820" y="112"/>
                    </a:lnTo>
                    <a:lnTo>
                      <a:pt x="822" y="112"/>
                    </a:lnTo>
                    <a:lnTo>
                      <a:pt x="822" y="114"/>
                    </a:lnTo>
                    <a:lnTo>
                      <a:pt x="824" y="114"/>
                    </a:lnTo>
                    <a:lnTo>
                      <a:pt x="824" y="115"/>
                    </a:lnTo>
                    <a:lnTo>
                      <a:pt x="826" y="115"/>
                    </a:lnTo>
                    <a:lnTo>
                      <a:pt x="826" y="114"/>
                    </a:lnTo>
                    <a:lnTo>
                      <a:pt x="827" y="114"/>
                    </a:lnTo>
                    <a:lnTo>
                      <a:pt x="826" y="114"/>
                    </a:lnTo>
                    <a:lnTo>
                      <a:pt x="826" y="112"/>
                    </a:lnTo>
                    <a:lnTo>
                      <a:pt x="827" y="112"/>
                    </a:lnTo>
                    <a:lnTo>
                      <a:pt x="827" y="114"/>
                    </a:lnTo>
                    <a:lnTo>
                      <a:pt x="829" y="114"/>
                    </a:lnTo>
                    <a:lnTo>
                      <a:pt x="827" y="114"/>
                    </a:lnTo>
                    <a:lnTo>
                      <a:pt x="827" y="115"/>
                    </a:lnTo>
                    <a:lnTo>
                      <a:pt x="829" y="115"/>
                    </a:lnTo>
                    <a:lnTo>
                      <a:pt x="829" y="117"/>
                    </a:lnTo>
                    <a:lnTo>
                      <a:pt x="831" y="117"/>
                    </a:lnTo>
                    <a:lnTo>
                      <a:pt x="829" y="119"/>
                    </a:lnTo>
                    <a:lnTo>
                      <a:pt x="827" y="119"/>
                    </a:lnTo>
                    <a:lnTo>
                      <a:pt x="827" y="121"/>
                    </a:lnTo>
                    <a:lnTo>
                      <a:pt x="829" y="121"/>
                    </a:lnTo>
                    <a:lnTo>
                      <a:pt x="829" y="123"/>
                    </a:lnTo>
                    <a:lnTo>
                      <a:pt x="831" y="123"/>
                    </a:lnTo>
                    <a:lnTo>
                      <a:pt x="833" y="123"/>
                    </a:lnTo>
                    <a:lnTo>
                      <a:pt x="835" y="123"/>
                    </a:lnTo>
                    <a:lnTo>
                      <a:pt x="835" y="121"/>
                    </a:lnTo>
                    <a:lnTo>
                      <a:pt x="833" y="121"/>
                    </a:lnTo>
                    <a:lnTo>
                      <a:pt x="833" y="119"/>
                    </a:lnTo>
                    <a:lnTo>
                      <a:pt x="833" y="117"/>
                    </a:lnTo>
                    <a:lnTo>
                      <a:pt x="835" y="117"/>
                    </a:lnTo>
                    <a:lnTo>
                      <a:pt x="835" y="119"/>
                    </a:lnTo>
                    <a:lnTo>
                      <a:pt x="837" y="119"/>
                    </a:lnTo>
                    <a:lnTo>
                      <a:pt x="837" y="117"/>
                    </a:lnTo>
                    <a:lnTo>
                      <a:pt x="839" y="115"/>
                    </a:lnTo>
                    <a:lnTo>
                      <a:pt x="841" y="115"/>
                    </a:lnTo>
                    <a:lnTo>
                      <a:pt x="841" y="117"/>
                    </a:lnTo>
                    <a:lnTo>
                      <a:pt x="841" y="115"/>
                    </a:lnTo>
                    <a:lnTo>
                      <a:pt x="845" y="115"/>
                    </a:lnTo>
                    <a:lnTo>
                      <a:pt x="845" y="117"/>
                    </a:lnTo>
                    <a:lnTo>
                      <a:pt x="847" y="117"/>
                    </a:lnTo>
                    <a:lnTo>
                      <a:pt x="847" y="112"/>
                    </a:lnTo>
                    <a:lnTo>
                      <a:pt x="850" y="110"/>
                    </a:lnTo>
                    <a:lnTo>
                      <a:pt x="852" y="110"/>
                    </a:lnTo>
                    <a:lnTo>
                      <a:pt x="854" y="104"/>
                    </a:lnTo>
                    <a:lnTo>
                      <a:pt x="858" y="106"/>
                    </a:lnTo>
                    <a:lnTo>
                      <a:pt x="860" y="106"/>
                    </a:lnTo>
                    <a:lnTo>
                      <a:pt x="862" y="106"/>
                    </a:lnTo>
                    <a:lnTo>
                      <a:pt x="862" y="108"/>
                    </a:lnTo>
                    <a:lnTo>
                      <a:pt x="864" y="108"/>
                    </a:lnTo>
                    <a:lnTo>
                      <a:pt x="864" y="106"/>
                    </a:lnTo>
                    <a:lnTo>
                      <a:pt x="866" y="106"/>
                    </a:lnTo>
                    <a:lnTo>
                      <a:pt x="868" y="106"/>
                    </a:lnTo>
                    <a:lnTo>
                      <a:pt x="870" y="106"/>
                    </a:lnTo>
                    <a:lnTo>
                      <a:pt x="872" y="104"/>
                    </a:lnTo>
                    <a:lnTo>
                      <a:pt x="870" y="104"/>
                    </a:lnTo>
                    <a:lnTo>
                      <a:pt x="868" y="104"/>
                    </a:lnTo>
                    <a:lnTo>
                      <a:pt x="868" y="102"/>
                    </a:lnTo>
                    <a:lnTo>
                      <a:pt x="870" y="102"/>
                    </a:lnTo>
                    <a:lnTo>
                      <a:pt x="870" y="100"/>
                    </a:lnTo>
                    <a:lnTo>
                      <a:pt x="870" y="98"/>
                    </a:lnTo>
                    <a:lnTo>
                      <a:pt x="868" y="98"/>
                    </a:lnTo>
                    <a:lnTo>
                      <a:pt x="870" y="96"/>
                    </a:lnTo>
                    <a:lnTo>
                      <a:pt x="870" y="94"/>
                    </a:lnTo>
                    <a:lnTo>
                      <a:pt x="874" y="98"/>
                    </a:lnTo>
                    <a:lnTo>
                      <a:pt x="875" y="100"/>
                    </a:lnTo>
                    <a:lnTo>
                      <a:pt x="877" y="102"/>
                    </a:lnTo>
                    <a:lnTo>
                      <a:pt x="879" y="104"/>
                    </a:lnTo>
                    <a:lnTo>
                      <a:pt x="881" y="106"/>
                    </a:lnTo>
                    <a:lnTo>
                      <a:pt x="883" y="108"/>
                    </a:lnTo>
                    <a:lnTo>
                      <a:pt x="879" y="112"/>
                    </a:lnTo>
                    <a:lnTo>
                      <a:pt x="885" y="117"/>
                    </a:lnTo>
                    <a:lnTo>
                      <a:pt x="887" y="117"/>
                    </a:lnTo>
                    <a:lnTo>
                      <a:pt x="885" y="121"/>
                    </a:lnTo>
                    <a:lnTo>
                      <a:pt x="887" y="121"/>
                    </a:lnTo>
                    <a:lnTo>
                      <a:pt x="891" y="127"/>
                    </a:lnTo>
                    <a:lnTo>
                      <a:pt x="893" y="127"/>
                    </a:lnTo>
                    <a:lnTo>
                      <a:pt x="895" y="129"/>
                    </a:lnTo>
                    <a:lnTo>
                      <a:pt x="897" y="131"/>
                    </a:lnTo>
                    <a:lnTo>
                      <a:pt x="898" y="131"/>
                    </a:lnTo>
                    <a:lnTo>
                      <a:pt x="891" y="138"/>
                    </a:lnTo>
                    <a:lnTo>
                      <a:pt x="891" y="140"/>
                    </a:lnTo>
                    <a:lnTo>
                      <a:pt x="889" y="142"/>
                    </a:lnTo>
                    <a:lnTo>
                      <a:pt x="891" y="144"/>
                    </a:lnTo>
                    <a:lnTo>
                      <a:pt x="893" y="146"/>
                    </a:lnTo>
                    <a:lnTo>
                      <a:pt x="895" y="148"/>
                    </a:lnTo>
                    <a:lnTo>
                      <a:pt x="897" y="150"/>
                    </a:lnTo>
                    <a:lnTo>
                      <a:pt x="893" y="152"/>
                    </a:lnTo>
                    <a:lnTo>
                      <a:pt x="891" y="156"/>
                    </a:lnTo>
                    <a:lnTo>
                      <a:pt x="891" y="158"/>
                    </a:lnTo>
                    <a:lnTo>
                      <a:pt x="893" y="158"/>
                    </a:lnTo>
                    <a:lnTo>
                      <a:pt x="895" y="160"/>
                    </a:lnTo>
                    <a:lnTo>
                      <a:pt x="897" y="162"/>
                    </a:lnTo>
                    <a:lnTo>
                      <a:pt x="898" y="162"/>
                    </a:lnTo>
                    <a:lnTo>
                      <a:pt x="900" y="162"/>
                    </a:lnTo>
                    <a:lnTo>
                      <a:pt x="900" y="163"/>
                    </a:lnTo>
                    <a:lnTo>
                      <a:pt x="902" y="163"/>
                    </a:lnTo>
                    <a:lnTo>
                      <a:pt x="904" y="163"/>
                    </a:lnTo>
                    <a:lnTo>
                      <a:pt x="904" y="165"/>
                    </a:lnTo>
                    <a:lnTo>
                      <a:pt x="906" y="165"/>
                    </a:lnTo>
                    <a:lnTo>
                      <a:pt x="906" y="167"/>
                    </a:lnTo>
                    <a:lnTo>
                      <a:pt x="904" y="167"/>
                    </a:lnTo>
                    <a:lnTo>
                      <a:pt x="904" y="169"/>
                    </a:lnTo>
                    <a:lnTo>
                      <a:pt x="902" y="171"/>
                    </a:lnTo>
                    <a:lnTo>
                      <a:pt x="904" y="171"/>
                    </a:lnTo>
                    <a:lnTo>
                      <a:pt x="904" y="173"/>
                    </a:lnTo>
                    <a:lnTo>
                      <a:pt x="902" y="173"/>
                    </a:lnTo>
                    <a:lnTo>
                      <a:pt x="902" y="175"/>
                    </a:lnTo>
                    <a:lnTo>
                      <a:pt x="902" y="177"/>
                    </a:lnTo>
                    <a:lnTo>
                      <a:pt x="904" y="177"/>
                    </a:lnTo>
                    <a:lnTo>
                      <a:pt x="906" y="177"/>
                    </a:lnTo>
                    <a:lnTo>
                      <a:pt x="908" y="177"/>
                    </a:lnTo>
                    <a:lnTo>
                      <a:pt x="910" y="177"/>
                    </a:lnTo>
                    <a:lnTo>
                      <a:pt x="912" y="177"/>
                    </a:lnTo>
                    <a:lnTo>
                      <a:pt x="912" y="179"/>
                    </a:lnTo>
                    <a:lnTo>
                      <a:pt x="912" y="177"/>
                    </a:lnTo>
                    <a:lnTo>
                      <a:pt x="914" y="177"/>
                    </a:lnTo>
                    <a:lnTo>
                      <a:pt x="914" y="179"/>
                    </a:lnTo>
                    <a:lnTo>
                      <a:pt x="914" y="177"/>
                    </a:lnTo>
                    <a:lnTo>
                      <a:pt x="918" y="177"/>
                    </a:lnTo>
                    <a:lnTo>
                      <a:pt x="918" y="179"/>
                    </a:lnTo>
                    <a:lnTo>
                      <a:pt x="920" y="179"/>
                    </a:lnTo>
                    <a:lnTo>
                      <a:pt x="922" y="179"/>
                    </a:lnTo>
                    <a:lnTo>
                      <a:pt x="922" y="181"/>
                    </a:lnTo>
                    <a:lnTo>
                      <a:pt x="923" y="183"/>
                    </a:lnTo>
                    <a:lnTo>
                      <a:pt x="927" y="186"/>
                    </a:lnTo>
                    <a:lnTo>
                      <a:pt x="927" y="188"/>
                    </a:lnTo>
                    <a:lnTo>
                      <a:pt x="925" y="188"/>
                    </a:lnTo>
                    <a:lnTo>
                      <a:pt x="927" y="190"/>
                    </a:lnTo>
                    <a:lnTo>
                      <a:pt x="927" y="192"/>
                    </a:lnTo>
                    <a:lnTo>
                      <a:pt x="927" y="194"/>
                    </a:lnTo>
                    <a:lnTo>
                      <a:pt x="925" y="194"/>
                    </a:lnTo>
                    <a:lnTo>
                      <a:pt x="923" y="194"/>
                    </a:lnTo>
                    <a:lnTo>
                      <a:pt x="922" y="196"/>
                    </a:lnTo>
                    <a:lnTo>
                      <a:pt x="925" y="200"/>
                    </a:lnTo>
                    <a:lnTo>
                      <a:pt x="927" y="202"/>
                    </a:lnTo>
                    <a:lnTo>
                      <a:pt x="925" y="208"/>
                    </a:lnTo>
                    <a:lnTo>
                      <a:pt x="922" y="213"/>
                    </a:lnTo>
                    <a:lnTo>
                      <a:pt x="925" y="215"/>
                    </a:lnTo>
                    <a:lnTo>
                      <a:pt x="931" y="219"/>
                    </a:lnTo>
                    <a:lnTo>
                      <a:pt x="935" y="223"/>
                    </a:lnTo>
                    <a:lnTo>
                      <a:pt x="941" y="227"/>
                    </a:lnTo>
                    <a:lnTo>
                      <a:pt x="945" y="231"/>
                    </a:lnTo>
                    <a:lnTo>
                      <a:pt x="948" y="234"/>
                    </a:lnTo>
                    <a:lnTo>
                      <a:pt x="950" y="236"/>
                    </a:lnTo>
                    <a:lnTo>
                      <a:pt x="952" y="236"/>
                    </a:lnTo>
                    <a:lnTo>
                      <a:pt x="954" y="238"/>
                    </a:lnTo>
                    <a:lnTo>
                      <a:pt x="956" y="240"/>
                    </a:lnTo>
                    <a:lnTo>
                      <a:pt x="956" y="238"/>
                    </a:lnTo>
                    <a:lnTo>
                      <a:pt x="958" y="238"/>
                    </a:lnTo>
                    <a:lnTo>
                      <a:pt x="960" y="242"/>
                    </a:lnTo>
                    <a:lnTo>
                      <a:pt x="958" y="244"/>
                    </a:lnTo>
                    <a:lnTo>
                      <a:pt x="956" y="244"/>
                    </a:lnTo>
                    <a:lnTo>
                      <a:pt x="956" y="246"/>
                    </a:lnTo>
                    <a:lnTo>
                      <a:pt x="956" y="248"/>
                    </a:lnTo>
                    <a:lnTo>
                      <a:pt x="956" y="250"/>
                    </a:lnTo>
                    <a:lnTo>
                      <a:pt x="954" y="250"/>
                    </a:lnTo>
                    <a:lnTo>
                      <a:pt x="956" y="250"/>
                    </a:lnTo>
                    <a:lnTo>
                      <a:pt x="956" y="252"/>
                    </a:lnTo>
                    <a:lnTo>
                      <a:pt x="954" y="252"/>
                    </a:lnTo>
                    <a:lnTo>
                      <a:pt x="954" y="254"/>
                    </a:lnTo>
                    <a:lnTo>
                      <a:pt x="954" y="256"/>
                    </a:lnTo>
                    <a:lnTo>
                      <a:pt x="952" y="256"/>
                    </a:lnTo>
                    <a:lnTo>
                      <a:pt x="950" y="256"/>
                    </a:lnTo>
                    <a:lnTo>
                      <a:pt x="950" y="258"/>
                    </a:lnTo>
                    <a:lnTo>
                      <a:pt x="954" y="259"/>
                    </a:lnTo>
                    <a:lnTo>
                      <a:pt x="954" y="261"/>
                    </a:lnTo>
                    <a:lnTo>
                      <a:pt x="958" y="263"/>
                    </a:lnTo>
                    <a:lnTo>
                      <a:pt x="964" y="267"/>
                    </a:lnTo>
                    <a:lnTo>
                      <a:pt x="970" y="273"/>
                    </a:lnTo>
                    <a:lnTo>
                      <a:pt x="968" y="275"/>
                    </a:lnTo>
                    <a:lnTo>
                      <a:pt x="966" y="277"/>
                    </a:lnTo>
                    <a:lnTo>
                      <a:pt x="964" y="279"/>
                    </a:lnTo>
                    <a:lnTo>
                      <a:pt x="962" y="282"/>
                    </a:lnTo>
                    <a:lnTo>
                      <a:pt x="960" y="284"/>
                    </a:lnTo>
                    <a:lnTo>
                      <a:pt x="958" y="286"/>
                    </a:lnTo>
                    <a:lnTo>
                      <a:pt x="956" y="290"/>
                    </a:lnTo>
                    <a:lnTo>
                      <a:pt x="962" y="296"/>
                    </a:lnTo>
                    <a:lnTo>
                      <a:pt x="962" y="294"/>
                    </a:lnTo>
                    <a:lnTo>
                      <a:pt x="964" y="292"/>
                    </a:lnTo>
                    <a:lnTo>
                      <a:pt x="966" y="290"/>
                    </a:lnTo>
                    <a:lnTo>
                      <a:pt x="968" y="288"/>
                    </a:lnTo>
                    <a:lnTo>
                      <a:pt x="970" y="286"/>
                    </a:lnTo>
                    <a:lnTo>
                      <a:pt x="971" y="286"/>
                    </a:lnTo>
                    <a:lnTo>
                      <a:pt x="971" y="288"/>
                    </a:lnTo>
                    <a:lnTo>
                      <a:pt x="975" y="290"/>
                    </a:lnTo>
                    <a:lnTo>
                      <a:pt x="977" y="290"/>
                    </a:lnTo>
                    <a:lnTo>
                      <a:pt x="979" y="292"/>
                    </a:lnTo>
                    <a:lnTo>
                      <a:pt x="977" y="294"/>
                    </a:lnTo>
                    <a:lnTo>
                      <a:pt x="979" y="296"/>
                    </a:lnTo>
                    <a:lnTo>
                      <a:pt x="981" y="292"/>
                    </a:lnTo>
                    <a:lnTo>
                      <a:pt x="983" y="290"/>
                    </a:lnTo>
                    <a:lnTo>
                      <a:pt x="985" y="288"/>
                    </a:lnTo>
                    <a:lnTo>
                      <a:pt x="989" y="282"/>
                    </a:lnTo>
                    <a:lnTo>
                      <a:pt x="987" y="281"/>
                    </a:lnTo>
                    <a:lnTo>
                      <a:pt x="989" y="277"/>
                    </a:lnTo>
                    <a:lnTo>
                      <a:pt x="991" y="275"/>
                    </a:lnTo>
                    <a:lnTo>
                      <a:pt x="991" y="273"/>
                    </a:lnTo>
                    <a:lnTo>
                      <a:pt x="993" y="271"/>
                    </a:lnTo>
                    <a:lnTo>
                      <a:pt x="994" y="269"/>
                    </a:lnTo>
                    <a:lnTo>
                      <a:pt x="994" y="267"/>
                    </a:lnTo>
                    <a:lnTo>
                      <a:pt x="996" y="267"/>
                    </a:lnTo>
                    <a:lnTo>
                      <a:pt x="998" y="265"/>
                    </a:lnTo>
                    <a:lnTo>
                      <a:pt x="998" y="263"/>
                    </a:lnTo>
                    <a:lnTo>
                      <a:pt x="1000" y="261"/>
                    </a:lnTo>
                    <a:lnTo>
                      <a:pt x="1000" y="263"/>
                    </a:lnTo>
                    <a:lnTo>
                      <a:pt x="1002" y="263"/>
                    </a:lnTo>
                    <a:lnTo>
                      <a:pt x="1004" y="263"/>
                    </a:lnTo>
                    <a:lnTo>
                      <a:pt x="1004" y="261"/>
                    </a:lnTo>
                    <a:lnTo>
                      <a:pt x="1002" y="261"/>
                    </a:lnTo>
                    <a:lnTo>
                      <a:pt x="1000" y="261"/>
                    </a:lnTo>
                    <a:lnTo>
                      <a:pt x="1002" y="259"/>
                    </a:lnTo>
                    <a:lnTo>
                      <a:pt x="1004" y="258"/>
                    </a:lnTo>
                    <a:lnTo>
                      <a:pt x="1004" y="256"/>
                    </a:lnTo>
                    <a:lnTo>
                      <a:pt x="1002" y="256"/>
                    </a:lnTo>
                    <a:lnTo>
                      <a:pt x="1000" y="256"/>
                    </a:lnTo>
                    <a:lnTo>
                      <a:pt x="1000" y="254"/>
                    </a:lnTo>
                    <a:lnTo>
                      <a:pt x="998" y="254"/>
                    </a:lnTo>
                    <a:lnTo>
                      <a:pt x="1000" y="254"/>
                    </a:lnTo>
                    <a:lnTo>
                      <a:pt x="1004" y="254"/>
                    </a:lnTo>
                    <a:lnTo>
                      <a:pt x="1006" y="254"/>
                    </a:lnTo>
                    <a:lnTo>
                      <a:pt x="1006" y="252"/>
                    </a:lnTo>
                    <a:lnTo>
                      <a:pt x="1008" y="252"/>
                    </a:lnTo>
                    <a:lnTo>
                      <a:pt x="1008" y="250"/>
                    </a:lnTo>
                    <a:lnTo>
                      <a:pt x="1012" y="246"/>
                    </a:lnTo>
                    <a:lnTo>
                      <a:pt x="1014" y="244"/>
                    </a:lnTo>
                    <a:lnTo>
                      <a:pt x="1016" y="242"/>
                    </a:lnTo>
                    <a:lnTo>
                      <a:pt x="1019" y="244"/>
                    </a:lnTo>
                    <a:lnTo>
                      <a:pt x="1019" y="246"/>
                    </a:lnTo>
                    <a:lnTo>
                      <a:pt x="1021" y="248"/>
                    </a:lnTo>
                    <a:lnTo>
                      <a:pt x="1023" y="248"/>
                    </a:lnTo>
                    <a:lnTo>
                      <a:pt x="1025" y="250"/>
                    </a:lnTo>
                    <a:lnTo>
                      <a:pt x="1027" y="252"/>
                    </a:lnTo>
                    <a:lnTo>
                      <a:pt x="1029" y="254"/>
                    </a:lnTo>
                    <a:lnTo>
                      <a:pt x="1033" y="256"/>
                    </a:lnTo>
                    <a:lnTo>
                      <a:pt x="1035" y="259"/>
                    </a:lnTo>
                    <a:lnTo>
                      <a:pt x="1037" y="259"/>
                    </a:lnTo>
                    <a:lnTo>
                      <a:pt x="1037" y="261"/>
                    </a:lnTo>
                    <a:lnTo>
                      <a:pt x="1039" y="263"/>
                    </a:lnTo>
                    <a:lnTo>
                      <a:pt x="1042" y="263"/>
                    </a:lnTo>
                    <a:lnTo>
                      <a:pt x="1042" y="267"/>
                    </a:lnTo>
                    <a:lnTo>
                      <a:pt x="1044" y="265"/>
                    </a:lnTo>
                    <a:lnTo>
                      <a:pt x="1044" y="269"/>
                    </a:lnTo>
                    <a:lnTo>
                      <a:pt x="1052" y="267"/>
                    </a:lnTo>
                    <a:lnTo>
                      <a:pt x="1054" y="267"/>
                    </a:lnTo>
                    <a:lnTo>
                      <a:pt x="1058" y="267"/>
                    </a:lnTo>
                    <a:lnTo>
                      <a:pt x="1064" y="265"/>
                    </a:lnTo>
                    <a:lnTo>
                      <a:pt x="1064" y="263"/>
                    </a:lnTo>
                    <a:lnTo>
                      <a:pt x="1067" y="263"/>
                    </a:lnTo>
                    <a:lnTo>
                      <a:pt x="1069" y="263"/>
                    </a:lnTo>
                    <a:lnTo>
                      <a:pt x="1067" y="259"/>
                    </a:lnTo>
                    <a:lnTo>
                      <a:pt x="1069" y="259"/>
                    </a:lnTo>
                    <a:lnTo>
                      <a:pt x="1071" y="259"/>
                    </a:lnTo>
                    <a:lnTo>
                      <a:pt x="1075" y="259"/>
                    </a:lnTo>
                    <a:lnTo>
                      <a:pt x="1077" y="259"/>
                    </a:lnTo>
                    <a:lnTo>
                      <a:pt x="1077" y="261"/>
                    </a:lnTo>
                    <a:lnTo>
                      <a:pt x="1079" y="261"/>
                    </a:lnTo>
                    <a:lnTo>
                      <a:pt x="1081" y="261"/>
                    </a:lnTo>
                    <a:lnTo>
                      <a:pt x="1087" y="259"/>
                    </a:lnTo>
                    <a:lnTo>
                      <a:pt x="1087" y="261"/>
                    </a:lnTo>
                    <a:lnTo>
                      <a:pt x="1089" y="269"/>
                    </a:lnTo>
                    <a:lnTo>
                      <a:pt x="1089" y="273"/>
                    </a:lnTo>
                    <a:lnTo>
                      <a:pt x="1096" y="271"/>
                    </a:lnTo>
                    <a:lnTo>
                      <a:pt x="1098" y="271"/>
                    </a:lnTo>
                    <a:lnTo>
                      <a:pt x="1098" y="273"/>
                    </a:lnTo>
                    <a:lnTo>
                      <a:pt x="1100" y="273"/>
                    </a:lnTo>
                    <a:lnTo>
                      <a:pt x="1102" y="273"/>
                    </a:lnTo>
                    <a:lnTo>
                      <a:pt x="1104" y="273"/>
                    </a:lnTo>
                    <a:lnTo>
                      <a:pt x="1106" y="273"/>
                    </a:lnTo>
                    <a:lnTo>
                      <a:pt x="1106" y="275"/>
                    </a:lnTo>
                    <a:lnTo>
                      <a:pt x="1106" y="277"/>
                    </a:lnTo>
                    <a:lnTo>
                      <a:pt x="1106" y="284"/>
                    </a:lnTo>
                    <a:lnTo>
                      <a:pt x="1108" y="284"/>
                    </a:lnTo>
                    <a:lnTo>
                      <a:pt x="1110" y="284"/>
                    </a:lnTo>
                    <a:lnTo>
                      <a:pt x="1110" y="286"/>
                    </a:lnTo>
                    <a:lnTo>
                      <a:pt x="1112" y="284"/>
                    </a:lnTo>
                    <a:lnTo>
                      <a:pt x="1115" y="284"/>
                    </a:lnTo>
                    <a:lnTo>
                      <a:pt x="1117" y="284"/>
                    </a:lnTo>
                    <a:lnTo>
                      <a:pt x="1119" y="284"/>
                    </a:lnTo>
                    <a:lnTo>
                      <a:pt x="1123" y="292"/>
                    </a:lnTo>
                    <a:lnTo>
                      <a:pt x="1125" y="292"/>
                    </a:lnTo>
                    <a:lnTo>
                      <a:pt x="1127" y="292"/>
                    </a:lnTo>
                    <a:lnTo>
                      <a:pt x="1127" y="296"/>
                    </a:lnTo>
                    <a:lnTo>
                      <a:pt x="1131" y="296"/>
                    </a:lnTo>
                    <a:lnTo>
                      <a:pt x="1131" y="298"/>
                    </a:lnTo>
                    <a:lnTo>
                      <a:pt x="1131" y="302"/>
                    </a:lnTo>
                    <a:lnTo>
                      <a:pt x="1133" y="302"/>
                    </a:lnTo>
                    <a:lnTo>
                      <a:pt x="1133" y="304"/>
                    </a:lnTo>
                    <a:lnTo>
                      <a:pt x="1131" y="304"/>
                    </a:lnTo>
                    <a:lnTo>
                      <a:pt x="1131" y="306"/>
                    </a:lnTo>
                    <a:lnTo>
                      <a:pt x="1125" y="306"/>
                    </a:lnTo>
                    <a:lnTo>
                      <a:pt x="1117" y="306"/>
                    </a:lnTo>
                    <a:lnTo>
                      <a:pt x="1117" y="307"/>
                    </a:lnTo>
                    <a:lnTo>
                      <a:pt x="1117" y="309"/>
                    </a:lnTo>
                    <a:lnTo>
                      <a:pt x="1117" y="315"/>
                    </a:lnTo>
                    <a:lnTo>
                      <a:pt x="1117" y="317"/>
                    </a:lnTo>
                    <a:lnTo>
                      <a:pt x="1117" y="319"/>
                    </a:lnTo>
                    <a:lnTo>
                      <a:pt x="1115" y="319"/>
                    </a:lnTo>
                    <a:lnTo>
                      <a:pt x="1112" y="319"/>
                    </a:lnTo>
                    <a:lnTo>
                      <a:pt x="1110" y="321"/>
                    </a:lnTo>
                    <a:lnTo>
                      <a:pt x="1112" y="325"/>
                    </a:lnTo>
                    <a:lnTo>
                      <a:pt x="1112" y="329"/>
                    </a:lnTo>
                    <a:lnTo>
                      <a:pt x="1112" y="330"/>
                    </a:lnTo>
                    <a:lnTo>
                      <a:pt x="1112" y="334"/>
                    </a:lnTo>
                    <a:lnTo>
                      <a:pt x="1112" y="338"/>
                    </a:lnTo>
                    <a:lnTo>
                      <a:pt x="1114" y="338"/>
                    </a:lnTo>
                    <a:lnTo>
                      <a:pt x="1114" y="340"/>
                    </a:lnTo>
                    <a:lnTo>
                      <a:pt x="1115" y="342"/>
                    </a:lnTo>
                    <a:lnTo>
                      <a:pt x="1115" y="344"/>
                    </a:lnTo>
                    <a:lnTo>
                      <a:pt x="1115" y="346"/>
                    </a:lnTo>
                    <a:lnTo>
                      <a:pt x="1115" y="348"/>
                    </a:lnTo>
                    <a:lnTo>
                      <a:pt x="1115" y="350"/>
                    </a:lnTo>
                    <a:lnTo>
                      <a:pt x="1115" y="348"/>
                    </a:lnTo>
                    <a:lnTo>
                      <a:pt x="1114" y="348"/>
                    </a:lnTo>
                    <a:lnTo>
                      <a:pt x="1114" y="346"/>
                    </a:lnTo>
                    <a:lnTo>
                      <a:pt x="1114" y="348"/>
                    </a:lnTo>
                    <a:lnTo>
                      <a:pt x="1112" y="348"/>
                    </a:lnTo>
                    <a:lnTo>
                      <a:pt x="1110" y="348"/>
                    </a:lnTo>
                    <a:lnTo>
                      <a:pt x="1110" y="350"/>
                    </a:lnTo>
                    <a:lnTo>
                      <a:pt x="1108" y="350"/>
                    </a:lnTo>
                    <a:lnTo>
                      <a:pt x="1110" y="350"/>
                    </a:lnTo>
                    <a:lnTo>
                      <a:pt x="1110" y="352"/>
                    </a:lnTo>
                    <a:lnTo>
                      <a:pt x="1112" y="352"/>
                    </a:lnTo>
                    <a:lnTo>
                      <a:pt x="1110" y="352"/>
                    </a:lnTo>
                    <a:lnTo>
                      <a:pt x="1108" y="354"/>
                    </a:lnTo>
                    <a:lnTo>
                      <a:pt x="1106" y="354"/>
                    </a:lnTo>
                    <a:lnTo>
                      <a:pt x="1108" y="355"/>
                    </a:lnTo>
                    <a:lnTo>
                      <a:pt x="1108" y="357"/>
                    </a:lnTo>
                    <a:lnTo>
                      <a:pt x="1108" y="359"/>
                    </a:lnTo>
                    <a:lnTo>
                      <a:pt x="1108" y="361"/>
                    </a:lnTo>
                    <a:lnTo>
                      <a:pt x="1108" y="365"/>
                    </a:lnTo>
                    <a:lnTo>
                      <a:pt x="1108" y="367"/>
                    </a:lnTo>
                    <a:lnTo>
                      <a:pt x="1108" y="369"/>
                    </a:lnTo>
                    <a:lnTo>
                      <a:pt x="1106" y="369"/>
                    </a:lnTo>
                    <a:lnTo>
                      <a:pt x="1104" y="369"/>
                    </a:lnTo>
                    <a:lnTo>
                      <a:pt x="1104" y="371"/>
                    </a:lnTo>
                    <a:lnTo>
                      <a:pt x="1104" y="373"/>
                    </a:lnTo>
                    <a:lnTo>
                      <a:pt x="1104" y="375"/>
                    </a:lnTo>
                    <a:lnTo>
                      <a:pt x="1106" y="377"/>
                    </a:lnTo>
                    <a:lnTo>
                      <a:pt x="1104" y="377"/>
                    </a:lnTo>
                    <a:lnTo>
                      <a:pt x="1102" y="377"/>
                    </a:lnTo>
                    <a:lnTo>
                      <a:pt x="1104" y="380"/>
                    </a:lnTo>
                    <a:lnTo>
                      <a:pt x="1104" y="384"/>
                    </a:lnTo>
                    <a:lnTo>
                      <a:pt x="1104" y="388"/>
                    </a:lnTo>
                    <a:lnTo>
                      <a:pt x="1104" y="392"/>
                    </a:lnTo>
                    <a:lnTo>
                      <a:pt x="1106" y="392"/>
                    </a:lnTo>
                    <a:lnTo>
                      <a:pt x="1108" y="392"/>
                    </a:lnTo>
                    <a:lnTo>
                      <a:pt x="1114" y="392"/>
                    </a:lnTo>
                    <a:lnTo>
                      <a:pt x="1117" y="392"/>
                    </a:lnTo>
                    <a:lnTo>
                      <a:pt x="1119" y="390"/>
                    </a:lnTo>
                    <a:lnTo>
                      <a:pt x="1121" y="396"/>
                    </a:lnTo>
                    <a:lnTo>
                      <a:pt x="1129" y="394"/>
                    </a:lnTo>
                    <a:lnTo>
                      <a:pt x="1131" y="394"/>
                    </a:lnTo>
                    <a:lnTo>
                      <a:pt x="1133" y="398"/>
                    </a:lnTo>
                    <a:lnTo>
                      <a:pt x="1133" y="403"/>
                    </a:lnTo>
                    <a:lnTo>
                      <a:pt x="1133" y="409"/>
                    </a:lnTo>
                    <a:lnTo>
                      <a:pt x="1133" y="411"/>
                    </a:lnTo>
                    <a:lnTo>
                      <a:pt x="1135" y="415"/>
                    </a:lnTo>
                    <a:lnTo>
                      <a:pt x="1135" y="417"/>
                    </a:lnTo>
                    <a:lnTo>
                      <a:pt x="1135" y="419"/>
                    </a:lnTo>
                    <a:lnTo>
                      <a:pt x="1135" y="421"/>
                    </a:lnTo>
                    <a:lnTo>
                      <a:pt x="1135" y="423"/>
                    </a:lnTo>
                    <a:lnTo>
                      <a:pt x="1135" y="425"/>
                    </a:lnTo>
                    <a:lnTo>
                      <a:pt x="1135" y="426"/>
                    </a:lnTo>
                    <a:lnTo>
                      <a:pt x="1135" y="430"/>
                    </a:lnTo>
                    <a:lnTo>
                      <a:pt x="1137" y="442"/>
                    </a:lnTo>
                    <a:lnTo>
                      <a:pt x="1135" y="442"/>
                    </a:lnTo>
                    <a:lnTo>
                      <a:pt x="1133" y="442"/>
                    </a:lnTo>
                    <a:lnTo>
                      <a:pt x="1131" y="442"/>
                    </a:lnTo>
                    <a:lnTo>
                      <a:pt x="1131" y="444"/>
                    </a:lnTo>
                    <a:lnTo>
                      <a:pt x="1129" y="444"/>
                    </a:lnTo>
                    <a:lnTo>
                      <a:pt x="1127" y="444"/>
                    </a:lnTo>
                    <a:lnTo>
                      <a:pt x="1129" y="444"/>
                    </a:lnTo>
                    <a:lnTo>
                      <a:pt x="1129" y="446"/>
                    </a:lnTo>
                    <a:lnTo>
                      <a:pt x="1127" y="446"/>
                    </a:lnTo>
                    <a:lnTo>
                      <a:pt x="1127" y="444"/>
                    </a:lnTo>
                    <a:lnTo>
                      <a:pt x="1127" y="446"/>
                    </a:lnTo>
                    <a:lnTo>
                      <a:pt x="1125" y="446"/>
                    </a:lnTo>
                    <a:lnTo>
                      <a:pt x="1125" y="444"/>
                    </a:lnTo>
                    <a:lnTo>
                      <a:pt x="1125" y="446"/>
                    </a:lnTo>
                    <a:lnTo>
                      <a:pt x="1125" y="448"/>
                    </a:lnTo>
                    <a:lnTo>
                      <a:pt x="1125" y="450"/>
                    </a:lnTo>
                    <a:lnTo>
                      <a:pt x="1123" y="450"/>
                    </a:lnTo>
                    <a:lnTo>
                      <a:pt x="1121" y="450"/>
                    </a:lnTo>
                    <a:lnTo>
                      <a:pt x="1121" y="448"/>
                    </a:lnTo>
                    <a:lnTo>
                      <a:pt x="1123" y="448"/>
                    </a:lnTo>
                    <a:lnTo>
                      <a:pt x="1121" y="448"/>
                    </a:lnTo>
                    <a:lnTo>
                      <a:pt x="1119" y="448"/>
                    </a:lnTo>
                    <a:lnTo>
                      <a:pt x="1119" y="446"/>
                    </a:lnTo>
                    <a:lnTo>
                      <a:pt x="1119" y="450"/>
                    </a:lnTo>
                    <a:lnTo>
                      <a:pt x="1119" y="451"/>
                    </a:lnTo>
                    <a:lnTo>
                      <a:pt x="1119" y="453"/>
                    </a:lnTo>
                    <a:lnTo>
                      <a:pt x="1119" y="457"/>
                    </a:lnTo>
                    <a:lnTo>
                      <a:pt x="1121" y="461"/>
                    </a:lnTo>
                    <a:lnTo>
                      <a:pt x="1121" y="463"/>
                    </a:lnTo>
                    <a:lnTo>
                      <a:pt x="1121" y="465"/>
                    </a:lnTo>
                    <a:lnTo>
                      <a:pt x="1121" y="467"/>
                    </a:lnTo>
                    <a:lnTo>
                      <a:pt x="1121" y="469"/>
                    </a:lnTo>
                    <a:lnTo>
                      <a:pt x="1121" y="471"/>
                    </a:lnTo>
                    <a:lnTo>
                      <a:pt x="1121" y="473"/>
                    </a:lnTo>
                    <a:lnTo>
                      <a:pt x="1123" y="474"/>
                    </a:lnTo>
                    <a:lnTo>
                      <a:pt x="1123" y="476"/>
                    </a:lnTo>
                    <a:lnTo>
                      <a:pt x="1123" y="478"/>
                    </a:lnTo>
                    <a:lnTo>
                      <a:pt x="1123" y="480"/>
                    </a:lnTo>
                    <a:lnTo>
                      <a:pt x="1123" y="482"/>
                    </a:lnTo>
                    <a:lnTo>
                      <a:pt x="1123" y="484"/>
                    </a:lnTo>
                    <a:lnTo>
                      <a:pt x="1123" y="488"/>
                    </a:lnTo>
                    <a:lnTo>
                      <a:pt x="1125" y="492"/>
                    </a:lnTo>
                    <a:lnTo>
                      <a:pt x="1121" y="494"/>
                    </a:lnTo>
                    <a:lnTo>
                      <a:pt x="1121" y="496"/>
                    </a:lnTo>
                    <a:lnTo>
                      <a:pt x="1119" y="498"/>
                    </a:lnTo>
                    <a:lnTo>
                      <a:pt x="1119" y="499"/>
                    </a:lnTo>
                    <a:lnTo>
                      <a:pt x="1119" y="501"/>
                    </a:lnTo>
                    <a:lnTo>
                      <a:pt x="1119" y="503"/>
                    </a:lnTo>
                    <a:lnTo>
                      <a:pt x="1115" y="501"/>
                    </a:lnTo>
                    <a:lnTo>
                      <a:pt x="1114" y="501"/>
                    </a:lnTo>
                    <a:lnTo>
                      <a:pt x="1114" y="505"/>
                    </a:lnTo>
                    <a:lnTo>
                      <a:pt x="1112" y="507"/>
                    </a:lnTo>
                    <a:lnTo>
                      <a:pt x="1112" y="509"/>
                    </a:lnTo>
                    <a:lnTo>
                      <a:pt x="1112" y="511"/>
                    </a:lnTo>
                    <a:lnTo>
                      <a:pt x="1112" y="509"/>
                    </a:lnTo>
                    <a:lnTo>
                      <a:pt x="1110" y="509"/>
                    </a:lnTo>
                    <a:lnTo>
                      <a:pt x="1110" y="507"/>
                    </a:lnTo>
                    <a:lnTo>
                      <a:pt x="1108" y="507"/>
                    </a:lnTo>
                    <a:lnTo>
                      <a:pt x="1108" y="509"/>
                    </a:lnTo>
                    <a:lnTo>
                      <a:pt x="1106" y="509"/>
                    </a:lnTo>
                    <a:lnTo>
                      <a:pt x="1104" y="509"/>
                    </a:lnTo>
                    <a:lnTo>
                      <a:pt x="1104" y="507"/>
                    </a:lnTo>
                    <a:lnTo>
                      <a:pt x="1102" y="507"/>
                    </a:lnTo>
                    <a:lnTo>
                      <a:pt x="1100" y="507"/>
                    </a:lnTo>
                    <a:lnTo>
                      <a:pt x="1100" y="505"/>
                    </a:lnTo>
                    <a:lnTo>
                      <a:pt x="1098" y="505"/>
                    </a:lnTo>
                    <a:lnTo>
                      <a:pt x="1098" y="503"/>
                    </a:lnTo>
                    <a:lnTo>
                      <a:pt x="1098" y="501"/>
                    </a:lnTo>
                    <a:lnTo>
                      <a:pt x="1096" y="501"/>
                    </a:lnTo>
                    <a:lnTo>
                      <a:pt x="1096" y="503"/>
                    </a:lnTo>
                    <a:lnTo>
                      <a:pt x="1094" y="503"/>
                    </a:lnTo>
                    <a:lnTo>
                      <a:pt x="1094" y="501"/>
                    </a:lnTo>
                    <a:lnTo>
                      <a:pt x="1092" y="501"/>
                    </a:lnTo>
                    <a:lnTo>
                      <a:pt x="1092" y="503"/>
                    </a:lnTo>
                    <a:lnTo>
                      <a:pt x="1091" y="503"/>
                    </a:lnTo>
                    <a:lnTo>
                      <a:pt x="1089" y="503"/>
                    </a:lnTo>
                    <a:lnTo>
                      <a:pt x="1089" y="501"/>
                    </a:lnTo>
                    <a:lnTo>
                      <a:pt x="1087" y="501"/>
                    </a:lnTo>
                    <a:lnTo>
                      <a:pt x="1087" y="499"/>
                    </a:lnTo>
                    <a:lnTo>
                      <a:pt x="1087" y="501"/>
                    </a:lnTo>
                    <a:lnTo>
                      <a:pt x="1085" y="501"/>
                    </a:lnTo>
                    <a:lnTo>
                      <a:pt x="1083" y="501"/>
                    </a:lnTo>
                    <a:lnTo>
                      <a:pt x="1081" y="501"/>
                    </a:lnTo>
                    <a:lnTo>
                      <a:pt x="1081" y="499"/>
                    </a:lnTo>
                    <a:lnTo>
                      <a:pt x="1081" y="498"/>
                    </a:lnTo>
                    <a:lnTo>
                      <a:pt x="1083" y="498"/>
                    </a:lnTo>
                    <a:lnTo>
                      <a:pt x="1083" y="496"/>
                    </a:lnTo>
                    <a:lnTo>
                      <a:pt x="1081" y="496"/>
                    </a:lnTo>
                    <a:lnTo>
                      <a:pt x="1079" y="496"/>
                    </a:lnTo>
                    <a:lnTo>
                      <a:pt x="1079" y="494"/>
                    </a:lnTo>
                    <a:lnTo>
                      <a:pt x="1081" y="494"/>
                    </a:lnTo>
                    <a:lnTo>
                      <a:pt x="1079" y="494"/>
                    </a:lnTo>
                    <a:lnTo>
                      <a:pt x="1077" y="494"/>
                    </a:lnTo>
                    <a:lnTo>
                      <a:pt x="1077" y="492"/>
                    </a:lnTo>
                    <a:lnTo>
                      <a:pt x="1075" y="492"/>
                    </a:lnTo>
                    <a:lnTo>
                      <a:pt x="1077" y="492"/>
                    </a:lnTo>
                    <a:lnTo>
                      <a:pt x="1075" y="490"/>
                    </a:lnTo>
                    <a:lnTo>
                      <a:pt x="1077" y="490"/>
                    </a:lnTo>
                    <a:lnTo>
                      <a:pt x="1075" y="490"/>
                    </a:lnTo>
                    <a:lnTo>
                      <a:pt x="1075" y="488"/>
                    </a:lnTo>
                    <a:lnTo>
                      <a:pt x="1073" y="488"/>
                    </a:lnTo>
                    <a:lnTo>
                      <a:pt x="1073" y="486"/>
                    </a:lnTo>
                    <a:lnTo>
                      <a:pt x="1073" y="488"/>
                    </a:lnTo>
                    <a:lnTo>
                      <a:pt x="1073" y="486"/>
                    </a:lnTo>
                    <a:lnTo>
                      <a:pt x="1073" y="488"/>
                    </a:lnTo>
                    <a:lnTo>
                      <a:pt x="1073" y="490"/>
                    </a:lnTo>
                    <a:lnTo>
                      <a:pt x="1071" y="490"/>
                    </a:lnTo>
                    <a:lnTo>
                      <a:pt x="1071" y="488"/>
                    </a:lnTo>
                    <a:lnTo>
                      <a:pt x="1069" y="488"/>
                    </a:lnTo>
                    <a:lnTo>
                      <a:pt x="1067" y="486"/>
                    </a:lnTo>
                    <a:lnTo>
                      <a:pt x="1066" y="486"/>
                    </a:lnTo>
                    <a:lnTo>
                      <a:pt x="1064" y="486"/>
                    </a:lnTo>
                    <a:lnTo>
                      <a:pt x="1064" y="484"/>
                    </a:lnTo>
                    <a:lnTo>
                      <a:pt x="1062" y="484"/>
                    </a:lnTo>
                    <a:lnTo>
                      <a:pt x="1060" y="484"/>
                    </a:lnTo>
                    <a:lnTo>
                      <a:pt x="1060" y="486"/>
                    </a:lnTo>
                    <a:lnTo>
                      <a:pt x="1058" y="486"/>
                    </a:lnTo>
                    <a:lnTo>
                      <a:pt x="1058" y="484"/>
                    </a:lnTo>
                    <a:lnTo>
                      <a:pt x="1058" y="482"/>
                    </a:lnTo>
                    <a:lnTo>
                      <a:pt x="1056" y="482"/>
                    </a:lnTo>
                    <a:lnTo>
                      <a:pt x="1058" y="482"/>
                    </a:lnTo>
                    <a:lnTo>
                      <a:pt x="1058" y="480"/>
                    </a:lnTo>
                    <a:lnTo>
                      <a:pt x="1056" y="480"/>
                    </a:lnTo>
                    <a:lnTo>
                      <a:pt x="1056" y="482"/>
                    </a:lnTo>
                    <a:lnTo>
                      <a:pt x="1054" y="482"/>
                    </a:lnTo>
                    <a:lnTo>
                      <a:pt x="1052" y="482"/>
                    </a:lnTo>
                    <a:lnTo>
                      <a:pt x="1052" y="484"/>
                    </a:lnTo>
                    <a:lnTo>
                      <a:pt x="1052" y="482"/>
                    </a:lnTo>
                    <a:lnTo>
                      <a:pt x="1054" y="482"/>
                    </a:lnTo>
                    <a:lnTo>
                      <a:pt x="1056" y="484"/>
                    </a:lnTo>
                    <a:lnTo>
                      <a:pt x="1056" y="486"/>
                    </a:lnTo>
                    <a:lnTo>
                      <a:pt x="1054" y="486"/>
                    </a:lnTo>
                    <a:lnTo>
                      <a:pt x="1054" y="484"/>
                    </a:lnTo>
                    <a:lnTo>
                      <a:pt x="1054" y="486"/>
                    </a:lnTo>
                    <a:lnTo>
                      <a:pt x="1052" y="486"/>
                    </a:lnTo>
                    <a:lnTo>
                      <a:pt x="1052" y="484"/>
                    </a:lnTo>
                    <a:lnTo>
                      <a:pt x="1052" y="486"/>
                    </a:lnTo>
                    <a:lnTo>
                      <a:pt x="1050" y="486"/>
                    </a:lnTo>
                    <a:lnTo>
                      <a:pt x="1050" y="484"/>
                    </a:lnTo>
                    <a:lnTo>
                      <a:pt x="1048" y="484"/>
                    </a:lnTo>
                    <a:lnTo>
                      <a:pt x="1048" y="486"/>
                    </a:lnTo>
                    <a:lnTo>
                      <a:pt x="1050" y="486"/>
                    </a:lnTo>
                    <a:lnTo>
                      <a:pt x="1048" y="486"/>
                    </a:lnTo>
                    <a:lnTo>
                      <a:pt x="1048" y="488"/>
                    </a:lnTo>
                    <a:lnTo>
                      <a:pt x="1046" y="488"/>
                    </a:lnTo>
                    <a:lnTo>
                      <a:pt x="1046" y="486"/>
                    </a:lnTo>
                    <a:lnTo>
                      <a:pt x="1044" y="486"/>
                    </a:lnTo>
                    <a:lnTo>
                      <a:pt x="1044" y="484"/>
                    </a:lnTo>
                    <a:lnTo>
                      <a:pt x="1042" y="484"/>
                    </a:lnTo>
                    <a:lnTo>
                      <a:pt x="1041" y="484"/>
                    </a:lnTo>
                    <a:lnTo>
                      <a:pt x="1042" y="484"/>
                    </a:lnTo>
                    <a:lnTo>
                      <a:pt x="1042" y="486"/>
                    </a:lnTo>
                    <a:lnTo>
                      <a:pt x="1041" y="486"/>
                    </a:lnTo>
                    <a:lnTo>
                      <a:pt x="1039" y="486"/>
                    </a:lnTo>
                    <a:lnTo>
                      <a:pt x="1039" y="488"/>
                    </a:lnTo>
                    <a:lnTo>
                      <a:pt x="1039" y="486"/>
                    </a:lnTo>
                    <a:lnTo>
                      <a:pt x="1039" y="488"/>
                    </a:lnTo>
                    <a:lnTo>
                      <a:pt x="1039" y="486"/>
                    </a:lnTo>
                    <a:lnTo>
                      <a:pt x="1037" y="486"/>
                    </a:lnTo>
                    <a:lnTo>
                      <a:pt x="1037" y="488"/>
                    </a:lnTo>
                    <a:lnTo>
                      <a:pt x="1035" y="488"/>
                    </a:lnTo>
                    <a:lnTo>
                      <a:pt x="1035" y="490"/>
                    </a:lnTo>
                    <a:lnTo>
                      <a:pt x="1037" y="490"/>
                    </a:lnTo>
                    <a:lnTo>
                      <a:pt x="1037" y="492"/>
                    </a:lnTo>
                    <a:lnTo>
                      <a:pt x="1037" y="494"/>
                    </a:lnTo>
                    <a:lnTo>
                      <a:pt x="1037" y="496"/>
                    </a:lnTo>
                    <a:lnTo>
                      <a:pt x="1035" y="496"/>
                    </a:lnTo>
                    <a:lnTo>
                      <a:pt x="1037" y="496"/>
                    </a:lnTo>
                    <a:lnTo>
                      <a:pt x="1037" y="498"/>
                    </a:lnTo>
                    <a:lnTo>
                      <a:pt x="1037" y="499"/>
                    </a:lnTo>
                    <a:lnTo>
                      <a:pt x="1035" y="501"/>
                    </a:lnTo>
                    <a:lnTo>
                      <a:pt x="1035" y="503"/>
                    </a:lnTo>
                    <a:lnTo>
                      <a:pt x="1033" y="503"/>
                    </a:lnTo>
                    <a:lnTo>
                      <a:pt x="1033" y="505"/>
                    </a:lnTo>
                    <a:lnTo>
                      <a:pt x="1035" y="505"/>
                    </a:lnTo>
                    <a:lnTo>
                      <a:pt x="1035" y="507"/>
                    </a:lnTo>
                    <a:lnTo>
                      <a:pt x="1037" y="509"/>
                    </a:lnTo>
                    <a:lnTo>
                      <a:pt x="1037" y="511"/>
                    </a:lnTo>
                    <a:lnTo>
                      <a:pt x="1037" y="513"/>
                    </a:lnTo>
                    <a:lnTo>
                      <a:pt x="1037" y="515"/>
                    </a:lnTo>
                    <a:lnTo>
                      <a:pt x="1035" y="515"/>
                    </a:lnTo>
                    <a:lnTo>
                      <a:pt x="1033" y="515"/>
                    </a:lnTo>
                    <a:lnTo>
                      <a:pt x="1031" y="515"/>
                    </a:lnTo>
                    <a:lnTo>
                      <a:pt x="1031" y="517"/>
                    </a:lnTo>
                    <a:lnTo>
                      <a:pt x="1033" y="517"/>
                    </a:lnTo>
                    <a:lnTo>
                      <a:pt x="1035" y="519"/>
                    </a:lnTo>
                    <a:lnTo>
                      <a:pt x="1035" y="521"/>
                    </a:lnTo>
                    <a:lnTo>
                      <a:pt x="1037" y="521"/>
                    </a:lnTo>
                    <a:lnTo>
                      <a:pt x="1037" y="522"/>
                    </a:lnTo>
                    <a:lnTo>
                      <a:pt x="1035" y="522"/>
                    </a:lnTo>
                    <a:lnTo>
                      <a:pt x="1035" y="521"/>
                    </a:lnTo>
                    <a:lnTo>
                      <a:pt x="1033" y="521"/>
                    </a:lnTo>
                    <a:lnTo>
                      <a:pt x="1033" y="522"/>
                    </a:lnTo>
                    <a:lnTo>
                      <a:pt x="1033" y="524"/>
                    </a:lnTo>
                    <a:lnTo>
                      <a:pt x="1033" y="526"/>
                    </a:lnTo>
                    <a:lnTo>
                      <a:pt x="1035" y="530"/>
                    </a:lnTo>
                    <a:lnTo>
                      <a:pt x="1035" y="534"/>
                    </a:lnTo>
                    <a:lnTo>
                      <a:pt x="1035" y="536"/>
                    </a:lnTo>
                    <a:lnTo>
                      <a:pt x="1035" y="540"/>
                    </a:lnTo>
                    <a:lnTo>
                      <a:pt x="1037" y="540"/>
                    </a:lnTo>
                    <a:lnTo>
                      <a:pt x="1039" y="540"/>
                    </a:lnTo>
                    <a:lnTo>
                      <a:pt x="1042" y="538"/>
                    </a:lnTo>
                    <a:lnTo>
                      <a:pt x="1044" y="538"/>
                    </a:lnTo>
                    <a:lnTo>
                      <a:pt x="1046" y="538"/>
                    </a:lnTo>
                    <a:lnTo>
                      <a:pt x="1048" y="538"/>
                    </a:lnTo>
                    <a:lnTo>
                      <a:pt x="1048" y="542"/>
                    </a:lnTo>
                    <a:lnTo>
                      <a:pt x="1048" y="544"/>
                    </a:lnTo>
                    <a:lnTo>
                      <a:pt x="1048" y="546"/>
                    </a:lnTo>
                    <a:lnTo>
                      <a:pt x="1048" y="547"/>
                    </a:lnTo>
                    <a:lnTo>
                      <a:pt x="1048" y="549"/>
                    </a:lnTo>
                    <a:lnTo>
                      <a:pt x="1050" y="549"/>
                    </a:lnTo>
                    <a:lnTo>
                      <a:pt x="1050" y="555"/>
                    </a:lnTo>
                    <a:lnTo>
                      <a:pt x="1046" y="557"/>
                    </a:lnTo>
                    <a:lnTo>
                      <a:pt x="1044" y="557"/>
                    </a:lnTo>
                    <a:lnTo>
                      <a:pt x="1042" y="555"/>
                    </a:lnTo>
                    <a:lnTo>
                      <a:pt x="1041" y="555"/>
                    </a:lnTo>
                    <a:lnTo>
                      <a:pt x="1039" y="555"/>
                    </a:lnTo>
                    <a:lnTo>
                      <a:pt x="1037" y="555"/>
                    </a:lnTo>
                    <a:lnTo>
                      <a:pt x="1037" y="559"/>
                    </a:lnTo>
                    <a:lnTo>
                      <a:pt x="1035" y="559"/>
                    </a:lnTo>
                    <a:lnTo>
                      <a:pt x="1033" y="559"/>
                    </a:lnTo>
                    <a:lnTo>
                      <a:pt x="1031" y="559"/>
                    </a:lnTo>
                    <a:lnTo>
                      <a:pt x="1029" y="559"/>
                    </a:lnTo>
                    <a:lnTo>
                      <a:pt x="1029" y="561"/>
                    </a:lnTo>
                    <a:lnTo>
                      <a:pt x="1027" y="561"/>
                    </a:lnTo>
                    <a:lnTo>
                      <a:pt x="1023" y="561"/>
                    </a:lnTo>
                    <a:lnTo>
                      <a:pt x="1021" y="561"/>
                    </a:lnTo>
                    <a:lnTo>
                      <a:pt x="1023" y="563"/>
                    </a:lnTo>
                    <a:lnTo>
                      <a:pt x="1023" y="565"/>
                    </a:lnTo>
                    <a:lnTo>
                      <a:pt x="1023" y="567"/>
                    </a:lnTo>
                    <a:lnTo>
                      <a:pt x="1023" y="569"/>
                    </a:lnTo>
                    <a:lnTo>
                      <a:pt x="1023" y="572"/>
                    </a:lnTo>
                    <a:lnTo>
                      <a:pt x="1031" y="572"/>
                    </a:lnTo>
                    <a:lnTo>
                      <a:pt x="1033" y="576"/>
                    </a:lnTo>
                    <a:lnTo>
                      <a:pt x="1033" y="578"/>
                    </a:lnTo>
                    <a:lnTo>
                      <a:pt x="1033" y="580"/>
                    </a:lnTo>
                    <a:lnTo>
                      <a:pt x="1033" y="584"/>
                    </a:lnTo>
                    <a:lnTo>
                      <a:pt x="1033" y="586"/>
                    </a:lnTo>
                    <a:lnTo>
                      <a:pt x="1031" y="586"/>
                    </a:lnTo>
                    <a:lnTo>
                      <a:pt x="1029" y="588"/>
                    </a:lnTo>
                    <a:lnTo>
                      <a:pt x="1027" y="588"/>
                    </a:lnTo>
                    <a:lnTo>
                      <a:pt x="1025" y="588"/>
                    </a:lnTo>
                    <a:lnTo>
                      <a:pt x="1019" y="590"/>
                    </a:lnTo>
                    <a:lnTo>
                      <a:pt x="1016" y="590"/>
                    </a:lnTo>
                    <a:lnTo>
                      <a:pt x="1016" y="592"/>
                    </a:lnTo>
                    <a:lnTo>
                      <a:pt x="1016" y="594"/>
                    </a:lnTo>
                    <a:lnTo>
                      <a:pt x="1014" y="594"/>
                    </a:lnTo>
                    <a:lnTo>
                      <a:pt x="1010" y="594"/>
                    </a:lnTo>
                    <a:lnTo>
                      <a:pt x="1006" y="594"/>
                    </a:lnTo>
                    <a:lnTo>
                      <a:pt x="1004" y="594"/>
                    </a:lnTo>
                    <a:lnTo>
                      <a:pt x="1002" y="594"/>
                    </a:lnTo>
                    <a:lnTo>
                      <a:pt x="1000" y="594"/>
                    </a:lnTo>
                    <a:lnTo>
                      <a:pt x="998" y="594"/>
                    </a:lnTo>
                    <a:lnTo>
                      <a:pt x="996" y="594"/>
                    </a:lnTo>
                    <a:lnTo>
                      <a:pt x="994" y="594"/>
                    </a:lnTo>
                    <a:lnTo>
                      <a:pt x="993" y="594"/>
                    </a:lnTo>
                    <a:lnTo>
                      <a:pt x="991" y="594"/>
                    </a:lnTo>
                    <a:lnTo>
                      <a:pt x="989" y="592"/>
                    </a:lnTo>
                    <a:lnTo>
                      <a:pt x="987" y="592"/>
                    </a:lnTo>
                    <a:lnTo>
                      <a:pt x="985" y="592"/>
                    </a:lnTo>
                    <a:lnTo>
                      <a:pt x="983" y="592"/>
                    </a:lnTo>
                    <a:lnTo>
                      <a:pt x="981" y="592"/>
                    </a:lnTo>
                    <a:lnTo>
                      <a:pt x="979" y="592"/>
                    </a:lnTo>
                    <a:lnTo>
                      <a:pt x="977" y="592"/>
                    </a:lnTo>
                    <a:lnTo>
                      <a:pt x="975" y="592"/>
                    </a:lnTo>
                    <a:lnTo>
                      <a:pt x="973" y="592"/>
                    </a:lnTo>
                    <a:lnTo>
                      <a:pt x="973" y="590"/>
                    </a:lnTo>
                    <a:lnTo>
                      <a:pt x="973" y="588"/>
                    </a:lnTo>
                    <a:lnTo>
                      <a:pt x="971" y="588"/>
                    </a:lnTo>
                    <a:lnTo>
                      <a:pt x="970" y="588"/>
                    </a:lnTo>
                    <a:lnTo>
                      <a:pt x="966" y="588"/>
                    </a:lnTo>
                    <a:lnTo>
                      <a:pt x="960" y="586"/>
                    </a:lnTo>
                    <a:lnTo>
                      <a:pt x="960" y="588"/>
                    </a:lnTo>
                    <a:lnTo>
                      <a:pt x="960" y="590"/>
                    </a:lnTo>
                    <a:lnTo>
                      <a:pt x="962" y="590"/>
                    </a:lnTo>
                    <a:lnTo>
                      <a:pt x="962" y="592"/>
                    </a:lnTo>
                    <a:lnTo>
                      <a:pt x="960" y="592"/>
                    </a:lnTo>
                    <a:lnTo>
                      <a:pt x="962" y="592"/>
                    </a:lnTo>
                    <a:lnTo>
                      <a:pt x="962" y="594"/>
                    </a:lnTo>
                    <a:lnTo>
                      <a:pt x="962" y="595"/>
                    </a:lnTo>
                    <a:lnTo>
                      <a:pt x="960" y="595"/>
                    </a:lnTo>
                    <a:lnTo>
                      <a:pt x="958" y="595"/>
                    </a:lnTo>
                    <a:lnTo>
                      <a:pt x="952" y="595"/>
                    </a:lnTo>
                    <a:lnTo>
                      <a:pt x="948" y="595"/>
                    </a:lnTo>
                    <a:lnTo>
                      <a:pt x="945" y="595"/>
                    </a:lnTo>
                    <a:lnTo>
                      <a:pt x="945" y="594"/>
                    </a:lnTo>
                    <a:lnTo>
                      <a:pt x="945" y="590"/>
                    </a:lnTo>
                    <a:lnTo>
                      <a:pt x="943" y="590"/>
                    </a:lnTo>
                    <a:lnTo>
                      <a:pt x="943" y="588"/>
                    </a:lnTo>
                    <a:lnTo>
                      <a:pt x="941" y="588"/>
                    </a:lnTo>
                    <a:lnTo>
                      <a:pt x="935" y="588"/>
                    </a:lnTo>
                    <a:lnTo>
                      <a:pt x="929" y="588"/>
                    </a:lnTo>
                    <a:lnTo>
                      <a:pt x="925" y="588"/>
                    </a:lnTo>
                    <a:lnTo>
                      <a:pt x="923" y="588"/>
                    </a:lnTo>
                    <a:lnTo>
                      <a:pt x="923" y="586"/>
                    </a:lnTo>
                    <a:lnTo>
                      <a:pt x="922" y="586"/>
                    </a:lnTo>
                    <a:lnTo>
                      <a:pt x="922" y="584"/>
                    </a:lnTo>
                    <a:lnTo>
                      <a:pt x="922" y="582"/>
                    </a:lnTo>
                    <a:lnTo>
                      <a:pt x="923" y="580"/>
                    </a:lnTo>
                    <a:lnTo>
                      <a:pt x="923" y="578"/>
                    </a:lnTo>
                    <a:lnTo>
                      <a:pt x="923" y="576"/>
                    </a:lnTo>
                    <a:lnTo>
                      <a:pt x="922" y="576"/>
                    </a:lnTo>
                    <a:lnTo>
                      <a:pt x="920" y="578"/>
                    </a:lnTo>
                    <a:lnTo>
                      <a:pt x="918" y="578"/>
                    </a:lnTo>
                    <a:lnTo>
                      <a:pt x="920" y="580"/>
                    </a:lnTo>
                    <a:lnTo>
                      <a:pt x="916" y="580"/>
                    </a:lnTo>
                    <a:lnTo>
                      <a:pt x="914" y="580"/>
                    </a:lnTo>
                    <a:lnTo>
                      <a:pt x="912" y="582"/>
                    </a:lnTo>
                    <a:lnTo>
                      <a:pt x="904" y="582"/>
                    </a:lnTo>
                    <a:lnTo>
                      <a:pt x="900" y="582"/>
                    </a:lnTo>
                    <a:lnTo>
                      <a:pt x="897" y="584"/>
                    </a:lnTo>
                    <a:lnTo>
                      <a:pt x="897" y="580"/>
                    </a:lnTo>
                    <a:lnTo>
                      <a:pt x="895" y="580"/>
                    </a:lnTo>
                    <a:lnTo>
                      <a:pt x="893" y="580"/>
                    </a:lnTo>
                    <a:lnTo>
                      <a:pt x="891" y="580"/>
                    </a:lnTo>
                    <a:lnTo>
                      <a:pt x="889" y="580"/>
                    </a:lnTo>
                    <a:lnTo>
                      <a:pt x="889" y="576"/>
                    </a:lnTo>
                    <a:lnTo>
                      <a:pt x="887" y="572"/>
                    </a:lnTo>
                    <a:lnTo>
                      <a:pt x="885" y="572"/>
                    </a:lnTo>
                    <a:lnTo>
                      <a:pt x="883" y="567"/>
                    </a:lnTo>
                    <a:lnTo>
                      <a:pt x="891" y="567"/>
                    </a:lnTo>
                    <a:lnTo>
                      <a:pt x="891" y="565"/>
                    </a:lnTo>
                    <a:lnTo>
                      <a:pt x="891" y="567"/>
                    </a:lnTo>
                    <a:lnTo>
                      <a:pt x="893" y="569"/>
                    </a:lnTo>
                    <a:lnTo>
                      <a:pt x="893" y="572"/>
                    </a:lnTo>
                    <a:lnTo>
                      <a:pt x="893" y="574"/>
                    </a:lnTo>
                    <a:lnTo>
                      <a:pt x="898" y="574"/>
                    </a:lnTo>
                    <a:lnTo>
                      <a:pt x="902" y="574"/>
                    </a:lnTo>
                    <a:lnTo>
                      <a:pt x="902" y="572"/>
                    </a:lnTo>
                    <a:lnTo>
                      <a:pt x="902" y="570"/>
                    </a:lnTo>
                    <a:lnTo>
                      <a:pt x="902" y="569"/>
                    </a:lnTo>
                    <a:lnTo>
                      <a:pt x="904" y="567"/>
                    </a:lnTo>
                    <a:lnTo>
                      <a:pt x="904" y="565"/>
                    </a:lnTo>
                    <a:lnTo>
                      <a:pt x="906" y="563"/>
                    </a:lnTo>
                    <a:lnTo>
                      <a:pt x="904" y="559"/>
                    </a:lnTo>
                    <a:lnTo>
                      <a:pt x="902" y="551"/>
                    </a:lnTo>
                    <a:lnTo>
                      <a:pt x="900" y="549"/>
                    </a:lnTo>
                    <a:lnTo>
                      <a:pt x="904" y="547"/>
                    </a:lnTo>
                    <a:lnTo>
                      <a:pt x="900" y="544"/>
                    </a:lnTo>
                    <a:lnTo>
                      <a:pt x="900" y="542"/>
                    </a:lnTo>
                    <a:lnTo>
                      <a:pt x="898" y="544"/>
                    </a:lnTo>
                    <a:lnTo>
                      <a:pt x="895" y="546"/>
                    </a:lnTo>
                    <a:lnTo>
                      <a:pt x="893" y="546"/>
                    </a:lnTo>
                    <a:lnTo>
                      <a:pt x="893" y="542"/>
                    </a:lnTo>
                    <a:lnTo>
                      <a:pt x="893" y="540"/>
                    </a:lnTo>
                    <a:lnTo>
                      <a:pt x="891" y="536"/>
                    </a:lnTo>
                    <a:lnTo>
                      <a:pt x="891" y="534"/>
                    </a:lnTo>
                    <a:lnTo>
                      <a:pt x="891" y="532"/>
                    </a:lnTo>
                    <a:lnTo>
                      <a:pt x="885" y="534"/>
                    </a:lnTo>
                    <a:lnTo>
                      <a:pt x="883" y="530"/>
                    </a:lnTo>
                    <a:lnTo>
                      <a:pt x="887" y="530"/>
                    </a:lnTo>
                    <a:lnTo>
                      <a:pt x="889" y="528"/>
                    </a:lnTo>
                    <a:lnTo>
                      <a:pt x="891" y="528"/>
                    </a:lnTo>
                    <a:lnTo>
                      <a:pt x="889" y="524"/>
                    </a:lnTo>
                    <a:lnTo>
                      <a:pt x="889" y="521"/>
                    </a:lnTo>
                    <a:lnTo>
                      <a:pt x="889" y="517"/>
                    </a:lnTo>
                    <a:lnTo>
                      <a:pt x="887" y="515"/>
                    </a:lnTo>
                    <a:lnTo>
                      <a:pt x="885" y="515"/>
                    </a:lnTo>
                    <a:lnTo>
                      <a:pt x="883" y="515"/>
                    </a:lnTo>
                    <a:lnTo>
                      <a:pt x="881" y="509"/>
                    </a:lnTo>
                    <a:lnTo>
                      <a:pt x="889" y="505"/>
                    </a:lnTo>
                    <a:lnTo>
                      <a:pt x="887" y="499"/>
                    </a:lnTo>
                    <a:lnTo>
                      <a:pt x="887" y="498"/>
                    </a:lnTo>
                    <a:lnTo>
                      <a:pt x="887" y="492"/>
                    </a:lnTo>
                    <a:lnTo>
                      <a:pt x="875" y="494"/>
                    </a:lnTo>
                    <a:lnTo>
                      <a:pt x="874" y="496"/>
                    </a:lnTo>
                    <a:lnTo>
                      <a:pt x="870" y="496"/>
                    </a:lnTo>
                    <a:lnTo>
                      <a:pt x="868" y="498"/>
                    </a:lnTo>
                    <a:lnTo>
                      <a:pt x="866" y="498"/>
                    </a:lnTo>
                    <a:lnTo>
                      <a:pt x="864" y="498"/>
                    </a:lnTo>
                    <a:lnTo>
                      <a:pt x="864" y="496"/>
                    </a:lnTo>
                    <a:lnTo>
                      <a:pt x="866" y="496"/>
                    </a:lnTo>
                    <a:lnTo>
                      <a:pt x="866" y="494"/>
                    </a:lnTo>
                    <a:lnTo>
                      <a:pt x="866" y="492"/>
                    </a:lnTo>
                    <a:lnTo>
                      <a:pt x="868" y="492"/>
                    </a:lnTo>
                    <a:lnTo>
                      <a:pt x="868" y="490"/>
                    </a:lnTo>
                    <a:lnTo>
                      <a:pt x="866" y="490"/>
                    </a:lnTo>
                    <a:lnTo>
                      <a:pt x="866" y="488"/>
                    </a:lnTo>
                    <a:lnTo>
                      <a:pt x="866" y="490"/>
                    </a:lnTo>
                    <a:lnTo>
                      <a:pt x="864" y="490"/>
                    </a:lnTo>
                    <a:lnTo>
                      <a:pt x="864" y="488"/>
                    </a:lnTo>
                    <a:lnTo>
                      <a:pt x="864" y="486"/>
                    </a:lnTo>
                    <a:lnTo>
                      <a:pt x="864" y="484"/>
                    </a:lnTo>
                    <a:lnTo>
                      <a:pt x="866" y="482"/>
                    </a:lnTo>
                    <a:lnTo>
                      <a:pt x="868" y="482"/>
                    </a:lnTo>
                    <a:lnTo>
                      <a:pt x="868" y="480"/>
                    </a:lnTo>
                    <a:lnTo>
                      <a:pt x="868" y="478"/>
                    </a:lnTo>
                    <a:lnTo>
                      <a:pt x="866" y="478"/>
                    </a:lnTo>
                    <a:lnTo>
                      <a:pt x="866" y="480"/>
                    </a:lnTo>
                    <a:lnTo>
                      <a:pt x="866" y="478"/>
                    </a:lnTo>
                    <a:lnTo>
                      <a:pt x="864" y="478"/>
                    </a:lnTo>
                    <a:lnTo>
                      <a:pt x="866" y="478"/>
                    </a:lnTo>
                    <a:lnTo>
                      <a:pt x="866" y="476"/>
                    </a:lnTo>
                    <a:lnTo>
                      <a:pt x="864" y="476"/>
                    </a:lnTo>
                    <a:lnTo>
                      <a:pt x="862" y="476"/>
                    </a:lnTo>
                    <a:lnTo>
                      <a:pt x="860" y="476"/>
                    </a:lnTo>
                    <a:lnTo>
                      <a:pt x="852" y="478"/>
                    </a:lnTo>
                    <a:lnTo>
                      <a:pt x="850" y="480"/>
                    </a:lnTo>
                    <a:lnTo>
                      <a:pt x="847" y="480"/>
                    </a:lnTo>
                    <a:lnTo>
                      <a:pt x="837" y="482"/>
                    </a:lnTo>
                    <a:lnTo>
                      <a:pt x="835" y="482"/>
                    </a:lnTo>
                    <a:lnTo>
                      <a:pt x="833" y="484"/>
                    </a:lnTo>
                    <a:lnTo>
                      <a:pt x="824" y="486"/>
                    </a:lnTo>
                    <a:lnTo>
                      <a:pt x="820" y="486"/>
                    </a:lnTo>
                    <a:lnTo>
                      <a:pt x="818" y="476"/>
                    </a:lnTo>
                    <a:lnTo>
                      <a:pt x="818" y="473"/>
                    </a:lnTo>
                    <a:lnTo>
                      <a:pt x="818" y="471"/>
                    </a:lnTo>
                    <a:lnTo>
                      <a:pt x="816" y="471"/>
                    </a:lnTo>
                    <a:lnTo>
                      <a:pt x="816" y="473"/>
                    </a:lnTo>
                    <a:lnTo>
                      <a:pt x="814" y="473"/>
                    </a:lnTo>
                    <a:lnTo>
                      <a:pt x="812" y="473"/>
                    </a:lnTo>
                    <a:lnTo>
                      <a:pt x="812" y="474"/>
                    </a:lnTo>
                    <a:lnTo>
                      <a:pt x="810" y="474"/>
                    </a:lnTo>
                    <a:lnTo>
                      <a:pt x="810" y="473"/>
                    </a:lnTo>
                    <a:lnTo>
                      <a:pt x="808" y="473"/>
                    </a:lnTo>
                    <a:lnTo>
                      <a:pt x="806" y="473"/>
                    </a:lnTo>
                    <a:lnTo>
                      <a:pt x="804" y="473"/>
                    </a:lnTo>
                    <a:lnTo>
                      <a:pt x="804" y="471"/>
                    </a:lnTo>
                    <a:lnTo>
                      <a:pt x="804" y="473"/>
                    </a:lnTo>
                    <a:lnTo>
                      <a:pt x="802" y="473"/>
                    </a:lnTo>
                    <a:lnTo>
                      <a:pt x="801" y="473"/>
                    </a:lnTo>
                    <a:lnTo>
                      <a:pt x="799" y="471"/>
                    </a:lnTo>
                    <a:lnTo>
                      <a:pt x="797" y="469"/>
                    </a:lnTo>
                    <a:lnTo>
                      <a:pt x="797" y="467"/>
                    </a:lnTo>
                    <a:lnTo>
                      <a:pt x="791" y="455"/>
                    </a:lnTo>
                    <a:lnTo>
                      <a:pt x="789" y="453"/>
                    </a:lnTo>
                    <a:lnTo>
                      <a:pt x="787" y="455"/>
                    </a:lnTo>
                    <a:lnTo>
                      <a:pt x="785" y="455"/>
                    </a:lnTo>
                    <a:lnTo>
                      <a:pt x="779" y="459"/>
                    </a:lnTo>
                    <a:lnTo>
                      <a:pt x="776" y="461"/>
                    </a:lnTo>
                    <a:lnTo>
                      <a:pt x="770" y="463"/>
                    </a:lnTo>
                    <a:lnTo>
                      <a:pt x="764" y="467"/>
                    </a:lnTo>
                    <a:lnTo>
                      <a:pt x="762" y="467"/>
                    </a:lnTo>
                    <a:lnTo>
                      <a:pt x="760" y="469"/>
                    </a:lnTo>
                    <a:lnTo>
                      <a:pt x="754" y="471"/>
                    </a:lnTo>
                    <a:lnTo>
                      <a:pt x="751" y="473"/>
                    </a:lnTo>
                    <a:lnTo>
                      <a:pt x="747" y="474"/>
                    </a:lnTo>
                    <a:lnTo>
                      <a:pt x="741" y="478"/>
                    </a:lnTo>
                    <a:lnTo>
                      <a:pt x="737" y="478"/>
                    </a:lnTo>
                    <a:lnTo>
                      <a:pt x="737" y="471"/>
                    </a:lnTo>
                    <a:lnTo>
                      <a:pt x="735" y="471"/>
                    </a:lnTo>
                    <a:lnTo>
                      <a:pt x="735" y="469"/>
                    </a:lnTo>
                    <a:lnTo>
                      <a:pt x="733" y="469"/>
                    </a:lnTo>
                    <a:lnTo>
                      <a:pt x="731" y="469"/>
                    </a:lnTo>
                    <a:lnTo>
                      <a:pt x="729" y="469"/>
                    </a:lnTo>
                    <a:lnTo>
                      <a:pt x="728" y="469"/>
                    </a:lnTo>
                    <a:lnTo>
                      <a:pt x="728" y="471"/>
                    </a:lnTo>
                    <a:lnTo>
                      <a:pt x="728" y="469"/>
                    </a:lnTo>
                    <a:lnTo>
                      <a:pt x="726" y="469"/>
                    </a:lnTo>
                    <a:lnTo>
                      <a:pt x="724" y="469"/>
                    </a:lnTo>
                    <a:lnTo>
                      <a:pt x="722" y="467"/>
                    </a:lnTo>
                    <a:lnTo>
                      <a:pt x="720" y="467"/>
                    </a:lnTo>
                    <a:lnTo>
                      <a:pt x="718" y="467"/>
                    </a:lnTo>
                    <a:lnTo>
                      <a:pt x="718" y="465"/>
                    </a:lnTo>
                    <a:lnTo>
                      <a:pt x="716" y="465"/>
                    </a:lnTo>
                    <a:lnTo>
                      <a:pt x="716" y="467"/>
                    </a:lnTo>
                    <a:lnTo>
                      <a:pt x="710" y="467"/>
                    </a:lnTo>
                    <a:lnTo>
                      <a:pt x="708" y="467"/>
                    </a:lnTo>
                    <a:lnTo>
                      <a:pt x="708" y="463"/>
                    </a:lnTo>
                    <a:lnTo>
                      <a:pt x="708" y="461"/>
                    </a:lnTo>
                    <a:lnTo>
                      <a:pt x="706" y="461"/>
                    </a:lnTo>
                    <a:lnTo>
                      <a:pt x="706" y="463"/>
                    </a:lnTo>
                    <a:lnTo>
                      <a:pt x="706" y="461"/>
                    </a:lnTo>
                    <a:lnTo>
                      <a:pt x="706" y="463"/>
                    </a:lnTo>
                    <a:lnTo>
                      <a:pt x="706" y="461"/>
                    </a:lnTo>
                    <a:lnTo>
                      <a:pt x="705" y="461"/>
                    </a:lnTo>
                    <a:lnTo>
                      <a:pt x="703" y="461"/>
                    </a:lnTo>
                    <a:lnTo>
                      <a:pt x="701" y="461"/>
                    </a:lnTo>
                    <a:lnTo>
                      <a:pt x="701" y="459"/>
                    </a:lnTo>
                    <a:lnTo>
                      <a:pt x="699" y="459"/>
                    </a:lnTo>
                    <a:lnTo>
                      <a:pt x="699" y="457"/>
                    </a:lnTo>
                    <a:lnTo>
                      <a:pt x="699" y="459"/>
                    </a:lnTo>
                    <a:lnTo>
                      <a:pt x="697" y="459"/>
                    </a:lnTo>
                    <a:lnTo>
                      <a:pt x="697" y="457"/>
                    </a:lnTo>
                    <a:lnTo>
                      <a:pt x="697" y="459"/>
                    </a:lnTo>
                    <a:lnTo>
                      <a:pt x="697" y="457"/>
                    </a:lnTo>
                    <a:lnTo>
                      <a:pt x="695" y="457"/>
                    </a:lnTo>
                    <a:lnTo>
                      <a:pt x="693" y="457"/>
                    </a:lnTo>
                    <a:lnTo>
                      <a:pt x="691" y="457"/>
                    </a:lnTo>
                    <a:lnTo>
                      <a:pt x="689" y="457"/>
                    </a:lnTo>
                    <a:lnTo>
                      <a:pt x="689" y="455"/>
                    </a:lnTo>
                    <a:lnTo>
                      <a:pt x="689" y="457"/>
                    </a:lnTo>
                    <a:lnTo>
                      <a:pt x="689" y="455"/>
                    </a:lnTo>
                    <a:lnTo>
                      <a:pt x="687" y="455"/>
                    </a:lnTo>
                    <a:lnTo>
                      <a:pt x="685" y="455"/>
                    </a:lnTo>
                    <a:lnTo>
                      <a:pt x="685" y="453"/>
                    </a:lnTo>
                    <a:lnTo>
                      <a:pt x="683" y="453"/>
                    </a:lnTo>
                    <a:lnTo>
                      <a:pt x="683" y="451"/>
                    </a:lnTo>
                    <a:lnTo>
                      <a:pt x="681" y="451"/>
                    </a:lnTo>
                    <a:lnTo>
                      <a:pt x="680" y="451"/>
                    </a:lnTo>
                    <a:lnTo>
                      <a:pt x="680" y="450"/>
                    </a:lnTo>
                    <a:lnTo>
                      <a:pt x="678" y="450"/>
                    </a:lnTo>
                    <a:lnTo>
                      <a:pt x="678" y="448"/>
                    </a:lnTo>
                    <a:lnTo>
                      <a:pt x="676" y="448"/>
                    </a:lnTo>
                    <a:lnTo>
                      <a:pt x="674" y="448"/>
                    </a:lnTo>
                    <a:lnTo>
                      <a:pt x="674" y="446"/>
                    </a:lnTo>
                    <a:lnTo>
                      <a:pt x="672" y="446"/>
                    </a:lnTo>
                    <a:lnTo>
                      <a:pt x="670" y="446"/>
                    </a:lnTo>
                    <a:lnTo>
                      <a:pt x="668" y="446"/>
                    </a:lnTo>
                    <a:lnTo>
                      <a:pt x="668" y="448"/>
                    </a:lnTo>
                    <a:lnTo>
                      <a:pt x="666" y="448"/>
                    </a:lnTo>
                    <a:lnTo>
                      <a:pt x="664" y="450"/>
                    </a:lnTo>
                    <a:lnTo>
                      <a:pt x="662" y="450"/>
                    </a:lnTo>
                    <a:lnTo>
                      <a:pt x="660" y="450"/>
                    </a:lnTo>
                    <a:lnTo>
                      <a:pt x="658" y="450"/>
                    </a:lnTo>
                    <a:lnTo>
                      <a:pt x="657" y="448"/>
                    </a:lnTo>
                    <a:lnTo>
                      <a:pt x="655" y="448"/>
                    </a:lnTo>
                    <a:lnTo>
                      <a:pt x="653" y="446"/>
                    </a:lnTo>
                    <a:lnTo>
                      <a:pt x="653" y="448"/>
                    </a:lnTo>
                    <a:lnTo>
                      <a:pt x="651" y="448"/>
                    </a:lnTo>
                    <a:lnTo>
                      <a:pt x="649" y="448"/>
                    </a:lnTo>
                    <a:lnTo>
                      <a:pt x="647" y="448"/>
                    </a:lnTo>
                    <a:lnTo>
                      <a:pt x="645" y="450"/>
                    </a:lnTo>
                    <a:lnTo>
                      <a:pt x="643" y="450"/>
                    </a:lnTo>
                    <a:lnTo>
                      <a:pt x="641" y="450"/>
                    </a:lnTo>
                    <a:lnTo>
                      <a:pt x="639" y="451"/>
                    </a:lnTo>
                    <a:lnTo>
                      <a:pt x="637" y="451"/>
                    </a:lnTo>
                    <a:lnTo>
                      <a:pt x="635" y="451"/>
                    </a:lnTo>
                    <a:lnTo>
                      <a:pt x="633" y="451"/>
                    </a:lnTo>
                    <a:lnTo>
                      <a:pt x="632" y="451"/>
                    </a:lnTo>
                    <a:lnTo>
                      <a:pt x="630" y="451"/>
                    </a:lnTo>
                    <a:lnTo>
                      <a:pt x="628" y="450"/>
                    </a:lnTo>
                    <a:lnTo>
                      <a:pt x="626" y="450"/>
                    </a:lnTo>
                    <a:lnTo>
                      <a:pt x="624" y="450"/>
                    </a:lnTo>
                    <a:lnTo>
                      <a:pt x="622" y="450"/>
                    </a:lnTo>
                    <a:lnTo>
                      <a:pt x="620" y="450"/>
                    </a:lnTo>
                    <a:lnTo>
                      <a:pt x="618" y="450"/>
                    </a:lnTo>
                    <a:lnTo>
                      <a:pt x="616" y="451"/>
                    </a:lnTo>
                    <a:lnTo>
                      <a:pt x="614" y="451"/>
                    </a:lnTo>
                    <a:lnTo>
                      <a:pt x="612" y="453"/>
                    </a:lnTo>
                    <a:lnTo>
                      <a:pt x="610" y="453"/>
                    </a:lnTo>
                    <a:lnTo>
                      <a:pt x="609" y="453"/>
                    </a:lnTo>
                    <a:lnTo>
                      <a:pt x="607" y="453"/>
                    </a:lnTo>
                    <a:lnTo>
                      <a:pt x="607" y="455"/>
                    </a:lnTo>
                    <a:lnTo>
                      <a:pt x="605" y="457"/>
                    </a:lnTo>
                    <a:lnTo>
                      <a:pt x="603" y="457"/>
                    </a:lnTo>
                    <a:lnTo>
                      <a:pt x="603" y="459"/>
                    </a:lnTo>
                    <a:lnTo>
                      <a:pt x="603" y="461"/>
                    </a:lnTo>
                    <a:lnTo>
                      <a:pt x="601" y="461"/>
                    </a:lnTo>
                    <a:lnTo>
                      <a:pt x="601" y="463"/>
                    </a:lnTo>
                    <a:lnTo>
                      <a:pt x="599" y="463"/>
                    </a:lnTo>
                    <a:lnTo>
                      <a:pt x="597" y="463"/>
                    </a:lnTo>
                    <a:lnTo>
                      <a:pt x="595" y="463"/>
                    </a:lnTo>
                    <a:lnTo>
                      <a:pt x="593" y="463"/>
                    </a:lnTo>
                    <a:lnTo>
                      <a:pt x="591" y="463"/>
                    </a:lnTo>
                    <a:lnTo>
                      <a:pt x="589" y="465"/>
                    </a:lnTo>
                    <a:lnTo>
                      <a:pt x="587" y="465"/>
                    </a:lnTo>
                    <a:lnTo>
                      <a:pt x="587" y="463"/>
                    </a:lnTo>
                    <a:lnTo>
                      <a:pt x="580" y="463"/>
                    </a:lnTo>
                    <a:lnTo>
                      <a:pt x="574" y="463"/>
                    </a:lnTo>
                    <a:lnTo>
                      <a:pt x="570" y="463"/>
                    </a:lnTo>
                    <a:lnTo>
                      <a:pt x="566" y="463"/>
                    </a:lnTo>
                    <a:lnTo>
                      <a:pt x="566" y="459"/>
                    </a:lnTo>
                    <a:lnTo>
                      <a:pt x="566" y="453"/>
                    </a:lnTo>
                    <a:lnTo>
                      <a:pt x="568" y="453"/>
                    </a:lnTo>
                    <a:lnTo>
                      <a:pt x="568" y="448"/>
                    </a:lnTo>
                    <a:lnTo>
                      <a:pt x="559" y="448"/>
                    </a:lnTo>
                    <a:lnTo>
                      <a:pt x="557" y="446"/>
                    </a:lnTo>
                    <a:lnTo>
                      <a:pt x="553" y="446"/>
                    </a:lnTo>
                    <a:lnTo>
                      <a:pt x="551" y="446"/>
                    </a:lnTo>
                    <a:lnTo>
                      <a:pt x="551" y="448"/>
                    </a:lnTo>
                    <a:lnTo>
                      <a:pt x="551" y="451"/>
                    </a:lnTo>
                    <a:lnTo>
                      <a:pt x="551" y="453"/>
                    </a:lnTo>
                    <a:lnTo>
                      <a:pt x="551" y="455"/>
                    </a:lnTo>
                    <a:lnTo>
                      <a:pt x="553" y="459"/>
                    </a:lnTo>
                    <a:lnTo>
                      <a:pt x="553" y="465"/>
                    </a:lnTo>
                    <a:lnTo>
                      <a:pt x="553" y="473"/>
                    </a:lnTo>
                    <a:lnTo>
                      <a:pt x="555" y="478"/>
                    </a:lnTo>
                    <a:lnTo>
                      <a:pt x="545" y="478"/>
                    </a:lnTo>
                    <a:lnTo>
                      <a:pt x="545" y="480"/>
                    </a:lnTo>
                    <a:lnTo>
                      <a:pt x="545" y="482"/>
                    </a:lnTo>
                    <a:lnTo>
                      <a:pt x="545" y="484"/>
                    </a:lnTo>
                    <a:lnTo>
                      <a:pt x="545" y="486"/>
                    </a:lnTo>
                    <a:lnTo>
                      <a:pt x="545" y="490"/>
                    </a:lnTo>
                    <a:lnTo>
                      <a:pt x="545" y="492"/>
                    </a:lnTo>
                    <a:lnTo>
                      <a:pt x="545" y="494"/>
                    </a:lnTo>
                    <a:lnTo>
                      <a:pt x="545" y="496"/>
                    </a:lnTo>
                    <a:lnTo>
                      <a:pt x="549" y="494"/>
                    </a:lnTo>
                    <a:lnTo>
                      <a:pt x="549" y="498"/>
                    </a:lnTo>
                    <a:lnTo>
                      <a:pt x="551" y="499"/>
                    </a:lnTo>
                    <a:lnTo>
                      <a:pt x="551" y="503"/>
                    </a:lnTo>
                    <a:lnTo>
                      <a:pt x="551" y="507"/>
                    </a:lnTo>
                    <a:lnTo>
                      <a:pt x="551" y="509"/>
                    </a:lnTo>
                    <a:lnTo>
                      <a:pt x="555" y="509"/>
                    </a:lnTo>
                    <a:lnTo>
                      <a:pt x="561" y="507"/>
                    </a:lnTo>
                    <a:lnTo>
                      <a:pt x="562" y="511"/>
                    </a:lnTo>
                    <a:lnTo>
                      <a:pt x="562" y="513"/>
                    </a:lnTo>
                    <a:lnTo>
                      <a:pt x="562" y="515"/>
                    </a:lnTo>
                    <a:lnTo>
                      <a:pt x="562" y="519"/>
                    </a:lnTo>
                    <a:lnTo>
                      <a:pt x="562" y="521"/>
                    </a:lnTo>
                    <a:lnTo>
                      <a:pt x="562" y="526"/>
                    </a:lnTo>
                    <a:lnTo>
                      <a:pt x="564" y="528"/>
                    </a:lnTo>
                    <a:lnTo>
                      <a:pt x="564" y="530"/>
                    </a:lnTo>
                    <a:lnTo>
                      <a:pt x="559" y="530"/>
                    </a:lnTo>
                    <a:lnTo>
                      <a:pt x="553" y="530"/>
                    </a:lnTo>
                    <a:lnTo>
                      <a:pt x="553" y="528"/>
                    </a:lnTo>
                    <a:lnTo>
                      <a:pt x="553" y="526"/>
                    </a:lnTo>
                    <a:lnTo>
                      <a:pt x="551" y="526"/>
                    </a:lnTo>
                    <a:lnTo>
                      <a:pt x="547" y="526"/>
                    </a:lnTo>
                    <a:lnTo>
                      <a:pt x="545" y="526"/>
                    </a:lnTo>
                    <a:lnTo>
                      <a:pt x="545" y="528"/>
                    </a:lnTo>
                    <a:lnTo>
                      <a:pt x="545" y="530"/>
                    </a:lnTo>
                    <a:lnTo>
                      <a:pt x="545" y="534"/>
                    </a:lnTo>
                    <a:lnTo>
                      <a:pt x="543" y="534"/>
                    </a:lnTo>
                    <a:lnTo>
                      <a:pt x="541" y="534"/>
                    </a:lnTo>
                    <a:lnTo>
                      <a:pt x="539" y="534"/>
                    </a:lnTo>
                    <a:lnTo>
                      <a:pt x="537" y="534"/>
                    </a:lnTo>
                    <a:lnTo>
                      <a:pt x="536" y="534"/>
                    </a:lnTo>
                    <a:lnTo>
                      <a:pt x="530" y="536"/>
                    </a:lnTo>
                    <a:lnTo>
                      <a:pt x="532" y="538"/>
                    </a:lnTo>
                    <a:lnTo>
                      <a:pt x="532" y="544"/>
                    </a:lnTo>
                    <a:lnTo>
                      <a:pt x="532" y="547"/>
                    </a:lnTo>
                    <a:lnTo>
                      <a:pt x="532" y="549"/>
                    </a:lnTo>
                    <a:lnTo>
                      <a:pt x="534" y="551"/>
                    </a:lnTo>
                    <a:lnTo>
                      <a:pt x="534" y="553"/>
                    </a:lnTo>
                    <a:lnTo>
                      <a:pt x="534" y="555"/>
                    </a:lnTo>
                    <a:lnTo>
                      <a:pt x="534" y="557"/>
                    </a:lnTo>
                    <a:lnTo>
                      <a:pt x="536" y="557"/>
                    </a:lnTo>
                    <a:lnTo>
                      <a:pt x="536" y="555"/>
                    </a:lnTo>
                    <a:lnTo>
                      <a:pt x="537" y="555"/>
                    </a:lnTo>
                    <a:lnTo>
                      <a:pt x="539" y="555"/>
                    </a:lnTo>
                    <a:lnTo>
                      <a:pt x="541" y="555"/>
                    </a:lnTo>
                    <a:lnTo>
                      <a:pt x="541" y="553"/>
                    </a:lnTo>
                    <a:lnTo>
                      <a:pt x="543" y="553"/>
                    </a:lnTo>
                    <a:lnTo>
                      <a:pt x="543" y="551"/>
                    </a:lnTo>
                    <a:lnTo>
                      <a:pt x="545" y="551"/>
                    </a:lnTo>
                    <a:lnTo>
                      <a:pt x="547" y="551"/>
                    </a:lnTo>
                    <a:lnTo>
                      <a:pt x="547" y="553"/>
                    </a:lnTo>
                    <a:lnTo>
                      <a:pt x="547" y="555"/>
                    </a:lnTo>
                    <a:lnTo>
                      <a:pt x="547" y="557"/>
                    </a:lnTo>
                    <a:lnTo>
                      <a:pt x="549" y="559"/>
                    </a:lnTo>
                    <a:lnTo>
                      <a:pt x="549" y="561"/>
                    </a:lnTo>
                    <a:lnTo>
                      <a:pt x="549" y="563"/>
                    </a:lnTo>
                    <a:lnTo>
                      <a:pt x="551" y="563"/>
                    </a:lnTo>
                    <a:lnTo>
                      <a:pt x="551" y="565"/>
                    </a:lnTo>
                    <a:lnTo>
                      <a:pt x="553" y="565"/>
                    </a:lnTo>
                    <a:lnTo>
                      <a:pt x="557" y="563"/>
                    </a:lnTo>
                    <a:lnTo>
                      <a:pt x="557" y="567"/>
                    </a:lnTo>
                    <a:lnTo>
                      <a:pt x="557" y="569"/>
                    </a:lnTo>
                    <a:lnTo>
                      <a:pt x="557" y="570"/>
                    </a:lnTo>
                    <a:lnTo>
                      <a:pt x="557" y="572"/>
                    </a:lnTo>
                    <a:lnTo>
                      <a:pt x="557" y="574"/>
                    </a:lnTo>
                    <a:lnTo>
                      <a:pt x="553" y="574"/>
                    </a:lnTo>
                    <a:lnTo>
                      <a:pt x="553" y="576"/>
                    </a:lnTo>
                    <a:lnTo>
                      <a:pt x="551" y="576"/>
                    </a:lnTo>
                    <a:lnTo>
                      <a:pt x="551" y="578"/>
                    </a:lnTo>
                    <a:lnTo>
                      <a:pt x="551" y="582"/>
                    </a:lnTo>
                    <a:lnTo>
                      <a:pt x="551" y="588"/>
                    </a:lnTo>
                    <a:lnTo>
                      <a:pt x="553" y="592"/>
                    </a:lnTo>
                    <a:lnTo>
                      <a:pt x="553" y="597"/>
                    </a:lnTo>
                    <a:lnTo>
                      <a:pt x="553" y="601"/>
                    </a:lnTo>
                    <a:lnTo>
                      <a:pt x="557" y="601"/>
                    </a:lnTo>
                    <a:lnTo>
                      <a:pt x="559" y="601"/>
                    </a:lnTo>
                    <a:lnTo>
                      <a:pt x="564" y="601"/>
                    </a:lnTo>
                    <a:lnTo>
                      <a:pt x="572" y="599"/>
                    </a:lnTo>
                    <a:lnTo>
                      <a:pt x="572" y="603"/>
                    </a:lnTo>
                    <a:lnTo>
                      <a:pt x="572" y="605"/>
                    </a:lnTo>
                    <a:lnTo>
                      <a:pt x="572" y="611"/>
                    </a:lnTo>
                    <a:lnTo>
                      <a:pt x="570" y="613"/>
                    </a:lnTo>
                    <a:lnTo>
                      <a:pt x="570" y="617"/>
                    </a:lnTo>
                    <a:lnTo>
                      <a:pt x="568" y="617"/>
                    </a:lnTo>
                    <a:lnTo>
                      <a:pt x="570" y="622"/>
                    </a:lnTo>
                    <a:lnTo>
                      <a:pt x="566" y="622"/>
                    </a:lnTo>
                    <a:lnTo>
                      <a:pt x="562" y="622"/>
                    </a:lnTo>
                    <a:lnTo>
                      <a:pt x="562" y="628"/>
                    </a:lnTo>
                    <a:lnTo>
                      <a:pt x="562" y="632"/>
                    </a:lnTo>
                    <a:lnTo>
                      <a:pt x="564" y="638"/>
                    </a:lnTo>
                    <a:lnTo>
                      <a:pt x="559" y="638"/>
                    </a:lnTo>
                    <a:lnTo>
                      <a:pt x="555" y="638"/>
                    </a:lnTo>
                    <a:lnTo>
                      <a:pt x="555" y="643"/>
                    </a:lnTo>
                    <a:lnTo>
                      <a:pt x="555" y="647"/>
                    </a:lnTo>
                    <a:lnTo>
                      <a:pt x="557" y="649"/>
                    </a:lnTo>
                    <a:lnTo>
                      <a:pt x="557" y="655"/>
                    </a:lnTo>
                    <a:lnTo>
                      <a:pt x="562" y="655"/>
                    </a:lnTo>
                    <a:lnTo>
                      <a:pt x="562" y="659"/>
                    </a:lnTo>
                    <a:lnTo>
                      <a:pt x="562" y="665"/>
                    </a:lnTo>
                    <a:lnTo>
                      <a:pt x="562" y="668"/>
                    </a:lnTo>
                    <a:lnTo>
                      <a:pt x="562" y="670"/>
                    </a:lnTo>
                    <a:lnTo>
                      <a:pt x="562" y="672"/>
                    </a:lnTo>
                    <a:lnTo>
                      <a:pt x="561" y="674"/>
                    </a:lnTo>
                    <a:lnTo>
                      <a:pt x="561" y="672"/>
                    </a:lnTo>
                    <a:lnTo>
                      <a:pt x="559" y="672"/>
                    </a:lnTo>
                    <a:lnTo>
                      <a:pt x="559" y="674"/>
                    </a:lnTo>
                    <a:lnTo>
                      <a:pt x="561" y="674"/>
                    </a:lnTo>
                    <a:lnTo>
                      <a:pt x="561" y="676"/>
                    </a:lnTo>
                    <a:lnTo>
                      <a:pt x="561" y="678"/>
                    </a:lnTo>
                    <a:lnTo>
                      <a:pt x="559" y="678"/>
                    </a:lnTo>
                    <a:lnTo>
                      <a:pt x="561" y="678"/>
                    </a:lnTo>
                    <a:lnTo>
                      <a:pt x="562" y="678"/>
                    </a:lnTo>
                    <a:lnTo>
                      <a:pt x="562" y="680"/>
                    </a:lnTo>
                    <a:lnTo>
                      <a:pt x="564" y="680"/>
                    </a:lnTo>
                    <a:lnTo>
                      <a:pt x="564" y="682"/>
                    </a:lnTo>
                    <a:lnTo>
                      <a:pt x="562" y="682"/>
                    </a:lnTo>
                    <a:lnTo>
                      <a:pt x="561" y="682"/>
                    </a:lnTo>
                    <a:lnTo>
                      <a:pt x="561" y="684"/>
                    </a:lnTo>
                    <a:lnTo>
                      <a:pt x="562" y="682"/>
                    </a:lnTo>
                    <a:lnTo>
                      <a:pt x="564" y="682"/>
                    </a:lnTo>
                    <a:lnTo>
                      <a:pt x="566" y="682"/>
                    </a:lnTo>
                    <a:lnTo>
                      <a:pt x="566" y="684"/>
                    </a:lnTo>
                    <a:lnTo>
                      <a:pt x="568" y="686"/>
                    </a:lnTo>
                    <a:lnTo>
                      <a:pt x="568" y="688"/>
                    </a:lnTo>
                    <a:lnTo>
                      <a:pt x="568" y="689"/>
                    </a:lnTo>
                    <a:lnTo>
                      <a:pt x="568" y="691"/>
                    </a:lnTo>
                    <a:lnTo>
                      <a:pt x="568" y="693"/>
                    </a:lnTo>
                    <a:lnTo>
                      <a:pt x="566" y="695"/>
                    </a:lnTo>
                    <a:lnTo>
                      <a:pt x="566" y="697"/>
                    </a:lnTo>
                    <a:lnTo>
                      <a:pt x="564" y="697"/>
                    </a:lnTo>
                    <a:lnTo>
                      <a:pt x="564" y="699"/>
                    </a:lnTo>
                    <a:lnTo>
                      <a:pt x="562" y="699"/>
                    </a:lnTo>
                    <a:lnTo>
                      <a:pt x="562" y="701"/>
                    </a:lnTo>
                    <a:lnTo>
                      <a:pt x="561" y="701"/>
                    </a:lnTo>
                    <a:lnTo>
                      <a:pt x="559" y="701"/>
                    </a:lnTo>
                    <a:lnTo>
                      <a:pt x="557" y="701"/>
                    </a:lnTo>
                    <a:lnTo>
                      <a:pt x="555" y="703"/>
                    </a:lnTo>
                    <a:lnTo>
                      <a:pt x="553" y="703"/>
                    </a:lnTo>
                    <a:lnTo>
                      <a:pt x="551" y="703"/>
                    </a:lnTo>
                    <a:lnTo>
                      <a:pt x="549" y="703"/>
                    </a:lnTo>
                    <a:lnTo>
                      <a:pt x="545" y="705"/>
                    </a:lnTo>
                    <a:lnTo>
                      <a:pt x="543" y="705"/>
                    </a:lnTo>
                    <a:lnTo>
                      <a:pt x="541" y="705"/>
                    </a:lnTo>
                    <a:lnTo>
                      <a:pt x="539" y="705"/>
                    </a:lnTo>
                    <a:lnTo>
                      <a:pt x="537" y="703"/>
                    </a:lnTo>
                    <a:lnTo>
                      <a:pt x="534" y="703"/>
                    </a:lnTo>
                    <a:lnTo>
                      <a:pt x="534" y="701"/>
                    </a:lnTo>
                    <a:lnTo>
                      <a:pt x="532" y="701"/>
                    </a:lnTo>
                    <a:lnTo>
                      <a:pt x="530" y="701"/>
                    </a:lnTo>
                    <a:lnTo>
                      <a:pt x="530" y="699"/>
                    </a:lnTo>
                    <a:lnTo>
                      <a:pt x="526" y="697"/>
                    </a:lnTo>
                    <a:lnTo>
                      <a:pt x="524" y="697"/>
                    </a:lnTo>
                    <a:lnTo>
                      <a:pt x="524" y="695"/>
                    </a:lnTo>
                    <a:lnTo>
                      <a:pt x="522" y="695"/>
                    </a:lnTo>
                    <a:lnTo>
                      <a:pt x="520" y="693"/>
                    </a:lnTo>
                    <a:lnTo>
                      <a:pt x="518" y="693"/>
                    </a:lnTo>
                    <a:lnTo>
                      <a:pt x="514" y="693"/>
                    </a:lnTo>
                    <a:lnTo>
                      <a:pt x="511" y="693"/>
                    </a:lnTo>
                    <a:lnTo>
                      <a:pt x="507" y="693"/>
                    </a:lnTo>
                    <a:lnTo>
                      <a:pt x="505" y="693"/>
                    </a:lnTo>
                    <a:lnTo>
                      <a:pt x="503" y="693"/>
                    </a:lnTo>
                    <a:lnTo>
                      <a:pt x="501" y="691"/>
                    </a:lnTo>
                    <a:lnTo>
                      <a:pt x="499" y="691"/>
                    </a:lnTo>
                    <a:lnTo>
                      <a:pt x="495" y="689"/>
                    </a:lnTo>
                    <a:lnTo>
                      <a:pt x="491" y="688"/>
                    </a:lnTo>
                    <a:lnTo>
                      <a:pt x="489" y="688"/>
                    </a:lnTo>
                    <a:lnTo>
                      <a:pt x="488" y="686"/>
                    </a:lnTo>
                    <a:lnTo>
                      <a:pt x="486" y="684"/>
                    </a:lnTo>
                    <a:lnTo>
                      <a:pt x="484" y="684"/>
                    </a:lnTo>
                    <a:lnTo>
                      <a:pt x="480" y="684"/>
                    </a:lnTo>
                    <a:lnTo>
                      <a:pt x="478" y="682"/>
                    </a:lnTo>
                    <a:lnTo>
                      <a:pt x="474" y="682"/>
                    </a:lnTo>
                    <a:lnTo>
                      <a:pt x="472" y="682"/>
                    </a:lnTo>
                    <a:lnTo>
                      <a:pt x="468" y="682"/>
                    </a:lnTo>
                    <a:lnTo>
                      <a:pt x="466" y="680"/>
                    </a:lnTo>
                    <a:lnTo>
                      <a:pt x="463" y="680"/>
                    </a:lnTo>
                    <a:lnTo>
                      <a:pt x="461" y="680"/>
                    </a:lnTo>
                    <a:lnTo>
                      <a:pt x="457" y="680"/>
                    </a:lnTo>
                    <a:lnTo>
                      <a:pt x="455" y="680"/>
                    </a:lnTo>
                    <a:lnTo>
                      <a:pt x="451" y="682"/>
                    </a:lnTo>
                    <a:lnTo>
                      <a:pt x="447" y="682"/>
                    </a:lnTo>
                    <a:lnTo>
                      <a:pt x="445" y="684"/>
                    </a:lnTo>
                    <a:lnTo>
                      <a:pt x="443" y="684"/>
                    </a:lnTo>
                    <a:lnTo>
                      <a:pt x="441" y="684"/>
                    </a:lnTo>
                    <a:lnTo>
                      <a:pt x="440" y="686"/>
                    </a:lnTo>
                    <a:lnTo>
                      <a:pt x="438" y="686"/>
                    </a:lnTo>
                    <a:lnTo>
                      <a:pt x="436" y="688"/>
                    </a:lnTo>
                    <a:lnTo>
                      <a:pt x="434" y="688"/>
                    </a:lnTo>
                    <a:lnTo>
                      <a:pt x="432" y="689"/>
                    </a:lnTo>
                    <a:lnTo>
                      <a:pt x="430" y="689"/>
                    </a:lnTo>
                    <a:lnTo>
                      <a:pt x="430" y="691"/>
                    </a:lnTo>
                    <a:lnTo>
                      <a:pt x="428" y="691"/>
                    </a:lnTo>
                    <a:lnTo>
                      <a:pt x="426" y="691"/>
                    </a:lnTo>
                    <a:lnTo>
                      <a:pt x="424" y="691"/>
                    </a:lnTo>
                    <a:lnTo>
                      <a:pt x="422" y="691"/>
                    </a:lnTo>
                    <a:lnTo>
                      <a:pt x="420" y="691"/>
                    </a:lnTo>
                    <a:lnTo>
                      <a:pt x="418" y="691"/>
                    </a:lnTo>
                    <a:lnTo>
                      <a:pt x="416" y="691"/>
                    </a:lnTo>
                    <a:lnTo>
                      <a:pt x="415" y="691"/>
                    </a:lnTo>
                    <a:lnTo>
                      <a:pt x="413" y="691"/>
                    </a:lnTo>
                    <a:lnTo>
                      <a:pt x="411" y="691"/>
                    </a:lnTo>
                    <a:lnTo>
                      <a:pt x="409" y="691"/>
                    </a:lnTo>
                    <a:lnTo>
                      <a:pt x="407" y="691"/>
                    </a:lnTo>
                    <a:lnTo>
                      <a:pt x="405" y="691"/>
                    </a:lnTo>
                    <a:lnTo>
                      <a:pt x="403" y="691"/>
                    </a:lnTo>
                    <a:lnTo>
                      <a:pt x="401" y="691"/>
                    </a:lnTo>
                    <a:lnTo>
                      <a:pt x="401" y="693"/>
                    </a:lnTo>
                    <a:lnTo>
                      <a:pt x="399" y="693"/>
                    </a:lnTo>
                    <a:lnTo>
                      <a:pt x="397" y="693"/>
                    </a:lnTo>
                    <a:lnTo>
                      <a:pt x="395" y="693"/>
                    </a:lnTo>
                    <a:lnTo>
                      <a:pt x="393" y="693"/>
                    </a:lnTo>
                    <a:lnTo>
                      <a:pt x="392" y="693"/>
                    </a:lnTo>
                    <a:lnTo>
                      <a:pt x="390" y="693"/>
                    </a:lnTo>
                    <a:lnTo>
                      <a:pt x="388" y="693"/>
                    </a:lnTo>
                    <a:lnTo>
                      <a:pt x="386" y="693"/>
                    </a:lnTo>
                    <a:lnTo>
                      <a:pt x="384" y="693"/>
                    </a:lnTo>
                    <a:lnTo>
                      <a:pt x="382" y="693"/>
                    </a:lnTo>
                    <a:lnTo>
                      <a:pt x="380" y="693"/>
                    </a:lnTo>
                    <a:lnTo>
                      <a:pt x="378" y="693"/>
                    </a:lnTo>
                    <a:lnTo>
                      <a:pt x="376" y="695"/>
                    </a:lnTo>
                    <a:lnTo>
                      <a:pt x="374" y="695"/>
                    </a:lnTo>
                    <a:lnTo>
                      <a:pt x="372" y="697"/>
                    </a:lnTo>
                    <a:lnTo>
                      <a:pt x="370" y="697"/>
                    </a:lnTo>
                    <a:lnTo>
                      <a:pt x="368" y="697"/>
                    </a:lnTo>
                    <a:lnTo>
                      <a:pt x="367" y="699"/>
                    </a:lnTo>
                    <a:lnTo>
                      <a:pt x="365" y="701"/>
                    </a:lnTo>
                    <a:lnTo>
                      <a:pt x="363" y="701"/>
                    </a:lnTo>
                    <a:lnTo>
                      <a:pt x="361" y="703"/>
                    </a:lnTo>
                    <a:lnTo>
                      <a:pt x="359" y="703"/>
                    </a:lnTo>
                    <a:lnTo>
                      <a:pt x="357" y="703"/>
                    </a:lnTo>
                    <a:lnTo>
                      <a:pt x="355" y="705"/>
                    </a:lnTo>
                    <a:lnTo>
                      <a:pt x="353" y="705"/>
                    </a:lnTo>
                    <a:lnTo>
                      <a:pt x="351" y="705"/>
                    </a:lnTo>
                    <a:lnTo>
                      <a:pt x="349" y="705"/>
                    </a:lnTo>
                    <a:lnTo>
                      <a:pt x="347" y="705"/>
                    </a:lnTo>
                    <a:lnTo>
                      <a:pt x="345" y="707"/>
                    </a:lnTo>
                    <a:lnTo>
                      <a:pt x="344" y="707"/>
                    </a:lnTo>
                    <a:lnTo>
                      <a:pt x="342" y="707"/>
                    </a:lnTo>
                    <a:lnTo>
                      <a:pt x="340" y="707"/>
                    </a:lnTo>
                    <a:lnTo>
                      <a:pt x="338" y="707"/>
                    </a:lnTo>
                    <a:lnTo>
                      <a:pt x="334" y="709"/>
                    </a:lnTo>
                    <a:lnTo>
                      <a:pt x="332" y="709"/>
                    </a:lnTo>
                    <a:lnTo>
                      <a:pt x="330" y="709"/>
                    </a:lnTo>
                    <a:lnTo>
                      <a:pt x="328" y="709"/>
                    </a:lnTo>
                    <a:lnTo>
                      <a:pt x="326" y="709"/>
                    </a:lnTo>
                    <a:lnTo>
                      <a:pt x="322" y="709"/>
                    </a:lnTo>
                    <a:lnTo>
                      <a:pt x="320" y="709"/>
                    </a:lnTo>
                    <a:lnTo>
                      <a:pt x="319" y="711"/>
                    </a:lnTo>
                    <a:lnTo>
                      <a:pt x="317" y="711"/>
                    </a:lnTo>
                    <a:lnTo>
                      <a:pt x="315" y="711"/>
                    </a:lnTo>
                    <a:lnTo>
                      <a:pt x="313" y="711"/>
                    </a:lnTo>
                    <a:lnTo>
                      <a:pt x="311" y="711"/>
                    </a:lnTo>
                    <a:lnTo>
                      <a:pt x="309" y="711"/>
                    </a:lnTo>
                    <a:lnTo>
                      <a:pt x="305" y="711"/>
                    </a:lnTo>
                    <a:lnTo>
                      <a:pt x="303" y="713"/>
                    </a:lnTo>
                    <a:lnTo>
                      <a:pt x="299" y="713"/>
                    </a:lnTo>
                    <a:lnTo>
                      <a:pt x="297" y="713"/>
                    </a:lnTo>
                    <a:lnTo>
                      <a:pt x="297" y="714"/>
                    </a:lnTo>
                    <a:lnTo>
                      <a:pt x="294" y="714"/>
                    </a:lnTo>
                    <a:lnTo>
                      <a:pt x="292" y="714"/>
                    </a:lnTo>
                    <a:lnTo>
                      <a:pt x="292" y="713"/>
                    </a:lnTo>
                    <a:lnTo>
                      <a:pt x="290" y="713"/>
                    </a:lnTo>
                    <a:lnTo>
                      <a:pt x="290" y="714"/>
                    </a:lnTo>
                    <a:lnTo>
                      <a:pt x="288" y="714"/>
                    </a:lnTo>
                    <a:lnTo>
                      <a:pt x="286" y="713"/>
                    </a:lnTo>
                    <a:lnTo>
                      <a:pt x="284" y="713"/>
                    </a:lnTo>
                    <a:lnTo>
                      <a:pt x="280" y="713"/>
                    </a:lnTo>
                    <a:lnTo>
                      <a:pt x="280" y="714"/>
                    </a:lnTo>
                    <a:lnTo>
                      <a:pt x="278" y="714"/>
                    </a:lnTo>
                    <a:lnTo>
                      <a:pt x="278" y="713"/>
                    </a:lnTo>
                    <a:lnTo>
                      <a:pt x="278" y="711"/>
                    </a:lnTo>
                    <a:lnTo>
                      <a:pt x="278" y="707"/>
                    </a:lnTo>
                    <a:lnTo>
                      <a:pt x="278" y="703"/>
                    </a:lnTo>
                    <a:lnTo>
                      <a:pt x="278" y="701"/>
                    </a:lnTo>
                    <a:lnTo>
                      <a:pt x="278" y="695"/>
                    </a:lnTo>
                    <a:lnTo>
                      <a:pt x="278" y="693"/>
                    </a:lnTo>
                    <a:lnTo>
                      <a:pt x="276" y="693"/>
                    </a:lnTo>
                    <a:lnTo>
                      <a:pt x="276" y="691"/>
                    </a:lnTo>
                    <a:lnTo>
                      <a:pt x="276" y="689"/>
                    </a:lnTo>
                    <a:lnTo>
                      <a:pt x="276" y="688"/>
                    </a:lnTo>
                    <a:lnTo>
                      <a:pt x="274" y="688"/>
                    </a:lnTo>
                    <a:lnTo>
                      <a:pt x="272" y="688"/>
                    </a:lnTo>
                    <a:lnTo>
                      <a:pt x="272" y="689"/>
                    </a:lnTo>
                    <a:lnTo>
                      <a:pt x="271" y="689"/>
                    </a:lnTo>
                    <a:lnTo>
                      <a:pt x="269" y="689"/>
                    </a:lnTo>
                    <a:lnTo>
                      <a:pt x="267" y="689"/>
                    </a:lnTo>
                    <a:lnTo>
                      <a:pt x="265" y="689"/>
                    </a:lnTo>
                    <a:lnTo>
                      <a:pt x="263" y="689"/>
                    </a:lnTo>
                    <a:lnTo>
                      <a:pt x="257" y="691"/>
                    </a:lnTo>
                    <a:lnTo>
                      <a:pt x="251" y="691"/>
                    </a:lnTo>
                    <a:lnTo>
                      <a:pt x="246" y="691"/>
                    </a:lnTo>
                    <a:lnTo>
                      <a:pt x="236" y="691"/>
                    </a:lnTo>
                    <a:lnTo>
                      <a:pt x="228" y="693"/>
                    </a:lnTo>
                    <a:lnTo>
                      <a:pt x="224" y="693"/>
                    </a:lnTo>
                    <a:lnTo>
                      <a:pt x="219" y="693"/>
                    </a:lnTo>
                    <a:lnTo>
                      <a:pt x="211" y="693"/>
                    </a:lnTo>
                    <a:lnTo>
                      <a:pt x="207" y="695"/>
                    </a:lnTo>
                    <a:lnTo>
                      <a:pt x="205" y="695"/>
                    </a:lnTo>
                    <a:lnTo>
                      <a:pt x="199" y="695"/>
                    </a:lnTo>
                    <a:lnTo>
                      <a:pt x="198" y="695"/>
                    </a:lnTo>
                    <a:lnTo>
                      <a:pt x="192" y="695"/>
                    </a:lnTo>
                    <a:lnTo>
                      <a:pt x="190" y="695"/>
                    </a:lnTo>
                    <a:lnTo>
                      <a:pt x="190" y="689"/>
                    </a:lnTo>
                    <a:lnTo>
                      <a:pt x="190" y="684"/>
                    </a:lnTo>
                    <a:lnTo>
                      <a:pt x="186" y="684"/>
                    </a:lnTo>
                    <a:lnTo>
                      <a:pt x="184" y="684"/>
                    </a:lnTo>
                    <a:lnTo>
                      <a:pt x="180" y="684"/>
                    </a:lnTo>
                    <a:lnTo>
                      <a:pt x="180" y="688"/>
                    </a:lnTo>
                    <a:lnTo>
                      <a:pt x="176" y="688"/>
                    </a:lnTo>
                    <a:lnTo>
                      <a:pt x="175" y="678"/>
                    </a:lnTo>
                    <a:lnTo>
                      <a:pt x="175" y="676"/>
                    </a:lnTo>
                    <a:lnTo>
                      <a:pt x="175" y="674"/>
                    </a:lnTo>
                    <a:lnTo>
                      <a:pt x="176" y="672"/>
                    </a:lnTo>
                    <a:lnTo>
                      <a:pt x="178" y="670"/>
                    </a:lnTo>
                    <a:lnTo>
                      <a:pt x="178" y="665"/>
                    </a:lnTo>
                    <a:lnTo>
                      <a:pt x="182" y="663"/>
                    </a:lnTo>
                    <a:lnTo>
                      <a:pt x="184" y="663"/>
                    </a:lnTo>
                    <a:lnTo>
                      <a:pt x="182" y="657"/>
                    </a:lnTo>
                    <a:lnTo>
                      <a:pt x="178" y="657"/>
                    </a:lnTo>
                    <a:lnTo>
                      <a:pt x="178" y="651"/>
                    </a:lnTo>
                    <a:lnTo>
                      <a:pt x="176" y="651"/>
                    </a:lnTo>
                    <a:lnTo>
                      <a:pt x="176" y="647"/>
                    </a:lnTo>
                    <a:lnTo>
                      <a:pt x="175" y="647"/>
                    </a:lnTo>
                    <a:lnTo>
                      <a:pt x="171" y="647"/>
                    </a:lnTo>
                    <a:lnTo>
                      <a:pt x="165" y="647"/>
                    </a:lnTo>
                    <a:lnTo>
                      <a:pt x="161" y="647"/>
                    </a:lnTo>
                    <a:lnTo>
                      <a:pt x="159" y="649"/>
                    </a:lnTo>
                    <a:lnTo>
                      <a:pt x="155" y="649"/>
                    </a:lnTo>
                    <a:lnTo>
                      <a:pt x="153" y="649"/>
                    </a:lnTo>
                    <a:lnTo>
                      <a:pt x="151" y="649"/>
                    </a:lnTo>
                    <a:lnTo>
                      <a:pt x="150" y="649"/>
                    </a:lnTo>
                    <a:lnTo>
                      <a:pt x="146" y="649"/>
                    </a:lnTo>
                    <a:lnTo>
                      <a:pt x="146" y="651"/>
                    </a:lnTo>
                    <a:lnTo>
                      <a:pt x="146" y="655"/>
                    </a:lnTo>
                    <a:lnTo>
                      <a:pt x="148" y="661"/>
                    </a:lnTo>
                    <a:lnTo>
                      <a:pt x="148" y="668"/>
                    </a:lnTo>
                    <a:lnTo>
                      <a:pt x="146" y="668"/>
                    </a:lnTo>
                    <a:lnTo>
                      <a:pt x="142" y="668"/>
                    </a:lnTo>
                    <a:lnTo>
                      <a:pt x="138" y="668"/>
                    </a:lnTo>
                    <a:lnTo>
                      <a:pt x="136" y="670"/>
                    </a:lnTo>
                    <a:lnTo>
                      <a:pt x="130" y="670"/>
                    </a:lnTo>
                    <a:lnTo>
                      <a:pt x="128" y="670"/>
                    </a:lnTo>
                    <a:lnTo>
                      <a:pt x="125" y="670"/>
                    </a:lnTo>
                    <a:lnTo>
                      <a:pt x="123" y="670"/>
                    </a:lnTo>
                    <a:lnTo>
                      <a:pt x="119" y="672"/>
                    </a:lnTo>
                    <a:lnTo>
                      <a:pt x="115" y="672"/>
                    </a:lnTo>
                    <a:lnTo>
                      <a:pt x="113" y="672"/>
                    </a:lnTo>
                    <a:lnTo>
                      <a:pt x="111" y="672"/>
                    </a:lnTo>
                    <a:lnTo>
                      <a:pt x="107" y="672"/>
                    </a:lnTo>
                    <a:lnTo>
                      <a:pt x="105" y="672"/>
                    </a:lnTo>
                    <a:lnTo>
                      <a:pt x="103" y="674"/>
                    </a:lnTo>
                    <a:lnTo>
                      <a:pt x="102" y="674"/>
                    </a:lnTo>
                    <a:lnTo>
                      <a:pt x="102" y="676"/>
                    </a:lnTo>
                    <a:lnTo>
                      <a:pt x="102" y="680"/>
                    </a:lnTo>
                    <a:lnTo>
                      <a:pt x="103" y="680"/>
                    </a:lnTo>
                    <a:lnTo>
                      <a:pt x="105" y="682"/>
                    </a:lnTo>
                    <a:lnTo>
                      <a:pt x="105" y="684"/>
                    </a:lnTo>
                    <a:lnTo>
                      <a:pt x="107" y="686"/>
                    </a:lnTo>
                    <a:lnTo>
                      <a:pt x="107" y="688"/>
                    </a:lnTo>
                    <a:lnTo>
                      <a:pt x="105" y="688"/>
                    </a:lnTo>
                    <a:lnTo>
                      <a:pt x="103" y="688"/>
                    </a:lnTo>
                    <a:lnTo>
                      <a:pt x="102" y="688"/>
                    </a:lnTo>
                    <a:lnTo>
                      <a:pt x="102" y="689"/>
                    </a:lnTo>
                    <a:lnTo>
                      <a:pt x="100" y="689"/>
                    </a:lnTo>
                    <a:lnTo>
                      <a:pt x="98" y="689"/>
                    </a:lnTo>
                    <a:lnTo>
                      <a:pt x="96" y="689"/>
                    </a:lnTo>
                    <a:lnTo>
                      <a:pt x="96" y="688"/>
                    </a:lnTo>
                    <a:lnTo>
                      <a:pt x="98" y="688"/>
                    </a:lnTo>
                    <a:lnTo>
                      <a:pt x="98" y="686"/>
                    </a:lnTo>
                    <a:lnTo>
                      <a:pt x="98" y="684"/>
                    </a:lnTo>
                    <a:lnTo>
                      <a:pt x="96" y="684"/>
                    </a:lnTo>
                    <a:lnTo>
                      <a:pt x="96" y="682"/>
                    </a:lnTo>
                    <a:lnTo>
                      <a:pt x="94" y="682"/>
                    </a:lnTo>
                    <a:lnTo>
                      <a:pt x="92" y="682"/>
                    </a:lnTo>
                    <a:lnTo>
                      <a:pt x="92" y="680"/>
                    </a:lnTo>
                    <a:lnTo>
                      <a:pt x="90" y="680"/>
                    </a:lnTo>
                    <a:lnTo>
                      <a:pt x="90" y="678"/>
                    </a:lnTo>
                    <a:lnTo>
                      <a:pt x="90" y="676"/>
                    </a:lnTo>
                    <a:lnTo>
                      <a:pt x="88" y="676"/>
                    </a:lnTo>
                    <a:lnTo>
                      <a:pt x="88" y="674"/>
                    </a:lnTo>
                    <a:lnTo>
                      <a:pt x="88" y="672"/>
                    </a:lnTo>
                    <a:lnTo>
                      <a:pt x="90" y="672"/>
                    </a:lnTo>
                    <a:lnTo>
                      <a:pt x="90" y="670"/>
                    </a:lnTo>
                    <a:lnTo>
                      <a:pt x="92" y="670"/>
                    </a:lnTo>
                    <a:lnTo>
                      <a:pt x="92" y="668"/>
                    </a:lnTo>
                    <a:lnTo>
                      <a:pt x="92" y="666"/>
                    </a:lnTo>
                    <a:lnTo>
                      <a:pt x="92" y="665"/>
                    </a:lnTo>
                    <a:lnTo>
                      <a:pt x="90" y="665"/>
                    </a:lnTo>
                    <a:lnTo>
                      <a:pt x="90" y="663"/>
                    </a:lnTo>
                    <a:lnTo>
                      <a:pt x="88" y="663"/>
                    </a:lnTo>
                    <a:lnTo>
                      <a:pt x="86" y="663"/>
                    </a:lnTo>
                    <a:lnTo>
                      <a:pt x="86" y="665"/>
                    </a:lnTo>
                    <a:lnTo>
                      <a:pt x="84" y="665"/>
                    </a:lnTo>
                    <a:lnTo>
                      <a:pt x="82" y="665"/>
                    </a:lnTo>
                    <a:lnTo>
                      <a:pt x="82" y="666"/>
                    </a:lnTo>
                    <a:lnTo>
                      <a:pt x="80" y="666"/>
                    </a:lnTo>
                    <a:lnTo>
                      <a:pt x="80" y="668"/>
                    </a:lnTo>
                    <a:lnTo>
                      <a:pt x="79" y="668"/>
                    </a:lnTo>
                    <a:lnTo>
                      <a:pt x="77" y="668"/>
                    </a:lnTo>
                    <a:lnTo>
                      <a:pt x="75" y="668"/>
                    </a:lnTo>
                    <a:lnTo>
                      <a:pt x="73" y="668"/>
                    </a:lnTo>
                    <a:lnTo>
                      <a:pt x="71" y="668"/>
                    </a:lnTo>
                    <a:lnTo>
                      <a:pt x="71" y="666"/>
                    </a:lnTo>
                    <a:lnTo>
                      <a:pt x="71" y="665"/>
                    </a:lnTo>
                    <a:lnTo>
                      <a:pt x="73" y="665"/>
                    </a:lnTo>
                    <a:lnTo>
                      <a:pt x="73" y="663"/>
                    </a:lnTo>
                    <a:lnTo>
                      <a:pt x="73" y="661"/>
                    </a:lnTo>
                    <a:lnTo>
                      <a:pt x="71" y="661"/>
                    </a:lnTo>
                    <a:lnTo>
                      <a:pt x="73" y="661"/>
                    </a:lnTo>
                    <a:lnTo>
                      <a:pt x="73" y="659"/>
                    </a:lnTo>
                    <a:lnTo>
                      <a:pt x="75" y="659"/>
                    </a:lnTo>
                    <a:lnTo>
                      <a:pt x="77" y="657"/>
                    </a:lnTo>
                    <a:lnTo>
                      <a:pt x="77" y="655"/>
                    </a:lnTo>
                    <a:lnTo>
                      <a:pt x="79" y="655"/>
                    </a:lnTo>
                    <a:lnTo>
                      <a:pt x="79" y="653"/>
                    </a:lnTo>
                    <a:lnTo>
                      <a:pt x="79" y="651"/>
                    </a:lnTo>
                    <a:lnTo>
                      <a:pt x="79" y="649"/>
                    </a:lnTo>
                    <a:lnTo>
                      <a:pt x="77" y="649"/>
                    </a:lnTo>
                    <a:lnTo>
                      <a:pt x="75" y="649"/>
                    </a:lnTo>
                    <a:lnTo>
                      <a:pt x="75" y="651"/>
                    </a:lnTo>
                    <a:lnTo>
                      <a:pt x="73" y="651"/>
                    </a:lnTo>
                    <a:lnTo>
                      <a:pt x="71" y="651"/>
                    </a:lnTo>
                    <a:lnTo>
                      <a:pt x="69" y="651"/>
                    </a:lnTo>
                    <a:lnTo>
                      <a:pt x="67" y="651"/>
                    </a:lnTo>
                    <a:lnTo>
                      <a:pt x="65" y="651"/>
                    </a:lnTo>
                    <a:lnTo>
                      <a:pt x="65" y="649"/>
                    </a:lnTo>
                    <a:lnTo>
                      <a:pt x="63" y="649"/>
                    </a:lnTo>
                    <a:lnTo>
                      <a:pt x="61" y="651"/>
                    </a:lnTo>
                    <a:lnTo>
                      <a:pt x="59" y="651"/>
                    </a:lnTo>
                    <a:lnTo>
                      <a:pt x="57" y="651"/>
                    </a:lnTo>
                    <a:lnTo>
                      <a:pt x="46" y="647"/>
                    </a:lnTo>
                    <a:lnTo>
                      <a:pt x="36" y="645"/>
                    </a:lnTo>
                    <a:lnTo>
                      <a:pt x="38" y="642"/>
                    </a:lnTo>
                    <a:lnTo>
                      <a:pt x="38" y="640"/>
                    </a:lnTo>
                    <a:lnTo>
                      <a:pt x="38" y="638"/>
                    </a:lnTo>
                    <a:lnTo>
                      <a:pt x="34" y="638"/>
                    </a:lnTo>
                    <a:lnTo>
                      <a:pt x="29" y="638"/>
                    </a:lnTo>
                    <a:lnTo>
                      <a:pt x="23" y="638"/>
                    </a:lnTo>
                    <a:lnTo>
                      <a:pt x="21" y="638"/>
                    </a:lnTo>
                    <a:lnTo>
                      <a:pt x="17" y="638"/>
                    </a:lnTo>
                    <a:lnTo>
                      <a:pt x="11" y="638"/>
                    </a:lnTo>
                    <a:lnTo>
                      <a:pt x="7" y="638"/>
                    </a:lnTo>
                    <a:lnTo>
                      <a:pt x="2" y="638"/>
                    </a:lnTo>
                    <a:lnTo>
                      <a:pt x="0" y="638"/>
                    </a:lnTo>
                    <a:lnTo>
                      <a:pt x="0" y="636"/>
                    </a:lnTo>
                    <a:lnTo>
                      <a:pt x="0" y="634"/>
                    </a:lnTo>
                    <a:lnTo>
                      <a:pt x="2" y="634"/>
                    </a:lnTo>
                    <a:lnTo>
                      <a:pt x="2" y="632"/>
                    </a:lnTo>
                    <a:lnTo>
                      <a:pt x="4" y="632"/>
                    </a:lnTo>
                    <a:lnTo>
                      <a:pt x="6" y="632"/>
                    </a:lnTo>
                    <a:lnTo>
                      <a:pt x="7" y="632"/>
                    </a:lnTo>
                    <a:lnTo>
                      <a:pt x="9" y="632"/>
                    </a:lnTo>
                    <a:lnTo>
                      <a:pt x="9" y="630"/>
                    </a:lnTo>
                    <a:lnTo>
                      <a:pt x="7" y="630"/>
                    </a:lnTo>
                    <a:lnTo>
                      <a:pt x="7" y="628"/>
                    </a:lnTo>
                    <a:lnTo>
                      <a:pt x="9" y="628"/>
                    </a:lnTo>
                    <a:lnTo>
                      <a:pt x="9" y="626"/>
                    </a:lnTo>
                    <a:lnTo>
                      <a:pt x="9" y="628"/>
                    </a:lnTo>
                    <a:lnTo>
                      <a:pt x="11" y="628"/>
                    </a:lnTo>
                    <a:lnTo>
                      <a:pt x="11" y="626"/>
                    </a:lnTo>
                    <a:lnTo>
                      <a:pt x="11" y="624"/>
                    </a:lnTo>
                    <a:lnTo>
                      <a:pt x="11" y="622"/>
                    </a:lnTo>
                    <a:lnTo>
                      <a:pt x="11" y="620"/>
                    </a:lnTo>
                    <a:lnTo>
                      <a:pt x="9" y="617"/>
                    </a:lnTo>
                    <a:lnTo>
                      <a:pt x="9" y="615"/>
                    </a:lnTo>
                    <a:lnTo>
                      <a:pt x="9" y="611"/>
                    </a:lnTo>
                    <a:lnTo>
                      <a:pt x="9" y="607"/>
                    </a:lnTo>
                    <a:lnTo>
                      <a:pt x="9" y="603"/>
                    </a:lnTo>
                    <a:lnTo>
                      <a:pt x="9" y="601"/>
                    </a:lnTo>
                    <a:lnTo>
                      <a:pt x="9" y="597"/>
                    </a:lnTo>
                    <a:lnTo>
                      <a:pt x="9" y="595"/>
                    </a:lnTo>
                    <a:lnTo>
                      <a:pt x="7" y="586"/>
                    </a:lnTo>
                    <a:lnTo>
                      <a:pt x="7" y="582"/>
                    </a:lnTo>
                    <a:lnTo>
                      <a:pt x="11" y="582"/>
                    </a:lnTo>
                    <a:lnTo>
                      <a:pt x="13" y="582"/>
                    </a:lnTo>
                    <a:lnTo>
                      <a:pt x="17" y="582"/>
                    </a:lnTo>
                    <a:lnTo>
                      <a:pt x="17" y="580"/>
                    </a:lnTo>
                    <a:lnTo>
                      <a:pt x="17" y="578"/>
                    </a:lnTo>
                    <a:lnTo>
                      <a:pt x="25" y="578"/>
                    </a:lnTo>
                    <a:lnTo>
                      <a:pt x="27" y="578"/>
                    </a:lnTo>
                    <a:lnTo>
                      <a:pt x="30" y="578"/>
                    </a:lnTo>
                    <a:lnTo>
                      <a:pt x="32" y="578"/>
                    </a:lnTo>
                    <a:lnTo>
                      <a:pt x="36" y="578"/>
                    </a:lnTo>
                    <a:lnTo>
                      <a:pt x="36" y="572"/>
                    </a:lnTo>
                    <a:lnTo>
                      <a:pt x="36" y="569"/>
                    </a:lnTo>
                    <a:lnTo>
                      <a:pt x="36" y="567"/>
                    </a:lnTo>
                    <a:lnTo>
                      <a:pt x="32" y="567"/>
                    </a:lnTo>
                    <a:lnTo>
                      <a:pt x="32" y="563"/>
                    </a:lnTo>
                    <a:lnTo>
                      <a:pt x="32" y="561"/>
                    </a:lnTo>
                    <a:lnTo>
                      <a:pt x="30" y="559"/>
                    </a:lnTo>
                    <a:lnTo>
                      <a:pt x="34" y="559"/>
                    </a:lnTo>
                    <a:lnTo>
                      <a:pt x="36" y="559"/>
                    </a:lnTo>
                    <a:lnTo>
                      <a:pt x="36" y="557"/>
                    </a:lnTo>
                    <a:lnTo>
                      <a:pt x="36" y="555"/>
                    </a:lnTo>
                    <a:lnTo>
                      <a:pt x="36" y="549"/>
                    </a:lnTo>
                    <a:lnTo>
                      <a:pt x="36" y="547"/>
                    </a:lnTo>
                    <a:lnTo>
                      <a:pt x="36" y="542"/>
                    </a:lnTo>
                    <a:lnTo>
                      <a:pt x="34" y="538"/>
                    </a:lnTo>
                    <a:lnTo>
                      <a:pt x="40" y="538"/>
                    </a:lnTo>
                    <a:lnTo>
                      <a:pt x="42" y="538"/>
                    </a:lnTo>
                    <a:lnTo>
                      <a:pt x="42" y="536"/>
                    </a:lnTo>
                    <a:lnTo>
                      <a:pt x="42" y="532"/>
                    </a:lnTo>
                    <a:lnTo>
                      <a:pt x="42" y="528"/>
                    </a:lnTo>
                    <a:lnTo>
                      <a:pt x="40" y="521"/>
                    </a:lnTo>
                    <a:lnTo>
                      <a:pt x="40" y="519"/>
                    </a:lnTo>
                    <a:lnTo>
                      <a:pt x="40" y="517"/>
                    </a:lnTo>
                    <a:lnTo>
                      <a:pt x="46" y="517"/>
                    </a:lnTo>
                    <a:lnTo>
                      <a:pt x="44" y="513"/>
                    </a:lnTo>
                    <a:lnTo>
                      <a:pt x="44" y="505"/>
                    </a:lnTo>
                    <a:lnTo>
                      <a:pt x="44" y="503"/>
                    </a:lnTo>
                    <a:lnTo>
                      <a:pt x="44" y="501"/>
                    </a:lnTo>
                    <a:lnTo>
                      <a:pt x="42" y="501"/>
                    </a:lnTo>
                    <a:lnTo>
                      <a:pt x="40" y="501"/>
                    </a:lnTo>
                    <a:lnTo>
                      <a:pt x="38" y="501"/>
                    </a:lnTo>
                    <a:lnTo>
                      <a:pt x="36" y="503"/>
                    </a:lnTo>
                    <a:lnTo>
                      <a:pt x="34" y="503"/>
                    </a:lnTo>
                    <a:lnTo>
                      <a:pt x="30" y="503"/>
                    </a:lnTo>
                    <a:lnTo>
                      <a:pt x="27" y="503"/>
                    </a:lnTo>
                    <a:lnTo>
                      <a:pt x="25" y="503"/>
                    </a:lnTo>
                    <a:lnTo>
                      <a:pt x="23" y="503"/>
                    </a:lnTo>
                    <a:lnTo>
                      <a:pt x="23" y="501"/>
                    </a:lnTo>
                    <a:lnTo>
                      <a:pt x="23" y="499"/>
                    </a:lnTo>
                    <a:lnTo>
                      <a:pt x="21" y="499"/>
                    </a:lnTo>
                    <a:lnTo>
                      <a:pt x="21" y="498"/>
                    </a:lnTo>
                    <a:lnTo>
                      <a:pt x="21" y="496"/>
                    </a:lnTo>
                    <a:lnTo>
                      <a:pt x="21" y="494"/>
                    </a:lnTo>
                    <a:lnTo>
                      <a:pt x="23" y="494"/>
                    </a:lnTo>
                    <a:lnTo>
                      <a:pt x="25" y="494"/>
                    </a:lnTo>
                    <a:lnTo>
                      <a:pt x="25" y="490"/>
                    </a:lnTo>
                    <a:lnTo>
                      <a:pt x="25" y="488"/>
                    </a:lnTo>
                    <a:lnTo>
                      <a:pt x="25" y="486"/>
                    </a:lnTo>
                    <a:lnTo>
                      <a:pt x="25" y="480"/>
                    </a:lnTo>
                    <a:lnTo>
                      <a:pt x="23" y="480"/>
                    </a:lnTo>
                    <a:lnTo>
                      <a:pt x="23" y="474"/>
                    </a:lnTo>
                    <a:lnTo>
                      <a:pt x="23" y="473"/>
                    </a:lnTo>
                    <a:lnTo>
                      <a:pt x="25" y="473"/>
                    </a:lnTo>
                    <a:lnTo>
                      <a:pt x="25" y="471"/>
                    </a:lnTo>
                    <a:lnTo>
                      <a:pt x="27" y="471"/>
                    </a:lnTo>
                    <a:lnTo>
                      <a:pt x="27" y="473"/>
                    </a:lnTo>
                    <a:lnTo>
                      <a:pt x="29" y="473"/>
                    </a:lnTo>
                    <a:lnTo>
                      <a:pt x="30" y="473"/>
                    </a:lnTo>
                    <a:lnTo>
                      <a:pt x="30" y="474"/>
                    </a:lnTo>
                    <a:lnTo>
                      <a:pt x="30" y="473"/>
                    </a:lnTo>
                    <a:lnTo>
                      <a:pt x="30" y="471"/>
                    </a:lnTo>
                    <a:lnTo>
                      <a:pt x="30" y="469"/>
                    </a:lnTo>
                    <a:lnTo>
                      <a:pt x="30" y="467"/>
                    </a:lnTo>
                    <a:lnTo>
                      <a:pt x="32" y="467"/>
                    </a:lnTo>
                    <a:lnTo>
                      <a:pt x="32" y="465"/>
                    </a:lnTo>
                    <a:lnTo>
                      <a:pt x="32" y="463"/>
                    </a:lnTo>
                    <a:lnTo>
                      <a:pt x="34" y="463"/>
                    </a:lnTo>
                    <a:lnTo>
                      <a:pt x="34" y="461"/>
                    </a:lnTo>
                    <a:lnTo>
                      <a:pt x="34" y="457"/>
                    </a:lnTo>
                    <a:lnTo>
                      <a:pt x="34" y="455"/>
                    </a:lnTo>
                    <a:lnTo>
                      <a:pt x="34" y="453"/>
                    </a:lnTo>
                    <a:lnTo>
                      <a:pt x="36" y="453"/>
                    </a:lnTo>
                    <a:lnTo>
                      <a:pt x="38" y="453"/>
                    </a:lnTo>
                    <a:lnTo>
                      <a:pt x="40" y="451"/>
                    </a:lnTo>
                    <a:lnTo>
                      <a:pt x="42" y="451"/>
                    </a:lnTo>
                    <a:lnTo>
                      <a:pt x="44" y="451"/>
                    </a:lnTo>
                    <a:lnTo>
                      <a:pt x="46" y="451"/>
                    </a:lnTo>
                    <a:lnTo>
                      <a:pt x="52" y="451"/>
                    </a:lnTo>
                    <a:lnTo>
                      <a:pt x="54" y="451"/>
                    </a:lnTo>
                    <a:lnTo>
                      <a:pt x="55" y="451"/>
                    </a:lnTo>
                    <a:lnTo>
                      <a:pt x="57" y="451"/>
                    </a:lnTo>
                    <a:lnTo>
                      <a:pt x="57" y="450"/>
                    </a:lnTo>
                    <a:lnTo>
                      <a:pt x="55" y="450"/>
                    </a:lnTo>
                    <a:lnTo>
                      <a:pt x="55" y="448"/>
                    </a:lnTo>
                    <a:lnTo>
                      <a:pt x="55" y="446"/>
                    </a:lnTo>
                    <a:lnTo>
                      <a:pt x="55" y="444"/>
                    </a:lnTo>
                    <a:lnTo>
                      <a:pt x="57" y="444"/>
                    </a:lnTo>
                    <a:lnTo>
                      <a:pt x="57" y="442"/>
                    </a:lnTo>
                    <a:lnTo>
                      <a:pt x="55" y="442"/>
                    </a:lnTo>
                    <a:lnTo>
                      <a:pt x="59" y="442"/>
                    </a:lnTo>
                    <a:lnTo>
                      <a:pt x="59" y="444"/>
                    </a:lnTo>
                    <a:lnTo>
                      <a:pt x="61" y="444"/>
                    </a:lnTo>
                    <a:lnTo>
                      <a:pt x="65" y="442"/>
                    </a:lnTo>
                    <a:lnTo>
                      <a:pt x="67" y="442"/>
                    </a:lnTo>
                    <a:lnTo>
                      <a:pt x="67" y="444"/>
                    </a:lnTo>
                    <a:lnTo>
                      <a:pt x="67" y="448"/>
                    </a:lnTo>
                    <a:lnTo>
                      <a:pt x="67" y="451"/>
                    </a:lnTo>
                    <a:lnTo>
                      <a:pt x="69" y="451"/>
                    </a:lnTo>
                    <a:lnTo>
                      <a:pt x="69" y="448"/>
                    </a:lnTo>
                    <a:lnTo>
                      <a:pt x="69" y="446"/>
                    </a:lnTo>
                    <a:lnTo>
                      <a:pt x="69" y="444"/>
                    </a:lnTo>
                    <a:lnTo>
                      <a:pt x="69" y="442"/>
                    </a:lnTo>
                    <a:lnTo>
                      <a:pt x="67" y="442"/>
                    </a:lnTo>
                    <a:lnTo>
                      <a:pt x="67" y="438"/>
                    </a:lnTo>
                    <a:lnTo>
                      <a:pt x="69" y="436"/>
                    </a:lnTo>
                    <a:lnTo>
                      <a:pt x="71" y="436"/>
                    </a:lnTo>
                    <a:lnTo>
                      <a:pt x="71" y="434"/>
                    </a:lnTo>
                    <a:lnTo>
                      <a:pt x="73" y="434"/>
                    </a:lnTo>
                    <a:lnTo>
                      <a:pt x="75" y="434"/>
                    </a:lnTo>
                    <a:lnTo>
                      <a:pt x="77" y="434"/>
                    </a:lnTo>
                    <a:lnTo>
                      <a:pt x="79" y="434"/>
                    </a:lnTo>
                    <a:lnTo>
                      <a:pt x="80" y="434"/>
                    </a:lnTo>
                    <a:lnTo>
                      <a:pt x="86" y="432"/>
                    </a:lnTo>
                    <a:lnTo>
                      <a:pt x="90" y="432"/>
                    </a:lnTo>
                    <a:lnTo>
                      <a:pt x="90" y="426"/>
                    </a:lnTo>
                    <a:lnTo>
                      <a:pt x="94" y="426"/>
                    </a:lnTo>
                    <a:lnTo>
                      <a:pt x="94" y="425"/>
                    </a:lnTo>
                    <a:lnTo>
                      <a:pt x="92" y="425"/>
                    </a:lnTo>
                    <a:lnTo>
                      <a:pt x="92" y="423"/>
                    </a:lnTo>
                    <a:lnTo>
                      <a:pt x="90" y="423"/>
                    </a:lnTo>
                    <a:lnTo>
                      <a:pt x="90" y="426"/>
                    </a:lnTo>
                    <a:lnTo>
                      <a:pt x="88" y="426"/>
                    </a:lnTo>
                    <a:lnTo>
                      <a:pt x="86" y="426"/>
                    </a:lnTo>
                    <a:lnTo>
                      <a:pt x="80" y="426"/>
                    </a:lnTo>
                    <a:lnTo>
                      <a:pt x="80" y="425"/>
                    </a:lnTo>
                    <a:lnTo>
                      <a:pt x="80" y="423"/>
                    </a:lnTo>
                    <a:lnTo>
                      <a:pt x="80" y="421"/>
                    </a:lnTo>
                    <a:lnTo>
                      <a:pt x="84" y="421"/>
                    </a:lnTo>
                    <a:lnTo>
                      <a:pt x="88" y="421"/>
                    </a:lnTo>
                    <a:lnTo>
                      <a:pt x="90" y="419"/>
                    </a:lnTo>
                    <a:lnTo>
                      <a:pt x="92" y="419"/>
                    </a:lnTo>
                    <a:lnTo>
                      <a:pt x="94" y="419"/>
                    </a:lnTo>
                    <a:lnTo>
                      <a:pt x="94" y="417"/>
                    </a:lnTo>
                    <a:lnTo>
                      <a:pt x="94" y="415"/>
                    </a:lnTo>
                    <a:lnTo>
                      <a:pt x="94" y="413"/>
                    </a:lnTo>
                    <a:lnTo>
                      <a:pt x="94" y="411"/>
                    </a:lnTo>
                    <a:lnTo>
                      <a:pt x="94" y="409"/>
                    </a:lnTo>
                    <a:lnTo>
                      <a:pt x="90" y="409"/>
                    </a:lnTo>
                    <a:lnTo>
                      <a:pt x="90" y="405"/>
                    </a:lnTo>
                    <a:lnTo>
                      <a:pt x="90" y="403"/>
                    </a:lnTo>
                    <a:lnTo>
                      <a:pt x="90" y="400"/>
                    </a:lnTo>
                    <a:lnTo>
                      <a:pt x="94" y="400"/>
                    </a:lnTo>
                    <a:lnTo>
                      <a:pt x="96" y="400"/>
                    </a:lnTo>
                    <a:lnTo>
                      <a:pt x="98" y="400"/>
                    </a:lnTo>
                    <a:lnTo>
                      <a:pt x="100" y="405"/>
                    </a:lnTo>
                    <a:lnTo>
                      <a:pt x="100" y="407"/>
                    </a:lnTo>
                    <a:lnTo>
                      <a:pt x="105" y="407"/>
                    </a:lnTo>
                    <a:lnTo>
                      <a:pt x="107" y="413"/>
                    </a:lnTo>
                    <a:lnTo>
                      <a:pt x="105" y="415"/>
                    </a:lnTo>
                    <a:lnTo>
                      <a:pt x="105" y="417"/>
                    </a:lnTo>
                    <a:lnTo>
                      <a:pt x="105" y="428"/>
                    </a:lnTo>
                    <a:lnTo>
                      <a:pt x="109" y="430"/>
                    </a:lnTo>
                    <a:lnTo>
                      <a:pt x="111" y="430"/>
                    </a:lnTo>
                    <a:lnTo>
                      <a:pt x="111" y="428"/>
                    </a:lnTo>
                    <a:lnTo>
                      <a:pt x="111" y="426"/>
                    </a:lnTo>
                    <a:lnTo>
                      <a:pt x="113" y="426"/>
                    </a:lnTo>
                    <a:lnTo>
                      <a:pt x="113" y="425"/>
                    </a:lnTo>
                    <a:lnTo>
                      <a:pt x="113" y="423"/>
                    </a:lnTo>
                    <a:lnTo>
                      <a:pt x="115" y="423"/>
                    </a:lnTo>
                    <a:lnTo>
                      <a:pt x="117" y="423"/>
                    </a:lnTo>
                    <a:lnTo>
                      <a:pt x="117" y="421"/>
                    </a:lnTo>
                    <a:lnTo>
                      <a:pt x="117" y="419"/>
                    </a:lnTo>
                    <a:lnTo>
                      <a:pt x="115" y="419"/>
                    </a:lnTo>
                    <a:lnTo>
                      <a:pt x="113" y="417"/>
                    </a:lnTo>
                    <a:lnTo>
                      <a:pt x="113" y="413"/>
                    </a:lnTo>
                    <a:lnTo>
                      <a:pt x="111" y="411"/>
                    </a:lnTo>
                    <a:lnTo>
                      <a:pt x="111" y="409"/>
                    </a:lnTo>
                    <a:lnTo>
                      <a:pt x="113" y="409"/>
                    </a:lnTo>
                    <a:lnTo>
                      <a:pt x="117" y="409"/>
                    </a:lnTo>
                    <a:lnTo>
                      <a:pt x="119" y="409"/>
                    </a:lnTo>
                    <a:lnTo>
                      <a:pt x="119" y="407"/>
                    </a:lnTo>
                    <a:lnTo>
                      <a:pt x="125" y="407"/>
                    </a:lnTo>
                    <a:lnTo>
                      <a:pt x="130" y="407"/>
                    </a:lnTo>
                    <a:lnTo>
                      <a:pt x="130" y="405"/>
                    </a:lnTo>
                    <a:lnTo>
                      <a:pt x="132" y="405"/>
                    </a:lnTo>
                    <a:lnTo>
                      <a:pt x="134" y="405"/>
                    </a:lnTo>
                    <a:lnTo>
                      <a:pt x="136" y="405"/>
                    </a:lnTo>
                    <a:lnTo>
                      <a:pt x="138" y="405"/>
                    </a:lnTo>
                    <a:lnTo>
                      <a:pt x="142" y="405"/>
                    </a:lnTo>
                    <a:lnTo>
                      <a:pt x="144" y="405"/>
                    </a:lnTo>
                    <a:lnTo>
                      <a:pt x="148" y="403"/>
                    </a:lnTo>
                    <a:lnTo>
                      <a:pt x="150" y="403"/>
                    </a:lnTo>
                    <a:lnTo>
                      <a:pt x="151" y="403"/>
                    </a:lnTo>
                    <a:lnTo>
                      <a:pt x="151" y="400"/>
                    </a:lnTo>
                    <a:lnTo>
                      <a:pt x="151" y="398"/>
                    </a:lnTo>
                    <a:lnTo>
                      <a:pt x="151" y="396"/>
                    </a:lnTo>
                    <a:lnTo>
                      <a:pt x="155" y="396"/>
                    </a:lnTo>
                    <a:lnTo>
                      <a:pt x="161" y="396"/>
                    </a:lnTo>
                    <a:lnTo>
                      <a:pt x="165" y="394"/>
                    </a:lnTo>
                    <a:lnTo>
                      <a:pt x="165" y="392"/>
                    </a:lnTo>
                    <a:lnTo>
                      <a:pt x="171" y="392"/>
                    </a:lnTo>
                    <a:lnTo>
                      <a:pt x="171" y="390"/>
                    </a:lnTo>
                    <a:lnTo>
                      <a:pt x="171" y="388"/>
                    </a:lnTo>
                    <a:lnTo>
                      <a:pt x="169" y="390"/>
                    </a:lnTo>
                    <a:lnTo>
                      <a:pt x="167" y="386"/>
                    </a:lnTo>
                    <a:lnTo>
                      <a:pt x="169" y="386"/>
                    </a:lnTo>
                    <a:lnTo>
                      <a:pt x="171" y="386"/>
                    </a:lnTo>
                    <a:lnTo>
                      <a:pt x="173" y="382"/>
                    </a:lnTo>
                    <a:lnTo>
                      <a:pt x="173" y="380"/>
                    </a:lnTo>
                    <a:lnTo>
                      <a:pt x="173" y="378"/>
                    </a:lnTo>
                    <a:lnTo>
                      <a:pt x="175" y="380"/>
                    </a:lnTo>
                    <a:lnTo>
                      <a:pt x="176" y="380"/>
                    </a:lnTo>
                    <a:lnTo>
                      <a:pt x="178" y="384"/>
                    </a:lnTo>
                    <a:lnTo>
                      <a:pt x="180" y="384"/>
                    </a:lnTo>
                    <a:lnTo>
                      <a:pt x="182" y="382"/>
                    </a:lnTo>
                    <a:lnTo>
                      <a:pt x="184" y="382"/>
                    </a:lnTo>
                    <a:lnTo>
                      <a:pt x="184" y="380"/>
                    </a:lnTo>
                    <a:lnTo>
                      <a:pt x="186" y="378"/>
                    </a:lnTo>
                    <a:lnTo>
                      <a:pt x="184" y="373"/>
                    </a:lnTo>
                    <a:lnTo>
                      <a:pt x="184" y="371"/>
                    </a:lnTo>
                    <a:lnTo>
                      <a:pt x="182" y="371"/>
                    </a:lnTo>
                    <a:lnTo>
                      <a:pt x="182" y="367"/>
                    </a:lnTo>
                    <a:lnTo>
                      <a:pt x="182" y="363"/>
                    </a:lnTo>
                    <a:lnTo>
                      <a:pt x="182" y="361"/>
                    </a:lnTo>
                    <a:lnTo>
                      <a:pt x="178" y="361"/>
                    </a:lnTo>
                    <a:lnTo>
                      <a:pt x="178" y="359"/>
                    </a:lnTo>
                    <a:lnTo>
                      <a:pt x="178" y="357"/>
                    </a:lnTo>
                    <a:lnTo>
                      <a:pt x="178" y="355"/>
                    </a:lnTo>
                    <a:lnTo>
                      <a:pt x="178" y="354"/>
                    </a:lnTo>
                    <a:lnTo>
                      <a:pt x="176" y="354"/>
                    </a:lnTo>
                    <a:lnTo>
                      <a:pt x="178" y="350"/>
                    </a:lnTo>
                    <a:lnTo>
                      <a:pt x="178" y="346"/>
                    </a:lnTo>
                    <a:lnTo>
                      <a:pt x="178" y="344"/>
                    </a:lnTo>
                    <a:lnTo>
                      <a:pt x="180" y="342"/>
                    </a:lnTo>
                    <a:lnTo>
                      <a:pt x="180" y="340"/>
                    </a:lnTo>
                    <a:lnTo>
                      <a:pt x="180" y="338"/>
                    </a:lnTo>
                    <a:lnTo>
                      <a:pt x="178" y="338"/>
                    </a:lnTo>
                    <a:lnTo>
                      <a:pt x="176" y="338"/>
                    </a:lnTo>
                    <a:lnTo>
                      <a:pt x="175" y="338"/>
                    </a:lnTo>
                    <a:lnTo>
                      <a:pt x="173" y="338"/>
                    </a:lnTo>
                    <a:lnTo>
                      <a:pt x="171" y="338"/>
                    </a:lnTo>
                    <a:lnTo>
                      <a:pt x="169" y="338"/>
                    </a:lnTo>
                    <a:lnTo>
                      <a:pt x="169" y="340"/>
                    </a:lnTo>
                    <a:lnTo>
                      <a:pt x="167" y="340"/>
                    </a:lnTo>
                    <a:lnTo>
                      <a:pt x="169" y="336"/>
                    </a:lnTo>
                    <a:lnTo>
                      <a:pt x="169" y="330"/>
                    </a:lnTo>
                    <a:lnTo>
                      <a:pt x="171" y="330"/>
                    </a:lnTo>
                    <a:lnTo>
                      <a:pt x="169" y="329"/>
                    </a:lnTo>
                    <a:lnTo>
                      <a:pt x="165" y="329"/>
                    </a:lnTo>
                    <a:lnTo>
                      <a:pt x="165" y="327"/>
                    </a:lnTo>
                    <a:lnTo>
                      <a:pt x="169" y="323"/>
                    </a:lnTo>
                    <a:lnTo>
                      <a:pt x="171" y="321"/>
                    </a:lnTo>
                    <a:lnTo>
                      <a:pt x="169" y="321"/>
                    </a:lnTo>
                    <a:lnTo>
                      <a:pt x="169" y="319"/>
                    </a:lnTo>
                    <a:lnTo>
                      <a:pt x="169" y="315"/>
                    </a:lnTo>
                    <a:lnTo>
                      <a:pt x="169" y="313"/>
                    </a:lnTo>
                    <a:lnTo>
                      <a:pt x="171" y="313"/>
                    </a:lnTo>
                    <a:lnTo>
                      <a:pt x="173" y="313"/>
                    </a:lnTo>
                    <a:lnTo>
                      <a:pt x="173" y="311"/>
                    </a:lnTo>
                    <a:lnTo>
                      <a:pt x="175" y="311"/>
                    </a:lnTo>
                    <a:lnTo>
                      <a:pt x="176" y="311"/>
                    </a:lnTo>
                    <a:lnTo>
                      <a:pt x="176" y="307"/>
                    </a:lnTo>
                    <a:lnTo>
                      <a:pt x="175" y="307"/>
                    </a:lnTo>
                    <a:lnTo>
                      <a:pt x="175" y="306"/>
                    </a:lnTo>
                    <a:lnTo>
                      <a:pt x="175" y="304"/>
                    </a:lnTo>
                    <a:lnTo>
                      <a:pt x="175" y="302"/>
                    </a:lnTo>
                    <a:lnTo>
                      <a:pt x="175" y="300"/>
                    </a:lnTo>
                    <a:lnTo>
                      <a:pt x="175" y="298"/>
                    </a:lnTo>
                    <a:lnTo>
                      <a:pt x="175" y="296"/>
                    </a:lnTo>
                    <a:lnTo>
                      <a:pt x="176" y="294"/>
                    </a:lnTo>
                    <a:lnTo>
                      <a:pt x="176" y="292"/>
                    </a:lnTo>
                    <a:lnTo>
                      <a:pt x="175" y="288"/>
                    </a:lnTo>
                    <a:lnTo>
                      <a:pt x="175" y="286"/>
                    </a:lnTo>
                    <a:lnTo>
                      <a:pt x="175" y="282"/>
                    </a:lnTo>
                    <a:lnTo>
                      <a:pt x="175" y="281"/>
                    </a:lnTo>
                    <a:lnTo>
                      <a:pt x="175" y="279"/>
                    </a:lnTo>
                    <a:lnTo>
                      <a:pt x="175" y="277"/>
                    </a:lnTo>
                    <a:lnTo>
                      <a:pt x="175" y="273"/>
                    </a:lnTo>
                    <a:lnTo>
                      <a:pt x="175" y="271"/>
                    </a:lnTo>
                    <a:lnTo>
                      <a:pt x="175" y="267"/>
                    </a:lnTo>
                    <a:lnTo>
                      <a:pt x="175" y="261"/>
                    </a:lnTo>
                    <a:lnTo>
                      <a:pt x="175" y="259"/>
                    </a:lnTo>
                    <a:lnTo>
                      <a:pt x="173" y="256"/>
                    </a:lnTo>
                    <a:lnTo>
                      <a:pt x="173" y="252"/>
                    </a:lnTo>
                    <a:lnTo>
                      <a:pt x="175" y="252"/>
                    </a:lnTo>
                    <a:lnTo>
                      <a:pt x="176" y="252"/>
                    </a:lnTo>
                    <a:lnTo>
                      <a:pt x="176" y="250"/>
                    </a:lnTo>
                    <a:lnTo>
                      <a:pt x="175" y="248"/>
                    </a:lnTo>
                    <a:lnTo>
                      <a:pt x="178" y="246"/>
                    </a:lnTo>
                    <a:lnTo>
                      <a:pt x="176" y="244"/>
                    </a:lnTo>
                    <a:lnTo>
                      <a:pt x="176" y="242"/>
                    </a:lnTo>
                    <a:lnTo>
                      <a:pt x="180" y="242"/>
                    </a:lnTo>
                    <a:lnTo>
                      <a:pt x="184" y="242"/>
                    </a:lnTo>
                    <a:lnTo>
                      <a:pt x="186" y="242"/>
                    </a:lnTo>
                    <a:lnTo>
                      <a:pt x="186" y="240"/>
                    </a:lnTo>
                    <a:lnTo>
                      <a:pt x="186" y="238"/>
                    </a:lnTo>
                    <a:lnTo>
                      <a:pt x="188" y="238"/>
                    </a:lnTo>
                    <a:lnTo>
                      <a:pt x="192" y="238"/>
                    </a:lnTo>
                    <a:lnTo>
                      <a:pt x="198" y="236"/>
                    </a:lnTo>
                    <a:lnTo>
                      <a:pt x="203" y="236"/>
                    </a:lnTo>
                    <a:lnTo>
                      <a:pt x="207" y="236"/>
                    </a:lnTo>
                    <a:lnTo>
                      <a:pt x="207" y="238"/>
                    </a:lnTo>
                    <a:lnTo>
                      <a:pt x="207" y="244"/>
                    </a:lnTo>
                    <a:lnTo>
                      <a:pt x="215" y="242"/>
                    </a:lnTo>
                    <a:lnTo>
                      <a:pt x="217" y="242"/>
                    </a:lnTo>
                    <a:lnTo>
                      <a:pt x="217" y="240"/>
                    </a:lnTo>
                    <a:lnTo>
                      <a:pt x="217" y="236"/>
                    </a:lnTo>
                    <a:lnTo>
                      <a:pt x="215" y="236"/>
                    </a:lnTo>
                    <a:lnTo>
                      <a:pt x="215" y="231"/>
                    </a:lnTo>
                    <a:lnTo>
                      <a:pt x="215" y="229"/>
                    </a:lnTo>
                    <a:lnTo>
                      <a:pt x="215" y="227"/>
                    </a:lnTo>
                    <a:lnTo>
                      <a:pt x="217" y="227"/>
                    </a:lnTo>
                    <a:lnTo>
                      <a:pt x="219" y="227"/>
                    </a:lnTo>
                    <a:lnTo>
                      <a:pt x="219" y="229"/>
                    </a:lnTo>
                    <a:lnTo>
                      <a:pt x="223" y="229"/>
                    </a:lnTo>
                    <a:lnTo>
                      <a:pt x="224" y="229"/>
                    </a:lnTo>
                    <a:lnTo>
                      <a:pt x="224" y="227"/>
                    </a:lnTo>
                    <a:lnTo>
                      <a:pt x="226" y="231"/>
                    </a:lnTo>
                    <a:lnTo>
                      <a:pt x="226" y="234"/>
                    </a:lnTo>
                    <a:lnTo>
                      <a:pt x="228" y="234"/>
                    </a:lnTo>
                    <a:lnTo>
                      <a:pt x="230" y="233"/>
                    </a:lnTo>
                    <a:lnTo>
                      <a:pt x="234" y="231"/>
                    </a:lnTo>
                    <a:lnTo>
                      <a:pt x="236" y="229"/>
                    </a:lnTo>
                    <a:lnTo>
                      <a:pt x="238" y="227"/>
                    </a:lnTo>
                    <a:lnTo>
                      <a:pt x="240" y="227"/>
                    </a:lnTo>
                    <a:lnTo>
                      <a:pt x="242" y="225"/>
                    </a:lnTo>
                    <a:lnTo>
                      <a:pt x="244" y="225"/>
                    </a:lnTo>
                    <a:lnTo>
                      <a:pt x="246" y="225"/>
                    </a:lnTo>
                    <a:lnTo>
                      <a:pt x="246" y="223"/>
                    </a:lnTo>
                    <a:lnTo>
                      <a:pt x="249" y="223"/>
                    </a:lnTo>
                    <a:lnTo>
                      <a:pt x="251" y="223"/>
                    </a:lnTo>
                    <a:lnTo>
                      <a:pt x="253" y="223"/>
                    </a:lnTo>
                    <a:lnTo>
                      <a:pt x="251" y="223"/>
                    </a:lnTo>
                    <a:lnTo>
                      <a:pt x="251" y="221"/>
                    </a:lnTo>
                    <a:lnTo>
                      <a:pt x="253" y="221"/>
                    </a:lnTo>
                    <a:lnTo>
                      <a:pt x="255" y="221"/>
                    </a:lnTo>
                    <a:lnTo>
                      <a:pt x="255" y="219"/>
                    </a:lnTo>
                    <a:lnTo>
                      <a:pt x="257" y="219"/>
                    </a:lnTo>
                    <a:lnTo>
                      <a:pt x="257" y="217"/>
                    </a:lnTo>
                    <a:lnTo>
                      <a:pt x="257" y="215"/>
                    </a:lnTo>
                    <a:lnTo>
                      <a:pt x="257" y="211"/>
                    </a:lnTo>
                    <a:lnTo>
                      <a:pt x="259" y="211"/>
                    </a:lnTo>
                    <a:lnTo>
                      <a:pt x="259" y="210"/>
                    </a:lnTo>
                    <a:lnTo>
                      <a:pt x="257" y="210"/>
                    </a:lnTo>
                    <a:lnTo>
                      <a:pt x="257" y="208"/>
                    </a:lnTo>
                    <a:lnTo>
                      <a:pt x="257" y="206"/>
                    </a:lnTo>
                    <a:lnTo>
                      <a:pt x="261" y="206"/>
                    </a:lnTo>
                    <a:lnTo>
                      <a:pt x="271" y="204"/>
                    </a:lnTo>
                    <a:lnTo>
                      <a:pt x="271" y="200"/>
                    </a:lnTo>
                    <a:lnTo>
                      <a:pt x="271" y="196"/>
                    </a:lnTo>
                    <a:lnTo>
                      <a:pt x="271" y="194"/>
                    </a:lnTo>
                    <a:lnTo>
                      <a:pt x="267" y="194"/>
                    </a:lnTo>
                    <a:lnTo>
                      <a:pt x="263" y="194"/>
                    </a:lnTo>
                    <a:lnTo>
                      <a:pt x="261" y="196"/>
                    </a:lnTo>
                    <a:lnTo>
                      <a:pt x="257" y="196"/>
                    </a:lnTo>
                    <a:lnTo>
                      <a:pt x="255" y="196"/>
                    </a:lnTo>
                    <a:lnTo>
                      <a:pt x="255" y="194"/>
                    </a:lnTo>
                    <a:lnTo>
                      <a:pt x="255" y="192"/>
                    </a:lnTo>
                    <a:lnTo>
                      <a:pt x="255" y="190"/>
                    </a:lnTo>
                    <a:lnTo>
                      <a:pt x="251" y="190"/>
                    </a:lnTo>
                    <a:lnTo>
                      <a:pt x="249" y="190"/>
                    </a:lnTo>
                    <a:lnTo>
                      <a:pt x="249" y="188"/>
                    </a:lnTo>
                    <a:lnTo>
                      <a:pt x="247" y="188"/>
                    </a:lnTo>
                    <a:lnTo>
                      <a:pt x="247" y="186"/>
                    </a:lnTo>
                    <a:lnTo>
                      <a:pt x="246" y="186"/>
                    </a:lnTo>
                    <a:lnTo>
                      <a:pt x="246" y="185"/>
                    </a:lnTo>
                    <a:lnTo>
                      <a:pt x="244" y="183"/>
                    </a:lnTo>
                    <a:lnTo>
                      <a:pt x="242" y="181"/>
                    </a:lnTo>
                    <a:lnTo>
                      <a:pt x="240" y="179"/>
                    </a:lnTo>
                    <a:lnTo>
                      <a:pt x="238" y="177"/>
                    </a:lnTo>
                    <a:lnTo>
                      <a:pt x="234" y="177"/>
                    </a:lnTo>
                    <a:lnTo>
                      <a:pt x="232" y="177"/>
                    </a:lnTo>
                    <a:lnTo>
                      <a:pt x="230" y="177"/>
                    </a:lnTo>
                    <a:lnTo>
                      <a:pt x="228" y="177"/>
                    </a:lnTo>
                    <a:lnTo>
                      <a:pt x="228" y="175"/>
                    </a:lnTo>
                    <a:lnTo>
                      <a:pt x="226" y="175"/>
                    </a:lnTo>
                    <a:lnTo>
                      <a:pt x="224" y="175"/>
                    </a:lnTo>
                    <a:lnTo>
                      <a:pt x="223" y="175"/>
                    </a:lnTo>
                    <a:lnTo>
                      <a:pt x="223" y="173"/>
                    </a:lnTo>
                    <a:lnTo>
                      <a:pt x="221" y="173"/>
                    </a:lnTo>
                    <a:lnTo>
                      <a:pt x="221" y="171"/>
                    </a:lnTo>
                    <a:lnTo>
                      <a:pt x="221" y="169"/>
                    </a:lnTo>
                    <a:lnTo>
                      <a:pt x="219" y="167"/>
                    </a:lnTo>
                    <a:lnTo>
                      <a:pt x="219" y="163"/>
                    </a:lnTo>
                    <a:lnTo>
                      <a:pt x="213" y="163"/>
                    </a:lnTo>
                    <a:lnTo>
                      <a:pt x="213" y="162"/>
                    </a:lnTo>
                    <a:lnTo>
                      <a:pt x="211" y="162"/>
                    </a:lnTo>
                    <a:lnTo>
                      <a:pt x="213" y="162"/>
                    </a:lnTo>
                    <a:lnTo>
                      <a:pt x="213" y="160"/>
                    </a:lnTo>
                    <a:lnTo>
                      <a:pt x="211" y="158"/>
                    </a:lnTo>
                    <a:lnTo>
                      <a:pt x="211" y="156"/>
                    </a:lnTo>
                    <a:lnTo>
                      <a:pt x="211" y="152"/>
                    </a:lnTo>
                    <a:lnTo>
                      <a:pt x="211" y="150"/>
                    </a:lnTo>
                    <a:lnTo>
                      <a:pt x="213" y="150"/>
                    </a:lnTo>
                    <a:lnTo>
                      <a:pt x="213" y="152"/>
                    </a:lnTo>
                    <a:lnTo>
                      <a:pt x="213" y="150"/>
                    </a:lnTo>
                    <a:lnTo>
                      <a:pt x="213" y="148"/>
                    </a:lnTo>
                    <a:lnTo>
                      <a:pt x="213" y="146"/>
                    </a:lnTo>
                    <a:lnTo>
                      <a:pt x="213" y="144"/>
                    </a:lnTo>
                    <a:lnTo>
                      <a:pt x="217" y="144"/>
                    </a:lnTo>
                    <a:lnTo>
                      <a:pt x="219" y="144"/>
                    </a:lnTo>
                    <a:lnTo>
                      <a:pt x="219" y="146"/>
                    </a:lnTo>
                    <a:lnTo>
                      <a:pt x="223" y="146"/>
                    </a:lnTo>
                    <a:lnTo>
                      <a:pt x="223" y="148"/>
                    </a:lnTo>
                    <a:lnTo>
                      <a:pt x="224" y="148"/>
                    </a:lnTo>
                    <a:lnTo>
                      <a:pt x="226" y="148"/>
                    </a:lnTo>
                    <a:lnTo>
                      <a:pt x="228" y="148"/>
                    </a:lnTo>
                    <a:lnTo>
                      <a:pt x="230" y="148"/>
                    </a:lnTo>
                    <a:lnTo>
                      <a:pt x="232" y="146"/>
                    </a:lnTo>
                    <a:lnTo>
                      <a:pt x="234" y="146"/>
                    </a:lnTo>
                    <a:lnTo>
                      <a:pt x="234" y="144"/>
                    </a:lnTo>
                    <a:lnTo>
                      <a:pt x="236" y="142"/>
                    </a:lnTo>
                    <a:lnTo>
                      <a:pt x="236" y="140"/>
                    </a:lnTo>
                    <a:lnTo>
                      <a:pt x="238" y="140"/>
                    </a:lnTo>
                    <a:lnTo>
                      <a:pt x="238" y="138"/>
                    </a:lnTo>
                    <a:lnTo>
                      <a:pt x="240" y="138"/>
                    </a:lnTo>
                    <a:lnTo>
                      <a:pt x="242" y="138"/>
                    </a:lnTo>
                    <a:lnTo>
                      <a:pt x="242" y="140"/>
                    </a:lnTo>
                    <a:lnTo>
                      <a:pt x="244" y="140"/>
                    </a:lnTo>
                    <a:lnTo>
                      <a:pt x="246" y="138"/>
                    </a:lnTo>
                    <a:lnTo>
                      <a:pt x="247" y="138"/>
                    </a:lnTo>
                    <a:lnTo>
                      <a:pt x="249" y="138"/>
                    </a:lnTo>
                    <a:lnTo>
                      <a:pt x="249" y="140"/>
                    </a:lnTo>
                    <a:lnTo>
                      <a:pt x="251" y="140"/>
                    </a:lnTo>
                    <a:lnTo>
                      <a:pt x="251" y="142"/>
                    </a:lnTo>
                    <a:lnTo>
                      <a:pt x="251" y="144"/>
                    </a:lnTo>
                    <a:lnTo>
                      <a:pt x="251" y="146"/>
                    </a:lnTo>
                    <a:lnTo>
                      <a:pt x="251" y="148"/>
                    </a:lnTo>
                    <a:lnTo>
                      <a:pt x="251" y="150"/>
                    </a:lnTo>
                    <a:lnTo>
                      <a:pt x="253" y="150"/>
                    </a:lnTo>
                    <a:lnTo>
                      <a:pt x="255" y="150"/>
                    </a:lnTo>
                    <a:lnTo>
                      <a:pt x="257" y="150"/>
                    </a:lnTo>
                    <a:lnTo>
                      <a:pt x="257" y="148"/>
                    </a:lnTo>
                    <a:lnTo>
                      <a:pt x="259" y="148"/>
                    </a:lnTo>
                    <a:lnTo>
                      <a:pt x="261" y="148"/>
                    </a:lnTo>
                    <a:lnTo>
                      <a:pt x="263" y="148"/>
                    </a:lnTo>
                    <a:lnTo>
                      <a:pt x="263" y="146"/>
                    </a:lnTo>
                    <a:lnTo>
                      <a:pt x="265" y="146"/>
                    </a:lnTo>
                    <a:lnTo>
                      <a:pt x="265" y="148"/>
                    </a:lnTo>
                    <a:lnTo>
                      <a:pt x="265" y="150"/>
                    </a:lnTo>
                    <a:lnTo>
                      <a:pt x="267" y="150"/>
                    </a:lnTo>
                    <a:lnTo>
                      <a:pt x="269" y="150"/>
                    </a:lnTo>
                    <a:lnTo>
                      <a:pt x="269" y="148"/>
                    </a:lnTo>
                    <a:lnTo>
                      <a:pt x="271" y="148"/>
                    </a:lnTo>
                    <a:lnTo>
                      <a:pt x="271" y="146"/>
                    </a:lnTo>
                    <a:lnTo>
                      <a:pt x="272" y="146"/>
                    </a:lnTo>
                    <a:lnTo>
                      <a:pt x="274" y="146"/>
                    </a:lnTo>
                    <a:lnTo>
                      <a:pt x="276" y="146"/>
                    </a:lnTo>
                    <a:lnTo>
                      <a:pt x="276" y="148"/>
                    </a:lnTo>
                    <a:lnTo>
                      <a:pt x="276" y="150"/>
                    </a:lnTo>
                    <a:lnTo>
                      <a:pt x="276" y="152"/>
                    </a:lnTo>
                    <a:lnTo>
                      <a:pt x="276" y="154"/>
                    </a:lnTo>
                    <a:lnTo>
                      <a:pt x="278" y="156"/>
                    </a:lnTo>
                    <a:lnTo>
                      <a:pt x="278" y="158"/>
                    </a:lnTo>
                    <a:lnTo>
                      <a:pt x="280" y="158"/>
                    </a:lnTo>
                    <a:lnTo>
                      <a:pt x="280" y="160"/>
                    </a:lnTo>
                    <a:lnTo>
                      <a:pt x="282" y="160"/>
                    </a:lnTo>
                    <a:lnTo>
                      <a:pt x="284" y="160"/>
                    </a:lnTo>
                    <a:lnTo>
                      <a:pt x="286" y="160"/>
                    </a:lnTo>
                    <a:lnTo>
                      <a:pt x="286" y="158"/>
                    </a:lnTo>
                    <a:lnTo>
                      <a:pt x="288" y="158"/>
                    </a:lnTo>
                    <a:lnTo>
                      <a:pt x="288" y="156"/>
                    </a:lnTo>
                    <a:lnTo>
                      <a:pt x="288" y="154"/>
                    </a:lnTo>
                    <a:lnTo>
                      <a:pt x="286" y="152"/>
                    </a:lnTo>
                    <a:lnTo>
                      <a:pt x="286" y="150"/>
                    </a:lnTo>
                    <a:lnTo>
                      <a:pt x="286" y="146"/>
                    </a:lnTo>
                    <a:lnTo>
                      <a:pt x="288" y="146"/>
                    </a:lnTo>
                    <a:lnTo>
                      <a:pt x="288" y="144"/>
                    </a:lnTo>
                    <a:lnTo>
                      <a:pt x="288" y="140"/>
                    </a:lnTo>
                    <a:lnTo>
                      <a:pt x="290" y="135"/>
                    </a:lnTo>
                    <a:lnTo>
                      <a:pt x="292" y="133"/>
                    </a:lnTo>
                    <a:lnTo>
                      <a:pt x="292" y="131"/>
                    </a:lnTo>
                    <a:lnTo>
                      <a:pt x="294" y="131"/>
                    </a:lnTo>
                    <a:lnTo>
                      <a:pt x="295" y="131"/>
                    </a:lnTo>
                    <a:lnTo>
                      <a:pt x="295" y="127"/>
                    </a:lnTo>
                    <a:lnTo>
                      <a:pt x="297" y="123"/>
                    </a:lnTo>
                    <a:lnTo>
                      <a:pt x="297" y="121"/>
                    </a:lnTo>
                    <a:lnTo>
                      <a:pt x="297" y="119"/>
                    </a:lnTo>
                    <a:lnTo>
                      <a:pt x="299" y="117"/>
                    </a:lnTo>
                    <a:lnTo>
                      <a:pt x="299" y="115"/>
                    </a:lnTo>
                    <a:lnTo>
                      <a:pt x="299" y="114"/>
                    </a:lnTo>
                    <a:lnTo>
                      <a:pt x="299" y="112"/>
                    </a:lnTo>
                    <a:lnTo>
                      <a:pt x="301" y="112"/>
                    </a:lnTo>
                    <a:lnTo>
                      <a:pt x="301" y="110"/>
                    </a:lnTo>
                    <a:lnTo>
                      <a:pt x="301" y="108"/>
                    </a:lnTo>
                    <a:lnTo>
                      <a:pt x="301" y="106"/>
                    </a:lnTo>
                    <a:lnTo>
                      <a:pt x="303" y="108"/>
                    </a:lnTo>
                    <a:lnTo>
                      <a:pt x="305" y="108"/>
                    </a:lnTo>
                    <a:lnTo>
                      <a:pt x="305" y="110"/>
                    </a:lnTo>
                    <a:lnTo>
                      <a:pt x="307" y="112"/>
                    </a:lnTo>
                    <a:lnTo>
                      <a:pt x="307" y="114"/>
                    </a:lnTo>
                    <a:lnTo>
                      <a:pt x="309" y="114"/>
                    </a:lnTo>
                    <a:lnTo>
                      <a:pt x="311" y="115"/>
                    </a:lnTo>
                    <a:lnTo>
                      <a:pt x="313" y="115"/>
                    </a:lnTo>
                    <a:lnTo>
                      <a:pt x="315" y="115"/>
                    </a:lnTo>
                    <a:lnTo>
                      <a:pt x="317" y="115"/>
                    </a:lnTo>
                    <a:lnTo>
                      <a:pt x="317" y="117"/>
                    </a:lnTo>
                    <a:lnTo>
                      <a:pt x="320" y="119"/>
                    </a:lnTo>
                    <a:lnTo>
                      <a:pt x="322" y="121"/>
                    </a:lnTo>
                    <a:lnTo>
                      <a:pt x="324" y="121"/>
                    </a:lnTo>
                    <a:lnTo>
                      <a:pt x="324" y="123"/>
                    </a:lnTo>
                    <a:lnTo>
                      <a:pt x="326" y="123"/>
                    </a:lnTo>
                    <a:lnTo>
                      <a:pt x="330" y="123"/>
                    </a:lnTo>
                    <a:lnTo>
                      <a:pt x="336" y="123"/>
                    </a:lnTo>
                    <a:lnTo>
                      <a:pt x="336" y="125"/>
                    </a:lnTo>
                    <a:lnTo>
                      <a:pt x="338" y="125"/>
                    </a:lnTo>
                    <a:lnTo>
                      <a:pt x="338" y="127"/>
                    </a:lnTo>
                    <a:lnTo>
                      <a:pt x="338" y="129"/>
                    </a:lnTo>
                    <a:lnTo>
                      <a:pt x="338" y="131"/>
                    </a:lnTo>
                    <a:lnTo>
                      <a:pt x="338" y="133"/>
                    </a:lnTo>
                    <a:lnTo>
                      <a:pt x="340" y="133"/>
                    </a:lnTo>
                    <a:lnTo>
                      <a:pt x="340" y="135"/>
                    </a:lnTo>
                    <a:lnTo>
                      <a:pt x="342" y="135"/>
                    </a:lnTo>
                    <a:lnTo>
                      <a:pt x="344" y="137"/>
                    </a:lnTo>
                    <a:lnTo>
                      <a:pt x="345" y="137"/>
                    </a:lnTo>
                    <a:lnTo>
                      <a:pt x="345" y="138"/>
                    </a:lnTo>
                    <a:lnTo>
                      <a:pt x="347" y="140"/>
                    </a:lnTo>
                    <a:lnTo>
                      <a:pt x="349" y="140"/>
                    </a:lnTo>
                    <a:lnTo>
                      <a:pt x="349" y="142"/>
                    </a:lnTo>
                    <a:lnTo>
                      <a:pt x="351" y="142"/>
                    </a:lnTo>
                    <a:lnTo>
                      <a:pt x="353" y="142"/>
                    </a:lnTo>
                    <a:lnTo>
                      <a:pt x="355" y="142"/>
                    </a:lnTo>
                    <a:lnTo>
                      <a:pt x="357" y="142"/>
                    </a:lnTo>
                    <a:lnTo>
                      <a:pt x="359" y="142"/>
                    </a:lnTo>
                    <a:lnTo>
                      <a:pt x="361" y="142"/>
                    </a:lnTo>
                    <a:lnTo>
                      <a:pt x="363" y="144"/>
                    </a:lnTo>
                    <a:lnTo>
                      <a:pt x="363" y="146"/>
                    </a:lnTo>
                    <a:lnTo>
                      <a:pt x="365" y="146"/>
                    </a:lnTo>
                    <a:lnTo>
                      <a:pt x="365" y="148"/>
                    </a:lnTo>
                    <a:lnTo>
                      <a:pt x="363" y="150"/>
                    </a:lnTo>
                    <a:lnTo>
                      <a:pt x="361" y="152"/>
                    </a:lnTo>
                    <a:lnTo>
                      <a:pt x="361" y="154"/>
                    </a:lnTo>
                    <a:lnTo>
                      <a:pt x="361" y="156"/>
                    </a:lnTo>
                    <a:lnTo>
                      <a:pt x="361" y="158"/>
                    </a:lnTo>
                    <a:lnTo>
                      <a:pt x="361" y="160"/>
                    </a:lnTo>
                    <a:lnTo>
                      <a:pt x="363" y="162"/>
                    </a:lnTo>
                    <a:lnTo>
                      <a:pt x="365" y="162"/>
                    </a:lnTo>
                    <a:lnTo>
                      <a:pt x="367" y="163"/>
                    </a:lnTo>
                    <a:lnTo>
                      <a:pt x="370" y="165"/>
                    </a:lnTo>
                    <a:lnTo>
                      <a:pt x="372" y="165"/>
                    </a:lnTo>
                    <a:lnTo>
                      <a:pt x="372" y="163"/>
                    </a:lnTo>
                    <a:lnTo>
                      <a:pt x="374" y="163"/>
                    </a:lnTo>
                    <a:lnTo>
                      <a:pt x="376" y="163"/>
                    </a:lnTo>
                    <a:lnTo>
                      <a:pt x="378" y="163"/>
                    </a:lnTo>
                    <a:lnTo>
                      <a:pt x="378" y="165"/>
                    </a:lnTo>
                    <a:lnTo>
                      <a:pt x="380" y="165"/>
                    </a:lnTo>
                    <a:lnTo>
                      <a:pt x="380" y="167"/>
                    </a:lnTo>
                    <a:lnTo>
                      <a:pt x="382" y="169"/>
                    </a:lnTo>
                    <a:lnTo>
                      <a:pt x="384" y="171"/>
                    </a:lnTo>
                    <a:lnTo>
                      <a:pt x="386" y="171"/>
                    </a:lnTo>
                    <a:lnTo>
                      <a:pt x="388" y="171"/>
                    </a:lnTo>
                    <a:lnTo>
                      <a:pt x="390" y="171"/>
                    </a:lnTo>
                    <a:lnTo>
                      <a:pt x="392" y="173"/>
                    </a:lnTo>
                    <a:lnTo>
                      <a:pt x="395" y="177"/>
                    </a:lnTo>
                    <a:lnTo>
                      <a:pt x="397" y="179"/>
                    </a:lnTo>
                    <a:lnTo>
                      <a:pt x="399" y="179"/>
                    </a:lnTo>
                    <a:lnTo>
                      <a:pt x="401" y="179"/>
                    </a:lnTo>
                    <a:lnTo>
                      <a:pt x="403" y="179"/>
                    </a:lnTo>
                    <a:lnTo>
                      <a:pt x="405" y="179"/>
                    </a:lnTo>
                    <a:lnTo>
                      <a:pt x="407" y="179"/>
                    </a:lnTo>
                    <a:lnTo>
                      <a:pt x="409" y="181"/>
                    </a:lnTo>
                    <a:lnTo>
                      <a:pt x="409" y="183"/>
                    </a:lnTo>
                    <a:lnTo>
                      <a:pt x="409" y="185"/>
                    </a:lnTo>
                    <a:lnTo>
                      <a:pt x="409" y="186"/>
                    </a:lnTo>
                    <a:lnTo>
                      <a:pt x="407" y="188"/>
                    </a:lnTo>
                    <a:lnTo>
                      <a:pt x="409" y="188"/>
                    </a:lnTo>
                    <a:lnTo>
                      <a:pt x="411" y="186"/>
                    </a:lnTo>
                    <a:lnTo>
                      <a:pt x="413" y="186"/>
                    </a:lnTo>
                    <a:lnTo>
                      <a:pt x="411" y="185"/>
                    </a:lnTo>
                    <a:lnTo>
                      <a:pt x="411" y="183"/>
                    </a:lnTo>
                    <a:lnTo>
                      <a:pt x="413" y="183"/>
                    </a:lnTo>
                    <a:lnTo>
                      <a:pt x="413" y="181"/>
                    </a:lnTo>
                    <a:lnTo>
                      <a:pt x="413" y="179"/>
                    </a:lnTo>
                    <a:lnTo>
                      <a:pt x="415" y="179"/>
                    </a:lnTo>
                    <a:lnTo>
                      <a:pt x="415" y="177"/>
                    </a:lnTo>
                    <a:lnTo>
                      <a:pt x="415" y="175"/>
                    </a:lnTo>
                    <a:lnTo>
                      <a:pt x="415" y="173"/>
                    </a:lnTo>
                    <a:lnTo>
                      <a:pt x="413" y="173"/>
                    </a:lnTo>
                    <a:lnTo>
                      <a:pt x="413" y="171"/>
                    </a:lnTo>
                    <a:lnTo>
                      <a:pt x="413" y="169"/>
                    </a:lnTo>
                    <a:lnTo>
                      <a:pt x="415" y="169"/>
                    </a:lnTo>
                    <a:lnTo>
                      <a:pt x="416" y="169"/>
                    </a:lnTo>
                    <a:lnTo>
                      <a:pt x="416" y="167"/>
                    </a:lnTo>
                    <a:lnTo>
                      <a:pt x="418" y="167"/>
                    </a:lnTo>
                    <a:lnTo>
                      <a:pt x="418" y="165"/>
                    </a:lnTo>
                    <a:lnTo>
                      <a:pt x="420" y="165"/>
                    </a:lnTo>
                    <a:lnTo>
                      <a:pt x="422" y="165"/>
                    </a:lnTo>
                    <a:lnTo>
                      <a:pt x="422" y="163"/>
                    </a:lnTo>
                    <a:lnTo>
                      <a:pt x="422" y="162"/>
                    </a:lnTo>
                    <a:lnTo>
                      <a:pt x="420" y="162"/>
                    </a:lnTo>
                    <a:lnTo>
                      <a:pt x="418" y="160"/>
                    </a:lnTo>
                    <a:lnTo>
                      <a:pt x="416" y="160"/>
                    </a:lnTo>
                    <a:lnTo>
                      <a:pt x="416" y="162"/>
                    </a:lnTo>
                    <a:lnTo>
                      <a:pt x="415" y="162"/>
                    </a:lnTo>
                    <a:lnTo>
                      <a:pt x="411" y="162"/>
                    </a:lnTo>
                    <a:lnTo>
                      <a:pt x="411" y="158"/>
                    </a:lnTo>
                    <a:lnTo>
                      <a:pt x="411" y="154"/>
                    </a:lnTo>
                    <a:lnTo>
                      <a:pt x="411" y="152"/>
                    </a:lnTo>
                    <a:lnTo>
                      <a:pt x="411" y="150"/>
                    </a:lnTo>
                    <a:lnTo>
                      <a:pt x="411" y="146"/>
                    </a:lnTo>
                    <a:lnTo>
                      <a:pt x="415" y="146"/>
                    </a:lnTo>
                    <a:lnTo>
                      <a:pt x="420" y="146"/>
                    </a:lnTo>
                    <a:lnTo>
                      <a:pt x="420" y="148"/>
                    </a:lnTo>
                    <a:lnTo>
                      <a:pt x="422" y="148"/>
                    </a:lnTo>
                    <a:lnTo>
                      <a:pt x="422" y="146"/>
                    </a:lnTo>
                    <a:lnTo>
                      <a:pt x="424" y="146"/>
                    </a:lnTo>
                    <a:lnTo>
                      <a:pt x="422" y="146"/>
                    </a:lnTo>
                    <a:lnTo>
                      <a:pt x="422" y="144"/>
                    </a:lnTo>
                    <a:lnTo>
                      <a:pt x="420" y="144"/>
                    </a:lnTo>
                    <a:lnTo>
                      <a:pt x="418" y="144"/>
                    </a:lnTo>
                    <a:lnTo>
                      <a:pt x="418" y="142"/>
                    </a:lnTo>
                    <a:lnTo>
                      <a:pt x="418" y="140"/>
                    </a:lnTo>
                    <a:lnTo>
                      <a:pt x="420" y="140"/>
                    </a:lnTo>
                    <a:lnTo>
                      <a:pt x="420" y="138"/>
                    </a:lnTo>
                    <a:lnTo>
                      <a:pt x="420" y="137"/>
                    </a:lnTo>
                    <a:lnTo>
                      <a:pt x="422" y="137"/>
                    </a:lnTo>
                    <a:lnTo>
                      <a:pt x="422" y="138"/>
                    </a:lnTo>
                    <a:lnTo>
                      <a:pt x="424" y="138"/>
                    </a:lnTo>
                    <a:lnTo>
                      <a:pt x="426" y="138"/>
                    </a:lnTo>
                    <a:lnTo>
                      <a:pt x="426" y="137"/>
                    </a:lnTo>
                    <a:lnTo>
                      <a:pt x="426" y="135"/>
                    </a:lnTo>
                    <a:lnTo>
                      <a:pt x="428" y="135"/>
                    </a:lnTo>
                    <a:lnTo>
                      <a:pt x="428" y="133"/>
                    </a:lnTo>
                    <a:lnTo>
                      <a:pt x="426" y="133"/>
                    </a:lnTo>
                    <a:lnTo>
                      <a:pt x="424" y="133"/>
                    </a:lnTo>
                    <a:lnTo>
                      <a:pt x="422" y="133"/>
                    </a:lnTo>
                    <a:lnTo>
                      <a:pt x="422" y="131"/>
                    </a:lnTo>
                    <a:lnTo>
                      <a:pt x="424" y="129"/>
                    </a:lnTo>
                    <a:lnTo>
                      <a:pt x="424" y="127"/>
                    </a:lnTo>
                    <a:lnTo>
                      <a:pt x="422" y="125"/>
                    </a:lnTo>
                    <a:lnTo>
                      <a:pt x="420" y="123"/>
                    </a:lnTo>
                    <a:lnTo>
                      <a:pt x="418" y="123"/>
                    </a:lnTo>
                    <a:lnTo>
                      <a:pt x="418" y="121"/>
                    </a:lnTo>
                    <a:lnTo>
                      <a:pt x="416" y="121"/>
                    </a:lnTo>
                    <a:lnTo>
                      <a:pt x="416" y="119"/>
                    </a:lnTo>
                    <a:lnTo>
                      <a:pt x="416" y="117"/>
                    </a:lnTo>
                    <a:lnTo>
                      <a:pt x="415" y="115"/>
                    </a:lnTo>
                    <a:lnTo>
                      <a:pt x="415" y="114"/>
                    </a:lnTo>
                    <a:lnTo>
                      <a:pt x="415" y="112"/>
                    </a:lnTo>
                    <a:lnTo>
                      <a:pt x="415" y="110"/>
                    </a:lnTo>
                    <a:lnTo>
                      <a:pt x="416" y="110"/>
                    </a:lnTo>
                    <a:lnTo>
                      <a:pt x="416" y="108"/>
                    </a:lnTo>
                    <a:lnTo>
                      <a:pt x="416" y="106"/>
                    </a:lnTo>
                    <a:lnTo>
                      <a:pt x="416" y="104"/>
                    </a:lnTo>
                    <a:lnTo>
                      <a:pt x="418" y="102"/>
                    </a:lnTo>
                    <a:lnTo>
                      <a:pt x="418" y="100"/>
                    </a:lnTo>
                    <a:lnTo>
                      <a:pt x="418" y="96"/>
                    </a:lnTo>
                    <a:lnTo>
                      <a:pt x="420" y="94"/>
                    </a:lnTo>
                    <a:lnTo>
                      <a:pt x="422" y="91"/>
                    </a:lnTo>
                    <a:lnTo>
                      <a:pt x="424" y="91"/>
                    </a:lnTo>
                    <a:lnTo>
                      <a:pt x="424" y="89"/>
                    </a:lnTo>
                    <a:lnTo>
                      <a:pt x="426" y="87"/>
                    </a:lnTo>
                    <a:lnTo>
                      <a:pt x="426" y="85"/>
                    </a:lnTo>
                    <a:lnTo>
                      <a:pt x="428" y="85"/>
                    </a:lnTo>
                    <a:lnTo>
                      <a:pt x="428" y="83"/>
                    </a:lnTo>
                    <a:lnTo>
                      <a:pt x="430" y="81"/>
                    </a:lnTo>
                    <a:lnTo>
                      <a:pt x="432" y="79"/>
                    </a:lnTo>
                    <a:lnTo>
                      <a:pt x="430" y="79"/>
                    </a:lnTo>
                    <a:lnTo>
                      <a:pt x="428" y="77"/>
                    </a:lnTo>
                    <a:lnTo>
                      <a:pt x="430" y="75"/>
                    </a:lnTo>
                    <a:lnTo>
                      <a:pt x="428" y="75"/>
                    </a:lnTo>
                    <a:lnTo>
                      <a:pt x="428" y="73"/>
                    </a:lnTo>
                    <a:lnTo>
                      <a:pt x="426" y="73"/>
                    </a:lnTo>
                    <a:lnTo>
                      <a:pt x="424" y="73"/>
                    </a:lnTo>
                    <a:lnTo>
                      <a:pt x="424" y="71"/>
                    </a:lnTo>
                    <a:lnTo>
                      <a:pt x="426" y="69"/>
                    </a:lnTo>
                    <a:lnTo>
                      <a:pt x="426" y="67"/>
                    </a:lnTo>
                    <a:lnTo>
                      <a:pt x="428" y="67"/>
                    </a:lnTo>
                    <a:lnTo>
                      <a:pt x="428" y="66"/>
                    </a:lnTo>
                    <a:lnTo>
                      <a:pt x="430" y="66"/>
                    </a:lnTo>
                    <a:lnTo>
                      <a:pt x="432" y="66"/>
                    </a:lnTo>
                    <a:lnTo>
                      <a:pt x="432" y="64"/>
                    </a:lnTo>
                    <a:lnTo>
                      <a:pt x="434" y="62"/>
                    </a:lnTo>
                    <a:lnTo>
                      <a:pt x="436" y="62"/>
                    </a:lnTo>
                    <a:lnTo>
                      <a:pt x="436" y="60"/>
                    </a:lnTo>
                    <a:lnTo>
                      <a:pt x="434" y="60"/>
                    </a:lnTo>
                    <a:lnTo>
                      <a:pt x="434" y="58"/>
                    </a:lnTo>
                    <a:lnTo>
                      <a:pt x="436" y="58"/>
                    </a:lnTo>
                    <a:lnTo>
                      <a:pt x="438" y="58"/>
                    </a:lnTo>
                    <a:lnTo>
                      <a:pt x="440" y="56"/>
                    </a:lnTo>
                    <a:lnTo>
                      <a:pt x="443" y="56"/>
                    </a:lnTo>
                    <a:lnTo>
                      <a:pt x="445" y="56"/>
                    </a:lnTo>
                    <a:lnTo>
                      <a:pt x="443" y="54"/>
                    </a:lnTo>
                    <a:lnTo>
                      <a:pt x="443" y="52"/>
                    </a:lnTo>
                    <a:lnTo>
                      <a:pt x="445" y="52"/>
                    </a:lnTo>
                    <a:lnTo>
                      <a:pt x="447" y="50"/>
                    </a:lnTo>
                    <a:lnTo>
                      <a:pt x="449" y="50"/>
                    </a:lnTo>
                    <a:lnTo>
                      <a:pt x="451" y="50"/>
                    </a:lnTo>
                    <a:lnTo>
                      <a:pt x="449" y="48"/>
                    </a:lnTo>
                    <a:lnTo>
                      <a:pt x="449" y="46"/>
                    </a:lnTo>
                    <a:lnTo>
                      <a:pt x="449" y="44"/>
                    </a:lnTo>
                    <a:lnTo>
                      <a:pt x="447" y="43"/>
                    </a:lnTo>
                    <a:lnTo>
                      <a:pt x="449" y="41"/>
                    </a:lnTo>
                    <a:lnTo>
                      <a:pt x="449" y="39"/>
                    </a:lnTo>
                    <a:lnTo>
                      <a:pt x="447" y="35"/>
                    </a:lnTo>
                    <a:lnTo>
                      <a:pt x="449" y="35"/>
                    </a:lnTo>
                    <a:lnTo>
                      <a:pt x="451" y="35"/>
                    </a:lnTo>
                    <a:lnTo>
                      <a:pt x="453" y="37"/>
                    </a:lnTo>
                    <a:lnTo>
                      <a:pt x="455" y="39"/>
                    </a:lnTo>
                    <a:lnTo>
                      <a:pt x="457" y="43"/>
                    </a:lnTo>
                    <a:lnTo>
                      <a:pt x="461" y="44"/>
                    </a:lnTo>
                    <a:lnTo>
                      <a:pt x="463" y="46"/>
                    </a:lnTo>
                    <a:lnTo>
                      <a:pt x="464" y="46"/>
                    </a:lnTo>
                    <a:lnTo>
                      <a:pt x="464" y="48"/>
                    </a:lnTo>
                    <a:lnTo>
                      <a:pt x="464" y="46"/>
                    </a:lnTo>
                    <a:lnTo>
                      <a:pt x="466" y="46"/>
                    </a:lnTo>
                    <a:lnTo>
                      <a:pt x="466" y="44"/>
                    </a:lnTo>
                    <a:lnTo>
                      <a:pt x="470" y="46"/>
                    </a:lnTo>
                    <a:lnTo>
                      <a:pt x="472" y="48"/>
                    </a:lnTo>
                    <a:lnTo>
                      <a:pt x="474" y="48"/>
                    </a:lnTo>
                    <a:lnTo>
                      <a:pt x="476" y="48"/>
                    </a:lnTo>
                    <a:lnTo>
                      <a:pt x="476" y="46"/>
                    </a:lnTo>
                    <a:lnTo>
                      <a:pt x="478" y="44"/>
                    </a:lnTo>
                    <a:lnTo>
                      <a:pt x="480" y="46"/>
                    </a:lnTo>
                    <a:lnTo>
                      <a:pt x="482" y="48"/>
                    </a:lnTo>
                    <a:lnTo>
                      <a:pt x="482" y="50"/>
                    </a:lnTo>
                    <a:lnTo>
                      <a:pt x="484" y="50"/>
                    </a:lnTo>
                    <a:lnTo>
                      <a:pt x="484" y="52"/>
                    </a:lnTo>
                    <a:lnTo>
                      <a:pt x="486" y="52"/>
                    </a:lnTo>
                    <a:lnTo>
                      <a:pt x="488" y="52"/>
                    </a:lnTo>
                    <a:lnTo>
                      <a:pt x="489" y="52"/>
                    </a:lnTo>
                    <a:lnTo>
                      <a:pt x="491" y="52"/>
                    </a:lnTo>
                    <a:lnTo>
                      <a:pt x="493" y="50"/>
                    </a:lnTo>
                    <a:lnTo>
                      <a:pt x="493" y="48"/>
                    </a:lnTo>
                    <a:lnTo>
                      <a:pt x="493" y="46"/>
                    </a:lnTo>
                    <a:lnTo>
                      <a:pt x="491" y="44"/>
                    </a:lnTo>
                    <a:lnTo>
                      <a:pt x="493" y="43"/>
                    </a:lnTo>
                    <a:lnTo>
                      <a:pt x="493" y="41"/>
                    </a:lnTo>
                    <a:lnTo>
                      <a:pt x="495" y="41"/>
                    </a:lnTo>
                    <a:lnTo>
                      <a:pt x="493" y="41"/>
                    </a:lnTo>
                    <a:lnTo>
                      <a:pt x="493" y="39"/>
                    </a:lnTo>
                    <a:lnTo>
                      <a:pt x="495" y="39"/>
                    </a:lnTo>
                    <a:lnTo>
                      <a:pt x="495" y="37"/>
                    </a:lnTo>
                    <a:lnTo>
                      <a:pt x="495" y="35"/>
                    </a:lnTo>
                    <a:lnTo>
                      <a:pt x="495" y="37"/>
                    </a:lnTo>
                    <a:lnTo>
                      <a:pt x="497" y="37"/>
                    </a:lnTo>
                    <a:lnTo>
                      <a:pt x="499" y="37"/>
                    </a:lnTo>
                    <a:lnTo>
                      <a:pt x="501" y="37"/>
                    </a:lnTo>
                    <a:lnTo>
                      <a:pt x="499" y="37"/>
                    </a:lnTo>
                    <a:lnTo>
                      <a:pt x="499" y="35"/>
                    </a:lnTo>
                    <a:lnTo>
                      <a:pt x="499" y="33"/>
                    </a:lnTo>
                    <a:lnTo>
                      <a:pt x="501" y="33"/>
                    </a:lnTo>
                    <a:lnTo>
                      <a:pt x="499" y="31"/>
                    </a:lnTo>
                    <a:lnTo>
                      <a:pt x="499" y="29"/>
                    </a:lnTo>
                    <a:lnTo>
                      <a:pt x="501" y="29"/>
                    </a:lnTo>
                    <a:lnTo>
                      <a:pt x="503" y="29"/>
                    </a:lnTo>
                    <a:lnTo>
                      <a:pt x="501" y="31"/>
                    </a:lnTo>
                    <a:lnTo>
                      <a:pt x="503" y="31"/>
                    </a:lnTo>
                    <a:lnTo>
                      <a:pt x="503" y="29"/>
                    </a:lnTo>
                    <a:lnTo>
                      <a:pt x="505" y="29"/>
                    </a:lnTo>
                    <a:lnTo>
                      <a:pt x="507" y="27"/>
                    </a:lnTo>
                    <a:lnTo>
                      <a:pt x="509" y="27"/>
                    </a:lnTo>
                    <a:lnTo>
                      <a:pt x="509" y="25"/>
                    </a:lnTo>
                    <a:lnTo>
                      <a:pt x="511" y="25"/>
                    </a:lnTo>
                    <a:lnTo>
                      <a:pt x="512" y="25"/>
                    </a:lnTo>
                    <a:lnTo>
                      <a:pt x="511" y="23"/>
                    </a:lnTo>
                    <a:lnTo>
                      <a:pt x="512" y="23"/>
                    </a:lnTo>
                    <a:lnTo>
                      <a:pt x="512" y="25"/>
                    </a:lnTo>
                    <a:lnTo>
                      <a:pt x="512" y="23"/>
                    </a:lnTo>
                    <a:lnTo>
                      <a:pt x="514" y="23"/>
                    </a:lnTo>
                    <a:lnTo>
                      <a:pt x="516" y="23"/>
                    </a:lnTo>
                    <a:lnTo>
                      <a:pt x="514" y="23"/>
                    </a:lnTo>
                    <a:lnTo>
                      <a:pt x="516" y="23"/>
                    </a:lnTo>
                    <a:lnTo>
                      <a:pt x="516" y="21"/>
                    </a:lnTo>
                    <a:lnTo>
                      <a:pt x="516" y="23"/>
                    </a:lnTo>
                    <a:lnTo>
                      <a:pt x="516" y="25"/>
                    </a:lnTo>
                    <a:lnTo>
                      <a:pt x="518" y="25"/>
                    </a:lnTo>
                    <a:lnTo>
                      <a:pt x="520" y="25"/>
                    </a:lnTo>
                    <a:lnTo>
                      <a:pt x="520" y="27"/>
                    </a:lnTo>
                    <a:lnTo>
                      <a:pt x="526" y="27"/>
                    </a:lnTo>
                    <a:lnTo>
                      <a:pt x="526" y="25"/>
                    </a:lnTo>
                    <a:lnTo>
                      <a:pt x="526" y="23"/>
                    </a:lnTo>
                    <a:lnTo>
                      <a:pt x="528" y="21"/>
                    </a:lnTo>
                    <a:lnTo>
                      <a:pt x="530" y="21"/>
                    </a:lnTo>
                    <a:lnTo>
                      <a:pt x="530" y="23"/>
                    </a:lnTo>
                    <a:lnTo>
                      <a:pt x="532" y="23"/>
                    </a:lnTo>
                    <a:lnTo>
                      <a:pt x="534" y="23"/>
                    </a:lnTo>
                    <a:lnTo>
                      <a:pt x="536" y="23"/>
                    </a:lnTo>
                    <a:lnTo>
                      <a:pt x="536" y="21"/>
                    </a:lnTo>
                    <a:lnTo>
                      <a:pt x="537" y="21"/>
                    </a:lnTo>
                    <a:lnTo>
                      <a:pt x="539" y="21"/>
                    </a:lnTo>
                    <a:lnTo>
                      <a:pt x="539" y="19"/>
                    </a:lnTo>
                    <a:lnTo>
                      <a:pt x="541" y="19"/>
                    </a:lnTo>
                    <a:lnTo>
                      <a:pt x="541" y="18"/>
                    </a:lnTo>
                    <a:lnTo>
                      <a:pt x="543" y="18"/>
                    </a:lnTo>
                    <a:lnTo>
                      <a:pt x="543" y="19"/>
                    </a:lnTo>
                    <a:lnTo>
                      <a:pt x="545" y="19"/>
                    </a:lnTo>
                    <a:lnTo>
                      <a:pt x="545" y="18"/>
                    </a:lnTo>
                    <a:lnTo>
                      <a:pt x="547" y="19"/>
                    </a:lnTo>
                    <a:lnTo>
                      <a:pt x="549" y="19"/>
                    </a:lnTo>
                    <a:lnTo>
                      <a:pt x="549" y="18"/>
                    </a:lnTo>
                    <a:lnTo>
                      <a:pt x="549" y="16"/>
                    </a:lnTo>
                    <a:lnTo>
                      <a:pt x="549" y="14"/>
                    </a:lnTo>
                    <a:lnTo>
                      <a:pt x="549" y="12"/>
                    </a:lnTo>
                    <a:lnTo>
                      <a:pt x="547" y="12"/>
                    </a:lnTo>
                    <a:lnTo>
                      <a:pt x="547" y="10"/>
                    </a:lnTo>
                    <a:lnTo>
                      <a:pt x="547" y="8"/>
                    </a:lnTo>
                    <a:lnTo>
                      <a:pt x="549" y="8"/>
                    </a:lnTo>
                    <a:lnTo>
                      <a:pt x="551" y="8"/>
                    </a:lnTo>
                    <a:lnTo>
                      <a:pt x="553" y="8"/>
                    </a:lnTo>
                    <a:lnTo>
                      <a:pt x="551" y="8"/>
                    </a:lnTo>
                    <a:lnTo>
                      <a:pt x="551" y="6"/>
                    </a:lnTo>
                    <a:lnTo>
                      <a:pt x="551" y="8"/>
                    </a:lnTo>
                    <a:lnTo>
                      <a:pt x="553" y="8"/>
                    </a:lnTo>
                    <a:lnTo>
                      <a:pt x="553" y="6"/>
                    </a:lnTo>
                    <a:lnTo>
                      <a:pt x="555" y="6"/>
                    </a:lnTo>
                    <a:lnTo>
                      <a:pt x="555" y="4"/>
                    </a:lnTo>
                    <a:lnTo>
                      <a:pt x="555" y="6"/>
                    </a:lnTo>
                    <a:lnTo>
                      <a:pt x="557" y="6"/>
                    </a:lnTo>
                    <a:lnTo>
                      <a:pt x="559" y="6"/>
                    </a:lnTo>
                    <a:lnTo>
                      <a:pt x="559" y="4"/>
                    </a:lnTo>
                    <a:lnTo>
                      <a:pt x="559" y="6"/>
                    </a:lnTo>
                    <a:lnTo>
                      <a:pt x="559" y="4"/>
                    </a:lnTo>
                    <a:lnTo>
                      <a:pt x="561" y="4"/>
                    </a:lnTo>
                    <a:lnTo>
                      <a:pt x="561" y="6"/>
                    </a:lnTo>
                    <a:lnTo>
                      <a:pt x="561" y="8"/>
                    </a:lnTo>
                    <a:lnTo>
                      <a:pt x="561" y="6"/>
                    </a:lnTo>
                    <a:lnTo>
                      <a:pt x="562" y="6"/>
                    </a:lnTo>
                    <a:lnTo>
                      <a:pt x="561" y="6"/>
                    </a:lnTo>
                    <a:lnTo>
                      <a:pt x="561" y="8"/>
                    </a:lnTo>
                    <a:lnTo>
                      <a:pt x="561" y="10"/>
                    </a:lnTo>
                    <a:lnTo>
                      <a:pt x="562" y="10"/>
                    </a:lnTo>
                    <a:lnTo>
                      <a:pt x="562" y="8"/>
                    </a:lnTo>
                    <a:lnTo>
                      <a:pt x="564" y="8"/>
                    </a:lnTo>
                    <a:lnTo>
                      <a:pt x="562" y="8"/>
                    </a:lnTo>
                    <a:lnTo>
                      <a:pt x="564" y="8"/>
                    </a:lnTo>
                    <a:lnTo>
                      <a:pt x="566" y="8"/>
                    </a:lnTo>
                    <a:lnTo>
                      <a:pt x="566" y="6"/>
                    </a:lnTo>
                    <a:lnTo>
                      <a:pt x="564" y="6"/>
                    </a:lnTo>
                    <a:lnTo>
                      <a:pt x="566" y="6"/>
                    </a:lnTo>
                    <a:lnTo>
                      <a:pt x="566" y="4"/>
                    </a:lnTo>
                    <a:lnTo>
                      <a:pt x="564" y="4"/>
                    </a:lnTo>
                    <a:lnTo>
                      <a:pt x="564" y="2"/>
                    </a:lnTo>
                    <a:lnTo>
                      <a:pt x="566" y="0"/>
                    </a:lnTo>
                    <a:lnTo>
                      <a:pt x="566" y="2"/>
                    </a:lnTo>
                    <a:lnTo>
                      <a:pt x="566" y="0"/>
                    </a:lnTo>
                    <a:lnTo>
                      <a:pt x="568" y="0"/>
                    </a:lnTo>
                    <a:lnTo>
                      <a:pt x="570" y="0"/>
                    </a:lnTo>
                    <a:lnTo>
                      <a:pt x="572" y="0"/>
                    </a:lnTo>
                    <a:lnTo>
                      <a:pt x="574" y="0"/>
                    </a:lnTo>
                    <a:lnTo>
                      <a:pt x="576" y="0"/>
                    </a:lnTo>
                    <a:lnTo>
                      <a:pt x="576" y="2"/>
                    </a:lnTo>
                    <a:lnTo>
                      <a:pt x="576" y="4"/>
                    </a:lnTo>
                    <a:lnTo>
                      <a:pt x="578" y="4"/>
                    </a:lnTo>
                    <a:lnTo>
                      <a:pt x="580" y="4"/>
                    </a:lnTo>
                    <a:lnTo>
                      <a:pt x="582" y="6"/>
                    </a:lnTo>
                    <a:lnTo>
                      <a:pt x="584" y="6"/>
                    </a:lnTo>
                    <a:lnTo>
                      <a:pt x="585" y="6"/>
                    </a:lnTo>
                    <a:lnTo>
                      <a:pt x="587" y="6"/>
                    </a:lnTo>
                    <a:lnTo>
                      <a:pt x="587" y="8"/>
                    </a:lnTo>
                    <a:lnTo>
                      <a:pt x="587" y="10"/>
                    </a:lnTo>
                    <a:lnTo>
                      <a:pt x="585" y="10"/>
                    </a:lnTo>
                    <a:lnTo>
                      <a:pt x="584" y="10"/>
                    </a:lnTo>
                    <a:lnTo>
                      <a:pt x="582" y="10"/>
                    </a:lnTo>
                    <a:lnTo>
                      <a:pt x="580" y="10"/>
                    </a:lnTo>
                    <a:lnTo>
                      <a:pt x="578" y="10"/>
                    </a:lnTo>
                    <a:lnTo>
                      <a:pt x="578" y="12"/>
                    </a:lnTo>
                    <a:lnTo>
                      <a:pt x="578" y="14"/>
                    </a:lnTo>
                    <a:lnTo>
                      <a:pt x="580" y="14"/>
                    </a:lnTo>
                    <a:lnTo>
                      <a:pt x="584" y="16"/>
                    </a:lnTo>
                    <a:lnTo>
                      <a:pt x="584" y="18"/>
                    </a:lnTo>
                    <a:lnTo>
                      <a:pt x="585" y="18"/>
                    </a:lnTo>
                    <a:lnTo>
                      <a:pt x="587" y="18"/>
                    </a:lnTo>
                    <a:lnTo>
                      <a:pt x="587" y="16"/>
                    </a:lnTo>
                    <a:lnTo>
                      <a:pt x="589" y="16"/>
                    </a:lnTo>
                    <a:lnTo>
                      <a:pt x="589" y="18"/>
                    </a:lnTo>
                    <a:lnTo>
                      <a:pt x="589" y="16"/>
                    </a:lnTo>
                    <a:lnTo>
                      <a:pt x="591" y="16"/>
                    </a:lnTo>
                    <a:lnTo>
                      <a:pt x="591" y="14"/>
                    </a:lnTo>
                    <a:lnTo>
                      <a:pt x="593" y="12"/>
                    </a:lnTo>
                    <a:lnTo>
                      <a:pt x="593" y="10"/>
                    </a:lnTo>
                    <a:lnTo>
                      <a:pt x="593" y="8"/>
                    </a:lnTo>
                    <a:lnTo>
                      <a:pt x="593" y="6"/>
                    </a:lnTo>
                    <a:lnTo>
                      <a:pt x="593" y="4"/>
                    </a:lnTo>
                    <a:lnTo>
                      <a:pt x="595" y="4"/>
                    </a:lnTo>
                    <a:lnTo>
                      <a:pt x="597" y="6"/>
                    </a:lnTo>
                    <a:lnTo>
                      <a:pt x="599" y="4"/>
                    </a:lnTo>
                    <a:lnTo>
                      <a:pt x="601" y="0"/>
                    </a:lnTo>
                    <a:lnTo>
                      <a:pt x="601"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6" name="Freeform 128">
                <a:extLst>
                  <a:ext uri="{FF2B5EF4-FFF2-40B4-BE49-F238E27FC236}">
                    <a16:creationId xmlns:a16="http://schemas.microsoft.com/office/drawing/2014/main" id="{B1488FE5-20BA-432B-9EA1-C5B995138D79}"/>
                  </a:ext>
                </a:extLst>
              </p:cNvPr>
              <p:cNvSpPr>
                <a:spLocks/>
              </p:cNvSpPr>
              <p:nvPr/>
            </p:nvSpPr>
            <p:spPr bwMode="auto">
              <a:xfrm>
                <a:off x="2499299" y="2893779"/>
                <a:ext cx="985386" cy="888926"/>
              </a:xfrm>
              <a:custGeom>
                <a:avLst/>
                <a:gdLst>
                  <a:gd name="T0" fmla="*/ 213 w 664"/>
                  <a:gd name="T1" fmla="*/ 29 h 599"/>
                  <a:gd name="T2" fmla="*/ 246 w 664"/>
                  <a:gd name="T3" fmla="*/ 46 h 599"/>
                  <a:gd name="T4" fmla="*/ 269 w 664"/>
                  <a:gd name="T5" fmla="*/ 73 h 599"/>
                  <a:gd name="T6" fmla="*/ 261 w 664"/>
                  <a:gd name="T7" fmla="*/ 106 h 599"/>
                  <a:gd name="T8" fmla="*/ 280 w 664"/>
                  <a:gd name="T9" fmla="*/ 136 h 599"/>
                  <a:gd name="T10" fmla="*/ 313 w 664"/>
                  <a:gd name="T11" fmla="*/ 134 h 599"/>
                  <a:gd name="T12" fmla="*/ 326 w 664"/>
                  <a:gd name="T13" fmla="*/ 173 h 599"/>
                  <a:gd name="T14" fmla="*/ 355 w 664"/>
                  <a:gd name="T15" fmla="*/ 182 h 599"/>
                  <a:gd name="T16" fmla="*/ 382 w 664"/>
                  <a:gd name="T17" fmla="*/ 202 h 599"/>
                  <a:gd name="T18" fmla="*/ 419 w 664"/>
                  <a:gd name="T19" fmla="*/ 213 h 599"/>
                  <a:gd name="T20" fmla="*/ 442 w 664"/>
                  <a:gd name="T21" fmla="*/ 236 h 599"/>
                  <a:gd name="T22" fmla="*/ 469 w 664"/>
                  <a:gd name="T23" fmla="*/ 259 h 599"/>
                  <a:gd name="T24" fmla="*/ 480 w 664"/>
                  <a:gd name="T25" fmla="*/ 290 h 599"/>
                  <a:gd name="T26" fmla="*/ 509 w 664"/>
                  <a:gd name="T27" fmla="*/ 307 h 599"/>
                  <a:gd name="T28" fmla="*/ 499 w 664"/>
                  <a:gd name="T29" fmla="*/ 338 h 599"/>
                  <a:gd name="T30" fmla="*/ 524 w 664"/>
                  <a:gd name="T31" fmla="*/ 332 h 599"/>
                  <a:gd name="T32" fmla="*/ 559 w 664"/>
                  <a:gd name="T33" fmla="*/ 326 h 599"/>
                  <a:gd name="T34" fmla="*/ 559 w 664"/>
                  <a:gd name="T35" fmla="*/ 355 h 599"/>
                  <a:gd name="T36" fmla="*/ 563 w 664"/>
                  <a:gd name="T37" fmla="*/ 394 h 599"/>
                  <a:gd name="T38" fmla="*/ 591 w 664"/>
                  <a:gd name="T39" fmla="*/ 403 h 599"/>
                  <a:gd name="T40" fmla="*/ 615 w 664"/>
                  <a:gd name="T41" fmla="*/ 409 h 599"/>
                  <a:gd name="T42" fmla="*/ 634 w 664"/>
                  <a:gd name="T43" fmla="*/ 440 h 599"/>
                  <a:gd name="T44" fmla="*/ 641 w 664"/>
                  <a:gd name="T45" fmla="*/ 465 h 599"/>
                  <a:gd name="T46" fmla="*/ 643 w 664"/>
                  <a:gd name="T47" fmla="*/ 495 h 599"/>
                  <a:gd name="T48" fmla="*/ 651 w 664"/>
                  <a:gd name="T49" fmla="*/ 526 h 599"/>
                  <a:gd name="T50" fmla="*/ 661 w 664"/>
                  <a:gd name="T51" fmla="*/ 561 h 599"/>
                  <a:gd name="T52" fmla="*/ 636 w 664"/>
                  <a:gd name="T53" fmla="*/ 589 h 599"/>
                  <a:gd name="T54" fmla="*/ 590 w 664"/>
                  <a:gd name="T55" fmla="*/ 588 h 599"/>
                  <a:gd name="T56" fmla="*/ 555 w 664"/>
                  <a:gd name="T57" fmla="*/ 597 h 599"/>
                  <a:gd name="T58" fmla="*/ 528 w 664"/>
                  <a:gd name="T59" fmla="*/ 588 h 599"/>
                  <a:gd name="T60" fmla="*/ 501 w 664"/>
                  <a:gd name="T61" fmla="*/ 568 h 599"/>
                  <a:gd name="T62" fmla="*/ 472 w 664"/>
                  <a:gd name="T63" fmla="*/ 557 h 599"/>
                  <a:gd name="T64" fmla="*/ 436 w 664"/>
                  <a:gd name="T65" fmla="*/ 559 h 599"/>
                  <a:gd name="T66" fmla="*/ 415 w 664"/>
                  <a:gd name="T67" fmla="*/ 532 h 599"/>
                  <a:gd name="T68" fmla="*/ 380 w 664"/>
                  <a:gd name="T69" fmla="*/ 520 h 599"/>
                  <a:gd name="T70" fmla="*/ 350 w 664"/>
                  <a:gd name="T71" fmla="*/ 515 h 599"/>
                  <a:gd name="T72" fmla="*/ 325 w 664"/>
                  <a:gd name="T73" fmla="*/ 515 h 599"/>
                  <a:gd name="T74" fmla="*/ 302 w 664"/>
                  <a:gd name="T75" fmla="*/ 488 h 599"/>
                  <a:gd name="T76" fmla="*/ 288 w 664"/>
                  <a:gd name="T77" fmla="*/ 465 h 599"/>
                  <a:gd name="T78" fmla="*/ 267 w 664"/>
                  <a:gd name="T79" fmla="*/ 451 h 599"/>
                  <a:gd name="T80" fmla="*/ 240 w 664"/>
                  <a:gd name="T81" fmla="*/ 463 h 599"/>
                  <a:gd name="T82" fmla="*/ 221 w 664"/>
                  <a:gd name="T83" fmla="*/ 486 h 599"/>
                  <a:gd name="T84" fmla="*/ 184 w 664"/>
                  <a:gd name="T85" fmla="*/ 472 h 599"/>
                  <a:gd name="T86" fmla="*/ 175 w 664"/>
                  <a:gd name="T87" fmla="*/ 495 h 599"/>
                  <a:gd name="T88" fmla="*/ 163 w 664"/>
                  <a:gd name="T89" fmla="*/ 486 h 599"/>
                  <a:gd name="T90" fmla="*/ 173 w 664"/>
                  <a:gd name="T91" fmla="*/ 463 h 599"/>
                  <a:gd name="T92" fmla="*/ 165 w 664"/>
                  <a:gd name="T93" fmla="*/ 434 h 599"/>
                  <a:gd name="T94" fmla="*/ 150 w 664"/>
                  <a:gd name="T95" fmla="*/ 422 h 599"/>
                  <a:gd name="T96" fmla="*/ 117 w 664"/>
                  <a:gd name="T97" fmla="*/ 424 h 599"/>
                  <a:gd name="T98" fmla="*/ 102 w 664"/>
                  <a:gd name="T99" fmla="*/ 399 h 599"/>
                  <a:gd name="T100" fmla="*/ 90 w 664"/>
                  <a:gd name="T101" fmla="*/ 365 h 599"/>
                  <a:gd name="T102" fmla="*/ 69 w 664"/>
                  <a:gd name="T103" fmla="*/ 348 h 599"/>
                  <a:gd name="T104" fmla="*/ 44 w 664"/>
                  <a:gd name="T105" fmla="*/ 326 h 599"/>
                  <a:gd name="T106" fmla="*/ 38 w 664"/>
                  <a:gd name="T107" fmla="*/ 292 h 599"/>
                  <a:gd name="T108" fmla="*/ 23 w 664"/>
                  <a:gd name="T109" fmla="*/ 261 h 599"/>
                  <a:gd name="T110" fmla="*/ 4 w 664"/>
                  <a:gd name="T111" fmla="*/ 246 h 599"/>
                  <a:gd name="T112" fmla="*/ 21 w 664"/>
                  <a:gd name="T113" fmla="*/ 196 h 599"/>
                  <a:gd name="T114" fmla="*/ 58 w 664"/>
                  <a:gd name="T115" fmla="*/ 167 h 599"/>
                  <a:gd name="T116" fmla="*/ 90 w 664"/>
                  <a:gd name="T117" fmla="*/ 142 h 599"/>
                  <a:gd name="T118" fmla="*/ 104 w 664"/>
                  <a:gd name="T119" fmla="*/ 113 h 599"/>
                  <a:gd name="T120" fmla="*/ 125 w 664"/>
                  <a:gd name="T121" fmla="*/ 71 h 599"/>
                  <a:gd name="T122" fmla="*/ 157 w 664"/>
                  <a:gd name="T123" fmla="*/ 37 h 599"/>
                  <a:gd name="T124" fmla="*/ 182 w 664"/>
                  <a:gd name="T125" fmla="*/ 6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4" h="599">
                    <a:moveTo>
                      <a:pt x="188" y="2"/>
                    </a:moveTo>
                    <a:lnTo>
                      <a:pt x="190" y="2"/>
                    </a:lnTo>
                    <a:lnTo>
                      <a:pt x="192" y="4"/>
                    </a:lnTo>
                    <a:lnTo>
                      <a:pt x="192" y="6"/>
                    </a:lnTo>
                    <a:lnTo>
                      <a:pt x="192" y="8"/>
                    </a:lnTo>
                    <a:lnTo>
                      <a:pt x="194" y="8"/>
                    </a:lnTo>
                    <a:lnTo>
                      <a:pt x="196" y="8"/>
                    </a:lnTo>
                    <a:lnTo>
                      <a:pt x="196" y="10"/>
                    </a:lnTo>
                    <a:lnTo>
                      <a:pt x="198" y="10"/>
                    </a:lnTo>
                    <a:lnTo>
                      <a:pt x="198" y="12"/>
                    </a:lnTo>
                    <a:lnTo>
                      <a:pt x="200" y="13"/>
                    </a:lnTo>
                    <a:lnTo>
                      <a:pt x="200" y="15"/>
                    </a:lnTo>
                    <a:lnTo>
                      <a:pt x="200" y="17"/>
                    </a:lnTo>
                    <a:lnTo>
                      <a:pt x="200" y="19"/>
                    </a:lnTo>
                    <a:lnTo>
                      <a:pt x="200" y="21"/>
                    </a:lnTo>
                    <a:lnTo>
                      <a:pt x="202" y="21"/>
                    </a:lnTo>
                    <a:lnTo>
                      <a:pt x="202" y="23"/>
                    </a:lnTo>
                    <a:lnTo>
                      <a:pt x="202" y="25"/>
                    </a:lnTo>
                    <a:lnTo>
                      <a:pt x="204" y="25"/>
                    </a:lnTo>
                    <a:lnTo>
                      <a:pt x="204" y="27"/>
                    </a:lnTo>
                    <a:lnTo>
                      <a:pt x="205" y="27"/>
                    </a:lnTo>
                    <a:lnTo>
                      <a:pt x="207" y="27"/>
                    </a:lnTo>
                    <a:lnTo>
                      <a:pt x="207" y="29"/>
                    </a:lnTo>
                    <a:lnTo>
                      <a:pt x="207" y="31"/>
                    </a:lnTo>
                    <a:lnTo>
                      <a:pt x="209" y="31"/>
                    </a:lnTo>
                    <a:lnTo>
                      <a:pt x="211" y="31"/>
                    </a:lnTo>
                    <a:lnTo>
                      <a:pt x="213" y="31"/>
                    </a:lnTo>
                    <a:lnTo>
                      <a:pt x="213" y="29"/>
                    </a:lnTo>
                    <a:lnTo>
                      <a:pt x="215" y="29"/>
                    </a:lnTo>
                    <a:lnTo>
                      <a:pt x="217" y="29"/>
                    </a:lnTo>
                    <a:lnTo>
                      <a:pt x="219" y="29"/>
                    </a:lnTo>
                    <a:lnTo>
                      <a:pt x="221" y="27"/>
                    </a:lnTo>
                    <a:lnTo>
                      <a:pt x="221" y="29"/>
                    </a:lnTo>
                    <a:lnTo>
                      <a:pt x="223" y="29"/>
                    </a:lnTo>
                    <a:lnTo>
                      <a:pt x="223" y="31"/>
                    </a:lnTo>
                    <a:lnTo>
                      <a:pt x="225" y="31"/>
                    </a:lnTo>
                    <a:lnTo>
                      <a:pt x="227" y="31"/>
                    </a:lnTo>
                    <a:lnTo>
                      <a:pt x="227" y="33"/>
                    </a:lnTo>
                    <a:lnTo>
                      <a:pt x="229" y="33"/>
                    </a:lnTo>
                    <a:lnTo>
                      <a:pt x="229" y="35"/>
                    </a:lnTo>
                    <a:lnTo>
                      <a:pt x="230" y="35"/>
                    </a:lnTo>
                    <a:lnTo>
                      <a:pt x="230" y="33"/>
                    </a:lnTo>
                    <a:lnTo>
                      <a:pt x="232" y="33"/>
                    </a:lnTo>
                    <a:lnTo>
                      <a:pt x="232" y="31"/>
                    </a:lnTo>
                    <a:lnTo>
                      <a:pt x="234" y="31"/>
                    </a:lnTo>
                    <a:lnTo>
                      <a:pt x="236" y="31"/>
                    </a:lnTo>
                    <a:lnTo>
                      <a:pt x="236" y="33"/>
                    </a:lnTo>
                    <a:lnTo>
                      <a:pt x="238" y="35"/>
                    </a:lnTo>
                    <a:lnTo>
                      <a:pt x="240" y="35"/>
                    </a:lnTo>
                    <a:lnTo>
                      <a:pt x="240" y="37"/>
                    </a:lnTo>
                    <a:lnTo>
                      <a:pt x="240" y="38"/>
                    </a:lnTo>
                    <a:lnTo>
                      <a:pt x="242" y="40"/>
                    </a:lnTo>
                    <a:lnTo>
                      <a:pt x="244" y="40"/>
                    </a:lnTo>
                    <a:lnTo>
                      <a:pt x="244" y="42"/>
                    </a:lnTo>
                    <a:lnTo>
                      <a:pt x="244" y="44"/>
                    </a:lnTo>
                    <a:lnTo>
                      <a:pt x="246" y="46"/>
                    </a:lnTo>
                    <a:lnTo>
                      <a:pt x="248" y="46"/>
                    </a:lnTo>
                    <a:lnTo>
                      <a:pt x="250" y="46"/>
                    </a:lnTo>
                    <a:lnTo>
                      <a:pt x="250" y="48"/>
                    </a:lnTo>
                    <a:lnTo>
                      <a:pt x="252" y="48"/>
                    </a:lnTo>
                    <a:lnTo>
                      <a:pt x="252" y="50"/>
                    </a:lnTo>
                    <a:lnTo>
                      <a:pt x="252" y="52"/>
                    </a:lnTo>
                    <a:lnTo>
                      <a:pt x="252" y="54"/>
                    </a:lnTo>
                    <a:lnTo>
                      <a:pt x="252" y="56"/>
                    </a:lnTo>
                    <a:lnTo>
                      <a:pt x="253" y="56"/>
                    </a:lnTo>
                    <a:lnTo>
                      <a:pt x="253" y="58"/>
                    </a:lnTo>
                    <a:lnTo>
                      <a:pt x="255" y="58"/>
                    </a:lnTo>
                    <a:lnTo>
                      <a:pt x="257" y="58"/>
                    </a:lnTo>
                    <a:lnTo>
                      <a:pt x="259" y="58"/>
                    </a:lnTo>
                    <a:lnTo>
                      <a:pt x="259" y="60"/>
                    </a:lnTo>
                    <a:lnTo>
                      <a:pt x="261" y="60"/>
                    </a:lnTo>
                    <a:lnTo>
                      <a:pt x="263" y="60"/>
                    </a:lnTo>
                    <a:lnTo>
                      <a:pt x="265" y="60"/>
                    </a:lnTo>
                    <a:lnTo>
                      <a:pt x="265" y="58"/>
                    </a:lnTo>
                    <a:lnTo>
                      <a:pt x="265" y="60"/>
                    </a:lnTo>
                    <a:lnTo>
                      <a:pt x="267" y="60"/>
                    </a:lnTo>
                    <a:lnTo>
                      <a:pt x="267" y="61"/>
                    </a:lnTo>
                    <a:lnTo>
                      <a:pt x="267" y="63"/>
                    </a:lnTo>
                    <a:lnTo>
                      <a:pt x="269" y="63"/>
                    </a:lnTo>
                    <a:lnTo>
                      <a:pt x="269" y="65"/>
                    </a:lnTo>
                    <a:lnTo>
                      <a:pt x="269" y="67"/>
                    </a:lnTo>
                    <a:lnTo>
                      <a:pt x="269" y="69"/>
                    </a:lnTo>
                    <a:lnTo>
                      <a:pt x="269" y="71"/>
                    </a:lnTo>
                    <a:lnTo>
                      <a:pt x="269" y="73"/>
                    </a:lnTo>
                    <a:lnTo>
                      <a:pt x="269" y="75"/>
                    </a:lnTo>
                    <a:lnTo>
                      <a:pt x="267" y="75"/>
                    </a:lnTo>
                    <a:lnTo>
                      <a:pt x="265" y="75"/>
                    </a:lnTo>
                    <a:lnTo>
                      <a:pt x="263" y="73"/>
                    </a:lnTo>
                    <a:lnTo>
                      <a:pt x="263" y="75"/>
                    </a:lnTo>
                    <a:lnTo>
                      <a:pt x="261" y="75"/>
                    </a:lnTo>
                    <a:lnTo>
                      <a:pt x="259" y="75"/>
                    </a:lnTo>
                    <a:lnTo>
                      <a:pt x="259" y="77"/>
                    </a:lnTo>
                    <a:lnTo>
                      <a:pt x="257" y="77"/>
                    </a:lnTo>
                    <a:lnTo>
                      <a:pt x="255" y="77"/>
                    </a:lnTo>
                    <a:lnTo>
                      <a:pt x="253" y="77"/>
                    </a:lnTo>
                    <a:lnTo>
                      <a:pt x="253" y="79"/>
                    </a:lnTo>
                    <a:lnTo>
                      <a:pt x="253" y="81"/>
                    </a:lnTo>
                    <a:lnTo>
                      <a:pt x="253" y="83"/>
                    </a:lnTo>
                    <a:lnTo>
                      <a:pt x="253" y="85"/>
                    </a:lnTo>
                    <a:lnTo>
                      <a:pt x="253" y="86"/>
                    </a:lnTo>
                    <a:lnTo>
                      <a:pt x="253" y="88"/>
                    </a:lnTo>
                    <a:lnTo>
                      <a:pt x="255" y="90"/>
                    </a:lnTo>
                    <a:lnTo>
                      <a:pt x="255" y="92"/>
                    </a:lnTo>
                    <a:lnTo>
                      <a:pt x="255" y="94"/>
                    </a:lnTo>
                    <a:lnTo>
                      <a:pt x="255" y="96"/>
                    </a:lnTo>
                    <a:lnTo>
                      <a:pt x="255" y="98"/>
                    </a:lnTo>
                    <a:lnTo>
                      <a:pt x="255" y="100"/>
                    </a:lnTo>
                    <a:lnTo>
                      <a:pt x="257" y="100"/>
                    </a:lnTo>
                    <a:lnTo>
                      <a:pt x="257" y="102"/>
                    </a:lnTo>
                    <a:lnTo>
                      <a:pt x="259" y="102"/>
                    </a:lnTo>
                    <a:lnTo>
                      <a:pt x="259" y="104"/>
                    </a:lnTo>
                    <a:lnTo>
                      <a:pt x="261" y="106"/>
                    </a:lnTo>
                    <a:lnTo>
                      <a:pt x="263" y="108"/>
                    </a:lnTo>
                    <a:lnTo>
                      <a:pt x="263" y="109"/>
                    </a:lnTo>
                    <a:lnTo>
                      <a:pt x="265" y="109"/>
                    </a:lnTo>
                    <a:lnTo>
                      <a:pt x="265" y="111"/>
                    </a:lnTo>
                    <a:lnTo>
                      <a:pt x="267" y="111"/>
                    </a:lnTo>
                    <a:lnTo>
                      <a:pt x="267" y="113"/>
                    </a:lnTo>
                    <a:lnTo>
                      <a:pt x="269" y="113"/>
                    </a:lnTo>
                    <a:lnTo>
                      <a:pt x="269" y="115"/>
                    </a:lnTo>
                    <a:lnTo>
                      <a:pt x="271" y="115"/>
                    </a:lnTo>
                    <a:lnTo>
                      <a:pt x="273" y="115"/>
                    </a:lnTo>
                    <a:lnTo>
                      <a:pt x="273" y="117"/>
                    </a:lnTo>
                    <a:lnTo>
                      <a:pt x="275" y="117"/>
                    </a:lnTo>
                    <a:lnTo>
                      <a:pt x="275" y="119"/>
                    </a:lnTo>
                    <a:lnTo>
                      <a:pt x="273" y="119"/>
                    </a:lnTo>
                    <a:lnTo>
                      <a:pt x="273" y="121"/>
                    </a:lnTo>
                    <a:lnTo>
                      <a:pt x="273" y="123"/>
                    </a:lnTo>
                    <a:lnTo>
                      <a:pt x="273" y="125"/>
                    </a:lnTo>
                    <a:lnTo>
                      <a:pt x="273" y="127"/>
                    </a:lnTo>
                    <a:lnTo>
                      <a:pt x="273" y="129"/>
                    </a:lnTo>
                    <a:lnTo>
                      <a:pt x="273" y="131"/>
                    </a:lnTo>
                    <a:lnTo>
                      <a:pt x="273" y="133"/>
                    </a:lnTo>
                    <a:lnTo>
                      <a:pt x="275" y="133"/>
                    </a:lnTo>
                    <a:lnTo>
                      <a:pt x="275" y="134"/>
                    </a:lnTo>
                    <a:lnTo>
                      <a:pt x="277" y="134"/>
                    </a:lnTo>
                    <a:lnTo>
                      <a:pt x="277" y="136"/>
                    </a:lnTo>
                    <a:lnTo>
                      <a:pt x="278" y="136"/>
                    </a:lnTo>
                    <a:lnTo>
                      <a:pt x="278" y="138"/>
                    </a:lnTo>
                    <a:lnTo>
                      <a:pt x="280" y="136"/>
                    </a:lnTo>
                    <a:lnTo>
                      <a:pt x="282" y="136"/>
                    </a:lnTo>
                    <a:lnTo>
                      <a:pt x="282" y="134"/>
                    </a:lnTo>
                    <a:lnTo>
                      <a:pt x="282" y="133"/>
                    </a:lnTo>
                    <a:lnTo>
                      <a:pt x="284" y="133"/>
                    </a:lnTo>
                    <a:lnTo>
                      <a:pt x="286" y="133"/>
                    </a:lnTo>
                    <a:lnTo>
                      <a:pt x="288" y="133"/>
                    </a:lnTo>
                    <a:lnTo>
                      <a:pt x="290" y="133"/>
                    </a:lnTo>
                    <a:lnTo>
                      <a:pt x="292" y="133"/>
                    </a:lnTo>
                    <a:lnTo>
                      <a:pt x="292" y="131"/>
                    </a:lnTo>
                    <a:lnTo>
                      <a:pt x="292" y="133"/>
                    </a:lnTo>
                    <a:lnTo>
                      <a:pt x="294" y="133"/>
                    </a:lnTo>
                    <a:lnTo>
                      <a:pt x="296" y="133"/>
                    </a:lnTo>
                    <a:lnTo>
                      <a:pt x="296" y="134"/>
                    </a:lnTo>
                    <a:lnTo>
                      <a:pt x="296" y="133"/>
                    </a:lnTo>
                    <a:lnTo>
                      <a:pt x="298" y="133"/>
                    </a:lnTo>
                    <a:lnTo>
                      <a:pt x="300" y="133"/>
                    </a:lnTo>
                    <a:lnTo>
                      <a:pt x="300" y="131"/>
                    </a:lnTo>
                    <a:lnTo>
                      <a:pt x="300" y="133"/>
                    </a:lnTo>
                    <a:lnTo>
                      <a:pt x="302" y="133"/>
                    </a:lnTo>
                    <a:lnTo>
                      <a:pt x="303" y="133"/>
                    </a:lnTo>
                    <a:lnTo>
                      <a:pt x="303" y="131"/>
                    </a:lnTo>
                    <a:lnTo>
                      <a:pt x="305" y="131"/>
                    </a:lnTo>
                    <a:lnTo>
                      <a:pt x="307" y="131"/>
                    </a:lnTo>
                    <a:lnTo>
                      <a:pt x="309" y="131"/>
                    </a:lnTo>
                    <a:lnTo>
                      <a:pt x="309" y="133"/>
                    </a:lnTo>
                    <a:lnTo>
                      <a:pt x="311" y="133"/>
                    </a:lnTo>
                    <a:lnTo>
                      <a:pt x="313" y="133"/>
                    </a:lnTo>
                    <a:lnTo>
                      <a:pt x="313" y="134"/>
                    </a:lnTo>
                    <a:lnTo>
                      <a:pt x="315" y="134"/>
                    </a:lnTo>
                    <a:lnTo>
                      <a:pt x="315" y="136"/>
                    </a:lnTo>
                    <a:lnTo>
                      <a:pt x="317" y="136"/>
                    </a:lnTo>
                    <a:lnTo>
                      <a:pt x="317" y="138"/>
                    </a:lnTo>
                    <a:lnTo>
                      <a:pt x="317" y="140"/>
                    </a:lnTo>
                    <a:lnTo>
                      <a:pt x="315" y="142"/>
                    </a:lnTo>
                    <a:lnTo>
                      <a:pt x="315" y="144"/>
                    </a:lnTo>
                    <a:lnTo>
                      <a:pt x="317" y="144"/>
                    </a:lnTo>
                    <a:lnTo>
                      <a:pt x="319" y="144"/>
                    </a:lnTo>
                    <a:lnTo>
                      <a:pt x="319" y="146"/>
                    </a:lnTo>
                    <a:lnTo>
                      <a:pt x="321" y="146"/>
                    </a:lnTo>
                    <a:lnTo>
                      <a:pt x="321" y="148"/>
                    </a:lnTo>
                    <a:lnTo>
                      <a:pt x="321" y="150"/>
                    </a:lnTo>
                    <a:lnTo>
                      <a:pt x="323" y="150"/>
                    </a:lnTo>
                    <a:lnTo>
                      <a:pt x="323" y="152"/>
                    </a:lnTo>
                    <a:lnTo>
                      <a:pt x="323" y="154"/>
                    </a:lnTo>
                    <a:lnTo>
                      <a:pt x="323" y="156"/>
                    </a:lnTo>
                    <a:lnTo>
                      <a:pt x="323" y="157"/>
                    </a:lnTo>
                    <a:lnTo>
                      <a:pt x="325" y="157"/>
                    </a:lnTo>
                    <a:lnTo>
                      <a:pt x="325" y="159"/>
                    </a:lnTo>
                    <a:lnTo>
                      <a:pt x="325" y="161"/>
                    </a:lnTo>
                    <a:lnTo>
                      <a:pt x="325" y="163"/>
                    </a:lnTo>
                    <a:lnTo>
                      <a:pt x="325" y="165"/>
                    </a:lnTo>
                    <a:lnTo>
                      <a:pt x="325" y="167"/>
                    </a:lnTo>
                    <a:lnTo>
                      <a:pt x="326" y="167"/>
                    </a:lnTo>
                    <a:lnTo>
                      <a:pt x="326" y="169"/>
                    </a:lnTo>
                    <a:lnTo>
                      <a:pt x="326" y="171"/>
                    </a:lnTo>
                    <a:lnTo>
                      <a:pt x="326" y="173"/>
                    </a:lnTo>
                    <a:lnTo>
                      <a:pt x="326" y="175"/>
                    </a:lnTo>
                    <a:lnTo>
                      <a:pt x="326" y="177"/>
                    </a:lnTo>
                    <a:lnTo>
                      <a:pt x="326" y="179"/>
                    </a:lnTo>
                    <a:lnTo>
                      <a:pt x="328" y="179"/>
                    </a:lnTo>
                    <a:lnTo>
                      <a:pt x="330" y="179"/>
                    </a:lnTo>
                    <a:lnTo>
                      <a:pt x="332" y="179"/>
                    </a:lnTo>
                    <a:lnTo>
                      <a:pt x="332" y="181"/>
                    </a:lnTo>
                    <a:lnTo>
                      <a:pt x="332" y="179"/>
                    </a:lnTo>
                    <a:lnTo>
                      <a:pt x="334" y="179"/>
                    </a:lnTo>
                    <a:lnTo>
                      <a:pt x="334" y="181"/>
                    </a:lnTo>
                    <a:lnTo>
                      <a:pt x="336" y="181"/>
                    </a:lnTo>
                    <a:lnTo>
                      <a:pt x="338" y="181"/>
                    </a:lnTo>
                    <a:lnTo>
                      <a:pt x="338" y="182"/>
                    </a:lnTo>
                    <a:lnTo>
                      <a:pt x="340" y="182"/>
                    </a:lnTo>
                    <a:lnTo>
                      <a:pt x="340" y="181"/>
                    </a:lnTo>
                    <a:lnTo>
                      <a:pt x="342" y="181"/>
                    </a:lnTo>
                    <a:lnTo>
                      <a:pt x="344" y="181"/>
                    </a:lnTo>
                    <a:lnTo>
                      <a:pt x="344" y="182"/>
                    </a:lnTo>
                    <a:lnTo>
                      <a:pt x="346" y="182"/>
                    </a:lnTo>
                    <a:lnTo>
                      <a:pt x="348" y="181"/>
                    </a:lnTo>
                    <a:lnTo>
                      <a:pt x="350" y="181"/>
                    </a:lnTo>
                    <a:lnTo>
                      <a:pt x="350" y="179"/>
                    </a:lnTo>
                    <a:lnTo>
                      <a:pt x="351" y="179"/>
                    </a:lnTo>
                    <a:lnTo>
                      <a:pt x="351" y="177"/>
                    </a:lnTo>
                    <a:lnTo>
                      <a:pt x="353" y="179"/>
                    </a:lnTo>
                    <a:lnTo>
                      <a:pt x="353" y="181"/>
                    </a:lnTo>
                    <a:lnTo>
                      <a:pt x="353" y="182"/>
                    </a:lnTo>
                    <a:lnTo>
                      <a:pt x="355" y="182"/>
                    </a:lnTo>
                    <a:lnTo>
                      <a:pt x="357" y="184"/>
                    </a:lnTo>
                    <a:lnTo>
                      <a:pt x="359" y="186"/>
                    </a:lnTo>
                    <a:lnTo>
                      <a:pt x="359" y="188"/>
                    </a:lnTo>
                    <a:lnTo>
                      <a:pt x="361" y="188"/>
                    </a:lnTo>
                    <a:lnTo>
                      <a:pt x="363" y="188"/>
                    </a:lnTo>
                    <a:lnTo>
                      <a:pt x="365" y="188"/>
                    </a:lnTo>
                    <a:lnTo>
                      <a:pt x="367" y="188"/>
                    </a:lnTo>
                    <a:lnTo>
                      <a:pt x="367" y="186"/>
                    </a:lnTo>
                    <a:lnTo>
                      <a:pt x="369" y="186"/>
                    </a:lnTo>
                    <a:lnTo>
                      <a:pt x="371" y="186"/>
                    </a:lnTo>
                    <a:lnTo>
                      <a:pt x="371" y="184"/>
                    </a:lnTo>
                    <a:lnTo>
                      <a:pt x="373" y="184"/>
                    </a:lnTo>
                    <a:lnTo>
                      <a:pt x="373" y="182"/>
                    </a:lnTo>
                    <a:lnTo>
                      <a:pt x="373" y="184"/>
                    </a:lnTo>
                    <a:lnTo>
                      <a:pt x="374" y="184"/>
                    </a:lnTo>
                    <a:lnTo>
                      <a:pt x="374" y="186"/>
                    </a:lnTo>
                    <a:lnTo>
                      <a:pt x="374" y="188"/>
                    </a:lnTo>
                    <a:lnTo>
                      <a:pt x="374" y="190"/>
                    </a:lnTo>
                    <a:lnTo>
                      <a:pt x="374" y="192"/>
                    </a:lnTo>
                    <a:lnTo>
                      <a:pt x="374" y="194"/>
                    </a:lnTo>
                    <a:lnTo>
                      <a:pt x="374" y="196"/>
                    </a:lnTo>
                    <a:lnTo>
                      <a:pt x="374" y="198"/>
                    </a:lnTo>
                    <a:lnTo>
                      <a:pt x="376" y="198"/>
                    </a:lnTo>
                    <a:lnTo>
                      <a:pt x="378" y="198"/>
                    </a:lnTo>
                    <a:lnTo>
                      <a:pt x="378" y="200"/>
                    </a:lnTo>
                    <a:lnTo>
                      <a:pt x="378" y="202"/>
                    </a:lnTo>
                    <a:lnTo>
                      <a:pt x="380" y="202"/>
                    </a:lnTo>
                    <a:lnTo>
                      <a:pt x="382" y="202"/>
                    </a:lnTo>
                    <a:lnTo>
                      <a:pt x="384" y="202"/>
                    </a:lnTo>
                    <a:lnTo>
                      <a:pt x="384" y="204"/>
                    </a:lnTo>
                    <a:lnTo>
                      <a:pt x="386" y="204"/>
                    </a:lnTo>
                    <a:lnTo>
                      <a:pt x="386" y="205"/>
                    </a:lnTo>
                    <a:lnTo>
                      <a:pt x="388" y="205"/>
                    </a:lnTo>
                    <a:lnTo>
                      <a:pt x="388" y="207"/>
                    </a:lnTo>
                    <a:lnTo>
                      <a:pt x="390" y="207"/>
                    </a:lnTo>
                    <a:lnTo>
                      <a:pt x="392" y="207"/>
                    </a:lnTo>
                    <a:lnTo>
                      <a:pt x="394" y="207"/>
                    </a:lnTo>
                    <a:lnTo>
                      <a:pt x="396" y="207"/>
                    </a:lnTo>
                    <a:lnTo>
                      <a:pt x="396" y="209"/>
                    </a:lnTo>
                    <a:lnTo>
                      <a:pt x="398" y="209"/>
                    </a:lnTo>
                    <a:lnTo>
                      <a:pt x="398" y="211"/>
                    </a:lnTo>
                    <a:lnTo>
                      <a:pt x="399" y="211"/>
                    </a:lnTo>
                    <a:lnTo>
                      <a:pt x="401" y="211"/>
                    </a:lnTo>
                    <a:lnTo>
                      <a:pt x="403" y="211"/>
                    </a:lnTo>
                    <a:lnTo>
                      <a:pt x="405" y="211"/>
                    </a:lnTo>
                    <a:lnTo>
                      <a:pt x="405" y="209"/>
                    </a:lnTo>
                    <a:lnTo>
                      <a:pt x="407" y="209"/>
                    </a:lnTo>
                    <a:lnTo>
                      <a:pt x="409" y="209"/>
                    </a:lnTo>
                    <a:lnTo>
                      <a:pt x="409" y="207"/>
                    </a:lnTo>
                    <a:lnTo>
                      <a:pt x="411" y="207"/>
                    </a:lnTo>
                    <a:lnTo>
                      <a:pt x="413" y="209"/>
                    </a:lnTo>
                    <a:lnTo>
                      <a:pt x="413" y="211"/>
                    </a:lnTo>
                    <a:lnTo>
                      <a:pt x="415" y="211"/>
                    </a:lnTo>
                    <a:lnTo>
                      <a:pt x="415" y="213"/>
                    </a:lnTo>
                    <a:lnTo>
                      <a:pt x="417" y="213"/>
                    </a:lnTo>
                    <a:lnTo>
                      <a:pt x="419" y="213"/>
                    </a:lnTo>
                    <a:lnTo>
                      <a:pt x="421" y="213"/>
                    </a:lnTo>
                    <a:lnTo>
                      <a:pt x="421" y="215"/>
                    </a:lnTo>
                    <a:lnTo>
                      <a:pt x="422" y="215"/>
                    </a:lnTo>
                    <a:lnTo>
                      <a:pt x="424" y="215"/>
                    </a:lnTo>
                    <a:lnTo>
                      <a:pt x="426" y="215"/>
                    </a:lnTo>
                    <a:lnTo>
                      <a:pt x="428" y="215"/>
                    </a:lnTo>
                    <a:lnTo>
                      <a:pt x="428" y="217"/>
                    </a:lnTo>
                    <a:lnTo>
                      <a:pt x="430" y="217"/>
                    </a:lnTo>
                    <a:lnTo>
                      <a:pt x="430" y="219"/>
                    </a:lnTo>
                    <a:lnTo>
                      <a:pt x="432" y="219"/>
                    </a:lnTo>
                    <a:lnTo>
                      <a:pt x="432" y="221"/>
                    </a:lnTo>
                    <a:lnTo>
                      <a:pt x="432" y="223"/>
                    </a:lnTo>
                    <a:lnTo>
                      <a:pt x="432" y="225"/>
                    </a:lnTo>
                    <a:lnTo>
                      <a:pt x="434" y="225"/>
                    </a:lnTo>
                    <a:lnTo>
                      <a:pt x="436" y="225"/>
                    </a:lnTo>
                    <a:lnTo>
                      <a:pt x="436" y="227"/>
                    </a:lnTo>
                    <a:lnTo>
                      <a:pt x="438" y="227"/>
                    </a:lnTo>
                    <a:lnTo>
                      <a:pt x="438" y="225"/>
                    </a:lnTo>
                    <a:lnTo>
                      <a:pt x="438" y="227"/>
                    </a:lnTo>
                    <a:lnTo>
                      <a:pt x="440" y="227"/>
                    </a:lnTo>
                    <a:lnTo>
                      <a:pt x="442" y="227"/>
                    </a:lnTo>
                    <a:lnTo>
                      <a:pt x="442" y="229"/>
                    </a:lnTo>
                    <a:lnTo>
                      <a:pt x="442" y="230"/>
                    </a:lnTo>
                    <a:lnTo>
                      <a:pt x="444" y="230"/>
                    </a:lnTo>
                    <a:lnTo>
                      <a:pt x="442" y="230"/>
                    </a:lnTo>
                    <a:lnTo>
                      <a:pt x="442" y="232"/>
                    </a:lnTo>
                    <a:lnTo>
                      <a:pt x="442" y="234"/>
                    </a:lnTo>
                    <a:lnTo>
                      <a:pt x="442" y="236"/>
                    </a:lnTo>
                    <a:lnTo>
                      <a:pt x="444" y="236"/>
                    </a:lnTo>
                    <a:lnTo>
                      <a:pt x="444" y="238"/>
                    </a:lnTo>
                    <a:lnTo>
                      <a:pt x="446" y="238"/>
                    </a:lnTo>
                    <a:lnTo>
                      <a:pt x="446" y="240"/>
                    </a:lnTo>
                    <a:lnTo>
                      <a:pt x="446" y="242"/>
                    </a:lnTo>
                    <a:lnTo>
                      <a:pt x="447" y="242"/>
                    </a:lnTo>
                    <a:lnTo>
                      <a:pt x="447" y="244"/>
                    </a:lnTo>
                    <a:lnTo>
                      <a:pt x="447" y="246"/>
                    </a:lnTo>
                    <a:lnTo>
                      <a:pt x="449" y="246"/>
                    </a:lnTo>
                    <a:lnTo>
                      <a:pt x="449" y="248"/>
                    </a:lnTo>
                    <a:lnTo>
                      <a:pt x="451" y="248"/>
                    </a:lnTo>
                    <a:lnTo>
                      <a:pt x="451" y="250"/>
                    </a:lnTo>
                    <a:lnTo>
                      <a:pt x="451" y="252"/>
                    </a:lnTo>
                    <a:lnTo>
                      <a:pt x="451" y="253"/>
                    </a:lnTo>
                    <a:lnTo>
                      <a:pt x="453" y="255"/>
                    </a:lnTo>
                    <a:lnTo>
                      <a:pt x="455" y="255"/>
                    </a:lnTo>
                    <a:lnTo>
                      <a:pt x="455" y="257"/>
                    </a:lnTo>
                    <a:lnTo>
                      <a:pt x="457" y="259"/>
                    </a:lnTo>
                    <a:lnTo>
                      <a:pt x="459" y="259"/>
                    </a:lnTo>
                    <a:lnTo>
                      <a:pt x="461" y="259"/>
                    </a:lnTo>
                    <a:lnTo>
                      <a:pt x="461" y="261"/>
                    </a:lnTo>
                    <a:lnTo>
                      <a:pt x="463" y="261"/>
                    </a:lnTo>
                    <a:lnTo>
                      <a:pt x="465" y="261"/>
                    </a:lnTo>
                    <a:lnTo>
                      <a:pt x="465" y="259"/>
                    </a:lnTo>
                    <a:lnTo>
                      <a:pt x="467" y="259"/>
                    </a:lnTo>
                    <a:lnTo>
                      <a:pt x="467" y="257"/>
                    </a:lnTo>
                    <a:lnTo>
                      <a:pt x="469" y="257"/>
                    </a:lnTo>
                    <a:lnTo>
                      <a:pt x="469" y="259"/>
                    </a:lnTo>
                    <a:lnTo>
                      <a:pt x="470" y="259"/>
                    </a:lnTo>
                    <a:lnTo>
                      <a:pt x="472" y="259"/>
                    </a:lnTo>
                    <a:lnTo>
                      <a:pt x="474" y="259"/>
                    </a:lnTo>
                    <a:lnTo>
                      <a:pt x="474" y="261"/>
                    </a:lnTo>
                    <a:lnTo>
                      <a:pt x="476" y="261"/>
                    </a:lnTo>
                    <a:lnTo>
                      <a:pt x="478" y="261"/>
                    </a:lnTo>
                    <a:lnTo>
                      <a:pt x="478" y="263"/>
                    </a:lnTo>
                    <a:lnTo>
                      <a:pt x="480" y="263"/>
                    </a:lnTo>
                    <a:lnTo>
                      <a:pt x="480" y="265"/>
                    </a:lnTo>
                    <a:lnTo>
                      <a:pt x="480" y="267"/>
                    </a:lnTo>
                    <a:lnTo>
                      <a:pt x="482" y="267"/>
                    </a:lnTo>
                    <a:lnTo>
                      <a:pt x="480" y="267"/>
                    </a:lnTo>
                    <a:lnTo>
                      <a:pt x="480" y="269"/>
                    </a:lnTo>
                    <a:lnTo>
                      <a:pt x="480" y="271"/>
                    </a:lnTo>
                    <a:lnTo>
                      <a:pt x="480" y="273"/>
                    </a:lnTo>
                    <a:lnTo>
                      <a:pt x="478" y="273"/>
                    </a:lnTo>
                    <a:lnTo>
                      <a:pt x="478" y="275"/>
                    </a:lnTo>
                    <a:lnTo>
                      <a:pt x="476" y="275"/>
                    </a:lnTo>
                    <a:lnTo>
                      <a:pt x="476" y="277"/>
                    </a:lnTo>
                    <a:lnTo>
                      <a:pt x="476" y="278"/>
                    </a:lnTo>
                    <a:lnTo>
                      <a:pt x="478" y="278"/>
                    </a:lnTo>
                    <a:lnTo>
                      <a:pt x="478" y="280"/>
                    </a:lnTo>
                    <a:lnTo>
                      <a:pt x="476" y="282"/>
                    </a:lnTo>
                    <a:lnTo>
                      <a:pt x="476" y="284"/>
                    </a:lnTo>
                    <a:lnTo>
                      <a:pt x="478" y="286"/>
                    </a:lnTo>
                    <a:lnTo>
                      <a:pt x="478" y="288"/>
                    </a:lnTo>
                    <a:lnTo>
                      <a:pt x="480" y="288"/>
                    </a:lnTo>
                    <a:lnTo>
                      <a:pt x="480" y="290"/>
                    </a:lnTo>
                    <a:lnTo>
                      <a:pt x="482" y="290"/>
                    </a:lnTo>
                    <a:lnTo>
                      <a:pt x="484" y="290"/>
                    </a:lnTo>
                    <a:lnTo>
                      <a:pt x="486" y="290"/>
                    </a:lnTo>
                    <a:lnTo>
                      <a:pt x="488" y="292"/>
                    </a:lnTo>
                    <a:lnTo>
                      <a:pt x="486" y="292"/>
                    </a:lnTo>
                    <a:lnTo>
                      <a:pt x="486" y="294"/>
                    </a:lnTo>
                    <a:lnTo>
                      <a:pt x="486" y="296"/>
                    </a:lnTo>
                    <a:lnTo>
                      <a:pt x="486" y="298"/>
                    </a:lnTo>
                    <a:lnTo>
                      <a:pt x="488" y="298"/>
                    </a:lnTo>
                    <a:lnTo>
                      <a:pt x="490" y="301"/>
                    </a:lnTo>
                    <a:lnTo>
                      <a:pt x="490" y="303"/>
                    </a:lnTo>
                    <a:lnTo>
                      <a:pt x="492" y="303"/>
                    </a:lnTo>
                    <a:lnTo>
                      <a:pt x="494" y="303"/>
                    </a:lnTo>
                    <a:lnTo>
                      <a:pt x="495" y="303"/>
                    </a:lnTo>
                    <a:lnTo>
                      <a:pt x="497" y="303"/>
                    </a:lnTo>
                    <a:lnTo>
                      <a:pt x="497" y="305"/>
                    </a:lnTo>
                    <a:lnTo>
                      <a:pt x="497" y="303"/>
                    </a:lnTo>
                    <a:lnTo>
                      <a:pt x="499" y="303"/>
                    </a:lnTo>
                    <a:lnTo>
                      <a:pt x="501" y="305"/>
                    </a:lnTo>
                    <a:lnTo>
                      <a:pt x="501" y="303"/>
                    </a:lnTo>
                    <a:lnTo>
                      <a:pt x="503" y="303"/>
                    </a:lnTo>
                    <a:lnTo>
                      <a:pt x="505" y="303"/>
                    </a:lnTo>
                    <a:lnTo>
                      <a:pt x="505" y="301"/>
                    </a:lnTo>
                    <a:lnTo>
                      <a:pt x="505" y="303"/>
                    </a:lnTo>
                    <a:lnTo>
                      <a:pt x="507" y="303"/>
                    </a:lnTo>
                    <a:lnTo>
                      <a:pt x="507" y="305"/>
                    </a:lnTo>
                    <a:lnTo>
                      <a:pt x="509" y="305"/>
                    </a:lnTo>
                    <a:lnTo>
                      <a:pt x="509" y="307"/>
                    </a:lnTo>
                    <a:lnTo>
                      <a:pt x="511" y="307"/>
                    </a:lnTo>
                    <a:lnTo>
                      <a:pt x="511" y="309"/>
                    </a:lnTo>
                    <a:lnTo>
                      <a:pt x="509" y="309"/>
                    </a:lnTo>
                    <a:lnTo>
                      <a:pt x="509" y="311"/>
                    </a:lnTo>
                    <a:lnTo>
                      <a:pt x="507" y="311"/>
                    </a:lnTo>
                    <a:lnTo>
                      <a:pt x="507" y="313"/>
                    </a:lnTo>
                    <a:lnTo>
                      <a:pt x="505" y="313"/>
                    </a:lnTo>
                    <a:lnTo>
                      <a:pt x="505" y="315"/>
                    </a:lnTo>
                    <a:lnTo>
                      <a:pt x="507" y="317"/>
                    </a:lnTo>
                    <a:lnTo>
                      <a:pt x="505" y="317"/>
                    </a:lnTo>
                    <a:lnTo>
                      <a:pt x="505" y="319"/>
                    </a:lnTo>
                    <a:lnTo>
                      <a:pt x="507" y="319"/>
                    </a:lnTo>
                    <a:lnTo>
                      <a:pt x="507" y="321"/>
                    </a:lnTo>
                    <a:lnTo>
                      <a:pt x="505" y="321"/>
                    </a:lnTo>
                    <a:lnTo>
                      <a:pt x="507" y="321"/>
                    </a:lnTo>
                    <a:lnTo>
                      <a:pt x="507" y="323"/>
                    </a:lnTo>
                    <a:lnTo>
                      <a:pt x="507" y="325"/>
                    </a:lnTo>
                    <a:lnTo>
                      <a:pt x="505" y="325"/>
                    </a:lnTo>
                    <a:lnTo>
                      <a:pt x="503" y="325"/>
                    </a:lnTo>
                    <a:lnTo>
                      <a:pt x="503" y="326"/>
                    </a:lnTo>
                    <a:lnTo>
                      <a:pt x="503" y="328"/>
                    </a:lnTo>
                    <a:lnTo>
                      <a:pt x="503" y="330"/>
                    </a:lnTo>
                    <a:lnTo>
                      <a:pt x="503" y="332"/>
                    </a:lnTo>
                    <a:lnTo>
                      <a:pt x="501" y="332"/>
                    </a:lnTo>
                    <a:lnTo>
                      <a:pt x="501" y="334"/>
                    </a:lnTo>
                    <a:lnTo>
                      <a:pt x="499" y="334"/>
                    </a:lnTo>
                    <a:lnTo>
                      <a:pt x="499" y="336"/>
                    </a:lnTo>
                    <a:lnTo>
                      <a:pt x="499" y="338"/>
                    </a:lnTo>
                    <a:lnTo>
                      <a:pt x="499" y="340"/>
                    </a:lnTo>
                    <a:lnTo>
                      <a:pt x="501" y="342"/>
                    </a:lnTo>
                    <a:lnTo>
                      <a:pt x="501" y="344"/>
                    </a:lnTo>
                    <a:lnTo>
                      <a:pt x="503" y="344"/>
                    </a:lnTo>
                    <a:lnTo>
                      <a:pt x="505" y="344"/>
                    </a:lnTo>
                    <a:lnTo>
                      <a:pt x="505" y="346"/>
                    </a:lnTo>
                    <a:lnTo>
                      <a:pt x="507" y="346"/>
                    </a:lnTo>
                    <a:lnTo>
                      <a:pt x="509" y="346"/>
                    </a:lnTo>
                    <a:lnTo>
                      <a:pt x="509" y="348"/>
                    </a:lnTo>
                    <a:lnTo>
                      <a:pt x="511" y="348"/>
                    </a:lnTo>
                    <a:lnTo>
                      <a:pt x="513" y="349"/>
                    </a:lnTo>
                    <a:lnTo>
                      <a:pt x="515" y="349"/>
                    </a:lnTo>
                    <a:lnTo>
                      <a:pt x="515" y="348"/>
                    </a:lnTo>
                    <a:lnTo>
                      <a:pt x="517" y="348"/>
                    </a:lnTo>
                    <a:lnTo>
                      <a:pt x="518" y="348"/>
                    </a:lnTo>
                    <a:lnTo>
                      <a:pt x="518" y="346"/>
                    </a:lnTo>
                    <a:lnTo>
                      <a:pt x="518" y="344"/>
                    </a:lnTo>
                    <a:lnTo>
                      <a:pt x="517" y="344"/>
                    </a:lnTo>
                    <a:lnTo>
                      <a:pt x="517" y="342"/>
                    </a:lnTo>
                    <a:lnTo>
                      <a:pt x="518" y="342"/>
                    </a:lnTo>
                    <a:lnTo>
                      <a:pt x="518" y="340"/>
                    </a:lnTo>
                    <a:lnTo>
                      <a:pt x="520" y="340"/>
                    </a:lnTo>
                    <a:lnTo>
                      <a:pt x="520" y="338"/>
                    </a:lnTo>
                    <a:lnTo>
                      <a:pt x="522" y="338"/>
                    </a:lnTo>
                    <a:lnTo>
                      <a:pt x="522" y="336"/>
                    </a:lnTo>
                    <a:lnTo>
                      <a:pt x="522" y="334"/>
                    </a:lnTo>
                    <a:lnTo>
                      <a:pt x="524" y="334"/>
                    </a:lnTo>
                    <a:lnTo>
                      <a:pt x="524" y="332"/>
                    </a:lnTo>
                    <a:lnTo>
                      <a:pt x="526" y="332"/>
                    </a:lnTo>
                    <a:lnTo>
                      <a:pt x="526" y="330"/>
                    </a:lnTo>
                    <a:lnTo>
                      <a:pt x="528" y="330"/>
                    </a:lnTo>
                    <a:lnTo>
                      <a:pt x="528" y="332"/>
                    </a:lnTo>
                    <a:lnTo>
                      <a:pt x="530" y="332"/>
                    </a:lnTo>
                    <a:lnTo>
                      <a:pt x="532" y="332"/>
                    </a:lnTo>
                    <a:lnTo>
                      <a:pt x="534" y="332"/>
                    </a:lnTo>
                    <a:lnTo>
                      <a:pt x="534" y="334"/>
                    </a:lnTo>
                    <a:lnTo>
                      <a:pt x="536" y="334"/>
                    </a:lnTo>
                    <a:lnTo>
                      <a:pt x="538" y="334"/>
                    </a:lnTo>
                    <a:lnTo>
                      <a:pt x="538" y="332"/>
                    </a:lnTo>
                    <a:lnTo>
                      <a:pt x="540" y="332"/>
                    </a:lnTo>
                    <a:lnTo>
                      <a:pt x="540" y="330"/>
                    </a:lnTo>
                    <a:lnTo>
                      <a:pt x="542" y="330"/>
                    </a:lnTo>
                    <a:lnTo>
                      <a:pt x="543" y="330"/>
                    </a:lnTo>
                    <a:lnTo>
                      <a:pt x="545" y="330"/>
                    </a:lnTo>
                    <a:lnTo>
                      <a:pt x="547" y="330"/>
                    </a:lnTo>
                    <a:lnTo>
                      <a:pt x="547" y="332"/>
                    </a:lnTo>
                    <a:lnTo>
                      <a:pt x="549" y="332"/>
                    </a:lnTo>
                    <a:lnTo>
                      <a:pt x="549" y="330"/>
                    </a:lnTo>
                    <a:lnTo>
                      <a:pt x="551" y="330"/>
                    </a:lnTo>
                    <a:lnTo>
                      <a:pt x="553" y="330"/>
                    </a:lnTo>
                    <a:lnTo>
                      <a:pt x="553" y="328"/>
                    </a:lnTo>
                    <a:lnTo>
                      <a:pt x="553" y="326"/>
                    </a:lnTo>
                    <a:lnTo>
                      <a:pt x="555" y="326"/>
                    </a:lnTo>
                    <a:lnTo>
                      <a:pt x="555" y="328"/>
                    </a:lnTo>
                    <a:lnTo>
                      <a:pt x="557" y="328"/>
                    </a:lnTo>
                    <a:lnTo>
                      <a:pt x="559" y="326"/>
                    </a:lnTo>
                    <a:lnTo>
                      <a:pt x="561" y="326"/>
                    </a:lnTo>
                    <a:lnTo>
                      <a:pt x="561" y="325"/>
                    </a:lnTo>
                    <a:lnTo>
                      <a:pt x="561" y="326"/>
                    </a:lnTo>
                    <a:lnTo>
                      <a:pt x="563" y="326"/>
                    </a:lnTo>
                    <a:lnTo>
                      <a:pt x="565" y="326"/>
                    </a:lnTo>
                    <a:lnTo>
                      <a:pt x="565" y="328"/>
                    </a:lnTo>
                    <a:lnTo>
                      <a:pt x="567" y="330"/>
                    </a:lnTo>
                    <a:lnTo>
                      <a:pt x="565" y="330"/>
                    </a:lnTo>
                    <a:lnTo>
                      <a:pt x="565" y="332"/>
                    </a:lnTo>
                    <a:lnTo>
                      <a:pt x="565" y="334"/>
                    </a:lnTo>
                    <a:lnTo>
                      <a:pt x="563" y="334"/>
                    </a:lnTo>
                    <a:lnTo>
                      <a:pt x="561" y="334"/>
                    </a:lnTo>
                    <a:lnTo>
                      <a:pt x="561" y="336"/>
                    </a:lnTo>
                    <a:lnTo>
                      <a:pt x="561" y="338"/>
                    </a:lnTo>
                    <a:lnTo>
                      <a:pt x="559" y="338"/>
                    </a:lnTo>
                    <a:lnTo>
                      <a:pt x="559" y="340"/>
                    </a:lnTo>
                    <a:lnTo>
                      <a:pt x="559" y="342"/>
                    </a:lnTo>
                    <a:lnTo>
                      <a:pt x="561" y="344"/>
                    </a:lnTo>
                    <a:lnTo>
                      <a:pt x="561" y="346"/>
                    </a:lnTo>
                    <a:lnTo>
                      <a:pt x="563" y="346"/>
                    </a:lnTo>
                    <a:lnTo>
                      <a:pt x="563" y="348"/>
                    </a:lnTo>
                    <a:lnTo>
                      <a:pt x="563" y="349"/>
                    </a:lnTo>
                    <a:lnTo>
                      <a:pt x="565" y="349"/>
                    </a:lnTo>
                    <a:lnTo>
                      <a:pt x="563" y="349"/>
                    </a:lnTo>
                    <a:lnTo>
                      <a:pt x="561" y="351"/>
                    </a:lnTo>
                    <a:lnTo>
                      <a:pt x="561" y="353"/>
                    </a:lnTo>
                    <a:lnTo>
                      <a:pt x="559" y="353"/>
                    </a:lnTo>
                    <a:lnTo>
                      <a:pt x="559" y="355"/>
                    </a:lnTo>
                    <a:lnTo>
                      <a:pt x="559" y="357"/>
                    </a:lnTo>
                    <a:lnTo>
                      <a:pt x="559" y="359"/>
                    </a:lnTo>
                    <a:lnTo>
                      <a:pt x="557" y="359"/>
                    </a:lnTo>
                    <a:lnTo>
                      <a:pt x="557" y="361"/>
                    </a:lnTo>
                    <a:lnTo>
                      <a:pt x="559" y="361"/>
                    </a:lnTo>
                    <a:lnTo>
                      <a:pt x="557" y="363"/>
                    </a:lnTo>
                    <a:lnTo>
                      <a:pt x="557" y="365"/>
                    </a:lnTo>
                    <a:lnTo>
                      <a:pt x="559" y="365"/>
                    </a:lnTo>
                    <a:lnTo>
                      <a:pt x="559" y="367"/>
                    </a:lnTo>
                    <a:lnTo>
                      <a:pt x="561" y="367"/>
                    </a:lnTo>
                    <a:lnTo>
                      <a:pt x="561" y="369"/>
                    </a:lnTo>
                    <a:lnTo>
                      <a:pt x="561" y="371"/>
                    </a:lnTo>
                    <a:lnTo>
                      <a:pt x="561" y="373"/>
                    </a:lnTo>
                    <a:lnTo>
                      <a:pt x="561" y="374"/>
                    </a:lnTo>
                    <a:lnTo>
                      <a:pt x="561" y="376"/>
                    </a:lnTo>
                    <a:lnTo>
                      <a:pt x="559" y="376"/>
                    </a:lnTo>
                    <a:lnTo>
                      <a:pt x="559" y="378"/>
                    </a:lnTo>
                    <a:lnTo>
                      <a:pt x="559" y="380"/>
                    </a:lnTo>
                    <a:lnTo>
                      <a:pt x="559" y="382"/>
                    </a:lnTo>
                    <a:lnTo>
                      <a:pt x="561" y="382"/>
                    </a:lnTo>
                    <a:lnTo>
                      <a:pt x="561" y="384"/>
                    </a:lnTo>
                    <a:lnTo>
                      <a:pt x="559" y="384"/>
                    </a:lnTo>
                    <a:lnTo>
                      <a:pt x="559" y="386"/>
                    </a:lnTo>
                    <a:lnTo>
                      <a:pt x="559" y="388"/>
                    </a:lnTo>
                    <a:lnTo>
                      <a:pt x="559" y="390"/>
                    </a:lnTo>
                    <a:lnTo>
                      <a:pt x="561" y="390"/>
                    </a:lnTo>
                    <a:lnTo>
                      <a:pt x="563" y="392"/>
                    </a:lnTo>
                    <a:lnTo>
                      <a:pt x="563" y="394"/>
                    </a:lnTo>
                    <a:lnTo>
                      <a:pt x="563" y="396"/>
                    </a:lnTo>
                    <a:lnTo>
                      <a:pt x="565" y="396"/>
                    </a:lnTo>
                    <a:lnTo>
                      <a:pt x="567" y="396"/>
                    </a:lnTo>
                    <a:lnTo>
                      <a:pt x="567" y="397"/>
                    </a:lnTo>
                    <a:lnTo>
                      <a:pt x="565" y="397"/>
                    </a:lnTo>
                    <a:lnTo>
                      <a:pt x="565" y="399"/>
                    </a:lnTo>
                    <a:lnTo>
                      <a:pt x="567" y="401"/>
                    </a:lnTo>
                    <a:lnTo>
                      <a:pt x="567" y="399"/>
                    </a:lnTo>
                    <a:lnTo>
                      <a:pt x="568" y="399"/>
                    </a:lnTo>
                    <a:lnTo>
                      <a:pt x="568" y="401"/>
                    </a:lnTo>
                    <a:lnTo>
                      <a:pt x="570" y="401"/>
                    </a:lnTo>
                    <a:lnTo>
                      <a:pt x="572" y="401"/>
                    </a:lnTo>
                    <a:lnTo>
                      <a:pt x="574" y="401"/>
                    </a:lnTo>
                    <a:lnTo>
                      <a:pt x="574" y="403"/>
                    </a:lnTo>
                    <a:lnTo>
                      <a:pt x="576" y="405"/>
                    </a:lnTo>
                    <a:lnTo>
                      <a:pt x="578" y="407"/>
                    </a:lnTo>
                    <a:lnTo>
                      <a:pt x="578" y="405"/>
                    </a:lnTo>
                    <a:lnTo>
                      <a:pt x="580" y="405"/>
                    </a:lnTo>
                    <a:lnTo>
                      <a:pt x="582" y="405"/>
                    </a:lnTo>
                    <a:lnTo>
                      <a:pt x="584" y="407"/>
                    </a:lnTo>
                    <a:lnTo>
                      <a:pt x="584" y="409"/>
                    </a:lnTo>
                    <a:lnTo>
                      <a:pt x="586" y="411"/>
                    </a:lnTo>
                    <a:lnTo>
                      <a:pt x="588" y="409"/>
                    </a:lnTo>
                    <a:lnTo>
                      <a:pt x="590" y="409"/>
                    </a:lnTo>
                    <a:lnTo>
                      <a:pt x="590" y="407"/>
                    </a:lnTo>
                    <a:lnTo>
                      <a:pt x="590" y="405"/>
                    </a:lnTo>
                    <a:lnTo>
                      <a:pt x="591" y="405"/>
                    </a:lnTo>
                    <a:lnTo>
                      <a:pt x="591" y="403"/>
                    </a:lnTo>
                    <a:lnTo>
                      <a:pt x="593" y="401"/>
                    </a:lnTo>
                    <a:lnTo>
                      <a:pt x="595" y="401"/>
                    </a:lnTo>
                    <a:lnTo>
                      <a:pt x="595" y="399"/>
                    </a:lnTo>
                    <a:lnTo>
                      <a:pt x="597" y="399"/>
                    </a:lnTo>
                    <a:lnTo>
                      <a:pt x="597" y="397"/>
                    </a:lnTo>
                    <a:lnTo>
                      <a:pt x="595" y="396"/>
                    </a:lnTo>
                    <a:lnTo>
                      <a:pt x="595" y="394"/>
                    </a:lnTo>
                    <a:lnTo>
                      <a:pt x="597" y="394"/>
                    </a:lnTo>
                    <a:lnTo>
                      <a:pt x="597" y="392"/>
                    </a:lnTo>
                    <a:lnTo>
                      <a:pt x="597" y="390"/>
                    </a:lnTo>
                    <a:lnTo>
                      <a:pt x="599" y="392"/>
                    </a:lnTo>
                    <a:lnTo>
                      <a:pt x="601" y="392"/>
                    </a:lnTo>
                    <a:lnTo>
                      <a:pt x="601" y="394"/>
                    </a:lnTo>
                    <a:lnTo>
                      <a:pt x="603" y="394"/>
                    </a:lnTo>
                    <a:lnTo>
                      <a:pt x="605" y="396"/>
                    </a:lnTo>
                    <a:lnTo>
                      <a:pt x="605" y="397"/>
                    </a:lnTo>
                    <a:lnTo>
                      <a:pt x="607" y="397"/>
                    </a:lnTo>
                    <a:lnTo>
                      <a:pt x="609" y="397"/>
                    </a:lnTo>
                    <a:lnTo>
                      <a:pt x="611" y="399"/>
                    </a:lnTo>
                    <a:lnTo>
                      <a:pt x="613" y="399"/>
                    </a:lnTo>
                    <a:lnTo>
                      <a:pt x="613" y="401"/>
                    </a:lnTo>
                    <a:lnTo>
                      <a:pt x="615" y="401"/>
                    </a:lnTo>
                    <a:lnTo>
                      <a:pt x="615" y="403"/>
                    </a:lnTo>
                    <a:lnTo>
                      <a:pt x="615" y="405"/>
                    </a:lnTo>
                    <a:lnTo>
                      <a:pt x="616" y="405"/>
                    </a:lnTo>
                    <a:lnTo>
                      <a:pt x="616" y="407"/>
                    </a:lnTo>
                    <a:lnTo>
                      <a:pt x="615" y="407"/>
                    </a:lnTo>
                    <a:lnTo>
                      <a:pt x="615" y="409"/>
                    </a:lnTo>
                    <a:lnTo>
                      <a:pt x="613" y="409"/>
                    </a:lnTo>
                    <a:lnTo>
                      <a:pt x="613" y="411"/>
                    </a:lnTo>
                    <a:lnTo>
                      <a:pt x="613" y="413"/>
                    </a:lnTo>
                    <a:lnTo>
                      <a:pt x="613" y="415"/>
                    </a:lnTo>
                    <a:lnTo>
                      <a:pt x="615" y="415"/>
                    </a:lnTo>
                    <a:lnTo>
                      <a:pt x="615" y="417"/>
                    </a:lnTo>
                    <a:lnTo>
                      <a:pt x="616" y="417"/>
                    </a:lnTo>
                    <a:lnTo>
                      <a:pt x="618" y="417"/>
                    </a:lnTo>
                    <a:lnTo>
                      <a:pt x="618" y="419"/>
                    </a:lnTo>
                    <a:lnTo>
                      <a:pt x="620" y="419"/>
                    </a:lnTo>
                    <a:lnTo>
                      <a:pt x="620" y="421"/>
                    </a:lnTo>
                    <a:lnTo>
                      <a:pt x="622" y="421"/>
                    </a:lnTo>
                    <a:lnTo>
                      <a:pt x="622" y="422"/>
                    </a:lnTo>
                    <a:lnTo>
                      <a:pt x="622" y="424"/>
                    </a:lnTo>
                    <a:lnTo>
                      <a:pt x="624" y="424"/>
                    </a:lnTo>
                    <a:lnTo>
                      <a:pt x="626" y="424"/>
                    </a:lnTo>
                    <a:lnTo>
                      <a:pt x="626" y="426"/>
                    </a:lnTo>
                    <a:lnTo>
                      <a:pt x="628" y="426"/>
                    </a:lnTo>
                    <a:lnTo>
                      <a:pt x="628" y="428"/>
                    </a:lnTo>
                    <a:lnTo>
                      <a:pt x="628" y="430"/>
                    </a:lnTo>
                    <a:lnTo>
                      <a:pt x="630" y="430"/>
                    </a:lnTo>
                    <a:lnTo>
                      <a:pt x="630" y="432"/>
                    </a:lnTo>
                    <a:lnTo>
                      <a:pt x="630" y="434"/>
                    </a:lnTo>
                    <a:lnTo>
                      <a:pt x="632" y="434"/>
                    </a:lnTo>
                    <a:lnTo>
                      <a:pt x="632" y="436"/>
                    </a:lnTo>
                    <a:lnTo>
                      <a:pt x="634" y="436"/>
                    </a:lnTo>
                    <a:lnTo>
                      <a:pt x="634" y="438"/>
                    </a:lnTo>
                    <a:lnTo>
                      <a:pt x="634" y="440"/>
                    </a:lnTo>
                    <a:lnTo>
                      <a:pt x="634" y="442"/>
                    </a:lnTo>
                    <a:lnTo>
                      <a:pt x="636" y="442"/>
                    </a:lnTo>
                    <a:lnTo>
                      <a:pt x="638" y="444"/>
                    </a:lnTo>
                    <a:lnTo>
                      <a:pt x="638" y="445"/>
                    </a:lnTo>
                    <a:lnTo>
                      <a:pt x="639" y="445"/>
                    </a:lnTo>
                    <a:lnTo>
                      <a:pt x="638" y="445"/>
                    </a:lnTo>
                    <a:lnTo>
                      <a:pt x="639" y="445"/>
                    </a:lnTo>
                    <a:lnTo>
                      <a:pt x="639" y="447"/>
                    </a:lnTo>
                    <a:lnTo>
                      <a:pt x="639" y="449"/>
                    </a:lnTo>
                    <a:lnTo>
                      <a:pt x="641" y="449"/>
                    </a:lnTo>
                    <a:lnTo>
                      <a:pt x="641" y="451"/>
                    </a:lnTo>
                    <a:lnTo>
                      <a:pt x="643" y="451"/>
                    </a:lnTo>
                    <a:lnTo>
                      <a:pt x="643" y="453"/>
                    </a:lnTo>
                    <a:lnTo>
                      <a:pt x="645" y="453"/>
                    </a:lnTo>
                    <a:lnTo>
                      <a:pt x="643" y="453"/>
                    </a:lnTo>
                    <a:lnTo>
                      <a:pt x="645" y="453"/>
                    </a:lnTo>
                    <a:lnTo>
                      <a:pt x="643" y="453"/>
                    </a:lnTo>
                    <a:lnTo>
                      <a:pt x="645" y="453"/>
                    </a:lnTo>
                    <a:lnTo>
                      <a:pt x="645" y="455"/>
                    </a:lnTo>
                    <a:lnTo>
                      <a:pt x="643" y="455"/>
                    </a:lnTo>
                    <a:lnTo>
                      <a:pt x="645" y="455"/>
                    </a:lnTo>
                    <a:lnTo>
                      <a:pt x="643" y="455"/>
                    </a:lnTo>
                    <a:lnTo>
                      <a:pt x="643" y="457"/>
                    </a:lnTo>
                    <a:lnTo>
                      <a:pt x="643" y="459"/>
                    </a:lnTo>
                    <a:lnTo>
                      <a:pt x="643" y="461"/>
                    </a:lnTo>
                    <a:lnTo>
                      <a:pt x="641" y="461"/>
                    </a:lnTo>
                    <a:lnTo>
                      <a:pt x="641" y="463"/>
                    </a:lnTo>
                    <a:lnTo>
                      <a:pt x="641" y="465"/>
                    </a:lnTo>
                    <a:lnTo>
                      <a:pt x="639" y="465"/>
                    </a:lnTo>
                    <a:lnTo>
                      <a:pt x="639" y="467"/>
                    </a:lnTo>
                    <a:lnTo>
                      <a:pt x="641" y="467"/>
                    </a:lnTo>
                    <a:lnTo>
                      <a:pt x="641" y="469"/>
                    </a:lnTo>
                    <a:lnTo>
                      <a:pt x="643" y="469"/>
                    </a:lnTo>
                    <a:lnTo>
                      <a:pt x="645" y="469"/>
                    </a:lnTo>
                    <a:lnTo>
                      <a:pt x="645" y="470"/>
                    </a:lnTo>
                    <a:lnTo>
                      <a:pt x="647" y="470"/>
                    </a:lnTo>
                    <a:lnTo>
                      <a:pt x="649" y="472"/>
                    </a:lnTo>
                    <a:lnTo>
                      <a:pt x="651" y="472"/>
                    </a:lnTo>
                    <a:lnTo>
                      <a:pt x="651" y="474"/>
                    </a:lnTo>
                    <a:lnTo>
                      <a:pt x="653" y="476"/>
                    </a:lnTo>
                    <a:lnTo>
                      <a:pt x="653" y="478"/>
                    </a:lnTo>
                    <a:lnTo>
                      <a:pt x="655" y="478"/>
                    </a:lnTo>
                    <a:lnTo>
                      <a:pt x="655" y="480"/>
                    </a:lnTo>
                    <a:lnTo>
                      <a:pt x="655" y="482"/>
                    </a:lnTo>
                    <a:lnTo>
                      <a:pt x="653" y="482"/>
                    </a:lnTo>
                    <a:lnTo>
                      <a:pt x="651" y="482"/>
                    </a:lnTo>
                    <a:lnTo>
                      <a:pt x="651" y="484"/>
                    </a:lnTo>
                    <a:lnTo>
                      <a:pt x="649" y="484"/>
                    </a:lnTo>
                    <a:lnTo>
                      <a:pt x="649" y="486"/>
                    </a:lnTo>
                    <a:lnTo>
                      <a:pt x="649" y="488"/>
                    </a:lnTo>
                    <a:lnTo>
                      <a:pt x="647" y="488"/>
                    </a:lnTo>
                    <a:lnTo>
                      <a:pt x="647" y="490"/>
                    </a:lnTo>
                    <a:lnTo>
                      <a:pt x="647" y="492"/>
                    </a:lnTo>
                    <a:lnTo>
                      <a:pt x="645" y="492"/>
                    </a:lnTo>
                    <a:lnTo>
                      <a:pt x="643" y="493"/>
                    </a:lnTo>
                    <a:lnTo>
                      <a:pt x="643" y="495"/>
                    </a:lnTo>
                    <a:lnTo>
                      <a:pt x="645" y="495"/>
                    </a:lnTo>
                    <a:lnTo>
                      <a:pt x="645" y="497"/>
                    </a:lnTo>
                    <a:lnTo>
                      <a:pt x="643" y="499"/>
                    </a:lnTo>
                    <a:lnTo>
                      <a:pt x="641" y="499"/>
                    </a:lnTo>
                    <a:lnTo>
                      <a:pt x="639" y="499"/>
                    </a:lnTo>
                    <a:lnTo>
                      <a:pt x="639" y="501"/>
                    </a:lnTo>
                    <a:lnTo>
                      <a:pt x="639" y="503"/>
                    </a:lnTo>
                    <a:lnTo>
                      <a:pt x="638" y="503"/>
                    </a:lnTo>
                    <a:lnTo>
                      <a:pt x="638" y="505"/>
                    </a:lnTo>
                    <a:lnTo>
                      <a:pt x="638" y="507"/>
                    </a:lnTo>
                    <a:lnTo>
                      <a:pt x="639" y="507"/>
                    </a:lnTo>
                    <a:lnTo>
                      <a:pt x="641" y="507"/>
                    </a:lnTo>
                    <a:lnTo>
                      <a:pt x="641" y="509"/>
                    </a:lnTo>
                    <a:lnTo>
                      <a:pt x="641" y="511"/>
                    </a:lnTo>
                    <a:lnTo>
                      <a:pt x="643" y="511"/>
                    </a:lnTo>
                    <a:lnTo>
                      <a:pt x="643" y="513"/>
                    </a:lnTo>
                    <a:lnTo>
                      <a:pt x="643" y="515"/>
                    </a:lnTo>
                    <a:lnTo>
                      <a:pt x="645" y="515"/>
                    </a:lnTo>
                    <a:lnTo>
                      <a:pt x="645" y="517"/>
                    </a:lnTo>
                    <a:lnTo>
                      <a:pt x="645" y="518"/>
                    </a:lnTo>
                    <a:lnTo>
                      <a:pt x="643" y="518"/>
                    </a:lnTo>
                    <a:lnTo>
                      <a:pt x="643" y="520"/>
                    </a:lnTo>
                    <a:lnTo>
                      <a:pt x="645" y="520"/>
                    </a:lnTo>
                    <a:lnTo>
                      <a:pt x="645" y="522"/>
                    </a:lnTo>
                    <a:lnTo>
                      <a:pt x="647" y="522"/>
                    </a:lnTo>
                    <a:lnTo>
                      <a:pt x="649" y="522"/>
                    </a:lnTo>
                    <a:lnTo>
                      <a:pt x="649" y="524"/>
                    </a:lnTo>
                    <a:lnTo>
                      <a:pt x="651" y="526"/>
                    </a:lnTo>
                    <a:lnTo>
                      <a:pt x="651" y="528"/>
                    </a:lnTo>
                    <a:lnTo>
                      <a:pt x="649" y="528"/>
                    </a:lnTo>
                    <a:lnTo>
                      <a:pt x="649" y="530"/>
                    </a:lnTo>
                    <a:lnTo>
                      <a:pt x="651" y="530"/>
                    </a:lnTo>
                    <a:lnTo>
                      <a:pt x="653" y="530"/>
                    </a:lnTo>
                    <a:lnTo>
                      <a:pt x="653" y="532"/>
                    </a:lnTo>
                    <a:lnTo>
                      <a:pt x="655" y="532"/>
                    </a:lnTo>
                    <a:lnTo>
                      <a:pt x="655" y="534"/>
                    </a:lnTo>
                    <a:lnTo>
                      <a:pt x="657" y="534"/>
                    </a:lnTo>
                    <a:lnTo>
                      <a:pt x="657" y="536"/>
                    </a:lnTo>
                    <a:lnTo>
                      <a:pt x="659" y="538"/>
                    </a:lnTo>
                    <a:lnTo>
                      <a:pt x="659" y="540"/>
                    </a:lnTo>
                    <a:lnTo>
                      <a:pt x="661" y="540"/>
                    </a:lnTo>
                    <a:lnTo>
                      <a:pt x="661" y="541"/>
                    </a:lnTo>
                    <a:lnTo>
                      <a:pt x="661" y="543"/>
                    </a:lnTo>
                    <a:lnTo>
                      <a:pt x="661" y="545"/>
                    </a:lnTo>
                    <a:lnTo>
                      <a:pt x="663" y="545"/>
                    </a:lnTo>
                    <a:lnTo>
                      <a:pt x="663" y="547"/>
                    </a:lnTo>
                    <a:lnTo>
                      <a:pt x="663" y="549"/>
                    </a:lnTo>
                    <a:lnTo>
                      <a:pt x="664" y="549"/>
                    </a:lnTo>
                    <a:lnTo>
                      <a:pt x="664" y="551"/>
                    </a:lnTo>
                    <a:lnTo>
                      <a:pt x="664" y="553"/>
                    </a:lnTo>
                    <a:lnTo>
                      <a:pt x="664" y="555"/>
                    </a:lnTo>
                    <a:lnTo>
                      <a:pt x="664" y="557"/>
                    </a:lnTo>
                    <a:lnTo>
                      <a:pt x="663" y="557"/>
                    </a:lnTo>
                    <a:lnTo>
                      <a:pt x="663" y="559"/>
                    </a:lnTo>
                    <a:lnTo>
                      <a:pt x="661" y="559"/>
                    </a:lnTo>
                    <a:lnTo>
                      <a:pt x="661" y="561"/>
                    </a:lnTo>
                    <a:lnTo>
                      <a:pt x="659" y="561"/>
                    </a:lnTo>
                    <a:lnTo>
                      <a:pt x="657" y="561"/>
                    </a:lnTo>
                    <a:lnTo>
                      <a:pt x="655" y="561"/>
                    </a:lnTo>
                    <a:lnTo>
                      <a:pt x="653" y="563"/>
                    </a:lnTo>
                    <a:lnTo>
                      <a:pt x="653" y="564"/>
                    </a:lnTo>
                    <a:lnTo>
                      <a:pt x="651" y="564"/>
                    </a:lnTo>
                    <a:lnTo>
                      <a:pt x="649" y="564"/>
                    </a:lnTo>
                    <a:lnTo>
                      <a:pt x="649" y="566"/>
                    </a:lnTo>
                    <a:lnTo>
                      <a:pt x="647" y="566"/>
                    </a:lnTo>
                    <a:lnTo>
                      <a:pt x="647" y="568"/>
                    </a:lnTo>
                    <a:lnTo>
                      <a:pt x="647" y="570"/>
                    </a:lnTo>
                    <a:lnTo>
                      <a:pt x="645" y="570"/>
                    </a:lnTo>
                    <a:lnTo>
                      <a:pt x="645" y="572"/>
                    </a:lnTo>
                    <a:lnTo>
                      <a:pt x="645" y="574"/>
                    </a:lnTo>
                    <a:lnTo>
                      <a:pt x="643" y="574"/>
                    </a:lnTo>
                    <a:lnTo>
                      <a:pt x="643" y="576"/>
                    </a:lnTo>
                    <a:lnTo>
                      <a:pt x="643" y="578"/>
                    </a:lnTo>
                    <a:lnTo>
                      <a:pt x="643" y="580"/>
                    </a:lnTo>
                    <a:lnTo>
                      <a:pt x="641" y="580"/>
                    </a:lnTo>
                    <a:lnTo>
                      <a:pt x="643" y="580"/>
                    </a:lnTo>
                    <a:lnTo>
                      <a:pt x="641" y="582"/>
                    </a:lnTo>
                    <a:lnTo>
                      <a:pt x="641" y="584"/>
                    </a:lnTo>
                    <a:lnTo>
                      <a:pt x="641" y="586"/>
                    </a:lnTo>
                    <a:lnTo>
                      <a:pt x="639" y="586"/>
                    </a:lnTo>
                    <a:lnTo>
                      <a:pt x="639" y="588"/>
                    </a:lnTo>
                    <a:lnTo>
                      <a:pt x="638" y="588"/>
                    </a:lnTo>
                    <a:lnTo>
                      <a:pt x="638" y="589"/>
                    </a:lnTo>
                    <a:lnTo>
                      <a:pt x="636" y="589"/>
                    </a:lnTo>
                    <a:lnTo>
                      <a:pt x="632" y="588"/>
                    </a:lnTo>
                    <a:lnTo>
                      <a:pt x="630" y="588"/>
                    </a:lnTo>
                    <a:lnTo>
                      <a:pt x="628" y="588"/>
                    </a:lnTo>
                    <a:lnTo>
                      <a:pt x="628" y="589"/>
                    </a:lnTo>
                    <a:lnTo>
                      <a:pt x="626" y="589"/>
                    </a:lnTo>
                    <a:lnTo>
                      <a:pt x="624" y="591"/>
                    </a:lnTo>
                    <a:lnTo>
                      <a:pt x="622" y="589"/>
                    </a:lnTo>
                    <a:lnTo>
                      <a:pt x="620" y="589"/>
                    </a:lnTo>
                    <a:lnTo>
                      <a:pt x="620" y="588"/>
                    </a:lnTo>
                    <a:lnTo>
                      <a:pt x="618" y="588"/>
                    </a:lnTo>
                    <a:lnTo>
                      <a:pt x="616" y="588"/>
                    </a:lnTo>
                    <a:lnTo>
                      <a:pt x="616" y="586"/>
                    </a:lnTo>
                    <a:lnTo>
                      <a:pt x="615" y="586"/>
                    </a:lnTo>
                    <a:lnTo>
                      <a:pt x="615" y="584"/>
                    </a:lnTo>
                    <a:lnTo>
                      <a:pt x="613" y="584"/>
                    </a:lnTo>
                    <a:lnTo>
                      <a:pt x="611" y="584"/>
                    </a:lnTo>
                    <a:lnTo>
                      <a:pt x="609" y="584"/>
                    </a:lnTo>
                    <a:lnTo>
                      <a:pt x="607" y="582"/>
                    </a:lnTo>
                    <a:lnTo>
                      <a:pt x="605" y="580"/>
                    </a:lnTo>
                    <a:lnTo>
                      <a:pt x="603" y="580"/>
                    </a:lnTo>
                    <a:lnTo>
                      <a:pt x="601" y="580"/>
                    </a:lnTo>
                    <a:lnTo>
                      <a:pt x="597" y="582"/>
                    </a:lnTo>
                    <a:lnTo>
                      <a:pt x="595" y="582"/>
                    </a:lnTo>
                    <a:lnTo>
                      <a:pt x="593" y="584"/>
                    </a:lnTo>
                    <a:lnTo>
                      <a:pt x="591" y="584"/>
                    </a:lnTo>
                    <a:lnTo>
                      <a:pt x="591" y="586"/>
                    </a:lnTo>
                    <a:lnTo>
                      <a:pt x="590" y="586"/>
                    </a:lnTo>
                    <a:lnTo>
                      <a:pt x="590" y="588"/>
                    </a:lnTo>
                    <a:lnTo>
                      <a:pt x="588" y="588"/>
                    </a:lnTo>
                    <a:lnTo>
                      <a:pt x="588" y="589"/>
                    </a:lnTo>
                    <a:lnTo>
                      <a:pt x="586" y="591"/>
                    </a:lnTo>
                    <a:lnTo>
                      <a:pt x="586" y="593"/>
                    </a:lnTo>
                    <a:lnTo>
                      <a:pt x="586" y="595"/>
                    </a:lnTo>
                    <a:lnTo>
                      <a:pt x="584" y="595"/>
                    </a:lnTo>
                    <a:lnTo>
                      <a:pt x="582" y="595"/>
                    </a:lnTo>
                    <a:lnTo>
                      <a:pt x="580" y="595"/>
                    </a:lnTo>
                    <a:lnTo>
                      <a:pt x="580" y="597"/>
                    </a:lnTo>
                    <a:lnTo>
                      <a:pt x="578" y="597"/>
                    </a:lnTo>
                    <a:lnTo>
                      <a:pt x="576" y="597"/>
                    </a:lnTo>
                    <a:lnTo>
                      <a:pt x="574" y="597"/>
                    </a:lnTo>
                    <a:lnTo>
                      <a:pt x="572" y="595"/>
                    </a:lnTo>
                    <a:lnTo>
                      <a:pt x="570" y="593"/>
                    </a:lnTo>
                    <a:lnTo>
                      <a:pt x="570" y="591"/>
                    </a:lnTo>
                    <a:lnTo>
                      <a:pt x="568" y="593"/>
                    </a:lnTo>
                    <a:lnTo>
                      <a:pt x="567" y="591"/>
                    </a:lnTo>
                    <a:lnTo>
                      <a:pt x="567" y="593"/>
                    </a:lnTo>
                    <a:lnTo>
                      <a:pt x="565" y="593"/>
                    </a:lnTo>
                    <a:lnTo>
                      <a:pt x="563" y="593"/>
                    </a:lnTo>
                    <a:lnTo>
                      <a:pt x="563" y="595"/>
                    </a:lnTo>
                    <a:lnTo>
                      <a:pt x="561" y="595"/>
                    </a:lnTo>
                    <a:lnTo>
                      <a:pt x="561" y="597"/>
                    </a:lnTo>
                    <a:lnTo>
                      <a:pt x="561" y="595"/>
                    </a:lnTo>
                    <a:lnTo>
                      <a:pt x="559" y="595"/>
                    </a:lnTo>
                    <a:lnTo>
                      <a:pt x="559" y="597"/>
                    </a:lnTo>
                    <a:lnTo>
                      <a:pt x="557" y="597"/>
                    </a:lnTo>
                    <a:lnTo>
                      <a:pt x="555" y="597"/>
                    </a:lnTo>
                    <a:lnTo>
                      <a:pt x="553" y="597"/>
                    </a:lnTo>
                    <a:lnTo>
                      <a:pt x="551" y="597"/>
                    </a:lnTo>
                    <a:lnTo>
                      <a:pt x="551" y="595"/>
                    </a:lnTo>
                    <a:lnTo>
                      <a:pt x="549" y="595"/>
                    </a:lnTo>
                    <a:lnTo>
                      <a:pt x="547" y="595"/>
                    </a:lnTo>
                    <a:lnTo>
                      <a:pt x="547" y="597"/>
                    </a:lnTo>
                    <a:lnTo>
                      <a:pt x="545" y="597"/>
                    </a:lnTo>
                    <a:lnTo>
                      <a:pt x="543" y="597"/>
                    </a:lnTo>
                    <a:lnTo>
                      <a:pt x="543" y="599"/>
                    </a:lnTo>
                    <a:lnTo>
                      <a:pt x="542" y="597"/>
                    </a:lnTo>
                    <a:lnTo>
                      <a:pt x="542" y="599"/>
                    </a:lnTo>
                    <a:lnTo>
                      <a:pt x="542" y="597"/>
                    </a:lnTo>
                    <a:lnTo>
                      <a:pt x="542" y="599"/>
                    </a:lnTo>
                    <a:lnTo>
                      <a:pt x="540" y="599"/>
                    </a:lnTo>
                    <a:lnTo>
                      <a:pt x="540" y="597"/>
                    </a:lnTo>
                    <a:lnTo>
                      <a:pt x="538" y="597"/>
                    </a:lnTo>
                    <a:lnTo>
                      <a:pt x="538" y="595"/>
                    </a:lnTo>
                    <a:lnTo>
                      <a:pt x="538" y="593"/>
                    </a:lnTo>
                    <a:lnTo>
                      <a:pt x="536" y="593"/>
                    </a:lnTo>
                    <a:lnTo>
                      <a:pt x="536" y="591"/>
                    </a:lnTo>
                    <a:lnTo>
                      <a:pt x="534" y="591"/>
                    </a:lnTo>
                    <a:lnTo>
                      <a:pt x="534" y="589"/>
                    </a:lnTo>
                    <a:lnTo>
                      <a:pt x="532" y="589"/>
                    </a:lnTo>
                    <a:lnTo>
                      <a:pt x="532" y="588"/>
                    </a:lnTo>
                    <a:lnTo>
                      <a:pt x="532" y="589"/>
                    </a:lnTo>
                    <a:lnTo>
                      <a:pt x="530" y="589"/>
                    </a:lnTo>
                    <a:lnTo>
                      <a:pt x="530" y="588"/>
                    </a:lnTo>
                    <a:lnTo>
                      <a:pt x="528" y="588"/>
                    </a:lnTo>
                    <a:lnTo>
                      <a:pt x="526" y="588"/>
                    </a:lnTo>
                    <a:lnTo>
                      <a:pt x="526" y="586"/>
                    </a:lnTo>
                    <a:lnTo>
                      <a:pt x="524" y="586"/>
                    </a:lnTo>
                    <a:lnTo>
                      <a:pt x="524" y="588"/>
                    </a:lnTo>
                    <a:lnTo>
                      <a:pt x="522" y="588"/>
                    </a:lnTo>
                    <a:lnTo>
                      <a:pt x="522" y="586"/>
                    </a:lnTo>
                    <a:lnTo>
                      <a:pt x="520" y="586"/>
                    </a:lnTo>
                    <a:lnTo>
                      <a:pt x="518" y="586"/>
                    </a:lnTo>
                    <a:lnTo>
                      <a:pt x="518" y="588"/>
                    </a:lnTo>
                    <a:lnTo>
                      <a:pt x="517" y="588"/>
                    </a:lnTo>
                    <a:lnTo>
                      <a:pt x="517" y="586"/>
                    </a:lnTo>
                    <a:lnTo>
                      <a:pt x="515" y="586"/>
                    </a:lnTo>
                    <a:lnTo>
                      <a:pt x="513" y="586"/>
                    </a:lnTo>
                    <a:lnTo>
                      <a:pt x="511" y="586"/>
                    </a:lnTo>
                    <a:lnTo>
                      <a:pt x="509" y="586"/>
                    </a:lnTo>
                    <a:lnTo>
                      <a:pt x="509" y="584"/>
                    </a:lnTo>
                    <a:lnTo>
                      <a:pt x="509" y="582"/>
                    </a:lnTo>
                    <a:lnTo>
                      <a:pt x="507" y="582"/>
                    </a:lnTo>
                    <a:lnTo>
                      <a:pt x="507" y="580"/>
                    </a:lnTo>
                    <a:lnTo>
                      <a:pt x="507" y="578"/>
                    </a:lnTo>
                    <a:lnTo>
                      <a:pt x="507" y="576"/>
                    </a:lnTo>
                    <a:lnTo>
                      <a:pt x="507" y="574"/>
                    </a:lnTo>
                    <a:lnTo>
                      <a:pt x="505" y="574"/>
                    </a:lnTo>
                    <a:lnTo>
                      <a:pt x="505" y="572"/>
                    </a:lnTo>
                    <a:lnTo>
                      <a:pt x="503" y="572"/>
                    </a:lnTo>
                    <a:lnTo>
                      <a:pt x="503" y="570"/>
                    </a:lnTo>
                    <a:lnTo>
                      <a:pt x="501" y="570"/>
                    </a:lnTo>
                    <a:lnTo>
                      <a:pt x="501" y="568"/>
                    </a:lnTo>
                    <a:lnTo>
                      <a:pt x="499" y="568"/>
                    </a:lnTo>
                    <a:lnTo>
                      <a:pt x="499" y="566"/>
                    </a:lnTo>
                    <a:lnTo>
                      <a:pt x="497" y="566"/>
                    </a:lnTo>
                    <a:lnTo>
                      <a:pt x="497" y="564"/>
                    </a:lnTo>
                    <a:lnTo>
                      <a:pt x="495" y="566"/>
                    </a:lnTo>
                    <a:lnTo>
                      <a:pt x="495" y="564"/>
                    </a:lnTo>
                    <a:lnTo>
                      <a:pt x="494" y="564"/>
                    </a:lnTo>
                    <a:lnTo>
                      <a:pt x="492" y="564"/>
                    </a:lnTo>
                    <a:lnTo>
                      <a:pt x="492" y="566"/>
                    </a:lnTo>
                    <a:lnTo>
                      <a:pt x="490" y="566"/>
                    </a:lnTo>
                    <a:lnTo>
                      <a:pt x="490" y="564"/>
                    </a:lnTo>
                    <a:lnTo>
                      <a:pt x="488" y="563"/>
                    </a:lnTo>
                    <a:lnTo>
                      <a:pt x="488" y="561"/>
                    </a:lnTo>
                    <a:lnTo>
                      <a:pt x="486" y="561"/>
                    </a:lnTo>
                    <a:lnTo>
                      <a:pt x="486" y="559"/>
                    </a:lnTo>
                    <a:lnTo>
                      <a:pt x="486" y="557"/>
                    </a:lnTo>
                    <a:lnTo>
                      <a:pt x="484" y="557"/>
                    </a:lnTo>
                    <a:lnTo>
                      <a:pt x="482" y="557"/>
                    </a:lnTo>
                    <a:lnTo>
                      <a:pt x="482" y="559"/>
                    </a:lnTo>
                    <a:lnTo>
                      <a:pt x="480" y="559"/>
                    </a:lnTo>
                    <a:lnTo>
                      <a:pt x="478" y="559"/>
                    </a:lnTo>
                    <a:lnTo>
                      <a:pt x="476" y="559"/>
                    </a:lnTo>
                    <a:lnTo>
                      <a:pt x="474" y="559"/>
                    </a:lnTo>
                    <a:lnTo>
                      <a:pt x="476" y="557"/>
                    </a:lnTo>
                    <a:lnTo>
                      <a:pt x="476" y="555"/>
                    </a:lnTo>
                    <a:lnTo>
                      <a:pt x="474" y="555"/>
                    </a:lnTo>
                    <a:lnTo>
                      <a:pt x="472" y="555"/>
                    </a:lnTo>
                    <a:lnTo>
                      <a:pt x="472" y="557"/>
                    </a:lnTo>
                    <a:lnTo>
                      <a:pt x="470" y="557"/>
                    </a:lnTo>
                    <a:lnTo>
                      <a:pt x="470" y="555"/>
                    </a:lnTo>
                    <a:lnTo>
                      <a:pt x="469" y="555"/>
                    </a:lnTo>
                    <a:lnTo>
                      <a:pt x="467" y="555"/>
                    </a:lnTo>
                    <a:lnTo>
                      <a:pt x="467" y="557"/>
                    </a:lnTo>
                    <a:lnTo>
                      <a:pt x="467" y="559"/>
                    </a:lnTo>
                    <a:lnTo>
                      <a:pt x="465" y="559"/>
                    </a:lnTo>
                    <a:lnTo>
                      <a:pt x="465" y="561"/>
                    </a:lnTo>
                    <a:lnTo>
                      <a:pt x="463" y="561"/>
                    </a:lnTo>
                    <a:lnTo>
                      <a:pt x="461" y="561"/>
                    </a:lnTo>
                    <a:lnTo>
                      <a:pt x="459" y="561"/>
                    </a:lnTo>
                    <a:lnTo>
                      <a:pt x="457" y="561"/>
                    </a:lnTo>
                    <a:lnTo>
                      <a:pt x="455" y="561"/>
                    </a:lnTo>
                    <a:lnTo>
                      <a:pt x="453" y="561"/>
                    </a:lnTo>
                    <a:lnTo>
                      <a:pt x="451" y="561"/>
                    </a:lnTo>
                    <a:lnTo>
                      <a:pt x="449" y="561"/>
                    </a:lnTo>
                    <a:lnTo>
                      <a:pt x="447" y="561"/>
                    </a:lnTo>
                    <a:lnTo>
                      <a:pt x="447" y="559"/>
                    </a:lnTo>
                    <a:lnTo>
                      <a:pt x="447" y="561"/>
                    </a:lnTo>
                    <a:lnTo>
                      <a:pt x="446" y="561"/>
                    </a:lnTo>
                    <a:lnTo>
                      <a:pt x="444" y="561"/>
                    </a:lnTo>
                    <a:lnTo>
                      <a:pt x="444" y="563"/>
                    </a:lnTo>
                    <a:lnTo>
                      <a:pt x="442" y="563"/>
                    </a:lnTo>
                    <a:lnTo>
                      <a:pt x="440" y="563"/>
                    </a:lnTo>
                    <a:lnTo>
                      <a:pt x="438" y="563"/>
                    </a:lnTo>
                    <a:lnTo>
                      <a:pt x="438" y="561"/>
                    </a:lnTo>
                    <a:lnTo>
                      <a:pt x="438" y="559"/>
                    </a:lnTo>
                    <a:lnTo>
                      <a:pt x="436" y="559"/>
                    </a:lnTo>
                    <a:lnTo>
                      <a:pt x="436" y="557"/>
                    </a:lnTo>
                    <a:lnTo>
                      <a:pt x="436" y="555"/>
                    </a:lnTo>
                    <a:lnTo>
                      <a:pt x="436" y="553"/>
                    </a:lnTo>
                    <a:lnTo>
                      <a:pt x="434" y="553"/>
                    </a:lnTo>
                    <a:lnTo>
                      <a:pt x="436" y="553"/>
                    </a:lnTo>
                    <a:lnTo>
                      <a:pt x="436" y="551"/>
                    </a:lnTo>
                    <a:lnTo>
                      <a:pt x="434" y="551"/>
                    </a:lnTo>
                    <a:lnTo>
                      <a:pt x="434" y="549"/>
                    </a:lnTo>
                    <a:lnTo>
                      <a:pt x="434" y="547"/>
                    </a:lnTo>
                    <a:lnTo>
                      <a:pt x="436" y="547"/>
                    </a:lnTo>
                    <a:lnTo>
                      <a:pt x="434" y="547"/>
                    </a:lnTo>
                    <a:lnTo>
                      <a:pt x="434" y="545"/>
                    </a:lnTo>
                    <a:lnTo>
                      <a:pt x="432" y="545"/>
                    </a:lnTo>
                    <a:lnTo>
                      <a:pt x="432" y="543"/>
                    </a:lnTo>
                    <a:lnTo>
                      <a:pt x="432" y="541"/>
                    </a:lnTo>
                    <a:lnTo>
                      <a:pt x="432" y="540"/>
                    </a:lnTo>
                    <a:lnTo>
                      <a:pt x="430" y="540"/>
                    </a:lnTo>
                    <a:lnTo>
                      <a:pt x="430" y="538"/>
                    </a:lnTo>
                    <a:lnTo>
                      <a:pt x="428" y="538"/>
                    </a:lnTo>
                    <a:lnTo>
                      <a:pt x="426" y="538"/>
                    </a:lnTo>
                    <a:lnTo>
                      <a:pt x="424" y="538"/>
                    </a:lnTo>
                    <a:lnTo>
                      <a:pt x="424" y="536"/>
                    </a:lnTo>
                    <a:lnTo>
                      <a:pt x="422" y="536"/>
                    </a:lnTo>
                    <a:lnTo>
                      <a:pt x="422" y="534"/>
                    </a:lnTo>
                    <a:lnTo>
                      <a:pt x="421" y="532"/>
                    </a:lnTo>
                    <a:lnTo>
                      <a:pt x="419" y="532"/>
                    </a:lnTo>
                    <a:lnTo>
                      <a:pt x="417" y="532"/>
                    </a:lnTo>
                    <a:lnTo>
                      <a:pt x="415" y="532"/>
                    </a:lnTo>
                    <a:lnTo>
                      <a:pt x="415" y="530"/>
                    </a:lnTo>
                    <a:lnTo>
                      <a:pt x="413" y="530"/>
                    </a:lnTo>
                    <a:lnTo>
                      <a:pt x="411" y="530"/>
                    </a:lnTo>
                    <a:lnTo>
                      <a:pt x="409" y="530"/>
                    </a:lnTo>
                    <a:lnTo>
                      <a:pt x="407" y="530"/>
                    </a:lnTo>
                    <a:lnTo>
                      <a:pt x="405" y="530"/>
                    </a:lnTo>
                    <a:lnTo>
                      <a:pt x="405" y="532"/>
                    </a:lnTo>
                    <a:lnTo>
                      <a:pt x="403" y="532"/>
                    </a:lnTo>
                    <a:lnTo>
                      <a:pt x="403" y="530"/>
                    </a:lnTo>
                    <a:lnTo>
                      <a:pt x="403" y="528"/>
                    </a:lnTo>
                    <a:lnTo>
                      <a:pt x="401" y="528"/>
                    </a:lnTo>
                    <a:lnTo>
                      <a:pt x="401" y="530"/>
                    </a:lnTo>
                    <a:lnTo>
                      <a:pt x="399" y="530"/>
                    </a:lnTo>
                    <a:lnTo>
                      <a:pt x="398" y="530"/>
                    </a:lnTo>
                    <a:lnTo>
                      <a:pt x="396" y="530"/>
                    </a:lnTo>
                    <a:lnTo>
                      <a:pt x="394" y="530"/>
                    </a:lnTo>
                    <a:lnTo>
                      <a:pt x="392" y="530"/>
                    </a:lnTo>
                    <a:lnTo>
                      <a:pt x="390" y="530"/>
                    </a:lnTo>
                    <a:lnTo>
                      <a:pt x="388" y="530"/>
                    </a:lnTo>
                    <a:lnTo>
                      <a:pt x="388" y="528"/>
                    </a:lnTo>
                    <a:lnTo>
                      <a:pt x="386" y="528"/>
                    </a:lnTo>
                    <a:lnTo>
                      <a:pt x="386" y="526"/>
                    </a:lnTo>
                    <a:lnTo>
                      <a:pt x="384" y="526"/>
                    </a:lnTo>
                    <a:lnTo>
                      <a:pt x="384" y="524"/>
                    </a:lnTo>
                    <a:lnTo>
                      <a:pt x="384" y="522"/>
                    </a:lnTo>
                    <a:lnTo>
                      <a:pt x="382" y="522"/>
                    </a:lnTo>
                    <a:lnTo>
                      <a:pt x="382" y="520"/>
                    </a:lnTo>
                    <a:lnTo>
                      <a:pt x="380" y="520"/>
                    </a:lnTo>
                    <a:lnTo>
                      <a:pt x="378" y="520"/>
                    </a:lnTo>
                    <a:lnTo>
                      <a:pt x="378" y="518"/>
                    </a:lnTo>
                    <a:lnTo>
                      <a:pt x="378" y="517"/>
                    </a:lnTo>
                    <a:lnTo>
                      <a:pt x="376" y="517"/>
                    </a:lnTo>
                    <a:lnTo>
                      <a:pt x="374" y="517"/>
                    </a:lnTo>
                    <a:lnTo>
                      <a:pt x="374" y="518"/>
                    </a:lnTo>
                    <a:lnTo>
                      <a:pt x="373" y="517"/>
                    </a:lnTo>
                    <a:lnTo>
                      <a:pt x="371" y="517"/>
                    </a:lnTo>
                    <a:lnTo>
                      <a:pt x="369" y="517"/>
                    </a:lnTo>
                    <a:lnTo>
                      <a:pt x="367" y="517"/>
                    </a:lnTo>
                    <a:lnTo>
                      <a:pt x="365" y="517"/>
                    </a:lnTo>
                    <a:lnTo>
                      <a:pt x="363" y="517"/>
                    </a:lnTo>
                    <a:lnTo>
                      <a:pt x="361" y="515"/>
                    </a:lnTo>
                    <a:lnTo>
                      <a:pt x="359" y="515"/>
                    </a:lnTo>
                    <a:lnTo>
                      <a:pt x="359" y="513"/>
                    </a:lnTo>
                    <a:lnTo>
                      <a:pt x="357" y="513"/>
                    </a:lnTo>
                    <a:lnTo>
                      <a:pt x="355" y="511"/>
                    </a:lnTo>
                    <a:lnTo>
                      <a:pt x="355" y="509"/>
                    </a:lnTo>
                    <a:lnTo>
                      <a:pt x="355" y="507"/>
                    </a:lnTo>
                    <a:lnTo>
                      <a:pt x="353" y="507"/>
                    </a:lnTo>
                    <a:lnTo>
                      <a:pt x="353" y="509"/>
                    </a:lnTo>
                    <a:lnTo>
                      <a:pt x="353" y="511"/>
                    </a:lnTo>
                    <a:lnTo>
                      <a:pt x="351" y="511"/>
                    </a:lnTo>
                    <a:lnTo>
                      <a:pt x="353" y="511"/>
                    </a:lnTo>
                    <a:lnTo>
                      <a:pt x="351" y="511"/>
                    </a:lnTo>
                    <a:lnTo>
                      <a:pt x="351" y="513"/>
                    </a:lnTo>
                    <a:lnTo>
                      <a:pt x="351" y="515"/>
                    </a:lnTo>
                    <a:lnTo>
                      <a:pt x="350" y="515"/>
                    </a:lnTo>
                    <a:lnTo>
                      <a:pt x="350" y="517"/>
                    </a:lnTo>
                    <a:lnTo>
                      <a:pt x="350" y="518"/>
                    </a:lnTo>
                    <a:lnTo>
                      <a:pt x="348" y="518"/>
                    </a:lnTo>
                    <a:lnTo>
                      <a:pt x="348" y="520"/>
                    </a:lnTo>
                    <a:lnTo>
                      <a:pt x="346" y="520"/>
                    </a:lnTo>
                    <a:lnTo>
                      <a:pt x="346" y="522"/>
                    </a:lnTo>
                    <a:lnTo>
                      <a:pt x="344" y="522"/>
                    </a:lnTo>
                    <a:lnTo>
                      <a:pt x="344" y="524"/>
                    </a:lnTo>
                    <a:lnTo>
                      <a:pt x="342" y="524"/>
                    </a:lnTo>
                    <a:lnTo>
                      <a:pt x="342" y="526"/>
                    </a:lnTo>
                    <a:lnTo>
                      <a:pt x="344" y="526"/>
                    </a:lnTo>
                    <a:lnTo>
                      <a:pt x="342" y="526"/>
                    </a:lnTo>
                    <a:lnTo>
                      <a:pt x="342" y="528"/>
                    </a:lnTo>
                    <a:lnTo>
                      <a:pt x="340" y="528"/>
                    </a:lnTo>
                    <a:lnTo>
                      <a:pt x="340" y="526"/>
                    </a:lnTo>
                    <a:lnTo>
                      <a:pt x="338" y="526"/>
                    </a:lnTo>
                    <a:lnTo>
                      <a:pt x="338" y="524"/>
                    </a:lnTo>
                    <a:lnTo>
                      <a:pt x="336" y="524"/>
                    </a:lnTo>
                    <a:lnTo>
                      <a:pt x="334" y="524"/>
                    </a:lnTo>
                    <a:lnTo>
                      <a:pt x="332" y="522"/>
                    </a:lnTo>
                    <a:lnTo>
                      <a:pt x="330" y="522"/>
                    </a:lnTo>
                    <a:lnTo>
                      <a:pt x="328" y="522"/>
                    </a:lnTo>
                    <a:lnTo>
                      <a:pt x="328" y="520"/>
                    </a:lnTo>
                    <a:lnTo>
                      <a:pt x="328" y="518"/>
                    </a:lnTo>
                    <a:lnTo>
                      <a:pt x="326" y="518"/>
                    </a:lnTo>
                    <a:lnTo>
                      <a:pt x="325" y="518"/>
                    </a:lnTo>
                    <a:lnTo>
                      <a:pt x="325" y="517"/>
                    </a:lnTo>
                    <a:lnTo>
                      <a:pt x="325" y="515"/>
                    </a:lnTo>
                    <a:lnTo>
                      <a:pt x="323" y="515"/>
                    </a:lnTo>
                    <a:lnTo>
                      <a:pt x="321" y="515"/>
                    </a:lnTo>
                    <a:lnTo>
                      <a:pt x="319" y="515"/>
                    </a:lnTo>
                    <a:lnTo>
                      <a:pt x="319" y="513"/>
                    </a:lnTo>
                    <a:lnTo>
                      <a:pt x="317" y="513"/>
                    </a:lnTo>
                    <a:lnTo>
                      <a:pt x="317" y="511"/>
                    </a:lnTo>
                    <a:lnTo>
                      <a:pt x="317" y="509"/>
                    </a:lnTo>
                    <a:lnTo>
                      <a:pt x="315" y="509"/>
                    </a:lnTo>
                    <a:lnTo>
                      <a:pt x="315" y="507"/>
                    </a:lnTo>
                    <a:lnTo>
                      <a:pt x="313" y="507"/>
                    </a:lnTo>
                    <a:lnTo>
                      <a:pt x="313" y="505"/>
                    </a:lnTo>
                    <a:lnTo>
                      <a:pt x="311" y="505"/>
                    </a:lnTo>
                    <a:lnTo>
                      <a:pt x="309" y="505"/>
                    </a:lnTo>
                    <a:lnTo>
                      <a:pt x="309" y="503"/>
                    </a:lnTo>
                    <a:lnTo>
                      <a:pt x="307" y="501"/>
                    </a:lnTo>
                    <a:lnTo>
                      <a:pt x="305" y="499"/>
                    </a:lnTo>
                    <a:lnTo>
                      <a:pt x="305" y="497"/>
                    </a:lnTo>
                    <a:lnTo>
                      <a:pt x="303" y="497"/>
                    </a:lnTo>
                    <a:lnTo>
                      <a:pt x="302" y="497"/>
                    </a:lnTo>
                    <a:lnTo>
                      <a:pt x="300" y="497"/>
                    </a:lnTo>
                    <a:lnTo>
                      <a:pt x="300" y="495"/>
                    </a:lnTo>
                    <a:lnTo>
                      <a:pt x="298" y="495"/>
                    </a:lnTo>
                    <a:lnTo>
                      <a:pt x="298" y="493"/>
                    </a:lnTo>
                    <a:lnTo>
                      <a:pt x="300" y="493"/>
                    </a:lnTo>
                    <a:lnTo>
                      <a:pt x="300" y="492"/>
                    </a:lnTo>
                    <a:lnTo>
                      <a:pt x="300" y="490"/>
                    </a:lnTo>
                    <a:lnTo>
                      <a:pt x="302" y="490"/>
                    </a:lnTo>
                    <a:lnTo>
                      <a:pt x="302" y="488"/>
                    </a:lnTo>
                    <a:lnTo>
                      <a:pt x="300" y="488"/>
                    </a:lnTo>
                    <a:lnTo>
                      <a:pt x="300" y="490"/>
                    </a:lnTo>
                    <a:lnTo>
                      <a:pt x="298" y="490"/>
                    </a:lnTo>
                    <a:lnTo>
                      <a:pt x="298" y="488"/>
                    </a:lnTo>
                    <a:lnTo>
                      <a:pt x="298" y="486"/>
                    </a:lnTo>
                    <a:lnTo>
                      <a:pt x="296" y="486"/>
                    </a:lnTo>
                    <a:lnTo>
                      <a:pt x="296" y="484"/>
                    </a:lnTo>
                    <a:lnTo>
                      <a:pt x="294" y="486"/>
                    </a:lnTo>
                    <a:lnTo>
                      <a:pt x="292" y="486"/>
                    </a:lnTo>
                    <a:lnTo>
                      <a:pt x="292" y="484"/>
                    </a:lnTo>
                    <a:lnTo>
                      <a:pt x="290" y="484"/>
                    </a:lnTo>
                    <a:lnTo>
                      <a:pt x="290" y="482"/>
                    </a:lnTo>
                    <a:lnTo>
                      <a:pt x="288" y="482"/>
                    </a:lnTo>
                    <a:lnTo>
                      <a:pt x="288" y="480"/>
                    </a:lnTo>
                    <a:lnTo>
                      <a:pt x="288" y="478"/>
                    </a:lnTo>
                    <a:lnTo>
                      <a:pt x="286" y="478"/>
                    </a:lnTo>
                    <a:lnTo>
                      <a:pt x="286" y="476"/>
                    </a:lnTo>
                    <a:lnTo>
                      <a:pt x="288" y="476"/>
                    </a:lnTo>
                    <a:lnTo>
                      <a:pt x="288" y="474"/>
                    </a:lnTo>
                    <a:lnTo>
                      <a:pt x="290" y="474"/>
                    </a:lnTo>
                    <a:lnTo>
                      <a:pt x="290" y="472"/>
                    </a:lnTo>
                    <a:lnTo>
                      <a:pt x="292" y="472"/>
                    </a:lnTo>
                    <a:lnTo>
                      <a:pt x="292" y="470"/>
                    </a:lnTo>
                    <a:lnTo>
                      <a:pt x="290" y="470"/>
                    </a:lnTo>
                    <a:lnTo>
                      <a:pt x="290" y="469"/>
                    </a:lnTo>
                    <a:lnTo>
                      <a:pt x="290" y="467"/>
                    </a:lnTo>
                    <a:lnTo>
                      <a:pt x="288" y="467"/>
                    </a:lnTo>
                    <a:lnTo>
                      <a:pt x="288" y="465"/>
                    </a:lnTo>
                    <a:lnTo>
                      <a:pt x="286" y="465"/>
                    </a:lnTo>
                    <a:lnTo>
                      <a:pt x="288" y="463"/>
                    </a:lnTo>
                    <a:lnTo>
                      <a:pt x="286" y="463"/>
                    </a:lnTo>
                    <a:lnTo>
                      <a:pt x="288" y="463"/>
                    </a:lnTo>
                    <a:lnTo>
                      <a:pt x="288" y="461"/>
                    </a:lnTo>
                    <a:lnTo>
                      <a:pt x="288" y="459"/>
                    </a:lnTo>
                    <a:lnTo>
                      <a:pt x="286" y="459"/>
                    </a:lnTo>
                    <a:lnTo>
                      <a:pt x="284" y="457"/>
                    </a:lnTo>
                    <a:lnTo>
                      <a:pt x="282" y="457"/>
                    </a:lnTo>
                    <a:lnTo>
                      <a:pt x="282" y="459"/>
                    </a:lnTo>
                    <a:lnTo>
                      <a:pt x="282" y="461"/>
                    </a:lnTo>
                    <a:lnTo>
                      <a:pt x="280" y="461"/>
                    </a:lnTo>
                    <a:lnTo>
                      <a:pt x="280" y="459"/>
                    </a:lnTo>
                    <a:lnTo>
                      <a:pt x="278" y="459"/>
                    </a:lnTo>
                    <a:lnTo>
                      <a:pt x="278" y="461"/>
                    </a:lnTo>
                    <a:lnTo>
                      <a:pt x="277" y="461"/>
                    </a:lnTo>
                    <a:lnTo>
                      <a:pt x="277" y="459"/>
                    </a:lnTo>
                    <a:lnTo>
                      <a:pt x="275" y="459"/>
                    </a:lnTo>
                    <a:lnTo>
                      <a:pt x="273" y="459"/>
                    </a:lnTo>
                    <a:lnTo>
                      <a:pt x="273" y="457"/>
                    </a:lnTo>
                    <a:lnTo>
                      <a:pt x="271" y="457"/>
                    </a:lnTo>
                    <a:lnTo>
                      <a:pt x="269" y="457"/>
                    </a:lnTo>
                    <a:lnTo>
                      <a:pt x="267" y="457"/>
                    </a:lnTo>
                    <a:lnTo>
                      <a:pt x="267" y="455"/>
                    </a:lnTo>
                    <a:lnTo>
                      <a:pt x="265" y="455"/>
                    </a:lnTo>
                    <a:lnTo>
                      <a:pt x="265" y="453"/>
                    </a:lnTo>
                    <a:lnTo>
                      <a:pt x="265" y="451"/>
                    </a:lnTo>
                    <a:lnTo>
                      <a:pt x="267" y="451"/>
                    </a:lnTo>
                    <a:lnTo>
                      <a:pt x="265" y="449"/>
                    </a:lnTo>
                    <a:lnTo>
                      <a:pt x="265" y="447"/>
                    </a:lnTo>
                    <a:lnTo>
                      <a:pt x="263" y="445"/>
                    </a:lnTo>
                    <a:lnTo>
                      <a:pt x="261" y="445"/>
                    </a:lnTo>
                    <a:lnTo>
                      <a:pt x="261" y="444"/>
                    </a:lnTo>
                    <a:lnTo>
                      <a:pt x="261" y="445"/>
                    </a:lnTo>
                    <a:lnTo>
                      <a:pt x="257" y="445"/>
                    </a:lnTo>
                    <a:lnTo>
                      <a:pt x="257" y="447"/>
                    </a:lnTo>
                    <a:lnTo>
                      <a:pt x="257" y="445"/>
                    </a:lnTo>
                    <a:lnTo>
                      <a:pt x="255" y="447"/>
                    </a:lnTo>
                    <a:lnTo>
                      <a:pt x="255" y="449"/>
                    </a:lnTo>
                    <a:lnTo>
                      <a:pt x="253" y="451"/>
                    </a:lnTo>
                    <a:lnTo>
                      <a:pt x="252" y="453"/>
                    </a:lnTo>
                    <a:lnTo>
                      <a:pt x="250" y="453"/>
                    </a:lnTo>
                    <a:lnTo>
                      <a:pt x="248" y="453"/>
                    </a:lnTo>
                    <a:lnTo>
                      <a:pt x="246" y="453"/>
                    </a:lnTo>
                    <a:lnTo>
                      <a:pt x="246" y="455"/>
                    </a:lnTo>
                    <a:lnTo>
                      <a:pt x="244" y="455"/>
                    </a:lnTo>
                    <a:lnTo>
                      <a:pt x="244" y="457"/>
                    </a:lnTo>
                    <a:lnTo>
                      <a:pt x="246" y="457"/>
                    </a:lnTo>
                    <a:lnTo>
                      <a:pt x="246" y="459"/>
                    </a:lnTo>
                    <a:lnTo>
                      <a:pt x="244" y="459"/>
                    </a:lnTo>
                    <a:lnTo>
                      <a:pt x="246" y="459"/>
                    </a:lnTo>
                    <a:lnTo>
                      <a:pt x="244" y="461"/>
                    </a:lnTo>
                    <a:lnTo>
                      <a:pt x="244" y="459"/>
                    </a:lnTo>
                    <a:lnTo>
                      <a:pt x="242" y="461"/>
                    </a:lnTo>
                    <a:lnTo>
                      <a:pt x="242" y="463"/>
                    </a:lnTo>
                    <a:lnTo>
                      <a:pt x="240" y="463"/>
                    </a:lnTo>
                    <a:lnTo>
                      <a:pt x="238" y="463"/>
                    </a:lnTo>
                    <a:lnTo>
                      <a:pt x="240" y="465"/>
                    </a:lnTo>
                    <a:lnTo>
                      <a:pt x="240" y="467"/>
                    </a:lnTo>
                    <a:lnTo>
                      <a:pt x="240" y="469"/>
                    </a:lnTo>
                    <a:lnTo>
                      <a:pt x="238" y="470"/>
                    </a:lnTo>
                    <a:lnTo>
                      <a:pt x="236" y="472"/>
                    </a:lnTo>
                    <a:lnTo>
                      <a:pt x="234" y="472"/>
                    </a:lnTo>
                    <a:lnTo>
                      <a:pt x="236" y="474"/>
                    </a:lnTo>
                    <a:lnTo>
                      <a:pt x="238" y="474"/>
                    </a:lnTo>
                    <a:lnTo>
                      <a:pt x="238" y="476"/>
                    </a:lnTo>
                    <a:lnTo>
                      <a:pt x="236" y="478"/>
                    </a:lnTo>
                    <a:lnTo>
                      <a:pt x="234" y="478"/>
                    </a:lnTo>
                    <a:lnTo>
                      <a:pt x="234" y="480"/>
                    </a:lnTo>
                    <a:lnTo>
                      <a:pt x="232" y="480"/>
                    </a:lnTo>
                    <a:lnTo>
                      <a:pt x="232" y="482"/>
                    </a:lnTo>
                    <a:lnTo>
                      <a:pt x="230" y="482"/>
                    </a:lnTo>
                    <a:lnTo>
                      <a:pt x="232" y="482"/>
                    </a:lnTo>
                    <a:lnTo>
                      <a:pt x="230" y="482"/>
                    </a:lnTo>
                    <a:lnTo>
                      <a:pt x="230" y="484"/>
                    </a:lnTo>
                    <a:lnTo>
                      <a:pt x="232" y="484"/>
                    </a:lnTo>
                    <a:lnTo>
                      <a:pt x="230" y="486"/>
                    </a:lnTo>
                    <a:lnTo>
                      <a:pt x="230" y="488"/>
                    </a:lnTo>
                    <a:lnTo>
                      <a:pt x="229" y="488"/>
                    </a:lnTo>
                    <a:lnTo>
                      <a:pt x="227" y="488"/>
                    </a:lnTo>
                    <a:lnTo>
                      <a:pt x="227" y="486"/>
                    </a:lnTo>
                    <a:lnTo>
                      <a:pt x="225" y="486"/>
                    </a:lnTo>
                    <a:lnTo>
                      <a:pt x="223" y="486"/>
                    </a:lnTo>
                    <a:lnTo>
                      <a:pt x="221" y="486"/>
                    </a:lnTo>
                    <a:lnTo>
                      <a:pt x="217" y="486"/>
                    </a:lnTo>
                    <a:lnTo>
                      <a:pt x="215" y="486"/>
                    </a:lnTo>
                    <a:lnTo>
                      <a:pt x="213" y="486"/>
                    </a:lnTo>
                    <a:lnTo>
                      <a:pt x="211" y="486"/>
                    </a:lnTo>
                    <a:lnTo>
                      <a:pt x="211" y="488"/>
                    </a:lnTo>
                    <a:lnTo>
                      <a:pt x="209" y="488"/>
                    </a:lnTo>
                    <a:lnTo>
                      <a:pt x="209" y="490"/>
                    </a:lnTo>
                    <a:lnTo>
                      <a:pt x="207" y="490"/>
                    </a:lnTo>
                    <a:lnTo>
                      <a:pt x="205" y="488"/>
                    </a:lnTo>
                    <a:lnTo>
                      <a:pt x="204" y="486"/>
                    </a:lnTo>
                    <a:lnTo>
                      <a:pt x="202" y="486"/>
                    </a:lnTo>
                    <a:lnTo>
                      <a:pt x="204" y="486"/>
                    </a:lnTo>
                    <a:lnTo>
                      <a:pt x="204" y="484"/>
                    </a:lnTo>
                    <a:lnTo>
                      <a:pt x="202" y="484"/>
                    </a:lnTo>
                    <a:lnTo>
                      <a:pt x="202" y="482"/>
                    </a:lnTo>
                    <a:lnTo>
                      <a:pt x="202" y="484"/>
                    </a:lnTo>
                    <a:lnTo>
                      <a:pt x="200" y="482"/>
                    </a:lnTo>
                    <a:lnTo>
                      <a:pt x="198" y="480"/>
                    </a:lnTo>
                    <a:lnTo>
                      <a:pt x="198" y="478"/>
                    </a:lnTo>
                    <a:lnTo>
                      <a:pt x="196" y="478"/>
                    </a:lnTo>
                    <a:lnTo>
                      <a:pt x="194" y="478"/>
                    </a:lnTo>
                    <a:lnTo>
                      <a:pt x="194" y="480"/>
                    </a:lnTo>
                    <a:lnTo>
                      <a:pt x="192" y="476"/>
                    </a:lnTo>
                    <a:lnTo>
                      <a:pt x="190" y="476"/>
                    </a:lnTo>
                    <a:lnTo>
                      <a:pt x="190" y="474"/>
                    </a:lnTo>
                    <a:lnTo>
                      <a:pt x="186" y="474"/>
                    </a:lnTo>
                    <a:lnTo>
                      <a:pt x="186" y="472"/>
                    </a:lnTo>
                    <a:lnTo>
                      <a:pt x="184" y="472"/>
                    </a:lnTo>
                    <a:lnTo>
                      <a:pt x="182" y="474"/>
                    </a:lnTo>
                    <a:lnTo>
                      <a:pt x="182" y="476"/>
                    </a:lnTo>
                    <a:lnTo>
                      <a:pt x="182" y="478"/>
                    </a:lnTo>
                    <a:lnTo>
                      <a:pt x="182" y="480"/>
                    </a:lnTo>
                    <a:lnTo>
                      <a:pt x="184" y="480"/>
                    </a:lnTo>
                    <a:lnTo>
                      <a:pt x="184" y="482"/>
                    </a:lnTo>
                    <a:lnTo>
                      <a:pt x="186" y="482"/>
                    </a:lnTo>
                    <a:lnTo>
                      <a:pt x="186" y="484"/>
                    </a:lnTo>
                    <a:lnTo>
                      <a:pt x="186" y="486"/>
                    </a:lnTo>
                    <a:lnTo>
                      <a:pt x="186" y="488"/>
                    </a:lnTo>
                    <a:lnTo>
                      <a:pt x="184" y="488"/>
                    </a:lnTo>
                    <a:lnTo>
                      <a:pt x="186" y="490"/>
                    </a:lnTo>
                    <a:lnTo>
                      <a:pt x="186" y="492"/>
                    </a:lnTo>
                    <a:lnTo>
                      <a:pt x="184" y="492"/>
                    </a:lnTo>
                    <a:lnTo>
                      <a:pt x="184" y="493"/>
                    </a:lnTo>
                    <a:lnTo>
                      <a:pt x="186" y="495"/>
                    </a:lnTo>
                    <a:lnTo>
                      <a:pt x="184" y="495"/>
                    </a:lnTo>
                    <a:lnTo>
                      <a:pt x="182" y="495"/>
                    </a:lnTo>
                    <a:lnTo>
                      <a:pt x="182" y="497"/>
                    </a:lnTo>
                    <a:lnTo>
                      <a:pt x="181" y="497"/>
                    </a:lnTo>
                    <a:lnTo>
                      <a:pt x="179" y="497"/>
                    </a:lnTo>
                    <a:lnTo>
                      <a:pt x="177" y="497"/>
                    </a:lnTo>
                    <a:lnTo>
                      <a:pt x="179" y="497"/>
                    </a:lnTo>
                    <a:lnTo>
                      <a:pt x="177" y="497"/>
                    </a:lnTo>
                    <a:lnTo>
                      <a:pt x="177" y="495"/>
                    </a:lnTo>
                    <a:lnTo>
                      <a:pt x="177" y="497"/>
                    </a:lnTo>
                    <a:lnTo>
                      <a:pt x="175" y="497"/>
                    </a:lnTo>
                    <a:lnTo>
                      <a:pt x="175" y="495"/>
                    </a:lnTo>
                    <a:lnTo>
                      <a:pt x="175" y="497"/>
                    </a:lnTo>
                    <a:lnTo>
                      <a:pt x="175" y="495"/>
                    </a:lnTo>
                    <a:lnTo>
                      <a:pt x="173" y="495"/>
                    </a:lnTo>
                    <a:lnTo>
                      <a:pt x="173" y="497"/>
                    </a:lnTo>
                    <a:lnTo>
                      <a:pt x="171" y="497"/>
                    </a:lnTo>
                    <a:lnTo>
                      <a:pt x="173" y="497"/>
                    </a:lnTo>
                    <a:lnTo>
                      <a:pt x="171" y="497"/>
                    </a:lnTo>
                    <a:lnTo>
                      <a:pt x="169" y="497"/>
                    </a:lnTo>
                    <a:lnTo>
                      <a:pt x="169" y="495"/>
                    </a:lnTo>
                    <a:lnTo>
                      <a:pt x="171" y="495"/>
                    </a:lnTo>
                    <a:lnTo>
                      <a:pt x="169" y="493"/>
                    </a:lnTo>
                    <a:lnTo>
                      <a:pt x="171" y="493"/>
                    </a:lnTo>
                    <a:lnTo>
                      <a:pt x="171" y="492"/>
                    </a:lnTo>
                    <a:lnTo>
                      <a:pt x="169" y="492"/>
                    </a:lnTo>
                    <a:lnTo>
                      <a:pt x="167" y="492"/>
                    </a:lnTo>
                    <a:lnTo>
                      <a:pt x="167" y="493"/>
                    </a:lnTo>
                    <a:lnTo>
                      <a:pt x="167" y="492"/>
                    </a:lnTo>
                    <a:lnTo>
                      <a:pt x="165" y="492"/>
                    </a:lnTo>
                    <a:lnTo>
                      <a:pt x="165" y="490"/>
                    </a:lnTo>
                    <a:lnTo>
                      <a:pt x="165" y="488"/>
                    </a:lnTo>
                    <a:lnTo>
                      <a:pt x="165" y="486"/>
                    </a:lnTo>
                    <a:lnTo>
                      <a:pt x="163" y="486"/>
                    </a:lnTo>
                    <a:lnTo>
                      <a:pt x="163" y="488"/>
                    </a:lnTo>
                    <a:lnTo>
                      <a:pt x="165" y="488"/>
                    </a:lnTo>
                    <a:lnTo>
                      <a:pt x="163" y="488"/>
                    </a:lnTo>
                    <a:lnTo>
                      <a:pt x="163" y="486"/>
                    </a:lnTo>
                    <a:lnTo>
                      <a:pt x="161" y="486"/>
                    </a:lnTo>
                    <a:lnTo>
                      <a:pt x="163" y="486"/>
                    </a:lnTo>
                    <a:lnTo>
                      <a:pt x="163" y="484"/>
                    </a:lnTo>
                    <a:lnTo>
                      <a:pt x="163" y="486"/>
                    </a:lnTo>
                    <a:lnTo>
                      <a:pt x="161" y="486"/>
                    </a:lnTo>
                    <a:lnTo>
                      <a:pt x="161" y="484"/>
                    </a:lnTo>
                    <a:lnTo>
                      <a:pt x="159" y="484"/>
                    </a:lnTo>
                    <a:lnTo>
                      <a:pt x="159" y="482"/>
                    </a:lnTo>
                    <a:lnTo>
                      <a:pt x="157" y="482"/>
                    </a:lnTo>
                    <a:lnTo>
                      <a:pt x="157" y="484"/>
                    </a:lnTo>
                    <a:lnTo>
                      <a:pt x="157" y="482"/>
                    </a:lnTo>
                    <a:lnTo>
                      <a:pt x="159" y="482"/>
                    </a:lnTo>
                    <a:lnTo>
                      <a:pt x="157" y="482"/>
                    </a:lnTo>
                    <a:lnTo>
                      <a:pt x="157" y="480"/>
                    </a:lnTo>
                    <a:lnTo>
                      <a:pt x="157" y="478"/>
                    </a:lnTo>
                    <a:lnTo>
                      <a:pt x="159" y="478"/>
                    </a:lnTo>
                    <a:lnTo>
                      <a:pt x="159" y="476"/>
                    </a:lnTo>
                    <a:lnTo>
                      <a:pt x="161" y="476"/>
                    </a:lnTo>
                    <a:lnTo>
                      <a:pt x="161" y="474"/>
                    </a:lnTo>
                    <a:lnTo>
                      <a:pt x="163" y="474"/>
                    </a:lnTo>
                    <a:lnTo>
                      <a:pt x="163" y="472"/>
                    </a:lnTo>
                    <a:lnTo>
                      <a:pt x="165" y="472"/>
                    </a:lnTo>
                    <a:lnTo>
                      <a:pt x="167" y="472"/>
                    </a:lnTo>
                    <a:lnTo>
                      <a:pt x="167" y="470"/>
                    </a:lnTo>
                    <a:lnTo>
                      <a:pt x="167" y="469"/>
                    </a:lnTo>
                    <a:lnTo>
                      <a:pt x="167" y="467"/>
                    </a:lnTo>
                    <a:lnTo>
                      <a:pt x="169" y="467"/>
                    </a:lnTo>
                    <a:lnTo>
                      <a:pt x="171" y="467"/>
                    </a:lnTo>
                    <a:lnTo>
                      <a:pt x="171" y="465"/>
                    </a:lnTo>
                    <a:lnTo>
                      <a:pt x="173" y="463"/>
                    </a:lnTo>
                    <a:lnTo>
                      <a:pt x="175" y="461"/>
                    </a:lnTo>
                    <a:lnTo>
                      <a:pt x="175" y="459"/>
                    </a:lnTo>
                    <a:lnTo>
                      <a:pt x="175" y="457"/>
                    </a:lnTo>
                    <a:lnTo>
                      <a:pt x="175" y="455"/>
                    </a:lnTo>
                    <a:lnTo>
                      <a:pt x="173" y="455"/>
                    </a:lnTo>
                    <a:lnTo>
                      <a:pt x="173" y="453"/>
                    </a:lnTo>
                    <a:lnTo>
                      <a:pt x="173" y="455"/>
                    </a:lnTo>
                    <a:lnTo>
                      <a:pt x="171" y="455"/>
                    </a:lnTo>
                    <a:lnTo>
                      <a:pt x="171" y="453"/>
                    </a:lnTo>
                    <a:lnTo>
                      <a:pt x="169" y="453"/>
                    </a:lnTo>
                    <a:lnTo>
                      <a:pt x="169" y="451"/>
                    </a:lnTo>
                    <a:lnTo>
                      <a:pt x="171" y="451"/>
                    </a:lnTo>
                    <a:lnTo>
                      <a:pt x="171" y="449"/>
                    </a:lnTo>
                    <a:lnTo>
                      <a:pt x="171" y="447"/>
                    </a:lnTo>
                    <a:lnTo>
                      <a:pt x="171" y="445"/>
                    </a:lnTo>
                    <a:lnTo>
                      <a:pt x="171" y="444"/>
                    </a:lnTo>
                    <a:lnTo>
                      <a:pt x="169" y="444"/>
                    </a:lnTo>
                    <a:lnTo>
                      <a:pt x="169" y="442"/>
                    </a:lnTo>
                    <a:lnTo>
                      <a:pt x="169" y="440"/>
                    </a:lnTo>
                    <a:lnTo>
                      <a:pt x="167" y="440"/>
                    </a:lnTo>
                    <a:lnTo>
                      <a:pt x="167" y="442"/>
                    </a:lnTo>
                    <a:lnTo>
                      <a:pt x="165" y="442"/>
                    </a:lnTo>
                    <a:lnTo>
                      <a:pt x="165" y="440"/>
                    </a:lnTo>
                    <a:lnTo>
                      <a:pt x="167" y="440"/>
                    </a:lnTo>
                    <a:lnTo>
                      <a:pt x="165" y="440"/>
                    </a:lnTo>
                    <a:lnTo>
                      <a:pt x="165" y="438"/>
                    </a:lnTo>
                    <a:lnTo>
                      <a:pt x="165" y="436"/>
                    </a:lnTo>
                    <a:lnTo>
                      <a:pt x="165" y="434"/>
                    </a:lnTo>
                    <a:lnTo>
                      <a:pt x="163" y="434"/>
                    </a:lnTo>
                    <a:lnTo>
                      <a:pt x="165" y="434"/>
                    </a:lnTo>
                    <a:lnTo>
                      <a:pt x="165" y="432"/>
                    </a:lnTo>
                    <a:lnTo>
                      <a:pt x="165" y="430"/>
                    </a:lnTo>
                    <a:lnTo>
                      <a:pt x="167" y="430"/>
                    </a:lnTo>
                    <a:lnTo>
                      <a:pt x="167" y="428"/>
                    </a:lnTo>
                    <a:lnTo>
                      <a:pt x="165" y="428"/>
                    </a:lnTo>
                    <a:lnTo>
                      <a:pt x="165" y="426"/>
                    </a:lnTo>
                    <a:lnTo>
                      <a:pt x="165" y="424"/>
                    </a:lnTo>
                    <a:lnTo>
                      <a:pt x="163" y="424"/>
                    </a:lnTo>
                    <a:lnTo>
                      <a:pt x="161" y="424"/>
                    </a:lnTo>
                    <a:lnTo>
                      <a:pt x="161" y="426"/>
                    </a:lnTo>
                    <a:lnTo>
                      <a:pt x="161" y="428"/>
                    </a:lnTo>
                    <a:lnTo>
                      <a:pt x="159" y="428"/>
                    </a:lnTo>
                    <a:lnTo>
                      <a:pt x="157" y="428"/>
                    </a:lnTo>
                    <a:lnTo>
                      <a:pt x="157" y="426"/>
                    </a:lnTo>
                    <a:lnTo>
                      <a:pt x="159" y="426"/>
                    </a:lnTo>
                    <a:lnTo>
                      <a:pt x="159" y="424"/>
                    </a:lnTo>
                    <a:lnTo>
                      <a:pt x="159" y="422"/>
                    </a:lnTo>
                    <a:lnTo>
                      <a:pt x="157" y="422"/>
                    </a:lnTo>
                    <a:lnTo>
                      <a:pt x="156" y="422"/>
                    </a:lnTo>
                    <a:lnTo>
                      <a:pt x="156" y="424"/>
                    </a:lnTo>
                    <a:lnTo>
                      <a:pt x="156" y="422"/>
                    </a:lnTo>
                    <a:lnTo>
                      <a:pt x="154" y="422"/>
                    </a:lnTo>
                    <a:lnTo>
                      <a:pt x="154" y="421"/>
                    </a:lnTo>
                    <a:lnTo>
                      <a:pt x="152" y="421"/>
                    </a:lnTo>
                    <a:lnTo>
                      <a:pt x="150" y="421"/>
                    </a:lnTo>
                    <a:lnTo>
                      <a:pt x="150" y="422"/>
                    </a:lnTo>
                    <a:lnTo>
                      <a:pt x="152" y="422"/>
                    </a:lnTo>
                    <a:lnTo>
                      <a:pt x="152" y="424"/>
                    </a:lnTo>
                    <a:lnTo>
                      <a:pt x="150" y="426"/>
                    </a:lnTo>
                    <a:lnTo>
                      <a:pt x="148" y="424"/>
                    </a:lnTo>
                    <a:lnTo>
                      <a:pt x="146" y="422"/>
                    </a:lnTo>
                    <a:lnTo>
                      <a:pt x="148" y="421"/>
                    </a:lnTo>
                    <a:lnTo>
                      <a:pt x="146" y="421"/>
                    </a:lnTo>
                    <a:lnTo>
                      <a:pt x="146" y="419"/>
                    </a:lnTo>
                    <a:lnTo>
                      <a:pt x="144" y="421"/>
                    </a:lnTo>
                    <a:lnTo>
                      <a:pt x="142" y="421"/>
                    </a:lnTo>
                    <a:lnTo>
                      <a:pt x="142" y="419"/>
                    </a:lnTo>
                    <a:lnTo>
                      <a:pt x="140" y="419"/>
                    </a:lnTo>
                    <a:lnTo>
                      <a:pt x="138" y="419"/>
                    </a:lnTo>
                    <a:lnTo>
                      <a:pt x="138" y="421"/>
                    </a:lnTo>
                    <a:lnTo>
                      <a:pt x="136" y="421"/>
                    </a:lnTo>
                    <a:lnTo>
                      <a:pt x="134" y="421"/>
                    </a:lnTo>
                    <a:lnTo>
                      <a:pt x="133" y="421"/>
                    </a:lnTo>
                    <a:lnTo>
                      <a:pt x="131" y="421"/>
                    </a:lnTo>
                    <a:lnTo>
                      <a:pt x="131" y="422"/>
                    </a:lnTo>
                    <a:lnTo>
                      <a:pt x="129" y="422"/>
                    </a:lnTo>
                    <a:lnTo>
                      <a:pt x="127" y="424"/>
                    </a:lnTo>
                    <a:lnTo>
                      <a:pt x="125" y="424"/>
                    </a:lnTo>
                    <a:lnTo>
                      <a:pt x="123" y="424"/>
                    </a:lnTo>
                    <a:lnTo>
                      <a:pt x="123" y="426"/>
                    </a:lnTo>
                    <a:lnTo>
                      <a:pt x="121" y="426"/>
                    </a:lnTo>
                    <a:lnTo>
                      <a:pt x="119" y="426"/>
                    </a:lnTo>
                    <a:lnTo>
                      <a:pt x="117" y="426"/>
                    </a:lnTo>
                    <a:lnTo>
                      <a:pt x="117" y="424"/>
                    </a:lnTo>
                    <a:lnTo>
                      <a:pt x="115" y="424"/>
                    </a:lnTo>
                    <a:lnTo>
                      <a:pt x="113" y="424"/>
                    </a:lnTo>
                    <a:lnTo>
                      <a:pt x="113" y="422"/>
                    </a:lnTo>
                    <a:lnTo>
                      <a:pt x="111" y="422"/>
                    </a:lnTo>
                    <a:lnTo>
                      <a:pt x="109" y="422"/>
                    </a:lnTo>
                    <a:lnTo>
                      <a:pt x="109" y="421"/>
                    </a:lnTo>
                    <a:lnTo>
                      <a:pt x="108" y="421"/>
                    </a:lnTo>
                    <a:lnTo>
                      <a:pt x="108" y="419"/>
                    </a:lnTo>
                    <a:lnTo>
                      <a:pt x="106" y="419"/>
                    </a:lnTo>
                    <a:lnTo>
                      <a:pt x="108" y="417"/>
                    </a:lnTo>
                    <a:lnTo>
                      <a:pt x="106" y="417"/>
                    </a:lnTo>
                    <a:lnTo>
                      <a:pt x="106" y="419"/>
                    </a:lnTo>
                    <a:lnTo>
                      <a:pt x="104" y="419"/>
                    </a:lnTo>
                    <a:lnTo>
                      <a:pt x="104" y="417"/>
                    </a:lnTo>
                    <a:lnTo>
                      <a:pt x="102" y="417"/>
                    </a:lnTo>
                    <a:lnTo>
                      <a:pt x="100" y="417"/>
                    </a:lnTo>
                    <a:lnTo>
                      <a:pt x="100" y="415"/>
                    </a:lnTo>
                    <a:lnTo>
                      <a:pt x="98" y="415"/>
                    </a:lnTo>
                    <a:lnTo>
                      <a:pt x="100" y="413"/>
                    </a:lnTo>
                    <a:lnTo>
                      <a:pt x="102" y="411"/>
                    </a:lnTo>
                    <a:lnTo>
                      <a:pt x="102" y="409"/>
                    </a:lnTo>
                    <a:lnTo>
                      <a:pt x="100" y="409"/>
                    </a:lnTo>
                    <a:lnTo>
                      <a:pt x="100" y="407"/>
                    </a:lnTo>
                    <a:lnTo>
                      <a:pt x="102" y="407"/>
                    </a:lnTo>
                    <a:lnTo>
                      <a:pt x="102" y="405"/>
                    </a:lnTo>
                    <a:lnTo>
                      <a:pt x="102" y="403"/>
                    </a:lnTo>
                    <a:lnTo>
                      <a:pt x="102" y="401"/>
                    </a:lnTo>
                    <a:lnTo>
                      <a:pt x="102" y="399"/>
                    </a:lnTo>
                    <a:lnTo>
                      <a:pt x="104" y="399"/>
                    </a:lnTo>
                    <a:lnTo>
                      <a:pt x="104" y="396"/>
                    </a:lnTo>
                    <a:lnTo>
                      <a:pt x="102" y="397"/>
                    </a:lnTo>
                    <a:lnTo>
                      <a:pt x="102" y="396"/>
                    </a:lnTo>
                    <a:lnTo>
                      <a:pt x="102" y="394"/>
                    </a:lnTo>
                    <a:lnTo>
                      <a:pt x="100" y="394"/>
                    </a:lnTo>
                    <a:lnTo>
                      <a:pt x="100" y="392"/>
                    </a:lnTo>
                    <a:lnTo>
                      <a:pt x="98" y="392"/>
                    </a:lnTo>
                    <a:lnTo>
                      <a:pt x="100" y="392"/>
                    </a:lnTo>
                    <a:lnTo>
                      <a:pt x="100" y="390"/>
                    </a:lnTo>
                    <a:lnTo>
                      <a:pt x="98" y="386"/>
                    </a:lnTo>
                    <a:lnTo>
                      <a:pt x="98" y="384"/>
                    </a:lnTo>
                    <a:lnTo>
                      <a:pt x="98" y="382"/>
                    </a:lnTo>
                    <a:lnTo>
                      <a:pt x="98" y="380"/>
                    </a:lnTo>
                    <a:lnTo>
                      <a:pt x="100" y="382"/>
                    </a:lnTo>
                    <a:lnTo>
                      <a:pt x="102" y="378"/>
                    </a:lnTo>
                    <a:lnTo>
                      <a:pt x="102" y="376"/>
                    </a:lnTo>
                    <a:lnTo>
                      <a:pt x="100" y="376"/>
                    </a:lnTo>
                    <a:lnTo>
                      <a:pt x="98" y="376"/>
                    </a:lnTo>
                    <a:lnTo>
                      <a:pt x="98" y="374"/>
                    </a:lnTo>
                    <a:lnTo>
                      <a:pt x="96" y="374"/>
                    </a:lnTo>
                    <a:lnTo>
                      <a:pt x="96" y="373"/>
                    </a:lnTo>
                    <a:lnTo>
                      <a:pt x="96" y="371"/>
                    </a:lnTo>
                    <a:lnTo>
                      <a:pt x="94" y="371"/>
                    </a:lnTo>
                    <a:lnTo>
                      <a:pt x="92" y="369"/>
                    </a:lnTo>
                    <a:lnTo>
                      <a:pt x="92" y="367"/>
                    </a:lnTo>
                    <a:lnTo>
                      <a:pt x="90" y="367"/>
                    </a:lnTo>
                    <a:lnTo>
                      <a:pt x="90" y="365"/>
                    </a:lnTo>
                    <a:lnTo>
                      <a:pt x="90" y="363"/>
                    </a:lnTo>
                    <a:lnTo>
                      <a:pt x="88" y="363"/>
                    </a:lnTo>
                    <a:lnTo>
                      <a:pt x="88" y="361"/>
                    </a:lnTo>
                    <a:lnTo>
                      <a:pt x="88" y="359"/>
                    </a:lnTo>
                    <a:lnTo>
                      <a:pt x="88" y="357"/>
                    </a:lnTo>
                    <a:lnTo>
                      <a:pt x="90" y="357"/>
                    </a:lnTo>
                    <a:lnTo>
                      <a:pt x="90" y="355"/>
                    </a:lnTo>
                    <a:lnTo>
                      <a:pt x="86" y="355"/>
                    </a:lnTo>
                    <a:lnTo>
                      <a:pt x="85" y="353"/>
                    </a:lnTo>
                    <a:lnTo>
                      <a:pt x="86" y="353"/>
                    </a:lnTo>
                    <a:lnTo>
                      <a:pt x="86" y="351"/>
                    </a:lnTo>
                    <a:lnTo>
                      <a:pt x="86" y="349"/>
                    </a:lnTo>
                    <a:lnTo>
                      <a:pt x="85" y="349"/>
                    </a:lnTo>
                    <a:lnTo>
                      <a:pt x="85" y="348"/>
                    </a:lnTo>
                    <a:lnTo>
                      <a:pt x="83" y="348"/>
                    </a:lnTo>
                    <a:lnTo>
                      <a:pt x="81" y="348"/>
                    </a:lnTo>
                    <a:lnTo>
                      <a:pt x="81" y="349"/>
                    </a:lnTo>
                    <a:lnTo>
                      <a:pt x="79" y="349"/>
                    </a:lnTo>
                    <a:lnTo>
                      <a:pt x="77" y="349"/>
                    </a:lnTo>
                    <a:lnTo>
                      <a:pt x="77" y="351"/>
                    </a:lnTo>
                    <a:lnTo>
                      <a:pt x="77" y="349"/>
                    </a:lnTo>
                    <a:lnTo>
                      <a:pt x="75" y="349"/>
                    </a:lnTo>
                    <a:lnTo>
                      <a:pt x="75" y="351"/>
                    </a:lnTo>
                    <a:lnTo>
                      <a:pt x="73" y="351"/>
                    </a:lnTo>
                    <a:lnTo>
                      <a:pt x="73" y="349"/>
                    </a:lnTo>
                    <a:lnTo>
                      <a:pt x="71" y="349"/>
                    </a:lnTo>
                    <a:lnTo>
                      <a:pt x="71" y="348"/>
                    </a:lnTo>
                    <a:lnTo>
                      <a:pt x="69" y="348"/>
                    </a:lnTo>
                    <a:lnTo>
                      <a:pt x="69" y="346"/>
                    </a:lnTo>
                    <a:lnTo>
                      <a:pt x="67" y="346"/>
                    </a:lnTo>
                    <a:lnTo>
                      <a:pt x="67" y="348"/>
                    </a:lnTo>
                    <a:lnTo>
                      <a:pt x="65" y="346"/>
                    </a:lnTo>
                    <a:lnTo>
                      <a:pt x="63" y="346"/>
                    </a:lnTo>
                    <a:lnTo>
                      <a:pt x="63" y="344"/>
                    </a:lnTo>
                    <a:lnTo>
                      <a:pt x="61" y="344"/>
                    </a:lnTo>
                    <a:lnTo>
                      <a:pt x="60" y="344"/>
                    </a:lnTo>
                    <a:lnTo>
                      <a:pt x="58" y="344"/>
                    </a:lnTo>
                    <a:lnTo>
                      <a:pt x="58" y="346"/>
                    </a:lnTo>
                    <a:lnTo>
                      <a:pt x="56" y="346"/>
                    </a:lnTo>
                    <a:lnTo>
                      <a:pt x="56" y="348"/>
                    </a:lnTo>
                    <a:lnTo>
                      <a:pt x="54" y="348"/>
                    </a:lnTo>
                    <a:lnTo>
                      <a:pt x="54" y="349"/>
                    </a:lnTo>
                    <a:lnTo>
                      <a:pt x="52" y="349"/>
                    </a:lnTo>
                    <a:lnTo>
                      <a:pt x="52" y="348"/>
                    </a:lnTo>
                    <a:lnTo>
                      <a:pt x="50" y="346"/>
                    </a:lnTo>
                    <a:lnTo>
                      <a:pt x="50" y="344"/>
                    </a:lnTo>
                    <a:lnTo>
                      <a:pt x="50" y="342"/>
                    </a:lnTo>
                    <a:lnTo>
                      <a:pt x="50" y="340"/>
                    </a:lnTo>
                    <a:lnTo>
                      <a:pt x="50" y="338"/>
                    </a:lnTo>
                    <a:lnTo>
                      <a:pt x="48" y="336"/>
                    </a:lnTo>
                    <a:lnTo>
                      <a:pt x="48" y="334"/>
                    </a:lnTo>
                    <a:lnTo>
                      <a:pt x="48" y="332"/>
                    </a:lnTo>
                    <a:lnTo>
                      <a:pt x="46" y="332"/>
                    </a:lnTo>
                    <a:lnTo>
                      <a:pt x="46" y="330"/>
                    </a:lnTo>
                    <a:lnTo>
                      <a:pt x="44" y="328"/>
                    </a:lnTo>
                    <a:lnTo>
                      <a:pt x="44" y="326"/>
                    </a:lnTo>
                    <a:lnTo>
                      <a:pt x="44" y="325"/>
                    </a:lnTo>
                    <a:lnTo>
                      <a:pt x="44" y="323"/>
                    </a:lnTo>
                    <a:lnTo>
                      <a:pt x="46" y="323"/>
                    </a:lnTo>
                    <a:lnTo>
                      <a:pt x="46" y="321"/>
                    </a:lnTo>
                    <a:lnTo>
                      <a:pt x="46" y="319"/>
                    </a:lnTo>
                    <a:lnTo>
                      <a:pt x="46" y="317"/>
                    </a:lnTo>
                    <a:lnTo>
                      <a:pt x="46" y="315"/>
                    </a:lnTo>
                    <a:lnTo>
                      <a:pt x="44" y="315"/>
                    </a:lnTo>
                    <a:lnTo>
                      <a:pt x="44" y="313"/>
                    </a:lnTo>
                    <a:lnTo>
                      <a:pt x="42" y="313"/>
                    </a:lnTo>
                    <a:lnTo>
                      <a:pt x="42" y="311"/>
                    </a:lnTo>
                    <a:lnTo>
                      <a:pt x="42" y="309"/>
                    </a:lnTo>
                    <a:lnTo>
                      <a:pt x="42" y="307"/>
                    </a:lnTo>
                    <a:lnTo>
                      <a:pt x="40" y="307"/>
                    </a:lnTo>
                    <a:lnTo>
                      <a:pt x="42" y="305"/>
                    </a:lnTo>
                    <a:lnTo>
                      <a:pt x="42" y="303"/>
                    </a:lnTo>
                    <a:lnTo>
                      <a:pt x="44" y="303"/>
                    </a:lnTo>
                    <a:lnTo>
                      <a:pt x="44" y="301"/>
                    </a:lnTo>
                    <a:lnTo>
                      <a:pt x="44" y="300"/>
                    </a:lnTo>
                    <a:lnTo>
                      <a:pt x="44" y="298"/>
                    </a:lnTo>
                    <a:lnTo>
                      <a:pt x="46" y="298"/>
                    </a:lnTo>
                    <a:lnTo>
                      <a:pt x="46" y="296"/>
                    </a:lnTo>
                    <a:lnTo>
                      <a:pt x="44" y="296"/>
                    </a:lnTo>
                    <a:lnTo>
                      <a:pt x="46" y="296"/>
                    </a:lnTo>
                    <a:lnTo>
                      <a:pt x="44" y="294"/>
                    </a:lnTo>
                    <a:lnTo>
                      <a:pt x="42" y="294"/>
                    </a:lnTo>
                    <a:lnTo>
                      <a:pt x="40" y="294"/>
                    </a:lnTo>
                    <a:lnTo>
                      <a:pt x="38" y="292"/>
                    </a:lnTo>
                    <a:lnTo>
                      <a:pt x="36" y="292"/>
                    </a:lnTo>
                    <a:lnTo>
                      <a:pt x="33" y="290"/>
                    </a:lnTo>
                    <a:lnTo>
                      <a:pt x="31" y="286"/>
                    </a:lnTo>
                    <a:lnTo>
                      <a:pt x="31" y="284"/>
                    </a:lnTo>
                    <a:lnTo>
                      <a:pt x="31" y="282"/>
                    </a:lnTo>
                    <a:lnTo>
                      <a:pt x="29" y="280"/>
                    </a:lnTo>
                    <a:lnTo>
                      <a:pt x="29" y="278"/>
                    </a:lnTo>
                    <a:lnTo>
                      <a:pt x="27" y="278"/>
                    </a:lnTo>
                    <a:lnTo>
                      <a:pt x="27" y="277"/>
                    </a:lnTo>
                    <a:lnTo>
                      <a:pt x="29" y="277"/>
                    </a:lnTo>
                    <a:lnTo>
                      <a:pt x="31" y="277"/>
                    </a:lnTo>
                    <a:lnTo>
                      <a:pt x="31" y="275"/>
                    </a:lnTo>
                    <a:lnTo>
                      <a:pt x="33" y="275"/>
                    </a:lnTo>
                    <a:lnTo>
                      <a:pt x="33" y="273"/>
                    </a:lnTo>
                    <a:lnTo>
                      <a:pt x="35" y="273"/>
                    </a:lnTo>
                    <a:lnTo>
                      <a:pt x="35" y="271"/>
                    </a:lnTo>
                    <a:lnTo>
                      <a:pt x="36" y="269"/>
                    </a:lnTo>
                    <a:lnTo>
                      <a:pt x="35" y="269"/>
                    </a:lnTo>
                    <a:lnTo>
                      <a:pt x="35" y="267"/>
                    </a:lnTo>
                    <a:lnTo>
                      <a:pt x="33" y="267"/>
                    </a:lnTo>
                    <a:lnTo>
                      <a:pt x="31" y="267"/>
                    </a:lnTo>
                    <a:lnTo>
                      <a:pt x="29" y="267"/>
                    </a:lnTo>
                    <a:lnTo>
                      <a:pt x="27" y="267"/>
                    </a:lnTo>
                    <a:lnTo>
                      <a:pt x="27" y="265"/>
                    </a:lnTo>
                    <a:lnTo>
                      <a:pt x="25" y="265"/>
                    </a:lnTo>
                    <a:lnTo>
                      <a:pt x="25" y="263"/>
                    </a:lnTo>
                    <a:lnTo>
                      <a:pt x="25" y="261"/>
                    </a:lnTo>
                    <a:lnTo>
                      <a:pt x="23" y="261"/>
                    </a:lnTo>
                    <a:lnTo>
                      <a:pt x="23" y="259"/>
                    </a:lnTo>
                    <a:lnTo>
                      <a:pt x="21" y="259"/>
                    </a:lnTo>
                    <a:lnTo>
                      <a:pt x="21" y="257"/>
                    </a:lnTo>
                    <a:lnTo>
                      <a:pt x="19" y="259"/>
                    </a:lnTo>
                    <a:lnTo>
                      <a:pt x="17" y="259"/>
                    </a:lnTo>
                    <a:lnTo>
                      <a:pt x="15" y="259"/>
                    </a:lnTo>
                    <a:lnTo>
                      <a:pt x="15" y="261"/>
                    </a:lnTo>
                    <a:lnTo>
                      <a:pt x="13" y="261"/>
                    </a:lnTo>
                    <a:lnTo>
                      <a:pt x="12" y="261"/>
                    </a:lnTo>
                    <a:lnTo>
                      <a:pt x="10" y="261"/>
                    </a:lnTo>
                    <a:lnTo>
                      <a:pt x="8" y="261"/>
                    </a:lnTo>
                    <a:lnTo>
                      <a:pt x="6" y="261"/>
                    </a:lnTo>
                    <a:lnTo>
                      <a:pt x="6" y="263"/>
                    </a:lnTo>
                    <a:lnTo>
                      <a:pt x="4" y="263"/>
                    </a:lnTo>
                    <a:lnTo>
                      <a:pt x="4" y="265"/>
                    </a:lnTo>
                    <a:lnTo>
                      <a:pt x="4" y="263"/>
                    </a:lnTo>
                    <a:lnTo>
                      <a:pt x="2" y="263"/>
                    </a:lnTo>
                    <a:lnTo>
                      <a:pt x="2" y="261"/>
                    </a:lnTo>
                    <a:lnTo>
                      <a:pt x="2" y="259"/>
                    </a:lnTo>
                    <a:lnTo>
                      <a:pt x="0" y="259"/>
                    </a:lnTo>
                    <a:lnTo>
                      <a:pt x="0" y="257"/>
                    </a:lnTo>
                    <a:lnTo>
                      <a:pt x="2" y="257"/>
                    </a:lnTo>
                    <a:lnTo>
                      <a:pt x="2" y="255"/>
                    </a:lnTo>
                    <a:lnTo>
                      <a:pt x="2" y="253"/>
                    </a:lnTo>
                    <a:lnTo>
                      <a:pt x="2" y="252"/>
                    </a:lnTo>
                    <a:lnTo>
                      <a:pt x="4" y="250"/>
                    </a:lnTo>
                    <a:lnTo>
                      <a:pt x="4" y="248"/>
                    </a:lnTo>
                    <a:lnTo>
                      <a:pt x="4" y="246"/>
                    </a:lnTo>
                    <a:lnTo>
                      <a:pt x="4" y="244"/>
                    </a:lnTo>
                    <a:lnTo>
                      <a:pt x="6" y="244"/>
                    </a:lnTo>
                    <a:lnTo>
                      <a:pt x="6" y="242"/>
                    </a:lnTo>
                    <a:lnTo>
                      <a:pt x="6" y="240"/>
                    </a:lnTo>
                    <a:lnTo>
                      <a:pt x="8" y="240"/>
                    </a:lnTo>
                    <a:lnTo>
                      <a:pt x="8" y="238"/>
                    </a:lnTo>
                    <a:lnTo>
                      <a:pt x="8" y="236"/>
                    </a:lnTo>
                    <a:lnTo>
                      <a:pt x="10" y="234"/>
                    </a:lnTo>
                    <a:lnTo>
                      <a:pt x="10" y="232"/>
                    </a:lnTo>
                    <a:lnTo>
                      <a:pt x="10" y="230"/>
                    </a:lnTo>
                    <a:lnTo>
                      <a:pt x="12" y="229"/>
                    </a:lnTo>
                    <a:lnTo>
                      <a:pt x="12" y="225"/>
                    </a:lnTo>
                    <a:lnTo>
                      <a:pt x="13" y="225"/>
                    </a:lnTo>
                    <a:lnTo>
                      <a:pt x="13" y="223"/>
                    </a:lnTo>
                    <a:lnTo>
                      <a:pt x="13" y="221"/>
                    </a:lnTo>
                    <a:lnTo>
                      <a:pt x="15" y="219"/>
                    </a:lnTo>
                    <a:lnTo>
                      <a:pt x="13" y="219"/>
                    </a:lnTo>
                    <a:lnTo>
                      <a:pt x="15" y="217"/>
                    </a:lnTo>
                    <a:lnTo>
                      <a:pt x="15" y="215"/>
                    </a:lnTo>
                    <a:lnTo>
                      <a:pt x="17" y="213"/>
                    </a:lnTo>
                    <a:lnTo>
                      <a:pt x="17" y="211"/>
                    </a:lnTo>
                    <a:lnTo>
                      <a:pt x="19" y="207"/>
                    </a:lnTo>
                    <a:lnTo>
                      <a:pt x="19" y="205"/>
                    </a:lnTo>
                    <a:lnTo>
                      <a:pt x="19" y="204"/>
                    </a:lnTo>
                    <a:lnTo>
                      <a:pt x="21" y="202"/>
                    </a:lnTo>
                    <a:lnTo>
                      <a:pt x="21" y="200"/>
                    </a:lnTo>
                    <a:lnTo>
                      <a:pt x="21" y="198"/>
                    </a:lnTo>
                    <a:lnTo>
                      <a:pt x="21" y="196"/>
                    </a:lnTo>
                    <a:lnTo>
                      <a:pt x="23" y="196"/>
                    </a:lnTo>
                    <a:lnTo>
                      <a:pt x="23" y="194"/>
                    </a:lnTo>
                    <a:lnTo>
                      <a:pt x="23" y="192"/>
                    </a:lnTo>
                    <a:lnTo>
                      <a:pt x="25" y="192"/>
                    </a:lnTo>
                    <a:lnTo>
                      <a:pt x="25" y="190"/>
                    </a:lnTo>
                    <a:lnTo>
                      <a:pt x="27" y="188"/>
                    </a:lnTo>
                    <a:lnTo>
                      <a:pt x="27" y="186"/>
                    </a:lnTo>
                    <a:lnTo>
                      <a:pt x="29" y="186"/>
                    </a:lnTo>
                    <a:lnTo>
                      <a:pt x="31" y="184"/>
                    </a:lnTo>
                    <a:lnTo>
                      <a:pt x="31" y="182"/>
                    </a:lnTo>
                    <a:lnTo>
                      <a:pt x="33" y="182"/>
                    </a:lnTo>
                    <a:lnTo>
                      <a:pt x="33" y="181"/>
                    </a:lnTo>
                    <a:lnTo>
                      <a:pt x="35" y="181"/>
                    </a:lnTo>
                    <a:lnTo>
                      <a:pt x="36" y="181"/>
                    </a:lnTo>
                    <a:lnTo>
                      <a:pt x="38" y="181"/>
                    </a:lnTo>
                    <a:lnTo>
                      <a:pt x="40" y="179"/>
                    </a:lnTo>
                    <a:lnTo>
                      <a:pt x="42" y="177"/>
                    </a:lnTo>
                    <a:lnTo>
                      <a:pt x="44" y="179"/>
                    </a:lnTo>
                    <a:lnTo>
                      <a:pt x="46" y="179"/>
                    </a:lnTo>
                    <a:lnTo>
                      <a:pt x="46" y="177"/>
                    </a:lnTo>
                    <a:lnTo>
                      <a:pt x="48" y="177"/>
                    </a:lnTo>
                    <a:lnTo>
                      <a:pt x="50" y="177"/>
                    </a:lnTo>
                    <a:lnTo>
                      <a:pt x="50" y="175"/>
                    </a:lnTo>
                    <a:lnTo>
                      <a:pt x="52" y="173"/>
                    </a:lnTo>
                    <a:lnTo>
                      <a:pt x="54" y="171"/>
                    </a:lnTo>
                    <a:lnTo>
                      <a:pt x="54" y="169"/>
                    </a:lnTo>
                    <a:lnTo>
                      <a:pt x="56" y="169"/>
                    </a:lnTo>
                    <a:lnTo>
                      <a:pt x="58" y="167"/>
                    </a:lnTo>
                    <a:lnTo>
                      <a:pt x="60" y="167"/>
                    </a:lnTo>
                    <a:lnTo>
                      <a:pt x="61" y="165"/>
                    </a:lnTo>
                    <a:lnTo>
                      <a:pt x="63" y="165"/>
                    </a:lnTo>
                    <a:lnTo>
                      <a:pt x="65" y="163"/>
                    </a:lnTo>
                    <a:lnTo>
                      <a:pt x="67" y="163"/>
                    </a:lnTo>
                    <a:lnTo>
                      <a:pt x="67" y="161"/>
                    </a:lnTo>
                    <a:lnTo>
                      <a:pt x="69" y="161"/>
                    </a:lnTo>
                    <a:lnTo>
                      <a:pt x="71" y="161"/>
                    </a:lnTo>
                    <a:lnTo>
                      <a:pt x="71" y="159"/>
                    </a:lnTo>
                    <a:lnTo>
                      <a:pt x="73" y="159"/>
                    </a:lnTo>
                    <a:lnTo>
                      <a:pt x="75" y="159"/>
                    </a:lnTo>
                    <a:lnTo>
                      <a:pt x="77" y="157"/>
                    </a:lnTo>
                    <a:lnTo>
                      <a:pt x="79" y="157"/>
                    </a:lnTo>
                    <a:lnTo>
                      <a:pt x="79" y="159"/>
                    </a:lnTo>
                    <a:lnTo>
                      <a:pt x="81" y="159"/>
                    </a:lnTo>
                    <a:lnTo>
                      <a:pt x="81" y="157"/>
                    </a:lnTo>
                    <a:lnTo>
                      <a:pt x="83" y="159"/>
                    </a:lnTo>
                    <a:lnTo>
                      <a:pt x="83" y="157"/>
                    </a:lnTo>
                    <a:lnTo>
                      <a:pt x="85" y="156"/>
                    </a:lnTo>
                    <a:lnTo>
                      <a:pt x="85" y="154"/>
                    </a:lnTo>
                    <a:lnTo>
                      <a:pt x="86" y="152"/>
                    </a:lnTo>
                    <a:lnTo>
                      <a:pt x="86" y="150"/>
                    </a:lnTo>
                    <a:lnTo>
                      <a:pt x="86" y="148"/>
                    </a:lnTo>
                    <a:lnTo>
                      <a:pt x="88" y="148"/>
                    </a:lnTo>
                    <a:lnTo>
                      <a:pt x="88" y="146"/>
                    </a:lnTo>
                    <a:lnTo>
                      <a:pt x="88" y="144"/>
                    </a:lnTo>
                    <a:lnTo>
                      <a:pt x="90" y="144"/>
                    </a:lnTo>
                    <a:lnTo>
                      <a:pt x="90" y="142"/>
                    </a:lnTo>
                    <a:lnTo>
                      <a:pt x="92" y="142"/>
                    </a:lnTo>
                    <a:lnTo>
                      <a:pt x="92" y="140"/>
                    </a:lnTo>
                    <a:lnTo>
                      <a:pt x="92" y="138"/>
                    </a:lnTo>
                    <a:lnTo>
                      <a:pt x="92" y="136"/>
                    </a:lnTo>
                    <a:lnTo>
                      <a:pt x="94" y="136"/>
                    </a:lnTo>
                    <a:lnTo>
                      <a:pt x="92" y="134"/>
                    </a:lnTo>
                    <a:lnTo>
                      <a:pt x="92" y="133"/>
                    </a:lnTo>
                    <a:lnTo>
                      <a:pt x="90" y="133"/>
                    </a:lnTo>
                    <a:lnTo>
                      <a:pt x="92" y="133"/>
                    </a:lnTo>
                    <a:lnTo>
                      <a:pt x="90" y="133"/>
                    </a:lnTo>
                    <a:lnTo>
                      <a:pt x="90" y="131"/>
                    </a:lnTo>
                    <a:lnTo>
                      <a:pt x="88" y="131"/>
                    </a:lnTo>
                    <a:lnTo>
                      <a:pt x="90" y="131"/>
                    </a:lnTo>
                    <a:lnTo>
                      <a:pt x="90" y="129"/>
                    </a:lnTo>
                    <a:lnTo>
                      <a:pt x="90" y="127"/>
                    </a:lnTo>
                    <a:lnTo>
                      <a:pt x="92" y="127"/>
                    </a:lnTo>
                    <a:lnTo>
                      <a:pt x="92" y="125"/>
                    </a:lnTo>
                    <a:lnTo>
                      <a:pt x="92" y="123"/>
                    </a:lnTo>
                    <a:lnTo>
                      <a:pt x="94" y="123"/>
                    </a:lnTo>
                    <a:lnTo>
                      <a:pt x="96" y="123"/>
                    </a:lnTo>
                    <a:lnTo>
                      <a:pt x="96" y="121"/>
                    </a:lnTo>
                    <a:lnTo>
                      <a:pt x="98" y="121"/>
                    </a:lnTo>
                    <a:lnTo>
                      <a:pt x="98" y="119"/>
                    </a:lnTo>
                    <a:lnTo>
                      <a:pt x="100" y="119"/>
                    </a:lnTo>
                    <a:lnTo>
                      <a:pt x="102" y="119"/>
                    </a:lnTo>
                    <a:lnTo>
                      <a:pt x="102" y="117"/>
                    </a:lnTo>
                    <a:lnTo>
                      <a:pt x="104" y="115"/>
                    </a:lnTo>
                    <a:lnTo>
                      <a:pt x="104" y="113"/>
                    </a:lnTo>
                    <a:lnTo>
                      <a:pt x="106" y="113"/>
                    </a:lnTo>
                    <a:lnTo>
                      <a:pt x="106" y="111"/>
                    </a:lnTo>
                    <a:lnTo>
                      <a:pt x="106" y="109"/>
                    </a:lnTo>
                    <a:lnTo>
                      <a:pt x="108" y="108"/>
                    </a:lnTo>
                    <a:lnTo>
                      <a:pt x="108" y="106"/>
                    </a:lnTo>
                    <a:lnTo>
                      <a:pt x="108" y="104"/>
                    </a:lnTo>
                    <a:lnTo>
                      <a:pt x="108" y="102"/>
                    </a:lnTo>
                    <a:lnTo>
                      <a:pt x="108" y="100"/>
                    </a:lnTo>
                    <a:lnTo>
                      <a:pt x="106" y="98"/>
                    </a:lnTo>
                    <a:lnTo>
                      <a:pt x="108" y="98"/>
                    </a:lnTo>
                    <a:lnTo>
                      <a:pt x="108" y="96"/>
                    </a:lnTo>
                    <a:lnTo>
                      <a:pt x="109" y="94"/>
                    </a:lnTo>
                    <a:lnTo>
                      <a:pt x="109" y="92"/>
                    </a:lnTo>
                    <a:lnTo>
                      <a:pt x="109" y="90"/>
                    </a:lnTo>
                    <a:lnTo>
                      <a:pt x="109" y="88"/>
                    </a:lnTo>
                    <a:lnTo>
                      <a:pt x="111" y="86"/>
                    </a:lnTo>
                    <a:lnTo>
                      <a:pt x="111" y="85"/>
                    </a:lnTo>
                    <a:lnTo>
                      <a:pt x="113" y="85"/>
                    </a:lnTo>
                    <a:lnTo>
                      <a:pt x="115" y="83"/>
                    </a:lnTo>
                    <a:lnTo>
                      <a:pt x="115" y="81"/>
                    </a:lnTo>
                    <a:lnTo>
                      <a:pt x="119" y="81"/>
                    </a:lnTo>
                    <a:lnTo>
                      <a:pt x="121" y="81"/>
                    </a:lnTo>
                    <a:lnTo>
                      <a:pt x="123" y="81"/>
                    </a:lnTo>
                    <a:lnTo>
                      <a:pt x="125" y="79"/>
                    </a:lnTo>
                    <a:lnTo>
                      <a:pt x="125" y="77"/>
                    </a:lnTo>
                    <a:lnTo>
                      <a:pt x="125" y="75"/>
                    </a:lnTo>
                    <a:lnTo>
                      <a:pt x="125" y="73"/>
                    </a:lnTo>
                    <a:lnTo>
                      <a:pt x="125" y="71"/>
                    </a:lnTo>
                    <a:lnTo>
                      <a:pt x="127" y="71"/>
                    </a:lnTo>
                    <a:lnTo>
                      <a:pt x="127" y="69"/>
                    </a:lnTo>
                    <a:lnTo>
                      <a:pt x="127" y="67"/>
                    </a:lnTo>
                    <a:lnTo>
                      <a:pt x="129" y="67"/>
                    </a:lnTo>
                    <a:lnTo>
                      <a:pt x="129" y="65"/>
                    </a:lnTo>
                    <a:lnTo>
                      <a:pt x="131" y="65"/>
                    </a:lnTo>
                    <a:lnTo>
                      <a:pt x="129" y="63"/>
                    </a:lnTo>
                    <a:lnTo>
                      <a:pt x="129" y="61"/>
                    </a:lnTo>
                    <a:lnTo>
                      <a:pt x="131" y="61"/>
                    </a:lnTo>
                    <a:lnTo>
                      <a:pt x="131" y="60"/>
                    </a:lnTo>
                    <a:lnTo>
                      <a:pt x="133" y="58"/>
                    </a:lnTo>
                    <a:lnTo>
                      <a:pt x="134" y="58"/>
                    </a:lnTo>
                    <a:lnTo>
                      <a:pt x="134" y="56"/>
                    </a:lnTo>
                    <a:lnTo>
                      <a:pt x="136" y="54"/>
                    </a:lnTo>
                    <a:lnTo>
                      <a:pt x="138" y="52"/>
                    </a:lnTo>
                    <a:lnTo>
                      <a:pt x="140" y="50"/>
                    </a:lnTo>
                    <a:lnTo>
                      <a:pt x="142" y="48"/>
                    </a:lnTo>
                    <a:lnTo>
                      <a:pt x="144" y="46"/>
                    </a:lnTo>
                    <a:lnTo>
                      <a:pt x="146" y="46"/>
                    </a:lnTo>
                    <a:lnTo>
                      <a:pt x="148" y="44"/>
                    </a:lnTo>
                    <a:lnTo>
                      <a:pt x="148" y="42"/>
                    </a:lnTo>
                    <a:lnTo>
                      <a:pt x="148" y="40"/>
                    </a:lnTo>
                    <a:lnTo>
                      <a:pt x="150" y="38"/>
                    </a:lnTo>
                    <a:lnTo>
                      <a:pt x="152" y="38"/>
                    </a:lnTo>
                    <a:lnTo>
                      <a:pt x="154" y="38"/>
                    </a:lnTo>
                    <a:lnTo>
                      <a:pt x="154" y="37"/>
                    </a:lnTo>
                    <a:lnTo>
                      <a:pt x="156" y="37"/>
                    </a:lnTo>
                    <a:lnTo>
                      <a:pt x="157" y="37"/>
                    </a:lnTo>
                    <a:lnTo>
                      <a:pt x="159" y="38"/>
                    </a:lnTo>
                    <a:lnTo>
                      <a:pt x="161" y="38"/>
                    </a:lnTo>
                    <a:lnTo>
                      <a:pt x="163" y="38"/>
                    </a:lnTo>
                    <a:lnTo>
                      <a:pt x="165" y="37"/>
                    </a:lnTo>
                    <a:lnTo>
                      <a:pt x="167" y="37"/>
                    </a:lnTo>
                    <a:lnTo>
                      <a:pt x="169" y="37"/>
                    </a:lnTo>
                    <a:lnTo>
                      <a:pt x="169" y="35"/>
                    </a:lnTo>
                    <a:lnTo>
                      <a:pt x="169" y="33"/>
                    </a:lnTo>
                    <a:lnTo>
                      <a:pt x="169" y="31"/>
                    </a:lnTo>
                    <a:lnTo>
                      <a:pt x="171" y="29"/>
                    </a:lnTo>
                    <a:lnTo>
                      <a:pt x="173" y="29"/>
                    </a:lnTo>
                    <a:lnTo>
                      <a:pt x="173" y="27"/>
                    </a:lnTo>
                    <a:lnTo>
                      <a:pt x="173" y="25"/>
                    </a:lnTo>
                    <a:lnTo>
                      <a:pt x="173" y="23"/>
                    </a:lnTo>
                    <a:lnTo>
                      <a:pt x="175" y="23"/>
                    </a:lnTo>
                    <a:lnTo>
                      <a:pt x="175" y="19"/>
                    </a:lnTo>
                    <a:lnTo>
                      <a:pt x="175" y="17"/>
                    </a:lnTo>
                    <a:lnTo>
                      <a:pt x="175" y="15"/>
                    </a:lnTo>
                    <a:lnTo>
                      <a:pt x="177" y="13"/>
                    </a:lnTo>
                    <a:lnTo>
                      <a:pt x="177" y="12"/>
                    </a:lnTo>
                    <a:lnTo>
                      <a:pt x="177" y="10"/>
                    </a:lnTo>
                    <a:lnTo>
                      <a:pt x="177" y="8"/>
                    </a:lnTo>
                    <a:lnTo>
                      <a:pt x="179" y="8"/>
                    </a:lnTo>
                    <a:lnTo>
                      <a:pt x="179" y="6"/>
                    </a:lnTo>
                    <a:lnTo>
                      <a:pt x="179" y="8"/>
                    </a:lnTo>
                    <a:lnTo>
                      <a:pt x="179" y="6"/>
                    </a:lnTo>
                    <a:lnTo>
                      <a:pt x="181" y="6"/>
                    </a:lnTo>
                    <a:lnTo>
                      <a:pt x="182" y="6"/>
                    </a:lnTo>
                    <a:lnTo>
                      <a:pt x="182" y="4"/>
                    </a:lnTo>
                    <a:lnTo>
                      <a:pt x="184" y="4"/>
                    </a:lnTo>
                    <a:lnTo>
                      <a:pt x="184" y="2"/>
                    </a:lnTo>
                    <a:lnTo>
                      <a:pt x="186" y="2"/>
                    </a:lnTo>
                    <a:lnTo>
                      <a:pt x="188" y="2"/>
                    </a:lnTo>
                    <a:lnTo>
                      <a:pt x="188" y="0"/>
                    </a:lnTo>
                    <a:lnTo>
                      <a:pt x="188"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7" name="Freeform 131">
                <a:extLst>
                  <a:ext uri="{FF2B5EF4-FFF2-40B4-BE49-F238E27FC236}">
                    <a16:creationId xmlns:a16="http://schemas.microsoft.com/office/drawing/2014/main" id="{020450C9-DF79-43DE-9D22-7661C7DE7811}"/>
                  </a:ext>
                </a:extLst>
              </p:cNvPr>
              <p:cNvSpPr>
                <a:spLocks noEditPoints="1"/>
              </p:cNvSpPr>
              <p:nvPr/>
            </p:nvSpPr>
            <p:spPr bwMode="auto">
              <a:xfrm>
                <a:off x="7435136" y="4187840"/>
                <a:ext cx="1313354" cy="1173858"/>
              </a:xfrm>
              <a:custGeom>
                <a:avLst/>
                <a:gdLst>
                  <a:gd name="T0" fmla="*/ 749 w 885"/>
                  <a:gd name="T1" fmla="*/ 631 h 791"/>
                  <a:gd name="T2" fmla="*/ 367 w 885"/>
                  <a:gd name="T3" fmla="*/ 13 h 791"/>
                  <a:gd name="T4" fmla="*/ 415 w 885"/>
                  <a:gd name="T5" fmla="*/ 28 h 791"/>
                  <a:gd name="T6" fmla="*/ 488 w 885"/>
                  <a:gd name="T7" fmla="*/ 40 h 791"/>
                  <a:gd name="T8" fmla="*/ 532 w 885"/>
                  <a:gd name="T9" fmla="*/ 50 h 791"/>
                  <a:gd name="T10" fmla="*/ 572 w 885"/>
                  <a:gd name="T11" fmla="*/ 101 h 791"/>
                  <a:gd name="T12" fmla="*/ 588 w 885"/>
                  <a:gd name="T13" fmla="*/ 134 h 791"/>
                  <a:gd name="T14" fmla="*/ 628 w 885"/>
                  <a:gd name="T15" fmla="*/ 140 h 791"/>
                  <a:gd name="T16" fmla="*/ 699 w 885"/>
                  <a:gd name="T17" fmla="*/ 140 h 791"/>
                  <a:gd name="T18" fmla="*/ 728 w 885"/>
                  <a:gd name="T19" fmla="*/ 186 h 791"/>
                  <a:gd name="T20" fmla="*/ 749 w 885"/>
                  <a:gd name="T21" fmla="*/ 217 h 791"/>
                  <a:gd name="T22" fmla="*/ 766 w 885"/>
                  <a:gd name="T23" fmla="*/ 236 h 791"/>
                  <a:gd name="T24" fmla="*/ 830 w 885"/>
                  <a:gd name="T25" fmla="*/ 282 h 791"/>
                  <a:gd name="T26" fmla="*/ 885 w 885"/>
                  <a:gd name="T27" fmla="*/ 311 h 791"/>
                  <a:gd name="T28" fmla="*/ 847 w 885"/>
                  <a:gd name="T29" fmla="*/ 353 h 791"/>
                  <a:gd name="T30" fmla="*/ 795 w 885"/>
                  <a:gd name="T31" fmla="*/ 376 h 791"/>
                  <a:gd name="T32" fmla="*/ 772 w 885"/>
                  <a:gd name="T33" fmla="*/ 418 h 791"/>
                  <a:gd name="T34" fmla="*/ 799 w 885"/>
                  <a:gd name="T35" fmla="*/ 435 h 791"/>
                  <a:gd name="T36" fmla="*/ 814 w 885"/>
                  <a:gd name="T37" fmla="*/ 462 h 791"/>
                  <a:gd name="T38" fmla="*/ 835 w 885"/>
                  <a:gd name="T39" fmla="*/ 497 h 791"/>
                  <a:gd name="T40" fmla="*/ 824 w 885"/>
                  <a:gd name="T41" fmla="*/ 551 h 791"/>
                  <a:gd name="T42" fmla="*/ 782 w 885"/>
                  <a:gd name="T43" fmla="*/ 574 h 791"/>
                  <a:gd name="T44" fmla="*/ 760 w 885"/>
                  <a:gd name="T45" fmla="*/ 618 h 791"/>
                  <a:gd name="T46" fmla="*/ 734 w 885"/>
                  <a:gd name="T47" fmla="*/ 649 h 791"/>
                  <a:gd name="T48" fmla="*/ 743 w 885"/>
                  <a:gd name="T49" fmla="*/ 641 h 791"/>
                  <a:gd name="T50" fmla="*/ 755 w 885"/>
                  <a:gd name="T51" fmla="*/ 618 h 791"/>
                  <a:gd name="T52" fmla="*/ 730 w 885"/>
                  <a:gd name="T53" fmla="*/ 593 h 791"/>
                  <a:gd name="T54" fmla="*/ 682 w 885"/>
                  <a:gd name="T55" fmla="*/ 597 h 791"/>
                  <a:gd name="T56" fmla="*/ 620 w 885"/>
                  <a:gd name="T57" fmla="*/ 622 h 791"/>
                  <a:gd name="T58" fmla="*/ 586 w 885"/>
                  <a:gd name="T59" fmla="*/ 672 h 791"/>
                  <a:gd name="T60" fmla="*/ 549 w 885"/>
                  <a:gd name="T61" fmla="*/ 706 h 791"/>
                  <a:gd name="T62" fmla="*/ 563 w 885"/>
                  <a:gd name="T63" fmla="*/ 691 h 791"/>
                  <a:gd name="T64" fmla="*/ 588 w 885"/>
                  <a:gd name="T65" fmla="*/ 670 h 791"/>
                  <a:gd name="T66" fmla="*/ 595 w 885"/>
                  <a:gd name="T67" fmla="*/ 639 h 791"/>
                  <a:gd name="T68" fmla="*/ 595 w 885"/>
                  <a:gd name="T69" fmla="*/ 652 h 791"/>
                  <a:gd name="T70" fmla="*/ 590 w 885"/>
                  <a:gd name="T71" fmla="*/ 649 h 791"/>
                  <a:gd name="T72" fmla="*/ 549 w 885"/>
                  <a:gd name="T73" fmla="*/ 635 h 791"/>
                  <a:gd name="T74" fmla="*/ 494 w 885"/>
                  <a:gd name="T75" fmla="*/ 631 h 791"/>
                  <a:gd name="T76" fmla="*/ 449 w 885"/>
                  <a:gd name="T77" fmla="*/ 652 h 791"/>
                  <a:gd name="T78" fmla="*/ 415 w 885"/>
                  <a:gd name="T79" fmla="*/ 683 h 791"/>
                  <a:gd name="T80" fmla="*/ 376 w 885"/>
                  <a:gd name="T81" fmla="*/ 710 h 791"/>
                  <a:gd name="T82" fmla="*/ 338 w 885"/>
                  <a:gd name="T83" fmla="*/ 735 h 791"/>
                  <a:gd name="T84" fmla="*/ 311 w 885"/>
                  <a:gd name="T85" fmla="*/ 775 h 791"/>
                  <a:gd name="T86" fmla="*/ 240 w 885"/>
                  <a:gd name="T87" fmla="*/ 768 h 791"/>
                  <a:gd name="T88" fmla="*/ 229 w 885"/>
                  <a:gd name="T89" fmla="*/ 695 h 791"/>
                  <a:gd name="T90" fmla="*/ 154 w 885"/>
                  <a:gd name="T91" fmla="*/ 649 h 791"/>
                  <a:gd name="T92" fmla="*/ 127 w 885"/>
                  <a:gd name="T93" fmla="*/ 587 h 791"/>
                  <a:gd name="T94" fmla="*/ 173 w 885"/>
                  <a:gd name="T95" fmla="*/ 524 h 791"/>
                  <a:gd name="T96" fmla="*/ 119 w 885"/>
                  <a:gd name="T97" fmla="*/ 460 h 791"/>
                  <a:gd name="T98" fmla="*/ 102 w 885"/>
                  <a:gd name="T99" fmla="*/ 364 h 791"/>
                  <a:gd name="T100" fmla="*/ 98 w 885"/>
                  <a:gd name="T101" fmla="*/ 330 h 791"/>
                  <a:gd name="T102" fmla="*/ 36 w 885"/>
                  <a:gd name="T103" fmla="*/ 332 h 791"/>
                  <a:gd name="T104" fmla="*/ 13 w 885"/>
                  <a:gd name="T105" fmla="*/ 261 h 791"/>
                  <a:gd name="T106" fmla="*/ 75 w 885"/>
                  <a:gd name="T107" fmla="*/ 245 h 791"/>
                  <a:gd name="T108" fmla="*/ 148 w 885"/>
                  <a:gd name="T109" fmla="*/ 238 h 791"/>
                  <a:gd name="T110" fmla="*/ 223 w 885"/>
                  <a:gd name="T111" fmla="*/ 257 h 791"/>
                  <a:gd name="T112" fmla="*/ 229 w 885"/>
                  <a:gd name="T113" fmla="*/ 226 h 791"/>
                  <a:gd name="T114" fmla="*/ 219 w 885"/>
                  <a:gd name="T115" fmla="*/ 142 h 791"/>
                  <a:gd name="T116" fmla="*/ 202 w 885"/>
                  <a:gd name="T117" fmla="*/ 107 h 791"/>
                  <a:gd name="T118" fmla="*/ 219 w 885"/>
                  <a:gd name="T119" fmla="*/ 61 h 791"/>
                  <a:gd name="T120" fmla="*/ 248 w 885"/>
                  <a:gd name="T121" fmla="*/ 17 h 791"/>
                  <a:gd name="T122" fmla="*/ 307 w 885"/>
                  <a:gd name="T123" fmla="*/ 5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5" h="791">
                    <a:moveTo>
                      <a:pt x="580" y="675"/>
                    </a:moveTo>
                    <a:lnTo>
                      <a:pt x="578" y="675"/>
                    </a:lnTo>
                    <a:lnTo>
                      <a:pt x="578" y="677"/>
                    </a:lnTo>
                    <a:lnTo>
                      <a:pt x="578" y="675"/>
                    </a:lnTo>
                    <a:lnTo>
                      <a:pt x="580" y="675"/>
                    </a:lnTo>
                    <a:close/>
                    <a:moveTo>
                      <a:pt x="739" y="645"/>
                    </a:moveTo>
                    <a:lnTo>
                      <a:pt x="739" y="647"/>
                    </a:lnTo>
                    <a:lnTo>
                      <a:pt x="739" y="645"/>
                    </a:lnTo>
                    <a:lnTo>
                      <a:pt x="737" y="645"/>
                    </a:lnTo>
                    <a:lnTo>
                      <a:pt x="739" y="645"/>
                    </a:lnTo>
                    <a:close/>
                    <a:moveTo>
                      <a:pt x="741" y="643"/>
                    </a:moveTo>
                    <a:lnTo>
                      <a:pt x="739" y="643"/>
                    </a:lnTo>
                    <a:lnTo>
                      <a:pt x="739" y="645"/>
                    </a:lnTo>
                    <a:lnTo>
                      <a:pt x="739" y="643"/>
                    </a:lnTo>
                    <a:lnTo>
                      <a:pt x="741" y="643"/>
                    </a:lnTo>
                    <a:close/>
                    <a:moveTo>
                      <a:pt x="739" y="639"/>
                    </a:moveTo>
                    <a:lnTo>
                      <a:pt x="739" y="641"/>
                    </a:lnTo>
                    <a:lnTo>
                      <a:pt x="739" y="639"/>
                    </a:lnTo>
                    <a:close/>
                    <a:moveTo>
                      <a:pt x="751" y="633"/>
                    </a:moveTo>
                    <a:lnTo>
                      <a:pt x="749" y="633"/>
                    </a:lnTo>
                    <a:lnTo>
                      <a:pt x="751" y="633"/>
                    </a:lnTo>
                    <a:close/>
                    <a:moveTo>
                      <a:pt x="751" y="633"/>
                    </a:moveTo>
                    <a:lnTo>
                      <a:pt x="751" y="631"/>
                    </a:lnTo>
                    <a:lnTo>
                      <a:pt x="751" y="633"/>
                    </a:lnTo>
                    <a:close/>
                    <a:moveTo>
                      <a:pt x="749" y="631"/>
                    </a:moveTo>
                    <a:lnTo>
                      <a:pt x="751" y="631"/>
                    </a:lnTo>
                    <a:lnTo>
                      <a:pt x="751" y="633"/>
                    </a:lnTo>
                    <a:lnTo>
                      <a:pt x="749" y="633"/>
                    </a:lnTo>
                    <a:lnTo>
                      <a:pt x="749" y="631"/>
                    </a:lnTo>
                    <a:lnTo>
                      <a:pt x="749" y="633"/>
                    </a:lnTo>
                    <a:lnTo>
                      <a:pt x="749" y="635"/>
                    </a:lnTo>
                    <a:lnTo>
                      <a:pt x="749" y="633"/>
                    </a:lnTo>
                    <a:lnTo>
                      <a:pt x="749" y="631"/>
                    </a:lnTo>
                    <a:lnTo>
                      <a:pt x="749" y="629"/>
                    </a:lnTo>
                    <a:lnTo>
                      <a:pt x="749" y="627"/>
                    </a:lnTo>
                    <a:lnTo>
                      <a:pt x="749" y="626"/>
                    </a:lnTo>
                    <a:lnTo>
                      <a:pt x="749" y="624"/>
                    </a:lnTo>
                    <a:lnTo>
                      <a:pt x="751" y="624"/>
                    </a:lnTo>
                    <a:lnTo>
                      <a:pt x="751" y="622"/>
                    </a:lnTo>
                    <a:lnTo>
                      <a:pt x="751" y="624"/>
                    </a:lnTo>
                    <a:lnTo>
                      <a:pt x="749" y="624"/>
                    </a:lnTo>
                    <a:lnTo>
                      <a:pt x="749" y="626"/>
                    </a:lnTo>
                    <a:lnTo>
                      <a:pt x="749" y="627"/>
                    </a:lnTo>
                    <a:lnTo>
                      <a:pt x="749" y="629"/>
                    </a:lnTo>
                    <a:lnTo>
                      <a:pt x="749" y="631"/>
                    </a:lnTo>
                    <a:close/>
                    <a:moveTo>
                      <a:pt x="348" y="5"/>
                    </a:moveTo>
                    <a:lnTo>
                      <a:pt x="349" y="5"/>
                    </a:lnTo>
                    <a:lnTo>
                      <a:pt x="351" y="5"/>
                    </a:lnTo>
                    <a:lnTo>
                      <a:pt x="351" y="7"/>
                    </a:lnTo>
                    <a:lnTo>
                      <a:pt x="353" y="7"/>
                    </a:lnTo>
                    <a:lnTo>
                      <a:pt x="353" y="9"/>
                    </a:lnTo>
                    <a:lnTo>
                      <a:pt x="355" y="9"/>
                    </a:lnTo>
                    <a:lnTo>
                      <a:pt x="357" y="9"/>
                    </a:lnTo>
                    <a:lnTo>
                      <a:pt x="357" y="11"/>
                    </a:lnTo>
                    <a:lnTo>
                      <a:pt x="357" y="9"/>
                    </a:lnTo>
                    <a:lnTo>
                      <a:pt x="357" y="11"/>
                    </a:lnTo>
                    <a:lnTo>
                      <a:pt x="359" y="11"/>
                    </a:lnTo>
                    <a:lnTo>
                      <a:pt x="361" y="11"/>
                    </a:lnTo>
                    <a:lnTo>
                      <a:pt x="363" y="11"/>
                    </a:lnTo>
                    <a:lnTo>
                      <a:pt x="365" y="11"/>
                    </a:lnTo>
                    <a:lnTo>
                      <a:pt x="365" y="13"/>
                    </a:lnTo>
                    <a:lnTo>
                      <a:pt x="365" y="11"/>
                    </a:lnTo>
                    <a:lnTo>
                      <a:pt x="365" y="13"/>
                    </a:lnTo>
                    <a:lnTo>
                      <a:pt x="367" y="13"/>
                    </a:lnTo>
                    <a:lnTo>
                      <a:pt x="367" y="11"/>
                    </a:lnTo>
                    <a:lnTo>
                      <a:pt x="367" y="13"/>
                    </a:lnTo>
                    <a:lnTo>
                      <a:pt x="369" y="13"/>
                    </a:lnTo>
                    <a:lnTo>
                      <a:pt x="369" y="15"/>
                    </a:lnTo>
                    <a:lnTo>
                      <a:pt x="371" y="15"/>
                    </a:lnTo>
                    <a:lnTo>
                      <a:pt x="373" y="15"/>
                    </a:lnTo>
                    <a:lnTo>
                      <a:pt x="374" y="15"/>
                    </a:lnTo>
                    <a:lnTo>
                      <a:pt x="374" y="17"/>
                    </a:lnTo>
                    <a:lnTo>
                      <a:pt x="374" y="15"/>
                    </a:lnTo>
                    <a:lnTo>
                      <a:pt x="374" y="17"/>
                    </a:lnTo>
                    <a:lnTo>
                      <a:pt x="374" y="15"/>
                    </a:lnTo>
                    <a:lnTo>
                      <a:pt x="376" y="15"/>
                    </a:lnTo>
                    <a:lnTo>
                      <a:pt x="376" y="17"/>
                    </a:lnTo>
                    <a:lnTo>
                      <a:pt x="376" y="21"/>
                    </a:lnTo>
                    <a:lnTo>
                      <a:pt x="378" y="21"/>
                    </a:lnTo>
                    <a:lnTo>
                      <a:pt x="384" y="21"/>
                    </a:lnTo>
                    <a:lnTo>
                      <a:pt x="384" y="19"/>
                    </a:lnTo>
                    <a:lnTo>
                      <a:pt x="386" y="19"/>
                    </a:lnTo>
                    <a:lnTo>
                      <a:pt x="386" y="21"/>
                    </a:lnTo>
                    <a:lnTo>
                      <a:pt x="388" y="21"/>
                    </a:lnTo>
                    <a:lnTo>
                      <a:pt x="390" y="21"/>
                    </a:lnTo>
                    <a:lnTo>
                      <a:pt x="392" y="23"/>
                    </a:lnTo>
                    <a:lnTo>
                      <a:pt x="394" y="23"/>
                    </a:lnTo>
                    <a:lnTo>
                      <a:pt x="396" y="23"/>
                    </a:lnTo>
                    <a:lnTo>
                      <a:pt x="396" y="25"/>
                    </a:lnTo>
                    <a:lnTo>
                      <a:pt x="396" y="23"/>
                    </a:lnTo>
                    <a:lnTo>
                      <a:pt x="397" y="23"/>
                    </a:lnTo>
                    <a:lnTo>
                      <a:pt x="399" y="23"/>
                    </a:lnTo>
                    <a:lnTo>
                      <a:pt x="401" y="23"/>
                    </a:lnTo>
                    <a:lnTo>
                      <a:pt x="403" y="23"/>
                    </a:lnTo>
                    <a:lnTo>
                      <a:pt x="403" y="25"/>
                    </a:lnTo>
                    <a:lnTo>
                      <a:pt x="405" y="25"/>
                    </a:lnTo>
                    <a:lnTo>
                      <a:pt x="405" y="32"/>
                    </a:lnTo>
                    <a:lnTo>
                      <a:pt x="409" y="32"/>
                    </a:lnTo>
                    <a:lnTo>
                      <a:pt x="415" y="28"/>
                    </a:lnTo>
                    <a:lnTo>
                      <a:pt x="419" y="27"/>
                    </a:lnTo>
                    <a:lnTo>
                      <a:pt x="422" y="25"/>
                    </a:lnTo>
                    <a:lnTo>
                      <a:pt x="428" y="23"/>
                    </a:lnTo>
                    <a:lnTo>
                      <a:pt x="430" y="21"/>
                    </a:lnTo>
                    <a:lnTo>
                      <a:pt x="432" y="21"/>
                    </a:lnTo>
                    <a:lnTo>
                      <a:pt x="438" y="17"/>
                    </a:lnTo>
                    <a:lnTo>
                      <a:pt x="444" y="15"/>
                    </a:lnTo>
                    <a:lnTo>
                      <a:pt x="447" y="13"/>
                    </a:lnTo>
                    <a:lnTo>
                      <a:pt x="453" y="9"/>
                    </a:lnTo>
                    <a:lnTo>
                      <a:pt x="455" y="9"/>
                    </a:lnTo>
                    <a:lnTo>
                      <a:pt x="457" y="7"/>
                    </a:lnTo>
                    <a:lnTo>
                      <a:pt x="459" y="9"/>
                    </a:lnTo>
                    <a:lnTo>
                      <a:pt x="465" y="21"/>
                    </a:lnTo>
                    <a:lnTo>
                      <a:pt x="465" y="23"/>
                    </a:lnTo>
                    <a:lnTo>
                      <a:pt x="467" y="25"/>
                    </a:lnTo>
                    <a:lnTo>
                      <a:pt x="469" y="27"/>
                    </a:lnTo>
                    <a:lnTo>
                      <a:pt x="470" y="27"/>
                    </a:lnTo>
                    <a:lnTo>
                      <a:pt x="472" y="27"/>
                    </a:lnTo>
                    <a:lnTo>
                      <a:pt x="472" y="25"/>
                    </a:lnTo>
                    <a:lnTo>
                      <a:pt x="472" y="27"/>
                    </a:lnTo>
                    <a:lnTo>
                      <a:pt x="474" y="27"/>
                    </a:lnTo>
                    <a:lnTo>
                      <a:pt x="476" y="27"/>
                    </a:lnTo>
                    <a:lnTo>
                      <a:pt x="478" y="27"/>
                    </a:lnTo>
                    <a:lnTo>
                      <a:pt x="478" y="28"/>
                    </a:lnTo>
                    <a:lnTo>
                      <a:pt x="480" y="28"/>
                    </a:lnTo>
                    <a:lnTo>
                      <a:pt x="480" y="27"/>
                    </a:lnTo>
                    <a:lnTo>
                      <a:pt x="482" y="27"/>
                    </a:lnTo>
                    <a:lnTo>
                      <a:pt x="484" y="27"/>
                    </a:lnTo>
                    <a:lnTo>
                      <a:pt x="484" y="25"/>
                    </a:lnTo>
                    <a:lnTo>
                      <a:pt x="486" y="25"/>
                    </a:lnTo>
                    <a:lnTo>
                      <a:pt x="486" y="27"/>
                    </a:lnTo>
                    <a:lnTo>
                      <a:pt x="486" y="30"/>
                    </a:lnTo>
                    <a:lnTo>
                      <a:pt x="488" y="40"/>
                    </a:lnTo>
                    <a:lnTo>
                      <a:pt x="492" y="40"/>
                    </a:lnTo>
                    <a:lnTo>
                      <a:pt x="501" y="38"/>
                    </a:lnTo>
                    <a:lnTo>
                      <a:pt x="503" y="36"/>
                    </a:lnTo>
                    <a:lnTo>
                      <a:pt x="505" y="36"/>
                    </a:lnTo>
                    <a:lnTo>
                      <a:pt x="515" y="34"/>
                    </a:lnTo>
                    <a:lnTo>
                      <a:pt x="518" y="34"/>
                    </a:lnTo>
                    <a:lnTo>
                      <a:pt x="520" y="32"/>
                    </a:lnTo>
                    <a:lnTo>
                      <a:pt x="528" y="30"/>
                    </a:lnTo>
                    <a:lnTo>
                      <a:pt x="530" y="30"/>
                    </a:lnTo>
                    <a:lnTo>
                      <a:pt x="532" y="30"/>
                    </a:lnTo>
                    <a:lnTo>
                      <a:pt x="534" y="30"/>
                    </a:lnTo>
                    <a:lnTo>
                      <a:pt x="534" y="32"/>
                    </a:lnTo>
                    <a:lnTo>
                      <a:pt x="532" y="32"/>
                    </a:lnTo>
                    <a:lnTo>
                      <a:pt x="534" y="32"/>
                    </a:lnTo>
                    <a:lnTo>
                      <a:pt x="534" y="34"/>
                    </a:lnTo>
                    <a:lnTo>
                      <a:pt x="534" y="32"/>
                    </a:lnTo>
                    <a:lnTo>
                      <a:pt x="536" y="32"/>
                    </a:lnTo>
                    <a:lnTo>
                      <a:pt x="536" y="34"/>
                    </a:lnTo>
                    <a:lnTo>
                      <a:pt x="536" y="36"/>
                    </a:lnTo>
                    <a:lnTo>
                      <a:pt x="534" y="36"/>
                    </a:lnTo>
                    <a:lnTo>
                      <a:pt x="532" y="38"/>
                    </a:lnTo>
                    <a:lnTo>
                      <a:pt x="532" y="40"/>
                    </a:lnTo>
                    <a:lnTo>
                      <a:pt x="532" y="42"/>
                    </a:lnTo>
                    <a:lnTo>
                      <a:pt x="532" y="44"/>
                    </a:lnTo>
                    <a:lnTo>
                      <a:pt x="534" y="44"/>
                    </a:lnTo>
                    <a:lnTo>
                      <a:pt x="534" y="42"/>
                    </a:lnTo>
                    <a:lnTo>
                      <a:pt x="534" y="44"/>
                    </a:lnTo>
                    <a:lnTo>
                      <a:pt x="536" y="44"/>
                    </a:lnTo>
                    <a:lnTo>
                      <a:pt x="536" y="46"/>
                    </a:lnTo>
                    <a:lnTo>
                      <a:pt x="534" y="46"/>
                    </a:lnTo>
                    <a:lnTo>
                      <a:pt x="534" y="48"/>
                    </a:lnTo>
                    <a:lnTo>
                      <a:pt x="534" y="50"/>
                    </a:lnTo>
                    <a:lnTo>
                      <a:pt x="532" y="50"/>
                    </a:lnTo>
                    <a:lnTo>
                      <a:pt x="532" y="52"/>
                    </a:lnTo>
                    <a:lnTo>
                      <a:pt x="534" y="52"/>
                    </a:lnTo>
                    <a:lnTo>
                      <a:pt x="536" y="52"/>
                    </a:lnTo>
                    <a:lnTo>
                      <a:pt x="538" y="50"/>
                    </a:lnTo>
                    <a:lnTo>
                      <a:pt x="542" y="50"/>
                    </a:lnTo>
                    <a:lnTo>
                      <a:pt x="543" y="48"/>
                    </a:lnTo>
                    <a:lnTo>
                      <a:pt x="555" y="46"/>
                    </a:lnTo>
                    <a:lnTo>
                      <a:pt x="555" y="52"/>
                    </a:lnTo>
                    <a:lnTo>
                      <a:pt x="555" y="53"/>
                    </a:lnTo>
                    <a:lnTo>
                      <a:pt x="557" y="59"/>
                    </a:lnTo>
                    <a:lnTo>
                      <a:pt x="549" y="63"/>
                    </a:lnTo>
                    <a:lnTo>
                      <a:pt x="551" y="69"/>
                    </a:lnTo>
                    <a:lnTo>
                      <a:pt x="553" y="69"/>
                    </a:lnTo>
                    <a:lnTo>
                      <a:pt x="555" y="69"/>
                    </a:lnTo>
                    <a:lnTo>
                      <a:pt x="557" y="71"/>
                    </a:lnTo>
                    <a:lnTo>
                      <a:pt x="557" y="75"/>
                    </a:lnTo>
                    <a:lnTo>
                      <a:pt x="557" y="78"/>
                    </a:lnTo>
                    <a:lnTo>
                      <a:pt x="559" y="82"/>
                    </a:lnTo>
                    <a:lnTo>
                      <a:pt x="557" y="82"/>
                    </a:lnTo>
                    <a:lnTo>
                      <a:pt x="555" y="84"/>
                    </a:lnTo>
                    <a:lnTo>
                      <a:pt x="551" y="84"/>
                    </a:lnTo>
                    <a:lnTo>
                      <a:pt x="553" y="88"/>
                    </a:lnTo>
                    <a:lnTo>
                      <a:pt x="559" y="86"/>
                    </a:lnTo>
                    <a:lnTo>
                      <a:pt x="559" y="88"/>
                    </a:lnTo>
                    <a:lnTo>
                      <a:pt x="559" y="90"/>
                    </a:lnTo>
                    <a:lnTo>
                      <a:pt x="561" y="94"/>
                    </a:lnTo>
                    <a:lnTo>
                      <a:pt x="561" y="96"/>
                    </a:lnTo>
                    <a:lnTo>
                      <a:pt x="561" y="100"/>
                    </a:lnTo>
                    <a:lnTo>
                      <a:pt x="563" y="100"/>
                    </a:lnTo>
                    <a:lnTo>
                      <a:pt x="566" y="98"/>
                    </a:lnTo>
                    <a:lnTo>
                      <a:pt x="568" y="96"/>
                    </a:lnTo>
                    <a:lnTo>
                      <a:pt x="568" y="98"/>
                    </a:lnTo>
                    <a:lnTo>
                      <a:pt x="572" y="101"/>
                    </a:lnTo>
                    <a:lnTo>
                      <a:pt x="568" y="103"/>
                    </a:lnTo>
                    <a:lnTo>
                      <a:pt x="570" y="105"/>
                    </a:lnTo>
                    <a:lnTo>
                      <a:pt x="572" y="113"/>
                    </a:lnTo>
                    <a:lnTo>
                      <a:pt x="574" y="117"/>
                    </a:lnTo>
                    <a:lnTo>
                      <a:pt x="572" y="119"/>
                    </a:lnTo>
                    <a:lnTo>
                      <a:pt x="572" y="121"/>
                    </a:lnTo>
                    <a:lnTo>
                      <a:pt x="570" y="123"/>
                    </a:lnTo>
                    <a:lnTo>
                      <a:pt x="570" y="124"/>
                    </a:lnTo>
                    <a:lnTo>
                      <a:pt x="570" y="126"/>
                    </a:lnTo>
                    <a:lnTo>
                      <a:pt x="570" y="128"/>
                    </a:lnTo>
                    <a:lnTo>
                      <a:pt x="566" y="128"/>
                    </a:lnTo>
                    <a:lnTo>
                      <a:pt x="561" y="128"/>
                    </a:lnTo>
                    <a:lnTo>
                      <a:pt x="561" y="126"/>
                    </a:lnTo>
                    <a:lnTo>
                      <a:pt x="561" y="123"/>
                    </a:lnTo>
                    <a:lnTo>
                      <a:pt x="559" y="121"/>
                    </a:lnTo>
                    <a:lnTo>
                      <a:pt x="559" y="119"/>
                    </a:lnTo>
                    <a:lnTo>
                      <a:pt x="559" y="121"/>
                    </a:lnTo>
                    <a:lnTo>
                      <a:pt x="551" y="121"/>
                    </a:lnTo>
                    <a:lnTo>
                      <a:pt x="553" y="126"/>
                    </a:lnTo>
                    <a:lnTo>
                      <a:pt x="555" y="126"/>
                    </a:lnTo>
                    <a:lnTo>
                      <a:pt x="557" y="130"/>
                    </a:lnTo>
                    <a:lnTo>
                      <a:pt x="557" y="134"/>
                    </a:lnTo>
                    <a:lnTo>
                      <a:pt x="559" y="134"/>
                    </a:lnTo>
                    <a:lnTo>
                      <a:pt x="561" y="134"/>
                    </a:lnTo>
                    <a:lnTo>
                      <a:pt x="563" y="134"/>
                    </a:lnTo>
                    <a:lnTo>
                      <a:pt x="565" y="134"/>
                    </a:lnTo>
                    <a:lnTo>
                      <a:pt x="565" y="138"/>
                    </a:lnTo>
                    <a:lnTo>
                      <a:pt x="568" y="136"/>
                    </a:lnTo>
                    <a:lnTo>
                      <a:pt x="572" y="136"/>
                    </a:lnTo>
                    <a:lnTo>
                      <a:pt x="580" y="136"/>
                    </a:lnTo>
                    <a:lnTo>
                      <a:pt x="582" y="134"/>
                    </a:lnTo>
                    <a:lnTo>
                      <a:pt x="584" y="134"/>
                    </a:lnTo>
                    <a:lnTo>
                      <a:pt x="588" y="134"/>
                    </a:lnTo>
                    <a:lnTo>
                      <a:pt x="586" y="132"/>
                    </a:lnTo>
                    <a:lnTo>
                      <a:pt x="588" y="132"/>
                    </a:lnTo>
                    <a:lnTo>
                      <a:pt x="590" y="130"/>
                    </a:lnTo>
                    <a:lnTo>
                      <a:pt x="591" y="130"/>
                    </a:lnTo>
                    <a:lnTo>
                      <a:pt x="591" y="132"/>
                    </a:lnTo>
                    <a:lnTo>
                      <a:pt x="591" y="134"/>
                    </a:lnTo>
                    <a:lnTo>
                      <a:pt x="590" y="136"/>
                    </a:lnTo>
                    <a:lnTo>
                      <a:pt x="590" y="138"/>
                    </a:lnTo>
                    <a:lnTo>
                      <a:pt x="590" y="140"/>
                    </a:lnTo>
                    <a:lnTo>
                      <a:pt x="591" y="140"/>
                    </a:lnTo>
                    <a:lnTo>
                      <a:pt x="591" y="142"/>
                    </a:lnTo>
                    <a:lnTo>
                      <a:pt x="593" y="142"/>
                    </a:lnTo>
                    <a:lnTo>
                      <a:pt x="597" y="142"/>
                    </a:lnTo>
                    <a:lnTo>
                      <a:pt x="603" y="142"/>
                    </a:lnTo>
                    <a:lnTo>
                      <a:pt x="609" y="142"/>
                    </a:lnTo>
                    <a:lnTo>
                      <a:pt x="611" y="142"/>
                    </a:lnTo>
                    <a:lnTo>
                      <a:pt x="611" y="144"/>
                    </a:lnTo>
                    <a:lnTo>
                      <a:pt x="613" y="144"/>
                    </a:lnTo>
                    <a:lnTo>
                      <a:pt x="613" y="148"/>
                    </a:lnTo>
                    <a:lnTo>
                      <a:pt x="613" y="149"/>
                    </a:lnTo>
                    <a:lnTo>
                      <a:pt x="616" y="149"/>
                    </a:lnTo>
                    <a:lnTo>
                      <a:pt x="620" y="149"/>
                    </a:lnTo>
                    <a:lnTo>
                      <a:pt x="626" y="149"/>
                    </a:lnTo>
                    <a:lnTo>
                      <a:pt x="628" y="149"/>
                    </a:lnTo>
                    <a:lnTo>
                      <a:pt x="630" y="149"/>
                    </a:lnTo>
                    <a:lnTo>
                      <a:pt x="630" y="148"/>
                    </a:lnTo>
                    <a:lnTo>
                      <a:pt x="630" y="146"/>
                    </a:lnTo>
                    <a:lnTo>
                      <a:pt x="628" y="146"/>
                    </a:lnTo>
                    <a:lnTo>
                      <a:pt x="630" y="146"/>
                    </a:lnTo>
                    <a:lnTo>
                      <a:pt x="630" y="144"/>
                    </a:lnTo>
                    <a:lnTo>
                      <a:pt x="628" y="144"/>
                    </a:lnTo>
                    <a:lnTo>
                      <a:pt x="628" y="142"/>
                    </a:lnTo>
                    <a:lnTo>
                      <a:pt x="628" y="140"/>
                    </a:lnTo>
                    <a:lnTo>
                      <a:pt x="634" y="142"/>
                    </a:lnTo>
                    <a:lnTo>
                      <a:pt x="638" y="142"/>
                    </a:lnTo>
                    <a:lnTo>
                      <a:pt x="639" y="142"/>
                    </a:lnTo>
                    <a:lnTo>
                      <a:pt x="641" y="142"/>
                    </a:lnTo>
                    <a:lnTo>
                      <a:pt x="641" y="144"/>
                    </a:lnTo>
                    <a:lnTo>
                      <a:pt x="641" y="146"/>
                    </a:lnTo>
                    <a:lnTo>
                      <a:pt x="643" y="146"/>
                    </a:lnTo>
                    <a:lnTo>
                      <a:pt x="645" y="146"/>
                    </a:lnTo>
                    <a:lnTo>
                      <a:pt x="647" y="146"/>
                    </a:lnTo>
                    <a:lnTo>
                      <a:pt x="649" y="146"/>
                    </a:lnTo>
                    <a:lnTo>
                      <a:pt x="651" y="146"/>
                    </a:lnTo>
                    <a:lnTo>
                      <a:pt x="653" y="146"/>
                    </a:lnTo>
                    <a:lnTo>
                      <a:pt x="655" y="146"/>
                    </a:lnTo>
                    <a:lnTo>
                      <a:pt x="657" y="146"/>
                    </a:lnTo>
                    <a:lnTo>
                      <a:pt x="659" y="148"/>
                    </a:lnTo>
                    <a:lnTo>
                      <a:pt x="661" y="148"/>
                    </a:lnTo>
                    <a:lnTo>
                      <a:pt x="662" y="148"/>
                    </a:lnTo>
                    <a:lnTo>
                      <a:pt x="664" y="148"/>
                    </a:lnTo>
                    <a:lnTo>
                      <a:pt x="666" y="148"/>
                    </a:lnTo>
                    <a:lnTo>
                      <a:pt x="668" y="148"/>
                    </a:lnTo>
                    <a:lnTo>
                      <a:pt x="670" y="148"/>
                    </a:lnTo>
                    <a:lnTo>
                      <a:pt x="672" y="148"/>
                    </a:lnTo>
                    <a:lnTo>
                      <a:pt x="674" y="148"/>
                    </a:lnTo>
                    <a:lnTo>
                      <a:pt x="678" y="148"/>
                    </a:lnTo>
                    <a:lnTo>
                      <a:pt x="682" y="148"/>
                    </a:lnTo>
                    <a:lnTo>
                      <a:pt x="684" y="148"/>
                    </a:lnTo>
                    <a:lnTo>
                      <a:pt x="684" y="146"/>
                    </a:lnTo>
                    <a:lnTo>
                      <a:pt x="684" y="144"/>
                    </a:lnTo>
                    <a:lnTo>
                      <a:pt x="687" y="144"/>
                    </a:lnTo>
                    <a:lnTo>
                      <a:pt x="693" y="142"/>
                    </a:lnTo>
                    <a:lnTo>
                      <a:pt x="695" y="142"/>
                    </a:lnTo>
                    <a:lnTo>
                      <a:pt x="697" y="142"/>
                    </a:lnTo>
                    <a:lnTo>
                      <a:pt x="699" y="140"/>
                    </a:lnTo>
                    <a:lnTo>
                      <a:pt x="701" y="140"/>
                    </a:lnTo>
                    <a:lnTo>
                      <a:pt x="703" y="140"/>
                    </a:lnTo>
                    <a:lnTo>
                      <a:pt x="705" y="140"/>
                    </a:lnTo>
                    <a:lnTo>
                      <a:pt x="707" y="138"/>
                    </a:lnTo>
                    <a:lnTo>
                      <a:pt x="709" y="142"/>
                    </a:lnTo>
                    <a:lnTo>
                      <a:pt x="709" y="144"/>
                    </a:lnTo>
                    <a:lnTo>
                      <a:pt x="707" y="146"/>
                    </a:lnTo>
                    <a:lnTo>
                      <a:pt x="707" y="149"/>
                    </a:lnTo>
                    <a:lnTo>
                      <a:pt x="705" y="151"/>
                    </a:lnTo>
                    <a:lnTo>
                      <a:pt x="705" y="153"/>
                    </a:lnTo>
                    <a:lnTo>
                      <a:pt x="703" y="153"/>
                    </a:lnTo>
                    <a:lnTo>
                      <a:pt x="703" y="155"/>
                    </a:lnTo>
                    <a:lnTo>
                      <a:pt x="701" y="159"/>
                    </a:lnTo>
                    <a:lnTo>
                      <a:pt x="701" y="161"/>
                    </a:lnTo>
                    <a:lnTo>
                      <a:pt x="701" y="165"/>
                    </a:lnTo>
                    <a:lnTo>
                      <a:pt x="703" y="167"/>
                    </a:lnTo>
                    <a:lnTo>
                      <a:pt x="705" y="167"/>
                    </a:lnTo>
                    <a:lnTo>
                      <a:pt x="707" y="167"/>
                    </a:lnTo>
                    <a:lnTo>
                      <a:pt x="712" y="165"/>
                    </a:lnTo>
                    <a:lnTo>
                      <a:pt x="714" y="165"/>
                    </a:lnTo>
                    <a:lnTo>
                      <a:pt x="720" y="163"/>
                    </a:lnTo>
                    <a:lnTo>
                      <a:pt x="724" y="163"/>
                    </a:lnTo>
                    <a:lnTo>
                      <a:pt x="726" y="163"/>
                    </a:lnTo>
                    <a:lnTo>
                      <a:pt x="726" y="165"/>
                    </a:lnTo>
                    <a:lnTo>
                      <a:pt x="726" y="169"/>
                    </a:lnTo>
                    <a:lnTo>
                      <a:pt x="726" y="171"/>
                    </a:lnTo>
                    <a:lnTo>
                      <a:pt x="726" y="172"/>
                    </a:lnTo>
                    <a:lnTo>
                      <a:pt x="728" y="176"/>
                    </a:lnTo>
                    <a:lnTo>
                      <a:pt x="728" y="178"/>
                    </a:lnTo>
                    <a:lnTo>
                      <a:pt x="728" y="180"/>
                    </a:lnTo>
                    <a:lnTo>
                      <a:pt x="728" y="182"/>
                    </a:lnTo>
                    <a:lnTo>
                      <a:pt x="728" y="184"/>
                    </a:lnTo>
                    <a:lnTo>
                      <a:pt x="728" y="186"/>
                    </a:lnTo>
                    <a:lnTo>
                      <a:pt x="728" y="190"/>
                    </a:lnTo>
                    <a:lnTo>
                      <a:pt x="730" y="190"/>
                    </a:lnTo>
                    <a:lnTo>
                      <a:pt x="734" y="190"/>
                    </a:lnTo>
                    <a:lnTo>
                      <a:pt x="734" y="194"/>
                    </a:lnTo>
                    <a:lnTo>
                      <a:pt x="734" y="197"/>
                    </a:lnTo>
                    <a:lnTo>
                      <a:pt x="734" y="199"/>
                    </a:lnTo>
                    <a:lnTo>
                      <a:pt x="735" y="203"/>
                    </a:lnTo>
                    <a:lnTo>
                      <a:pt x="735" y="205"/>
                    </a:lnTo>
                    <a:lnTo>
                      <a:pt x="735" y="207"/>
                    </a:lnTo>
                    <a:lnTo>
                      <a:pt x="735" y="211"/>
                    </a:lnTo>
                    <a:lnTo>
                      <a:pt x="739" y="211"/>
                    </a:lnTo>
                    <a:lnTo>
                      <a:pt x="741" y="211"/>
                    </a:lnTo>
                    <a:lnTo>
                      <a:pt x="743" y="211"/>
                    </a:lnTo>
                    <a:lnTo>
                      <a:pt x="745" y="211"/>
                    </a:lnTo>
                    <a:lnTo>
                      <a:pt x="749" y="211"/>
                    </a:lnTo>
                    <a:lnTo>
                      <a:pt x="753" y="211"/>
                    </a:lnTo>
                    <a:lnTo>
                      <a:pt x="755" y="211"/>
                    </a:lnTo>
                    <a:lnTo>
                      <a:pt x="757" y="211"/>
                    </a:lnTo>
                    <a:lnTo>
                      <a:pt x="757" y="209"/>
                    </a:lnTo>
                    <a:lnTo>
                      <a:pt x="759" y="209"/>
                    </a:lnTo>
                    <a:lnTo>
                      <a:pt x="759" y="211"/>
                    </a:lnTo>
                    <a:lnTo>
                      <a:pt x="757" y="211"/>
                    </a:lnTo>
                    <a:lnTo>
                      <a:pt x="755" y="213"/>
                    </a:lnTo>
                    <a:lnTo>
                      <a:pt x="755" y="215"/>
                    </a:lnTo>
                    <a:lnTo>
                      <a:pt x="757" y="215"/>
                    </a:lnTo>
                    <a:lnTo>
                      <a:pt x="755" y="215"/>
                    </a:lnTo>
                    <a:lnTo>
                      <a:pt x="755" y="217"/>
                    </a:lnTo>
                    <a:lnTo>
                      <a:pt x="755" y="215"/>
                    </a:lnTo>
                    <a:lnTo>
                      <a:pt x="755" y="217"/>
                    </a:lnTo>
                    <a:lnTo>
                      <a:pt x="753" y="217"/>
                    </a:lnTo>
                    <a:lnTo>
                      <a:pt x="753" y="219"/>
                    </a:lnTo>
                    <a:lnTo>
                      <a:pt x="751" y="217"/>
                    </a:lnTo>
                    <a:lnTo>
                      <a:pt x="749" y="217"/>
                    </a:lnTo>
                    <a:lnTo>
                      <a:pt x="747" y="217"/>
                    </a:lnTo>
                    <a:lnTo>
                      <a:pt x="747" y="219"/>
                    </a:lnTo>
                    <a:lnTo>
                      <a:pt x="741" y="219"/>
                    </a:lnTo>
                    <a:lnTo>
                      <a:pt x="737" y="220"/>
                    </a:lnTo>
                    <a:lnTo>
                      <a:pt x="737" y="222"/>
                    </a:lnTo>
                    <a:lnTo>
                      <a:pt x="737" y="226"/>
                    </a:lnTo>
                    <a:lnTo>
                      <a:pt x="737" y="228"/>
                    </a:lnTo>
                    <a:lnTo>
                      <a:pt x="737" y="230"/>
                    </a:lnTo>
                    <a:lnTo>
                      <a:pt x="739" y="232"/>
                    </a:lnTo>
                    <a:lnTo>
                      <a:pt x="743" y="232"/>
                    </a:lnTo>
                    <a:lnTo>
                      <a:pt x="749" y="230"/>
                    </a:lnTo>
                    <a:lnTo>
                      <a:pt x="751" y="230"/>
                    </a:lnTo>
                    <a:lnTo>
                      <a:pt x="751" y="232"/>
                    </a:lnTo>
                    <a:lnTo>
                      <a:pt x="749" y="232"/>
                    </a:lnTo>
                    <a:lnTo>
                      <a:pt x="751" y="234"/>
                    </a:lnTo>
                    <a:lnTo>
                      <a:pt x="751" y="236"/>
                    </a:lnTo>
                    <a:lnTo>
                      <a:pt x="749" y="236"/>
                    </a:lnTo>
                    <a:lnTo>
                      <a:pt x="747" y="236"/>
                    </a:lnTo>
                    <a:lnTo>
                      <a:pt x="745" y="236"/>
                    </a:lnTo>
                    <a:lnTo>
                      <a:pt x="745" y="240"/>
                    </a:lnTo>
                    <a:lnTo>
                      <a:pt x="745" y="242"/>
                    </a:lnTo>
                    <a:lnTo>
                      <a:pt x="747" y="242"/>
                    </a:lnTo>
                    <a:lnTo>
                      <a:pt x="749" y="242"/>
                    </a:lnTo>
                    <a:lnTo>
                      <a:pt x="749" y="243"/>
                    </a:lnTo>
                    <a:lnTo>
                      <a:pt x="749" y="245"/>
                    </a:lnTo>
                    <a:lnTo>
                      <a:pt x="751" y="243"/>
                    </a:lnTo>
                    <a:lnTo>
                      <a:pt x="753" y="243"/>
                    </a:lnTo>
                    <a:lnTo>
                      <a:pt x="757" y="242"/>
                    </a:lnTo>
                    <a:lnTo>
                      <a:pt x="759" y="240"/>
                    </a:lnTo>
                    <a:lnTo>
                      <a:pt x="760" y="240"/>
                    </a:lnTo>
                    <a:lnTo>
                      <a:pt x="762" y="238"/>
                    </a:lnTo>
                    <a:lnTo>
                      <a:pt x="764" y="238"/>
                    </a:lnTo>
                    <a:lnTo>
                      <a:pt x="766" y="236"/>
                    </a:lnTo>
                    <a:lnTo>
                      <a:pt x="768" y="236"/>
                    </a:lnTo>
                    <a:lnTo>
                      <a:pt x="768" y="238"/>
                    </a:lnTo>
                    <a:lnTo>
                      <a:pt x="770" y="240"/>
                    </a:lnTo>
                    <a:lnTo>
                      <a:pt x="772" y="242"/>
                    </a:lnTo>
                    <a:lnTo>
                      <a:pt x="772" y="243"/>
                    </a:lnTo>
                    <a:lnTo>
                      <a:pt x="774" y="245"/>
                    </a:lnTo>
                    <a:lnTo>
                      <a:pt x="774" y="247"/>
                    </a:lnTo>
                    <a:lnTo>
                      <a:pt x="776" y="249"/>
                    </a:lnTo>
                    <a:lnTo>
                      <a:pt x="776" y="251"/>
                    </a:lnTo>
                    <a:lnTo>
                      <a:pt x="778" y="253"/>
                    </a:lnTo>
                    <a:lnTo>
                      <a:pt x="778" y="255"/>
                    </a:lnTo>
                    <a:lnTo>
                      <a:pt x="780" y="257"/>
                    </a:lnTo>
                    <a:lnTo>
                      <a:pt x="782" y="261"/>
                    </a:lnTo>
                    <a:lnTo>
                      <a:pt x="782" y="263"/>
                    </a:lnTo>
                    <a:lnTo>
                      <a:pt x="783" y="267"/>
                    </a:lnTo>
                    <a:lnTo>
                      <a:pt x="785" y="268"/>
                    </a:lnTo>
                    <a:lnTo>
                      <a:pt x="789" y="267"/>
                    </a:lnTo>
                    <a:lnTo>
                      <a:pt x="791" y="265"/>
                    </a:lnTo>
                    <a:lnTo>
                      <a:pt x="795" y="261"/>
                    </a:lnTo>
                    <a:lnTo>
                      <a:pt x="801" y="257"/>
                    </a:lnTo>
                    <a:lnTo>
                      <a:pt x="807" y="267"/>
                    </a:lnTo>
                    <a:lnTo>
                      <a:pt x="810" y="263"/>
                    </a:lnTo>
                    <a:lnTo>
                      <a:pt x="812" y="267"/>
                    </a:lnTo>
                    <a:lnTo>
                      <a:pt x="812" y="268"/>
                    </a:lnTo>
                    <a:lnTo>
                      <a:pt x="816" y="272"/>
                    </a:lnTo>
                    <a:lnTo>
                      <a:pt x="820" y="268"/>
                    </a:lnTo>
                    <a:lnTo>
                      <a:pt x="822" y="267"/>
                    </a:lnTo>
                    <a:lnTo>
                      <a:pt x="824" y="268"/>
                    </a:lnTo>
                    <a:lnTo>
                      <a:pt x="824" y="270"/>
                    </a:lnTo>
                    <a:lnTo>
                      <a:pt x="826" y="272"/>
                    </a:lnTo>
                    <a:lnTo>
                      <a:pt x="826" y="274"/>
                    </a:lnTo>
                    <a:lnTo>
                      <a:pt x="828" y="276"/>
                    </a:lnTo>
                    <a:lnTo>
                      <a:pt x="830" y="282"/>
                    </a:lnTo>
                    <a:lnTo>
                      <a:pt x="831" y="284"/>
                    </a:lnTo>
                    <a:lnTo>
                      <a:pt x="835" y="290"/>
                    </a:lnTo>
                    <a:lnTo>
                      <a:pt x="835" y="291"/>
                    </a:lnTo>
                    <a:lnTo>
                      <a:pt x="837" y="291"/>
                    </a:lnTo>
                    <a:lnTo>
                      <a:pt x="837" y="293"/>
                    </a:lnTo>
                    <a:lnTo>
                      <a:pt x="839" y="291"/>
                    </a:lnTo>
                    <a:lnTo>
                      <a:pt x="843" y="293"/>
                    </a:lnTo>
                    <a:lnTo>
                      <a:pt x="849" y="301"/>
                    </a:lnTo>
                    <a:lnTo>
                      <a:pt x="851" y="303"/>
                    </a:lnTo>
                    <a:lnTo>
                      <a:pt x="853" y="303"/>
                    </a:lnTo>
                    <a:lnTo>
                      <a:pt x="856" y="307"/>
                    </a:lnTo>
                    <a:lnTo>
                      <a:pt x="858" y="309"/>
                    </a:lnTo>
                    <a:lnTo>
                      <a:pt x="860" y="309"/>
                    </a:lnTo>
                    <a:lnTo>
                      <a:pt x="860" y="307"/>
                    </a:lnTo>
                    <a:lnTo>
                      <a:pt x="864" y="301"/>
                    </a:lnTo>
                    <a:lnTo>
                      <a:pt x="866" y="297"/>
                    </a:lnTo>
                    <a:lnTo>
                      <a:pt x="868" y="299"/>
                    </a:lnTo>
                    <a:lnTo>
                      <a:pt x="870" y="299"/>
                    </a:lnTo>
                    <a:lnTo>
                      <a:pt x="872" y="299"/>
                    </a:lnTo>
                    <a:lnTo>
                      <a:pt x="870" y="301"/>
                    </a:lnTo>
                    <a:lnTo>
                      <a:pt x="868" y="303"/>
                    </a:lnTo>
                    <a:lnTo>
                      <a:pt x="870" y="303"/>
                    </a:lnTo>
                    <a:lnTo>
                      <a:pt x="872" y="303"/>
                    </a:lnTo>
                    <a:lnTo>
                      <a:pt x="874" y="303"/>
                    </a:lnTo>
                    <a:lnTo>
                      <a:pt x="874" y="305"/>
                    </a:lnTo>
                    <a:lnTo>
                      <a:pt x="876" y="305"/>
                    </a:lnTo>
                    <a:lnTo>
                      <a:pt x="876" y="303"/>
                    </a:lnTo>
                    <a:lnTo>
                      <a:pt x="878" y="303"/>
                    </a:lnTo>
                    <a:lnTo>
                      <a:pt x="885" y="303"/>
                    </a:lnTo>
                    <a:lnTo>
                      <a:pt x="885" y="305"/>
                    </a:lnTo>
                    <a:lnTo>
                      <a:pt x="883" y="307"/>
                    </a:lnTo>
                    <a:lnTo>
                      <a:pt x="883" y="309"/>
                    </a:lnTo>
                    <a:lnTo>
                      <a:pt x="885" y="311"/>
                    </a:lnTo>
                    <a:lnTo>
                      <a:pt x="883" y="313"/>
                    </a:lnTo>
                    <a:lnTo>
                      <a:pt x="883" y="315"/>
                    </a:lnTo>
                    <a:lnTo>
                      <a:pt x="881" y="316"/>
                    </a:lnTo>
                    <a:lnTo>
                      <a:pt x="879" y="318"/>
                    </a:lnTo>
                    <a:lnTo>
                      <a:pt x="879" y="320"/>
                    </a:lnTo>
                    <a:lnTo>
                      <a:pt x="879" y="322"/>
                    </a:lnTo>
                    <a:lnTo>
                      <a:pt x="878" y="326"/>
                    </a:lnTo>
                    <a:lnTo>
                      <a:pt x="876" y="326"/>
                    </a:lnTo>
                    <a:lnTo>
                      <a:pt x="876" y="328"/>
                    </a:lnTo>
                    <a:lnTo>
                      <a:pt x="874" y="332"/>
                    </a:lnTo>
                    <a:lnTo>
                      <a:pt x="874" y="334"/>
                    </a:lnTo>
                    <a:lnTo>
                      <a:pt x="872" y="336"/>
                    </a:lnTo>
                    <a:lnTo>
                      <a:pt x="872" y="338"/>
                    </a:lnTo>
                    <a:lnTo>
                      <a:pt x="870" y="343"/>
                    </a:lnTo>
                    <a:lnTo>
                      <a:pt x="870" y="347"/>
                    </a:lnTo>
                    <a:lnTo>
                      <a:pt x="872" y="349"/>
                    </a:lnTo>
                    <a:lnTo>
                      <a:pt x="872" y="351"/>
                    </a:lnTo>
                    <a:lnTo>
                      <a:pt x="866" y="353"/>
                    </a:lnTo>
                    <a:lnTo>
                      <a:pt x="862" y="355"/>
                    </a:lnTo>
                    <a:lnTo>
                      <a:pt x="860" y="357"/>
                    </a:lnTo>
                    <a:lnTo>
                      <a:pt x="858" y="353"/>
                    </a:lnTo>
                    <a:lnTo>
                      <a:pt x="856" y="347"/>
                    </a:lnTo>
                    <a:lnTo>
                      <a:pt x="856" y="345"/>
                    </a:lnTo>
                    <a:lnTo>
                      <a:pt x="856" y="343"/>
                    </a:lnTo>
                    <a:lnTo>
                      <a:pt x="855" y="341"/>
                    </a:lnTo>
                    <a:lnTo>
                      <a:pt x="855" y="339"/>
                    </a:lnTo>
                    <a:lnTo>
                      <a:pt x="853" y="339"/>
                    </a:lnTo>
                    <a:lnTo>
                      <a:pt x="851" y="341"/>
                    </a:lnTo>
                    <a:lnTo>
                      <a:pt x="849" y="341"/>
                    </a:lnTo>
                    <a:lnTo>
                      <a:pt x="845" y="341"/>
                    </a:lnTo>
                    <a:lnTo>
                      <a:pt x="845" y="345"/>
                    </a:lnTo>
                    <a:lnTo>
                      <a:pt x="847" y="349"/>
                    </a:lnTo>
                    <a:lnTo>
                      <a:pt x="847" y="353"/>
                    </a:lnTo>
                    <a:lnTo>
                      <a:pt x="849" y="357"/>
                    </a:lnTo>
                    <a:lnTo>
                      <a:pt x="845" y="359"/>
                    </a:lnTo>
                    <a:lnTo>
                      <a:pt x="843" y="359"/>
                    </a:lnTo>
                    <a:lnTo>
                      <a:pt x="839" y="361"/>
                    </a:lnTo>
                    <a:lnTo>
                      <a:pt x="841" y="363"/>
                    </a:lnTo>
                    <a:lnTo>
                      <a:pt x="837" y="364"/>
                    </a:lnTo>
                    <a:lnTo>
                      <a:pt x="835" y="366"/>
                    </a:lnTo>
                    <a:lnTo>
                      <a:pt x="837" y="366"/>
                    </a:lnTo>
                    <a:lnTo>
                      <a:pt x="831" y="370"/>
                    </a:lnTo>
                    <a:lnTo>
                      <a:pt x="830" y="370"/>
                    </a:lnTo>
                    <a:lnTo>
                      <a:pt x="824" y="374"/>
                    </a:lnTo>
                    <a:lnTo>
                      <a:pt x="824" y="372"/>
                    </a:lnTo>
                    <a:lnTo>
                      <a:pt x="824" y="370"/>
                    </a:lnTo>
                    <a:lnTo>
                      <a:pt x="822" y="370"/>
                    </a:lnTo>
                    <a:lnTo>
                      <a:pt x="824" y="370"/>
                    </a:lnTo>
                    <a:lnTo>
                      <a:pt x="822" y="370"/>
                    </a:lnTo>
                    <a:lnTo>
                      <a:pt x="822" y="368"/>
                    </a:lnTo>
                    <a:lnTo>
                      <a:pt x="822" y="366"/>
                    </a:lnTo>
                    <a:lnTo>
                      <a:pt x="820" y="366"/>
                    </a:lnTo>
                    <a:lnTo>
                      <a:pt x="816" y="366"/>
                    </a:lnTo>
                    <a:lnTo>
                      <a:pt x="812" y="366"/>
                    </a:lnTo>
                    <a:lnTo>
                      <a:pt x="812" y="368"/>
                    </a:lnTo>
                    <a:lnTo>
                      <a:pt x="808" y="368"/>
                    </a:lnTo>
                    <a:lnTo>
                      <a:pt x="805" y="368"/>
                    </a:lnTo>
                    <a:lnTo>
                      <a:pt x="803" y="368"/>
                    </a:lnTo>
                    <a:lnTo>
                      <a:pt x="801" y="368"/>
                    </a:lnTo>
                    <a:lnTo>
                      <a:pt x="799" y="368"/>
                    </a:lnTo>
                    <a:lnTo>
                      <a:pt x="797" y="364"/>
                    </a:lnTo>
                    <a:lnTo>
                      <a:pt x="793" y="364"/>
                    </a:lnTo>
                    <a:lnTo>
                      <a:pt x="793" y="368"/>
                    </a:lnTo>
                    <a:lnTo>
                      <a:pt x="793" y="370"/>
                    </a:lnTo>
                    <a:lnTo>
                      <a:pt x="795" y="374"/>
                    </a:lnTo>
                    <a:lnTo>
                      <a:pt x="795" y="376"/>
                    </a:lnTo>
                    <a:lnTo>
                      <a:pt x="795" y="378"/>
                    </a:lnTo>
                    <a:lnTo>
                      <a:pt x="795" y="382"/>
                    </a:lnTo>
                    <a:lnTo>
                      <a:pt x="795" y="384"/>
                    </a:lnTo>
                    <a:lnTo>
                      <a:pt x="795" y="387"/>
                    </a:lnTo>
                    <a:lnTo>
                      <a:pt x="795" y="389"/>
                    </a:lnTo>
                    <a:lnTo>
                      <a:pt x="797" y="391"/>
                    </a:lnTo>
                    <a:lnTo>
                      <a:pt x="797" y="397"/>
                    </a:lnTo>
                    <a:lnTo>
                      <a:pt x="797" y="401"/>
                    </a:lnTo>
                    <a:lnTo>
                      <a:pt x="797" y="403"/>
                    </a:lnTo>
                    <a:lnTo>
                      <a:pt x="799" y="403"/>
                    </a:lnTo>
                    <a:lnTo>
                      <a:pt x="799" y="405"/>
                    </a:lnTo>
                    <a:lnTo>
                      <a:pt x="801" y="405"/>
                    </a:lnTo>
                    <a:lnTo>
                      <a:pt x="801" y="407"/>
                    </a:lnTo>
                    <a:lnTo>
                      <a:pt x="801" y="409"/>
                    </a:lnTo>
                    <a:lnTo>
                      <a:pt x="801" y="411"/>
                    </a:lnTo>
                    <a:lnTo>
                      <a:pt x="801" y="412"/>
                    </a:lnTo>
                    <a:lnTo>
                      <a:pt x="801" y="414"/>
                    </a:lnTo>
                    <a:lnTo>
                      <a:pt x="793" y="414"/>
                    </a:lnTo>
                    <a:lnTo>
                      <a:pt x="793" y="412"/>
                    </a:lnTo>
                    <a:lnTo>
                      <a:pt x="785" y="412"/>
                    </a:lnTo>
                    <a:lnTo>
                      <a:pt x="783" y="412"/>
                    </a:lnTo>
                    <a:lnTo>
                      <a:pt x="778" y="412"/>
                    </a:lnTo>
                    <a:lnTo>
                      <a:pt x="780" y="412"/>
                    </a:lnTo>
                    <a:lnTo>
                      <a:pt x="780" y="414"/>
                    </a:lnTo>
                    <a:lnTo>
                      <a:pt x="778" y="414"/>
                    </a:lnTo>
                    <a:lnTo>
                      <a:pt x="774" y="414"/>
                    </a:lnTo>
                    <a:lnTo>
                      <a:pt x="772" y="414"/>
                    </a:lnTo>
                    <a:lnTo>
                      <a:pt x="770" y="414"/>
                    </a:lnTo>
                    <a:lnTo>
                      <a:pt x="772" y="414"/>
                    </a:lnTo>
                    <a:lnTo>
                      <a:pt x="770" y="414"/>
                    </a:lnTo>
                    <a:lnTo>
                      <a:pt x="770" y="416"/>
                    </a:lnTo>
                    <a:lnTo>
                      <a:pt x="772" y="416"/>
                    </a:lnTo>
                    <a:lnTo>
                      <a:pt x="772" y="418"/>
                    </a:lnTo>
                    <a:lnTo>
                      <a:pt x="772" y="420"/>
                    </a:lnTo>
                    <a:lnTo>
                      <a:pt x="774" y="420"/>
                    </a:lnTo>
                    <a:lnTo>
                      <a:pt x="776" y="420"/>
                    </a:lnTo>
                    <a:lnTo>
                      <a:pt x="776" y="422"/>
                    </a:lnTo>
                    <a:lnTo>
                      <a:pt x="776" y="424"/>
                    </a:lnTo>
                    <a:lnTo>
                      <a:pt x="778" y="424"/>
                    </a:lnTo>
                    <a:lnTo>
                      <a:pt x="780" y="424"/>
                    </a:lnTo>
                    <a:lnTo>
                      <a:pt x="780" y="426"/>
                    </a:lnTo>
                    <a:lnTo>
                      <a:pt x="782" y="426"/>
                    </a:lnTo>
                    <a:lnTo>
                      <a:pt x="783" y="426"/>
                    </a:lnTo>
                    <a:lnTo>
                      <a:pt x="783" y="428"/>
                    </a:lnTo>
                    <a:lnTo>
                      <a:pt x="785" y="428"/>
                    </a:lnTo>
                    <a:lnTo>
                      <a:pt x="783" y="428"/>
                    </a:lnTo>
                    <a:lnTo>
                      <a:pt x="785" y="428"/>
                    </a:lnTo>
                    <a:lnTo>
                      <a:pt x="785" y="430"/>
                    </a:lnTo>
                    <a:lnTo>
                      <a:pt x="785" y="428"/>
                    </a:lnTo>
                    <a:lnTo>
                      <a:pt x="787" y="428"/>
                    </a:lnTo>
                    <a:lnTo>
                      <a:pt x="787" y="430"/>
                    </a:lnTo>
                    <a:lnTo>
                      <a:pt x="787" y="428"/>
                    </a:lnTo>
                    <a:lnTo>
                      <a:pt x="787" y="426"/>
                    </a:lnTo>
                    <a:lnTo>
                      <a:pt x="789" y="426"/>
                    </a:lnTo>
                    <a:lnTo>
                      <a:pt x="789" y="428"/>
                    </a:lnTo>
                    <a:lnTo>
                      <a:pt x="789" y="430"/>
                    </a:lnTo>
                    <a:lnTo>
                      <a:pt x="789" y="432"/>
                    </a:lnTo>
                    <a:lnTo>
                      <a:pt x="791" y="432"/>
                    </a:lnTo>
                    <a:lnTo>
                      <a:pt x="791" y="430"/>
                    </a:lnTo>
                    <a:lnTo>
                      <a:pt x="793" y="430"/>
                    </a:lnTo>
                    <a:lnTo>
                      <a:pt x="793" y="432"/>
                    </a:lnTo>
                    <a:lnTo>
                      <a:pt x="795" y="432"/>
                    </a:lnTo>
                    <a:lnTo>
                      <a:pt x="797" y="432"/>
                    </a:lnTo>
                    <a:lnTo>
                      <a:pt x="797" y="434"/>
                    </a:lnTo>
                    <a:lnTo>
                      <a:pt x="799" y="434"/>
                    </a:lnTo>
                    <a:lnTo>
                      <a:pt x="799" y="435"/>
                    </a:lnTo>
                    <a:lnTo>
                      <a:pt x="801" y="435"/>
                    </a:lnTo>
                    <a:lnTo>
                      <a:pt x="801" y="437"/>
                    </a:lnTo>
                    <a:lnTo>
                      <a:pt x="803" y="439"/>
                    </a:lnTo>
                    <a:lnTo>
                      <a:pt x="805" y="439"/>
                    </a:lnTo>
                    <a:lnTo>
                      <a:pt x="805" y="441"/>
                    </a:lnTo>
                    <a:lnTo>
                      <a:pt x="803" y="441"/>
                    </a:lnTo>
                    <a:lnTo>
                      <a:pt x="803" y="443"/>
                    </a:lnTo>
                    <a:lnTo>
                      <a:pt x="805" y="443"/>
                    </a:lnTo>
                    <a:lnTo>
                      <a:pt x="805" y="445"/>
                    </a:lnTo>
                    <a:lnTo>
                      <a:pt x="807" y="445"/>
                    </a:lnTo>
                    <a:lnTo>
                      <a:pt x="805" y="445"/>
                    </a:lnTo>
                    <a:lnTo>
                      <a:pt x="807" y="445"/>
                    </a:lnTo>
                    <a:lnTo>
                      <a:pt x="807" y="447"/>
                    </a:lnTo>
                    <a:lnTo>
                      <a:pt x="808" y="447"/>
                    </a:lnTo>
                    <a:lnTo>
                      <a:pt x="810" y="447"/>
                    </a:lnTo>
                    <a:lnTo>
                      <a:pt x="810" y="445"/>
                    </a:lnTo>
                    <a:lnTo>
                      <a:pt x="812" y="445"/>
                    </a:lnTo>
                    <a:lnTo>
                      <a:pt x="812" y="447"/>
                    </a:lnTo>
                    <a:lnTo>
                      <a:pt x="812" y="449"/>
                    </a:lnTo>
                    <a:lnTo>
                      <a:pt x="810" y="449"/>
                    </a:lnTo>
                    <a:lnTo>
                      <a:pt x="810" y="451"/>
                    </a:lnTo>
                    <a:lnTo>
                      <a:pt x="812" y="451"/>
                    </a:lnTo>
                    <a:lnTo>
                      <a:pt x="814" y="451"/>
                    </a:lnTo>
                    <a:lnTo>
                      <a:pt x="814" y="453"/>
                    </a:lnTo>
                    <a:lnTo>
                      <a:pt x="814" y="455"/>
                    </a:lnTo>
                    <a:lnTo>
                      <a:pt x="812" y="455"/>
                    </a:lnTo>
                    <a:lnTo>
                      <a:pt x="812" y="457"/>
                    </a:lnTo>
                    <a:lnTo>
                      <a:pt x="812" y="459"/>
                    </a:lnTo>
                    <a:lnTo>
                      <a:pt x="814" y="459"/>
                    </a:lnTo>
                    <a:lnTo>
                      <a:pt x="814" y="457"/>
                    </a:lnTo>
                    <a:lnTo>
                      <a:pt x="814" y="459"/>
                    </a:lnTo>
                    <a:lnTo>
                      <a:pt x="814" y="460"/>
                    </a:lnTo>
                    <a:lnTo>
                      <a:pt x="814" y="462"/>
                    </a:lnTo>
                    <a:lnTo>
                      <a:pt x="814" y="464"/>
                    </a:lnTo>
                    <a:lnTo>
                      <a:pt x="812" y="464"/>
                    </a:lnTo>
                    <a:lnTo>
                      <a:pt x="810" y="464"/>
                    </a:lnTo>
                    <a:lnTo>
                      <a:pt x="808" y="464"/>
                    </a:lnTo>
                    <a:lnTo>
                      <a:pt x="807" y="464"/>
                    </a:lnTo>
                    <a:lnTo>
                      <a:pt x="807" y="466"/>
                    </a:lnTo>
                    <a:lnTo>
                      <a:pt x="808" y="466"/>
                    </a:lnTo>
                    <a:lnTo>
                      <a:pt x="810" y="468"/>
                    </a:lnTo>
                    <a:lnTo>
                      <a:pt x="812" y="468"/>
                    </a:lnTo>
                    <a:lnTo>
                      <a:pt x="814" y="468"/>
                    </a:lnTo>
                    <a:lnTo>
                      <a:pt x="814" y="470"/>
                    </a:lnTo>
                    <a:lnTo>
                      <a:pt x="816" y="470"/>
                    </a:lnTo>
                    <a:lnTo>
                      <a:pt x="818" y="470"/>
                    </a:lnTo>
                    <a:lnTo>
                      <a:pt x="822" y="474"/>
                    </a:lnTo>
                    <a:lnTo>
                      <a:pt x="824" y="474"/>
                    </a:lnTo>
                    <a:lnTo>
                      <a:pt x="826" y="476"/>
                    </a:lnTo>
                    <a:lnTo>
                      <a:pt x="830" y="478"/>
                    </a:lnTo>
                    <a:lnTo>
                      <a:pt x="831" y="478"/>
                    </a:lnTo>
                    <a:lnTo>
                      <a:pt x="833" y="480"/>
                    </a:lnTo>
                    <a:lnTo>
                      <a:pt x="835" y="478"/>
                    </a:lnTo>
                    <a:lnTo>
                      <a:pt x="839" y="476"/>
                    </a:lnTo>
                    <a:lnTo>
                      <a:pt x="839" y="474"/>
                    </a:lnTo>
                    <a:lnTo>
                      <a:pt x="839" y="476"/>
                    </a:lnTo>
                    <a:lnTo>
                      <a:pt x="843" y="480"/>
                    </a:lnTo>
                    <a:lnTo>
                      <a:pt x="845" y="482"/>
                    </a:lnTo>
                    <a:lnTo>
                      <a:pt x="845" y="483"/>
                    </a:lnTo>
                    <a:lnTo>
                      <a:pt x="847" y="483"/>
                    </a:lnTo>
                    <a:lnTo>
                      <a:pt x="845" y="485"/>
                    </a:lnTo>
                    <a:lnTo>
                      <a:pt x="843" y="487"/>
                    </a:lnTo>
                    <a:lnTo>
                      <a:pt x="839" y="491"/>
                    </a:lnTo>
                    <a:lnTo>
                      <a:pt x="837" y="493"/>
                    </a:lnTo>
                    <a:lnTo>
                      <a:pt x="835" y="495"/>
                    </a:lnTo>
                    <a:lnTo>
                      <a:pt x="835" y="497"/>
                    </a:lnTo>
                    <a:lnTo>
                      <a:pt x="837" y="497"/>
                    </a:lnTo>
                    <a:lnTo>
                      <a:pt x="839" y="499"/>
                    </a:lnTo>
                    <a:lnTo>
                      <a:pt x="841" y="501"/>
                    </a:lnTo>
                    <a:lnTo>
                      <a:pt x="843" y="503"/>
                    </a:lnTo>
                    <a:lnTo>
                      <a:pt x="845" y="505"/>
                    </a:lnTo>
                    <a:lnTo>
                      <a:pt x="849" y="507"/>
                    </a:lnTo>
                    <a:lnTo>
                      <a:pt x="851" y="508"/>
                    </a:lnTo>
                    <a:lnTo>
                      <a:pt x="849" y="508"/>
                    </a:lnTo>
                    <a:lnTo>
                      <a:pt x="847" y="510"/>
                    </a:lnTo>
                    <a:lnTo>
                      <a:pt x="845" y="512"/>
                    </a:lnTo>
                    <a:lnTo>
                      <a:pt x="843" y="514"/>
                    </a:lnTo>
                    <a:lnTo>
                      <a:pt x="839" y="516"/>
                    </a:lnTo>
                    <a:lnTo>
                      <a:pt x="837" y="514"/>
                    </a:lnTo>
                    <a:lnTo>
                      <a:pt x="835" y="512"/>
                    </a:lnTo>
                    <a:lnTo>
                      <a:pt x="833" y="516"/>
                    </a:lnTo>
                    <a:lnTo>
                      <a:pt x="831" y="516"/>
                    </a:lnTo>
                    <a:lnTo>
                      <a:pt x="828" y="520"/>
                    </a:lnTo>
                    <a:lnTo>
                      <a:pt x="826" y="520"/>
                    </a:lnTo>
                    <a:lnTo>
                      <a:pt x="824" y="524"/>
                    </a:lnTo>
                    <a:lnTo>
                      <a:pt x="822" y="524"/>
                    </a:lnTo>
                    <a:lnTo>
                      <a:pt x="820" y="526"/>
                    </a:lnTo>
                    <a:lnTo>
                      <a:pt x="818" y="528"/>
                    </a:lnTo>
                    <a:lnTo>
                      <a:pt x="816" y="530"/>
                    </a:lnTo>
                    <a:lnTo>
                      <a:pt x="818" y="533"/>
                    </a:lnTo>
                    <a:lnTo>
                      <a:pt x="820" y="535"/>
                    </a:lnTo>
                    <a:lnTo>
                      <a:pt x="820" y="537"/>
                    </a:lnTo>
                    <a:lnTo>
                      <a:pt x="822" y="539"/>
                    </a:lnTo>
                    <a:lnTo>
                      <a:pt x="824" y="541"/>
                    </a:lnTo>
                    <a:lnTo>
                      <a:pt x="824" y="543"/>
                    </a:lnTo>
                    <a:lnTo>
                      <a:pt x="826" y="547"/>
                    </a:lnTo>
                    <a:lnTo>
                      <a:pt x="826" y="549"/>
                    </a:lnTo>
                    <a:lnTo>
                      <a:pt x="824" y="549"/>
                    </a:lnTo>
                    <a:lnTo>
                      <a:pt x="824" y="551"/>
                    </a:lnTo>
                    <a:lnTo>
                      <a:pt x="822" y="551"/>
                    </a:lnTo>
                    <a:lnTo>
                      <a:pt x="820" y="553"/>
                    </a:lnTo>
                    <a:lnTo>
                      <a:pt x="818" y="553"/>
                    </a:lnTo>
                    <a:lnTo>
                      <a:pt x="818" y="555"/>
                    </a:lnTo>
                    <a:lnTo>
                      <a:pt x="816" y="555"/>
                    </a:lnTo>
                    <a:lnTo>
                      <a:pt x="814" y="555"/>
                    </a:lnTo>
                    <a:lnTo>
                      <a:pt x="812" y="555"/>
                    </a:lnTo>
                    <a:lnTo>
                      <a:pt x="810" y="555"/>
                    </a:lnTo>
                    <a:lnTo>
                      <a:pt x="808" y="555"/>
                    </a:lnTo>
                    <a:lnTo>
                      <a:pt x="807" y="555"/>
                    </a:lnTo>
                    <a:lnTo>
                      <a:pt x="807" y="556"/>
                    </a:lnTo>
                    <a:lnTo>
                      <a:pt x="805" y="556"/>
                    </a:lnTo>
                    <a:lnTo>
                      <a:pt x="803" y="556"/>
                    </a:lnTo>
                    <a:lnTo>
                      <a:pt x="803" y="558"/>
                    </a:lnTo>
                    <a:lnTo>
                      <a:pt x="801" y="558"/>
                    </a:lnTo>
                    <a:lnTo>
                      <a:pt x="801" y="560"/>
                    </a:lnTo>
                    <a:lnTo>
                      <a:pt x="799" y="560"/>
                    </a:lnTo>
                    <a:lnTo>
                      <a:pt x="799" y="562"/>
                    </a:lnTo>
                    <a:lnTo>
                      <a:pt x="797" y="562"/>
                    </a:lnTo>
                    <a:lnTo>
                      <a:pt x="795" y="562"/>
                    </a:lnTo>
                    <a:lnTo>
                      <a:pt x="795" y="564"/>
                    </a:lnTo>
                    <a:lnTo>
                      <a:pt x="793" y="564"/>
                    </a:lnTo>
                    <a:lnTo>
                      <a:pt x="793" y="566"/>
                    </a:lnTo>
                    <a:lnTo>
                      <a:pt x="791" y="566"/>
                    </a:lnTo>
                    <a:lnTo>
                      <a:pt x="791" y="568"/>
                    </a:lnTo>
                    <a:lnTo>
                      <a:pt x="789" y="568"/>
                    </a:lnTo>
                    <a:lnTo>
                      <a:pt x="789" y="570"/>
                    </a:lnTo>
                    <a:lnTo>
                      <a:pt x="787" y="570"/>
                    </a:lnTo>
                    <a:lnTo>
                      <a:pt x="785" y="570"/>
                    </a:lnTo>
                    <a:lnTo>
                      <a:pt x="785" y="572"/>
                    </a:lnTo>
                    <a:lnTo>
                      <a:pt x="783" y="572"/>
                    </a:lnTo>
                    <a:lnTo>
                      <a:pt x="783" y="574"/>
                    </a:lnTo>
                    <a:lnTo>
                      <a:pt x="782" y="574"/>
                    </a:lnTo>
                    <a:lnTo>
                      <a:pt x="782" y="576"/>
                    </a:lnTo>
                    <a:lnTo>
                      <a:pt x="780" y="576"/>
                    </a:lnTo>
                    <a:lnTo>
                      <a:pt x="780" y="578"/>
                    </a:lnTo>
                    <a:lnTo>
                      <a:pt x="778" y="578"/>
                    </a:lnTo>
                    <a:lnTo>
                      <a:pt x="778" y="579"/>
                    </a:lnTo>
                    <a:lnTo>
                      <a:pt x="778" y="581"/>
                    </a:lnTo>
                    <a:lnTo>
                      <a:pt x="776" y="581"/>
                    </a:lnTo>
                    <a:lnTo>
                      <a:pt x="776" y="583"/>
                    </a:lnTo>
                    <a:lnTo>
                      <a:pt x="774" y="585"/>
                    </a:lnTo>
                    <a:lnTo>
                      <a:pt x="774" y="587"/>
                    </a:lnTo>
                    <a:lnTo>
                      <a:pt x="772" y="587"/>
                    </a:lnTo>
                    <a:lnTo>
                      <a:pt x="772" y="589"/>
                    </a:lnTo>
                    <a:lnTo>
                      <a:pt x="772" y="591"/>
                    </a:lnTo>
                    <a:lnTo>
                      <a:pt x="770" y="591"/>
                    </a:lnTo>
                    <a:lnTo>
                      <a:pt x="770" y="593"/>
                    </a:lnTo>
                    <a:lnTo>
                      <a:pt x="770" y="595"/>
                    </a:lnTo>
                    <a:lnTo>
                      <a:pt x="768" y="595"/>
                    </a:lnTo>
                    <a:lnTo>
                      <a:pt x="768" y="597"/>
                    </a:lnTo>
                    <a:lnTo>
                      <a:pt x="768" y="599"/>
                    </a:lnTo>
                    <a:lnTo>
                      <a:pt x="766" y="599"/>
                    </a:lnTo>
                    <a:lnTo>
                      <a:pt x="766" y="601"/>
                    </a:lnTo>
                    <a:lnTo>
                      <a:pt x="766" y="603"/>
                    </a:lnTo>
                    <a:lnTo>
                      <a:pt x="766" y="604"/>
                    </a:lnTo>
                    <a:lnTo>
                      <a:pt x="764" y="604"/>
                    </a:lnTo>
                    <a:lnTo>
                      <a:pt x="764" y="606"/>
                    </a:lnTo>
                    <a:lnTo>
                      <a:pt x="764" y="608"/>
                    </a:lnTo>
                    <a:lnTo>
                      <a:pt x="762" y="608"/>
                    </a:lnTo>
                    <a:lnTo>
                      <a:pt x="762" y="610"/>
                    </a:lnTo>
                    <a:lnTo>
                      <a:pt x="762" y="612"/>
                    </a:lnTo>
                    <a:lnTo>
                      <a:pt x="762" y="614"/>
                    </a:lnTo>
                    <a:lnTo>
                      <a:pt x="760" y="614"/>
                    </a:lnTo>
                    <a:lnTo>
                      <a:pt x="760" y="616"/>
                    </a:lnTo>
                    <a:lnTo>
                      <a:pt x="760" y="618"/>
                    </a:lnTo>
                    <a:lnTo>
                      <a:pt x="760" y="620"/>
                    </a:lnTo>
                    <a:lnTo>
                      <a:pt x="759" y="620"/>
                    </a:lnTo>
                    <a:lnTo>
                      <a:pt x="759" y="622"/>
                    </a:lnTo>
                    <a:lnTo>
                      <a:pt x="759" y="624"/>
                    </a:lnTo>
                    <a:lnTo>
                      <a:pt x="757" y="624"/>
                    </a:lnTo>
                    <a:lnTo>
                      <a:pt x="757" y="626"/>
                    </a:lnTo>
                    <a:lnTo>
                      <a:pt x="757" y="627"/>
                    </a:lnTo>
                    <a:lnTo>
                      <a:pt x="755" y="627"/>
                    </a:lnTo>
                    <a:lnTo>
                      <a:pt x="755" y="629"/>
                    </a:lnTo>
                    <a:lnTo>
                      <a:pt x="755" y="631"/>
                    </a:lnTo>
                    <a:lnTo>
                      <a:pt x="753" y="631"/>
                    </a:lnTo>
                    <a:lnTo>
                      <a:pt x="753" y="633"/>
                    </a:lnTo>
                    <a:lnTo>
                      <a:pt x="753" y="635"/>
                    </a:lnTo>
                    <a:lnTo>
                      <a:pt x="751" y="635"/>
                    </a:lnTo>
                    <a:lnTo>
                      <a:pt x="751" y="637"/>
                    </a:lnTo>
                    <a:lnTo>
                      <a:pt x="751" y="639"/>
                    </a:lnTo>
                    <a:lnTo>
                      <a:pt x="749" y="639"/>
                    </a:lnTo>
                    <a:lnTo>
                      <a:pt x="749" y="641"/>
                    </a:lnTo>
                    <a:lnTo>
                      <a:pt x="747" y="641"/>
                    </a:lnTo>
                    <a:lnTo>
                      <a:pt x="747" y="643"/>
                    </a:lnTo>
                    <a:lnTo>
                      <a:pt x="745" y="643"/>
                    </a:lnTo>
                    <a:lnTo>
                      <a:pt x="745" y="645"/>
                    </a:lnTo>
                    <a:lnTo>
                      <a:pt x="745" y="647"/>
                    </a:lnTo>
                    <a:lnTo>
                      <a:pt x="743" y="647"/>
                    </a:lnTo>
                    <a:lnTo>
                      <a:pt x="743" y="649"/>
                    </a:lnTo>
                    <a:lnTo>
                      <a:pt x="741" y="649"/>
                    </a:lnTo>
                    <a:lnTo>
                      <a:pt x="741" y="651"/>
                    </a:lnTo>
                    <a:lnTo>
                      <a:pt x="739" y="651"/>
                    </a:lnTo>
                    <a:lnTo>
                      <a:pt x="737" y="652"/>
                    </a:lnTo>
                    <a:lnTo>
                      <a:pt x="735" y="652"/>
                    </a:lnTo>
                    <a:lnTo>
                      <a:pt x="734" y="652"/>
                    </a:lnTo>
                    <a:lnTo>
                      <a:pt x="734" y="651"/>
                    </a:lnTo>
                    <a:lnTo>
                      <a:pt x="734" y="649"/>
                    </a:lnTo>
                    <a:lnTo>
                      <a:pt x="734" y="647"/>
                    </a:lnTo>
                    <a:lnTo>
                      <a:pt x="735" y="647"/>
                    </a:lnTo>
                    <a:lnTo>
                      <a:pt x="734" y="647"/>
                    </a:lnTo>
                    <a:lnTo>
                      <a:pt x="735" y="647"/>
                    </a:lnTo>
                    <a:lnTo>
                      <a:pt x="735" y="649"/>
                    </a:lnTo>
                    <a:lnTo>
                      <a:pt x="735" y="647"/>
                    </a:lnTo>
                    <a:lnTo>
                      <a:pt x="737" y="647"/>
                    </a:lnTo>
                    <a:lnTo>
                      <a:pt x="737" y="645"/>
                    </a:lnTo>
                    <a:lnTo>
                      <a:pt x="735" y="645"/>
                    </a:lnTo>
                    <a:lnTo>
                      <a:pt x="735" y="643"/>
                    </a:lnTo>
                    <a:lnTo>
                      <a:pt x="737" y="643"/>
                    </a:lnTo>
                    <a:lnTo>
                      <a:pt x="735" y="643"/>
                    </a:lnTo>
                    <a:lnTo>
                      <a:pt x="735" y="641"/>
                    </a:lnTo>
                    <a:lnTo>
                      <a:pt x="737" y="641"/>
                    </a:lnTo>
                    <a:lnTo>
                      <a:pt x="735" y="641"/>
                    </a:lnTo>
                    <a:lnTo>
                      <a:pt x="737" y="641"/>
                    </a:lnTo>
                    <a:lnTo>
                      <a:pt x="737" y="643"/>
                    </a:lnTo>
                    <a:lnTo>
                      <a:pt x="737" y="645"/>
                    </a:lnTo>
                    <a:lnTo>
                      <a:pt x="737" y="647"/>
                    </a:lnTo>
                    <a:lnTo>
                      <a:pt x="739" y="647"/>
                    </a:lnTo>
                    <a:lnTo>
                      <a:pt x="737" y="647"/>
                    </a:lnTo>
                    <a:lnTo>
                      <a:pt x="739" y="647"/>
                    </a:lnTo>
                    <a:lnTo>
                      <a:pt x="739" y="649"/>
                    </a:lnTo>
                    <a:lnTo>
                      <a:pt x="739" y="647"/>
                    </a:lnTo>
                    <a:lnTo>
                      <a:pt x="741" y="647"/>
                    </a:lnTo>
                    <a:lnTo>
                      <a:pt x="741" y="645"/>
                    </a:lnTo>
                    <a:lnTo>
                      <a:pt x="741" y="643"/>
                    </a:lnTo>
                    <a:lnTo>
                      <a:pt x="743" y="643"/>
                    </a:lnTo>
                    <a:lnTo>
                      <a:pt x="743" y="641"/>
                    </a:lnTo>
                    <a:lnTo>
                      <a:pt x="743" y="643"/>
                    </a:lnTo>
                    <a:lnTo>
                      <a:pt x="743" y="641"/>
                    </a:lnTo>
                    <a:lnTo>
                      <a:pt x="745" y="641"/>
                    </a:lnTo>
                    <a:lnTo>
                      <a:pt x="743" y="641"/>
                    </a:lnTo>
                    <a:lnTo>
                      <a:pt x="745" y="641"/>
                    </a:lnTo>
                    <a:lnTo>
                      <a:pt x="745" y="639"/>
                    </a:lnTo>
                    <a:lnTo>
                      <a:pt x="743" y="639"/>
                    </a:lnTo>
                    <a:lnTo>
                      <a:pt x="745" y="639"/>
                    </a:lnTo>
                    <a:lnTo>
                      <a:pt x="745" y="641"/>
                    </a:lnTo>
                    <a:lnTo>
                      <a:pt x="745" y="639"/>
                    </a:lnTo>
                    <a:lnTo>
                      <a:pt x="745" y="641"/>
                    </a:lnTo>
                    <a:lnTo>
                      <a:pt x="745" y="639"/>
                    </a:lnTo>
                    <a:lnTo>
                      <a:pt x="747" y="639"/>
                    </a:lnTo>
                    <a:lnTo>
                      <a:pt x="749" y="639"/>
                    </a:lnTo>
                    <a:lnTo>
                      <a:pt x="747" y="637"/>
                    </a:lnTo>
                    <a:lnTo>
                      <a:pt x="745" y="637"/>
                    </a:lnTo>
                    <a:lnTo>
                      <a:pt x="747" y="637"/>
                    </a:lnTo>
                    <a:lnTo>
                      <a:pt x="747" y="635"/>
                    </a:lnTo>
                    <a:lnTo>
                      <a:pt x="747" y="637"/>
                    </a:lnTo>
                    <a:lnTo>
                      <a:pt x="749" y="637"/>
                    </a:lnTo>
                    <a:lnTo>
                      <a:pt x="749" y="635"/>
                    </a:lnTo>
                    <a:lnTo>
                      <a:pt x="751" y="635"/>
                    </a:lnTo>
                    <a:lnTo>
                      <a:pt x="751" y="633"/>
                    </a:lnTo>
                    <a:lnTo>
                      <a:pt x="753" y="633"/>
                    </a:lnTo>
                    <a:lnTo>
                      <a:pt x="753" y="631"/>
                    </a:lnTo>
                    <a:lnTo>
                      <a:pt x="751" y="631"/>
                    </a:lnTo>
                    <a:lnTo>
                      <a:pt x="753" y="631"/>
                    </a:lnTo>
                    <a:lnTo>
                      <a:pt x="753" y="629"/>
                    </a:lnTo>
                    <a:lnTo>
                      <a:pt x="755" y="629"/>
                    </a:lnTo>
                    <a:lnTo>
                      <a:pt x="755" y="627"/>
                    </a:lnTo>
                    <a:lnTo>
                      <a:pt x="757" y="627"/>
                    </a:lnTo>
                    <a:lnTo>
                      <a:pt x="757" y="626"/>
                    </a:lnTo>
                    <a:lnTo>
                      <a:pt x="757" y="624"/>
                    </a:lnTo>
                    <a:lnTo>
                      <a:pt x="757" y="622"/>
                    </a:lnTo>
                    <a:lnTo>
                      <a:pt x="757" y="620"/>
                    </a:lnTo>
                    <a:lnTo>
                      <a:pt x="757" y="618"/>
                    </a:lnTo>
                    <a:lnTo>
                      <a:pt x="755" y="618"/>
                    </a:lnTo>
                    <a:lnTo>
                      <a:pt x="755" y="616"/>
                    </a:lnTo>
                    <a:lnTo>
                      <a:pt x="755" y="614"/>
                    </a:lnTo>
                    <a:lnTo>
                      <a:pt x="755" y="612"/>
                    </a:lnTo>
                    <a:lnTo>
                      <a:pt x="753" y="612"/>
                    </a:lnTo>
                    <a:lnTo>
                      <a:pt x="753" y="610"/>
                    </a:lnTo>
                    <a:lnTo>
                      <a:pt x="751" y="608"/>
                    </a:lnTo>
                    <a:lnTo>
                      <a:pt x="751" y="606"/>
                    </a:lnTo>
                    <a:lnTo>
                      <a:pt x="749" y="606"/>
                    </a:lnTo>
                    <a:lnTo>
                      <a:pt x="749" y="604"/>
                    </a:lnTo>
                    <a:lnTo>
                      <a:pt x="747" y="604"/>
                    </a:lnTo>
                    <a:lnTo>
                      <a:pt x="747" y="603"/>
                    </a:lnTo>
                    <a:lnTo>
                      <a:pt x="745" y="603"/>
                    </a:lnTo>
                    <a:lnTo>
                      <a:pt x="743" y="603"/>
                    </a:lnTo>
                    <a:lnTo>
                      <a:pt x="743" y="601"/>
                    </a:lnTo>
                    <a:lnTo>
                      <a:pt x="743" y="603"/>
                    </a:lnTo>
                    <a:lnTo>
                      <a:pt x="741" y="603"/>
                    </a:lnTo>
                    <a:lnTo>
                      <a:pt x="741" y="601"/>
                    </a:lnTo>
                    <a:lnTo>
                      <a:pt x="743" y="601"/>
                    </a:lnTo>
                    <a:lnTo>
                      <a:pt x="741" y="601"/>
                    </a:lnTo>
                    <a:lnTo>
                      <a:pt x="741" y="599"/>
                    </a:lnTo>
                    <a:lnTo>
                      <a:pt x="739" y="599"/>
                    </a:lnTo>
                    <a:lnTo>
                      <a:pt x="739" y="597"/>
                    </a:lnTo>
                    <a:lnTo>
                      <a:pt x="737" y="597"/>
                    </a:lnTo>
                    <a:lnTo>
                      <a:pt x="737" y="595"/>
                    </a:lnTo>
                    <a:lnTo>
                      <a:pt x="735" y="595"/>
                    </a:lnTo>
                    <a:lnTo>
                      <a:pt x="735" y="593"/>
                    </a:lnTo>
                    <a:lnTo>
                      <a:pt x="734" y="593"/>
                    </a:lnTo>
                    <a:lnTo>
                      <a:pt x="734" y="595"/>
                    </a:lnTo>
                    <a:lnTo>
                      <a:pt x="734" y="593"/>
                    </a:lnTo>
                    <a:lnTo>
                      <a:pt x="732" y="593"/>
                    </a:lnTo>
                    <a:lnTo>
                      <a:pt x="732" y="591"/>
                    </a:lnTo>
                    <a:lnTo>
                      <a:pt x="730" y="591"/>
                    </a:lnTo>
                    <a:lnTo>
                      <a:pt x="730" y="593"/>
                    </a:lnTo>
                    <a:lnTo>
                      <a:pt x="730" y="591"/>
                    </a:lnTo>
                    <a:lnTo>
                      <a:pt x="728" y="591"/>
                    </a:lnTo>
                    <a:lnTo>
                      <a:pt x="728" y="589"/>
                    </a:lnTo>
                    <a:lnTo>
                      <a:pt x="726" y="589"/>
                    </a:lnTo>
                    <a:lnTo>
                      <a:pt x="724" y="589"/>
                    </a:lnTo>
                    <a:lnTo>
                      <a:pt x="722" y="589"/>
                    </a:lnTo>
                    <a:lnTo>
                      <a:pt x="720" y="589"/>
                    </a:lnTo>
                    <a:lnTo>
                      <a:pt x="716" y="589"/>
                    </a:lnTo>
                    <a:lnTo>
                      <a:pt x="714" y="589"/>
                    </a:lnTo>
                    <a:lnTo>
                      <a:pt x="712" y="589"/>
                    </a:lnTo>
                    <a:lnTo>
                      <a:pt x="710" y="589"/>
                    </a:lnTo>
                    <a:lnTo>
                      <a:pt x="709" y="589"/>
                    </a:lnTo>
                    <a:lnTo>
                      <a:pt x="707" y="587"/>
                    </a:lnTo>
                    <a:lnTo>
                      <a:pt x="705" y="587"/>
                    </a:lnTo>
                    <a:lnTo>
                      <a:pt x="703" y="587"/>
                    </a:lnTo>
                    <a:lnTo>
                      <a:pt x="703" y="589"/>
                    </a:lnTo>
                    <a:lnTo>
                      <a:pt x="701" y="589"/>
                    </a:lnTo>
                    <a:lnTo>
                      <a:pt x="699" y="589"/>
                    </a:lnTo>
                    <a:lnTo>
                      <a:pt x="697" y="589"/>
                    </a:lnTo>
                    <a:lnTo>
                      <a:pt x="695" y="589"/>
                    </a:lnTo>
                    <a:lnTo>
                      <a:pt x="693" y="589"/>
                    </a:lnTo>
                    <a:lnTo>
                      <a:pt x="693" y="591"/>
                    </a:lnTo>
                    <a:lnTo>
                      <a:pt x="691" y="591"/>
                    </a:lnTo>
                    <a:lnTo>
                      <a:pt x="693" y="591"/>
                    </a:lnTo>
                    <a:lnTo>
                      <a:pt x="691" y="591"/>
                    </a:lnTo>
                    <a:lnTo>
                      <a:pt x="691" y="593"/>
                    </a:lnTo>
                    <a:lnTo>
                      <a:pt x="689" y="593"/>
                    </a:lnTo>
                    <a:lnTo>
                      <a:pt x="687" y="593"/>
                    </a:lnTo>
                    <a:lnTo>
                      <a:pt x="687" y="595"/>
                    </a:lnTo>
                    <a:lnTo>
                      <a:pt x="686" y="595"/>
                    </a:lnTo>
                    <a:lnTo>
                      <a:pt x="684" y="595"/>
                    </a:lnTo>
                    <a:lnTo>
                      <a:pt x="682" y="595"/>
                    </a:lnTo>
                    <a:lnTo>
                      <a:pt x="682" y="597"/>
                    </a:lnTo>
                    <a:lnTo>
                      <a:pt x="680" y="597"/>
                    </a:lnTo>
                    <a:lnTo>
                      <a:pt x="678" y="597"/>
                    </a:lnTo>
                    <a:lnTo>
                      <a:pt x="676" y="597"/>
                    </a:lnTo>
                    <a:lnTo>
                      <a:pt x="674" y="597"/>
                    </a:lnTo>
                    <a:lnTo>
                      <a:pt x="672" y="597"/>
                    </a:lnTo>
                    <a:lnTo>
                      <a:pt x="670" y="597"/>
                    </a:lnTo>
                    <a:lnTo>
                      <a:pt x="670" y="599"/>
                    </a:lnTo>
                    <a:lnTo>
                      <a:pt x="668" y="599"/>
                    </a:lnTo>
                    <a:lnTo>
                      <a:pt x="666" y="599"/>
                    </a:lnTo>
                    <a:lnTo>
                      <a:pt x="664" y="601"/>
                    </a:lnTo>
                    <a:lnTo>
                      <a:pt x="662" y="601"/>
                    </a:lnTo>
                    <a:lnTo>
                      <a:pt x="661" y="601"/>
                    </a:lnTo>
                    <a:lnTo>
                      <a:pt x="659" y="601"/>
                    </a:lnTo>
                    <a:lnTo>
                      <a:pt x="657" y="603"/>
                    </a:lnTo>
                    <a:lnTo>
                      <a:pt x="655" y="603"/>
                    </a:lnTo>
                    <a:lnTo>
                      <a:pt x="649" y="604"/>
                    </a:lnTo>
                    <a:lnTo>
                      <a:pt x="647" y="604"/>
                    </a:lnTo>
                    <a:lnTo>
                      <a:pt x="645" y="606"/>
                    </a:lnTo>
                    <a:lnTo>
                      <a:pt x="641" y="608"/>
                    </a:lnTo>
                    <a:lnTo>
                      <a:pt x="639" y="608"/>
                    </a:lnTo>
                    <a:lnTo>
                      <a:pt x="638" y="608"/>
                    </a:lnTo>
                    <a:lnTo>
                      <a:pt x="636" y="610"/>
                    </a:lnTo>
                    <a:lnTo>
                      <a:pt x="634" y="612"/>
                    </a:lnTo>
                    <a:lnTo>
                      <a:pt x="632" y="612"/>
                    </a:lnTo>
                    <a:lnTo>
                      <a:pt x="632" y="614"/>
                    </a:lnTo>
                    <a:lnTo>
                      <a:pt x="630" y="614"/>
                    </a:lnTo>
                    <a:lnTo>
                      <a:pt x="628" y="614"/>
                    </a:lnTo>
                    <a:lnTo>
                      <a:pt x="628" y="616"/>
                    </a:lnTo>
                    <a:lnTo>
                      <a:pt x="626" y="616"/>
                    </a:lnTo>
                    <a:lnTo>
                      <a:pt x="624" y="618"/>
                    </a:lnTo>
                    <a:lnTo>
                      <a:pt x="622" y="618"/>
                    </a:lnTo>
                    <a:lnTo>
                      <a:pt x="622" y="620"/>
                    </a:lnTo>
                    <a:lnTo>
                      <a:pt x="620" y="622"/>
                    </a:lnTo>
                    <a:lnTo>
                      <a:pt x="618" y="624"/>
                    </a:lnTo>
                    <a:lnTo>
                      <a:pt x="616" y="626"/>
                    </a:lnTo>
                    <a:lnTo>
                      <a:pt x="614" y="627"/>
                    </a:lnTo>
                    <a:lnTo>
                      <a:pt x="613" y="629"/>
                    </a:lnTo>
                    <a:lnTo>
                      <a:pt x="611" y="631"/>
                    </a:lnTo>
                    <a:lnTo>
                      <a:pt x="611" y="633"/>
                    </a:lnTo>
                    <a:lnTo>
                      <a:pt x="609" y="635"/>
                    </a:lnTo>
                    <a:lnTo>
                      <a:pt x="607" y="637"/>
                    </a:lnTo>
                    <a:lnTo>
                      <a:pt x="607" y="639"/>
                    </a:lnTo>
                    <a:lnTo>
                      <a:pt x="605" y="639"/>
                    </a:lnTo>
                    <a:lnTo>
                      <a:pt x="605" y="641"/>
                    </a:lnTo>
                    <a:lnTo>
                      <a:pt x="605" y="643"/>
                    </a:lnTo>
                    <a:lnTo>
                      <a:pt x="603" y="643"/>
                    </a:lnTo>
                    <a:lnTo>
                      <a:pt x="603" y="645"/>
                    </a:lnTo>
                    <a:lnTo>
                      <a:pt x="601" y="647"/>
                    </a:lnTo>
                    <a:lnTo>
                      <a:pt x="601" y="649"/>
                    </a:lnTo>
                    <a:lnTo>
                      <a:pt x="599" y="649"/>
                    </a:lnTo>
                    <a:lnTo>
                      <a:pt x="599" y="651"/>
                    </a:lnTo>
                    <a:lnTo>
                      <a:pt x="599" y="652"/>
                    </a:lnTo>
                    <a:lnTo>
                      <a:pt x="597" y="652"/>
                    </a:lnTo>
                    <a:lnTo>
                      <a:pt x="597" y="654"/>
                    </a:lnTo>
                    <a:lnTo>
                      <a:pt x="595" y="656"/>
                    </a:lnTo>
                    <a:lnTo>
                      <a:pt x="595" y="658"/>
                    </a:lnTo>
                    <a:lnTo>
                      <a:pt x="593" y="660"/>
                    </a:lnTo>
                    <a:lnTo>
                      <a:pt x="593" y="662"/>
                    </a:lnTo>
                    <a:lnTo>
                      <a:pt x="591" y="662"/>
                    </a:lnTo>
                    <a:lnTo>
                      <a:pt x="591" y="664"/>
                    </a:lnTo>
                    <a:lnTo>
                      <a:pt x="591" y="666"/>
                    </a:lnTo>
                    <a:lnTo>
                      <a:pt x="590" y="666"/>
                    </a:lnTo>
                    <a:lnTo>
                      <a:pt x="590" y="668"/>
                    </a:lnTo>
                    <a:lnTo>
                      <a:pt x="588" y="670"/>
                    </a:lnTo>
                    <a:lnTo>
                      <a:pt x="588" y="672"/>
                    </a:lnTo>
                    <a:lnTo>
                      <a:pt x="586" y="672"/>
                    </a:lnTo>
                    <a:lnTo>
                      <a:pt x="586" y="674"/>
                    </a:lnTo>
                    <a:lnTo>
                      <a:pt x="584" y="674"/>
                    </a:lnTo>
                    <a:lnTo>
                      <a:pt x="584" y="675"/>
                    </a:lnTo>
                    <a:lnTo>
                      <a:pt x="584" y="677"/>
                    </a:lnTo>
                    <a:lnTo>
                      <a:pt x="582" y="677"/>
                    </a:lnTo>
                    <a:lnTo>
                      <a:pt x="582" y="679"/>
                    </a:lnTo>
                    <a:lnTo>
                      <a:pt x="580" y="681"/>
                    </a:lnTo>
                    <a:lnTo>
                      <a:pt x="580" y="683"/>
                    </a:lnTo>
                    <a:lnTo>
                      <a:pt x="578" y="683"/>
                    </a:lnTo>
                    <a:lnTo>
                      <a:pt x="578" y="685"/>
                    </a:lnTo>
                    <a:lnTo>
                      <a:pt x="576" y="687"/>
                    </a:lnTo>
                    <a:lnTo>
                      <a:pt x="574" y="689"/>
                    </a:lnTo>
                    <a:lnTo>
                      <a:pt x="574" y="691"/>
                    </a:lnTo>
                    <a:lnTo>
                      <a:pt x="572" y="693"/>
                    </a:lnTo>
                    <a:lnTo>
                      <a:pt x="570" y="693"/>
                    </a:lnTo>
                    <a:lnTo>
                      <a:pt x="570" y="695"/>
                    </a:lnTo>
                    <a:lnTo>
                      <a:pt x="568" y="697"/>
                    </a:lnTo>
                    <a:lnTo>
                      <a:pt x="566" y="699"/>
                    </a:lnTo>
                    <a:lnTo>
                      <a:pt x="566" y="700"/>
                    </a:lnTo>
                    <a:lnTo>
                      <a:pt x="565" y="700"/>
                    </a:lnTo>
                    <a:lnTo>
                      <a:pt x="565" y="702"/>
                    </a:lnTo>
                    <a:lnTo>
                      <a:pt x="563" y="702"/>
                    </a:lnTo>
                    <a:lnTo>
                      <a:pt x="561" y="702"/>
                    </a:lnTo>
                    <a:lnTo>
                      <a:pt x="561" y="700"/>
                    </a:lnTo>
                    <a:lnTo>
                      <a:pt x="559" y="700"/>
                    </a:lnTo>
                    <a:lnTo>
                      <a:pt x="557" y="700"/>
                    </a:lnTo>
                    <a:lnTo>
                      <a:pt x="555" y="700"/>
                    </a:lnTo>
                    <a:lnTo>
                      <a:pt x="555" y="702"/>
                    </a:lnTo>
                    <a:lnTo>
                      <a:pt x="553" y="702"/>
                    </a:lnTo>
                    <a:lnTo>
                      <a:pt x="551" y="702"/>
                    </a:lnTo>
                    <a:lnTo>
                      <a:pt x="551" y="704"/>
                    </a:lnTo>
                    <a:lnTo>
                      <a:pt x="549" y="704"/>
                    </a:lnTo>
                    <a:lnTo>
                      <a:pt x="549" y="706"/>
                    </a:lnTo>
                    <a:lnTo>
                      <a:pt x="547" y="706"/>
                    </a:lnTo>
                    <a:lnTo>
                      <a:pt x="545" y="706"/>
                    </a:lnTo>
                    <a:lnTo>
                      <a:pt x="545" y="704"/>
                    </a:lnTo>
                    <a:lnTo>
                      <a:pt x="543" y="704"/>
                    </a:lnTo>
                    <a:lnTo>
                      <a:pt x="545" y="704"/>
                    </a:lnTo>
                    <a:lnTo>
                      <a:pt x="545" y="702"/>
                    </a:lnTo>
                    <a:lnTo>
                      <a:pt x="547" y="702"/>
                    </a:lnTo>
                    <a:lnTo>
                      <a:pt x="549" y="704"/>
                    </a:lnTo>
                    <a:lnTo>
                      <a:pt x="551" y="704"/>
                    </a:lnTo>
                    <a:lnTo>
                      <a:pt x="551" y="702"/>
                    </a:lnTo>
                    <a:lnTo>
                      <a:pt x="553" y="702"/>
                    </a:lnTo>
                    <a:lnTo>
                      <a:pt x="555" y="700"/>
                    </a:lnTo>
                    <a:lnTo>
                      <a:pt x="557" y="700"/>
                    </a:lnTo>
                    <a:lnTo>
                      <a:pt x="557" y="699"/>
                    </a:lnTo>
                    <a:lnTo>
                      <a:pt x="557" y="697"/>
                    </a:lnTo>
                    <a:lnTo>
                      <a:pt x="559" y="697"/>
                    </a:lnTo>
                    <a:lnTo>
                      <a:pt x="559" y="695"/>
                    </a:lnTo>
                    <a:lnTo>
                      <a:pt x="559" y="693"/>
                    </a:lnTo>
                    <a:lnTo>
                      <a:pt x="559" y="691"/>
                    </a:lnTo>
                    <a:lnTo>
                      <a:pt x="559" y="689"/>
                    </a:lnTo>
                    <a:lnTo>
                      <a:pt x="559" y="687"/>
                    </a:lnTo>
                    <a:lnTo>
                      <a:pt x="559" y="685"/>
                    </a:lnTo>
                    <a:lnTo>
                      <a:pt x="559" y="683"/>
                    </a:lnTo>
                    <a:lnTo>
                      <a:pt x="559" y="685"/>
                    </a:lnTo>
                    <a:lnTo>
                      <a:pt x="561" y="685"/>
                    </a:lnTo>
                    <a:lnTo>
                      <a:pt x="561" y="687"/>
                    </a:lnTo>
                    <a:lnTo>
                      <a:pt x="561" y="689"/>
                    </a:lnTo>
                    <a:lnTo>
                      <a:pt x="561" y="687"/>
                    </a:lnTo>
                    <a:lnTo>
                      <a:pt x="559" y="687"/>
                    </a:lnTo>
                    <a:lnTo>
                      <a:pt x="559" y="689"/>
                    </a:lnTo>
                    <a:lnTo>
                      <a:pt x="561" y="689"/>
                    </a:lnTo>
                    <a:lnTo>
                      <a:pt x="561" y="691"/>
                    </a:lnTo>
                    <a:lnTo>
                      <a:pt x="563" y="691"/>
                    </a:lnTo>
                    <a:lnTo>
                      <a:pt x="563" y="693"/>
                    </a:lnTo>
                    <a:lnTo>
                      <a:pt x="565" y="693"/>
                    </a:lnTo>
                    <a:lnTo>
                      <a:pt x="565" y="691"/>
                    </a:lnTo>
                    <a:lnTo>
                      <a:pt x="566" y="691"/>
                    </a:lnTo>
                    <a:lnTo>
                      <a:pt x="568" y="691"/>
                    </a:lnTo>
                    <a:lnTo>
                      <a:pt x="568" y="689"/>
                    </a:lnTo>
                    <a:lnTo>
                      <a:pt x="570" y="689"/>
                    </a:lnTo>
                    <a:lnTo>
                      <a:pt x="572" y="687"/>
                    </a:lnTo>
                    <a:lnTo>
                      <a:pt x="572" y="685"/>
                    </a:lnTo>
                    <a:lnTo>
                      <a:pt x="574" y="685"/>
                    </a:lnTo>
                    <a:lnTo>
                      <a:pt x="574" y="683"/>
                    </a:lnTo>
                    <a:lnTo>
                      <a:pt x="576" y="683"/>
                    </a:lnTo>
                    <a:lnTo>
                      <a:pt x="574" y="683"/>
                    </a:lnTo>
                    <a:lnTo>
                      <a:pt x="574" y="685"/>
                    </a:lnTo>
                    <a:lnTo>
                      <a:pt x="574" y="687"/>
                    </a:lnTo>
                    <a:lnTo>
                      <a:pt x="574" y="685"/>
                    </a:lnTo>
                    <a:lnTo>
                      <a:pt x="576" y="685"/>
                    </a:lnTo>
                    <a:lnTo>
                      <a:pt x="576" y="683"/>
                    </a:lnTo>
                    <a:lnTo>
                      <a:pt x="578" y="683"/>
                    </a:lnTo>
                    <a:lnTo>
                      <a:pt x="578" y="681"/>
                    </a:lnTo>
                    <a:lnTo>
                      <a:pt x="578" y="683"/>
                    </a:lnTo>
                    <a:lnTo>
                      <a:pt x="578" y="681"/>
                    </a:lnTo>
                    <a:lnTo>
                      <a:pt x="580" y="681"/>
                    </a:lnTo>
                    <a:lnTo>
                      <a:pt x="580" y="679"/>
                    </a:lnTo>
                    <a:lnTo>
                      <a:pt x="582" y="679"/>
                    </a:lnTo>
                    <a:lnTo>
                      <a:pt x="582" y="677"/>
                    </a:lnTo>
                    <a:lnTo>
                      <a:pt x="584" y="677"/>
                    </a:lnTo>
                    <a:lnTo>
                      <a:pt x="584" y="675"/>
                    </a:lnTo>
                    <a:lnTo>
                      <a:pt x="584" y="674"/>
                    </a:lnTo>
                    <a:lnTo>
                      <a:pt x="586" y="674"/>
                    </a:lnTo>
                    <a:lnTo>
                      <a:pt x="586" y="672"/>
                    </a:lnTo>
                    <a:lnTo>
                      <a:pt x="588" y="672"/>
                    </a:lnTo>
                    <a:lnTo>
                      <a:pt x="588" y="670"/>
                    </a:lnTo>
                    <a:lnTo>
                      <a:pt x="588" y="668"/>
                    </a:lnTo>
                    <a:lnTo>
                      <a:pt x="588" y="670"/>
                    </a:lnTo>
                    <a:lnTo>
                      <a:pt x="588" y="668"/>
                    </a:lnTo>
                    <a:lnTo>
                      <a:pt x="588" y="666"/>
                    </a:lnTo>
                    <a:lnTo>
                      <a:pt x="588" y="668"/>
                    </a:lnTo>
                    <a:lnTo>
                      <a:pt x="590" y="668"/>
                    </a:lnTo>
                    <a:lnTo>
                      <a:pt x="590" y="666"/>
                    </a:lnTo>
                    <a:lnTo>
                      <a:pt x="590" y="664"/>
                    </a:lnTo>
                    <a:lnTo>
                      <a:pt x="591" y="664"/>
                    </a:lnTo>
                    <a:lnTo>
                      <a:pt x="591" y="662"/>
                    </a:lnTo>
                    <a:lnTo>
                      <a:pt x="593" y="660"/>
                    </a:lnTo>
                    <a:lnTo>
                      <a:pt x="593" y="658"/>
                    </a:lnTo>
                    <a:lnTo>
                      <a:pt x="595" y="658"/>
                    </a:lnTo>
                    <a:lnTo>
                      <a:pt x="595" y="656"/>
                    </a:lnTo>
                    <a:lnTo>
                      <a:pt x="595" y="654"/>
                    </a:lnTo>
                    <a:lnTo>
                      <a:pt x="597" y="654"/>
                    </a:lnTo>
                    <a:lnTo>
                      <a:pt x="597" y="652"/>
                    </a:lnTo>
                    <a:lnTo>
                      <a:pt x="597" y="651"/>
                    </a:lnTo>
                    <a:lnTo>
                      <a:pt x="599" y="651"/>
                    </a:lnTo>
                    <a:lnTo>
                      <a:pt x="599" y="649"/>
                    </a:lnTo>
                    <a:lnTo>
                      <a:pt x="599" y="647"/>
                    </a:lnTo>
                    <a:lnTo>
                      <a:pt x="601" y="647"/>
                    </a:lnTo>
                    <a:lnTo>
                      <a:pt x="601" y="649"/>
                    </a:lnTo>
                    <a:lnTo>
                      <a:pt x="601" y="647"/>
                    </a:lnTo>
                    <a:lnTo>
                      <a:pt x="601" y="645"/>
                    </a:lnTo>
                    <a:lnTo>
                      <a:pt x="603" y="645"/>
                    </a:lnTo>
                    <a:lnTo>
                      <a:pt x="603" y="643"/>
                    </a:lnTo>
                    <a:lnTo>
                      <a:pt x="601" y="643"/>
                    </a:lnTo>
                    <a:lnTo>
                      <a:pt x="601" y="641"/>
                    </a:lnTo>
                    <a:lnTo>
                      <a:pt x="599" y="641"/>
                    </a:lnTo>
                    <a:lnTo>
                      <a:pt x="599" y="639"/>
                    </a:lnTo>
                    <a:lnTo>
                      <a:pt x="597" y="639"/>
                    </a:lnTo>
                    <a:lnTo>
                      <a:pt x="595" y="639"/>
                    </a:lnTo>
                    <a:lnTo>
                      <a:pt x="595" y="641"/>
                    </a:lnTo>
                    <a:lnTo>
                      <a:pt x="597" y="641"/>
                    </a:lnTo>
                    <a:lnTo>
                      <a:pt x="597" y="643"/>
                    </a:lnTo>
                    <a:lnTo>
                      <a:pt x="599" y="643"/>
                    </a:lnTo>
                    <a:lnTo>
                      <a:pt x="599" y="641"/>
                    </a:lnTo>
                    <a:lnTo>
                      <a:pt x="599" y="643"/>
                    </a:lnTo>
                    <a:lnTo>
                      <a:pt x="601" y="643"/>
                    </a:lnTo>
                    <a:lnTo>
                      <a:pt x="601" y="645"/>
                    </a:lnTo>
                    <a:lnTo>
                      <a:pt x="599" y="645"/>
                    </a:lnTo>
                    <a:lnTo>
                      <a:pt x="599" y="643"/>
                    </a:lnTo>
                    <a:lnTo>
                      <a:pt x="599" y="645"/>
                    </a:lnTo>
                    <a:lnTo>
                      <a:pt x="599" y="643"/>
                    </a:lnTo>
                    <a:lnTo>
                      <a:pt x="597" y="643"/>
                    </a:lnTo>
                    <a:lnTo>
                      <a:pt x="597" y="645"/>
                    </a:lnTo>
                    <a:lnTo>
                      <a:pt x="599" y="645"/>
                    </a:lnTo>
                    <a:lnTo>
                      <a:pt x="599" y="647"/>
                    </a:lnTo>
                    <a:lnTo>
                      <a:pt x="597" y="647"/>
                    </a:lnTo>
                    <a:lnTo>
                      <a:pt x="597" y="645"/>
                    </a:lnTo>
                    <a:lnTo>
                      <a:pt x="595" y="645"/>
                    </a:lnTo>
                    <a:lnTo>
                      <a:pt x="595" y="647"/>
                    </a:lnTo>
                    <a:lnTo>
                      <a:pt x="597" y="647"/>
                    </a:lnTo>
                    <a:lnTo>
                      <a:pt x="595" y="647"/>
                    </a:lnTo>
                    <a:lnTo>
                      <a:pt x="595" y="649"/>
                    </a:lnTo>
                    <a:lnTo>
                      <a:pt x="595" y="651"/>
                    </a:lnTo>
                    <a:lnTo>
                      <a:pt x="597" y="651"/>
                    </a:lnTo>
                    <a:lnTo>
                      <a:pt x="595" y="651"/>
                    </a:lnTo>
                    <a:lnTo>
                      <a:pt x="597" y="651"/>
                    </a:lnTo>
                    <a:lnTo>
                      <a:pt x="597" y="652"/>
                    </a:lnTo>
                    <a:lnTo>
                      <a:pt x="595" y="652"/>
                    </a:lnTo>
                    <a:lnTo>
                      <a:pt x="597" y="652"/>
                    </a:lnTo>
                    <a:lnTo>
                      <a:pt x="597" y="651"/>
                    </a:lnTo>
                    <a:lnTo>
                      <a:pt x="595" y="651"/>
                    </a:lnTo>
                    <a:lnTo>
                      <a:pt x="595" y="652"/>
                    </a:lnTo>
                    <a:lnTo>
                      <a:pt x="595" y="654"/>
                    </a:lnTo>
                    <a:lnTo>
                      <a:pt x="595" y="656"/>
                    </a:lnTo>
                    <a:lnTo>
                      <a:pt x="595" y="654"/>
                    </a:lnTo>
                    <a:lnTo>
                      <a:pt x="595" y="652"/>
                    </a:lnTo>
                    <a:lnTo>
                      <a:pt x="595" y="651"/>
                    </a:lnTo>
                    <a:lnTo>
                      <a:pt x="593" y="651"/>
                    </a:lnTo>
                    <a:lnTo>
                      <a:pt x="593" y="649"/>
                    </a:lnTo>
                    <a:lnTo>
                      <a:pt x="593" y="651"/>
                    </a:lnTo>
                    <a:lnTo>
                      <a:pt x="593" y="652"/>
                    </a:lnTo>
                    <a:lnTo>
                      <a:pt x="593" y="654"/>
                    </a:lnTo>
                    <a:lnTo>
                      <a:pt x="593" y="652"/>
                    </a:lnTo>
                    <a:lnTo>
                      <a:pt x="593" y="654"/>
                    </a:lnTo>
                    <a:lnTo>
                      <a:pt x="591" y="654"/>
                    </a:lnTo>
                    <a:lnTo>
                      <a:pt x="593" y="654"/>
                    </a:lnTo>
                    <a:lnTo>
                      <a:pt x="593" y="656"/>
                    </a:lnTo>
                    <a:lnTo>
                      <a:pt x="591" y="656"/>
                    </a:lnTo>
                    <a:lnTo>
                      <a:pt x="591" y="658"/>
                    </a:lnTo>
                    <a:lnTo>
                      <a:pt x="593" y="658"/>
                    </a:lnTo>
                    <a:lnTo>
                      <a:pt x="593" y="660"/>
                    </a:lnTo>
                    <a:lnTo>
                      <a:pt x="591" y="660"/>
                    </a:lnTo>
                    <a:lnTo>
                      <a:pt x="591" y="658"/>
                    </a:lnTo>
                    <a:lnTo>
                      <a:pt x="591" y="660"/>
                    </a:lnTo>
                    <a:lnTo>
                      <a:pt x="591" y="662"/>
                    </a:lnTo>
                    <a:lnTo>
                      <a:pt x="590" y="662"/>
                    </a:lnTo>
                    <a:lnTo>
                      <a:pt x="591" y="662"/>
                    </a:lnTo>
                    <a:lnTo>
                      <a:pt x="591" y="660"/>
                    </a:lnTo>
                    <a:lnTo>
                      <a:pt x="591" y="658"/>
                    </a:lnTo>
                    <a:lnTo>
                      <a:pt x="591" y="656"/>
                    </a:lnTo>
                    <a:lnTo>
                      <a:pt x="591" y="654"/>
                    </a:lnTo>
                    <a:lnTo>
                      <a:pt x="591" y="652"/>
                    </a:lnTo>
                    <a:lnTo>
                      <a:pt x="591" y="651"/>
                    </a:lnTo>
                    <a:lnTo>
                      <a:pt x="591" y="649"/>
                    </a:lnTo>
                    <a:lnTo>
                      <a:pt x="590" y="649"/>
                    </a:lnTo>
                    <a:lnTo>
                      <a:pt x="590" y="647"/>
                    </a:lnTo>
                    <a:lnTo>
                      <a:pt x="590" y="645"/>
                    </a:lnTo>
                    <a:lnTo>
                      <a:pt x="588" y="645"/>
                    </a:lnTo>
                    <a:lnTo>
                      <a:pt x="588" y="643"/>
                    </a:lnTo>
                    <a:lnTo>
                      <a:pt x="586" y="641"/>
                    </a:lnTo>
                    <a:lnTo>
                      <a:pt x="586" y="639"/>
                    </a:lnTo>
                    <a:lnTo>
                      <a:pt x="584" y="639"/>
                    </a:lnTo>
                    <a:lnTo>
                      <a:pt x="584" y="637"/>
                    </a:lnTo>
                    <a:lnTo>
                      <a:pt x="582" y="637"/>
                    </a:lnTo>
                    <a:lnTo>
                      <a:pt x="582" y="635"/>
                    </a:lnTo>
                    <a:lnTo>
                      <a:pt x="580" y="635"/>
                    </a:lnTo>
                    <a:lnTo>
                      <a:pt x="580" y="633"/>
                    </a:lnTo>
                    <a:lnTo>
                      <a:pt x="578" y="633"/>
                    </a:lnTo>
                    <a:lnTo>
                      <a:pt x="576" y="633"/>
                    </a:lnTo>
                    <a:lnTo>
                      <a:pt x="576" y="631"/>
                    </a:lnTo>
                    <a:lnTo>
                      <a:pt x="574" y="631"/>
                    </a:lnTo>
                    <a:lnTo>
                      <a:pt x="574" y="629"/>
                    </a:lnTo>
                    <a:lnTo>
                      <a:pt x="572" y="629"/>
                    </a:lnTo>
                    <a:lnTo>
                      <a:pt x="570" y="629"/>
                    </a:lnTo>
                    <a:lnTo>
                      <a:pt x="568" y="629"/>
                    </a:lnTo>
                    <a:lnTo>
                      <a:pt x="566" y="629"/>
                    </a:lnTo>
                    <a:lnTo>
                      <a:pt x="565" y="629"/>
                    </a:lnTo>
                    <a:lnTo>
                      <a:pt x="563" y="629"/>
                    </a:lnTo>
                    <a:lnTo>
                      <a:pt x="561" y="629"/>
                    </a:lnTo>
                    <a:lnTo>
                      <a:pt x="559" y="629"/>
                    </a:lnTo>
                    <a:lnTo>
                      <a:pt x="559" y="631"/>
                    </a:lnTo>
                    <a:lnTo>
                      <a:pt x="557" y="631"/>
                    </a:lnTo>
                    <a:lnTo>
                      <a:pt x="555" y="631"/>
                    </a:lnTo>
                    <a:lnTo>
                      <a:pt x="555" y="633"/>
                    </a:lnTo>
                    <a:lnTo>
                      <a:pt x="553" y="633"/>
                    </a:lnTo>
                    <a:lnTo>
                      <a:pt x="551" y="633"/>
                    </a:lnTo>
                    <a:lnTo>
                      <a:pt x="549" y="633"/>
                    </a:lnTo>
                    <a:lnTo>
                      <a:pt x="549" y="635"/>
                    </a:lnTo>
                    <a:lnTo>
                      <a:pt x="547" y="635"/>
                    </a:lnTo>
                    <a:lnTo>
                      <a:pt x="545" y="635"/>
                    </a:lnTo>
                    <a:lnTo>
                      <a:pt x="545" y="633"/>
                    </a:lnTo>
                    <a:lnTo>
                      <a:pt x="543" y="633"/>
                    </a:lnTo>
                    <a:lnTo>
                      <a:pt x="542" y="633"/>
                    </a:lnTo>
                    <a:lnTo>
                      <a:pt x="542" y="631"/>
                    </a:lnTo>
                    <a:lnTo>
                      <a:pt x="540" y="631"/>
                    </a:lnTo>
                    <a:lnTo>
                      <a:pt x="538" y="631"/>
                    </a:lnTo>
                    <a:lnTo>
                      <a:pt x="536" y="631"/>
                    </a:lnTo>
                    <a:lnTo>
                      <a:pt x="536" y="629"/>
                    </a:lnTo>
                    <a:lnTo>
                      <a:pt x="534" y="629"/>
                    </a:lnTo>
                    <a:lnTo>
                      <a:pt x="532" y="629"/>
                    </a:lnTo>
                    <a:lnTo>
                      <a:pt x="530" y="629"/>
                    </a:lnTo>
                    <a:lnTo>
                      <a:pt x="528" y="629"/>
                    </a:lnTo>
                    <a:lnTo>
                      <a:pt x="526" y="629"/>
                    </a:lnTo>
                    <a:lnTo>
                      <a:pt x="524" y="629"/>
                    </a:lnTo>
                    <a:lnTo>
                      <a:pt x="522" y="629"/>
                    </a:lnTo>
                    <a:lnTo>
                      <a:pt x="520" y="629"/>
                    </a:lnTo>
                    <a:lnTo>
                      <a:pt x="518" y="629"/>
                    </a:lnTo>
                    <a:lnTo>
                      <a:pt x="517" y="629"/>
                    </a:lnTo>
                    <a:lnTo>
                      <a:pt x="515" y="629"/>
                    </a:lnTo>
                    <a:lnTo>
                      <a:pt x="515" y="631"/>
                    </a:lnTo>
                    <a:lnTo>
                      <a:pt x="513" y="631"/>
                    </a:lnTo>
                    <a:lnTo>
                      <a:pt x="511" y="631"/>
                    </a:lnTo>
                    <a:lnTo>
                      <a:pt x="509" y="631"/>
                    </a:lnTo>
                    <a:lnTo>
                      <a:pt x="507" y="631"/>
                    </a:lnTo>
                    <a:lnTo>
                      <a:pt x="505" y="631"/>
                    </a:lnTo>
                    <a:lnTo>
                      <a:pt x="503" y="631"/>
                    </a:lnTo>
                    <a:lnTo>
                      <a:pt x="501" y="631"/>
                    </a:lnTo>
                    <a:lnTo>
                      <a:pt x="499" y="631"/>
                    </a:lnTo>
                    <a:lnTo>
                      <a:pt x="497" y="631"/>
                    </a:lnTo>
                    <a:lnTo>
                      <a:pt x="495" y="631"/>
                    </a:lnTo>
                    <a:lnTo>
                      <a:pt x="494" y="631"/>
                    </a:lnTo>
                    <a:lnTo>
                      <a:pt x="494" y="633"/>
                    </a:lnTo>
                    <a:lnTo>
                      <a:pt x="492" y="633"/>
                    </a:lnTo>
                    <a:lnTo>
                      <a:pt x="490" y="633"/>
                    </a:lnTo>
                    <a:lnTo>
                      <a:pt x="488" y="633"/>
                    </a:lnTo>
                    <a:lnTo>
                      <a:pt x="486" y="633"/>
                    </a:lnTo>
                    <a:lnTo>
                      <a:pt x="486" y="635"/>
                    </a:lnTo>
                    <a:lnTo>
                      <a:pt x="484" y="635"/>
                    </a:lnTo>
                    <a:lnTo>
                      <a:pt x="482" y="635"/>
                    </a:lnTo>
                    <a:lnTo>
                      <a:pt x="482" y="637"/>
                    </a:lnTo>
                    <a:lnTo>
                      <a:pt x="480" y="637"/>
                    </a:lnTo>
                    <a:lnTo>
                      <a:pt x="478" y="637"/>
                    </a:lnTo>
                    <a:lnTo>
                      <a:pt x="476" y="637"/>
                    </a:lnTo>
                    <a:lnTo>
                      <a:pt x="476" y="639"/>
                    </a:lnTo>
                    <a:lnTo>
                      <a:pt x="474" y="639"/>
                    </a:lnTo>
                    <a:lnTo>
                      <a:pt x="474" y="641"/>
                    </a:lnTo>
                    <a:lnTo>
                      <a:pt x="472" y="641"/>
                    </a:lnTo>
                    <a:lnTo>
                      <a:pt x="472" y="643"/>
                    </a:lnTo>
                    <a:lnTo>
                      <a:pt x="470" y="643"/>
                    </a:lnTo>
                    <a:lnTo>
                      <a:pt x="470" y="645"/>
                    </a:lnTo>
                    <a:lnTo>
                      <a:pt x="469" y="645"/>
                    </a:lnTo>
                    <a:lnTo>
                      <a:pt x="467" y="645"/>
                    </a:lnTo>
                    <a:lnTo>
                      <a:pt x="467" y="647"/>
                    </a:lnTo>
                    <a:lnTo>
                      <a:pt x="465" y="647"/>
                    </a:lnTo>
                    <a:lnTo>
                      <a:pt x="463" y="647"/>
                    </a:lnTo>
                    <a:lnTo>
                      <a:pt x="463" y="649"/>
                    </a:lnTo>
                    <a:lnTo>
                      <a:pt x="461" y="649"/>
                    </a:lnTo>
                    <a:lnTo>
                      <a:pt x="459" y="649"/>
                    </a:lnTo>
                    <a:lnTo>
                      <a:pt x="459" y="651"/>
                    </a:lnTo>
                    <a:lnTo>
                      <a:pt x="457" y="651"/>
                    </a:lnTo>
                    <a:lnTo>
                      <a:pt x="455" y="651"/>
                    </a:lnTo>
                    <a:lnTo>
                      <a:pt x="453" y="652"/>
                    </a:lnTo>
                    <a:lnTo>
                      <a:pt x="451" y="652"/>
                    </a:lnTo>
                    <a:lnTo>
                      <a:pt x="449" y="652"/>
                    </a:lnTo>
                    <a:lnTo>
                      <a:pt x="449" y="654"/>
                    </a:lnTo>
                    <a:lnTo>
                      <a:pt x="447" y="654"/>
                    </a:lnTo>
                    <a:lnTo>
                      <a:pt x="445" y="654"/>
                    </a:lnTo>
                    <a:lnTo>
                      <a:pt x="445" y="656"/>
                    </a:lnTo>
                    <a:lnTo>
                      <a:pt x="444" y="656"/>
                    </a:lnTo>
                    <a:lnTo>
                      <a:pt x="442" y="656"/>
                    </a:lnTo>
                    <a:lnTo>
                      <a:pt x="442" y="658"/>
                    </a:lnTo>
                    <a:lnTo>
                      <a:pt x="440" y="658"/>
                    </a:lnTo>
                    <a:lnTo>
                      <a:pt x="438" y="658"/>
                    </a:lnTo>
                    <a:lnTo>
                      <a:pt x="438" y="660"/>
                    </a:lnTo>
                    <a:lnTo>
                      <a:pt x="436" y="660"/>
                    </a:lnTo>
                    <a:lnTo>
                      <a:pt x="436" y="662"/>
                    </a:lnTo>
                    <a:lnTo>
                      <a:pt x="434" y="662"/>
                    </a:lnTo>
                    <a:lnTo>
                      <a:pt x="434" y="664"/>
                    </a:lnTo>
                    <a:lnTo>
                      <a:pt x="432" y="664"/>
                    </a:lnTo>
                    <a:lnTo>
                      <a:pt x="432" y="666"/>
                    </a:lnTo>
                    <a:lnTo>
                      <a:pt x="430" y="666"/>
                    </a:lnTo>
                    <a:lnTo>
                      <a:pt x="430" y="668"/>
                    </a:lnTo>
                    <a:lnTo>
                      <a:pt x="428" y="668"/>
                    </a:lnTo>
                    <a:lnTo>
                      <a:pt x="428" y="670"/>
                    </a:lnTo>
                    <a:lnTo>
                      <a:pt x="426" y="670"/>
                    </a:lnTo>
                    <a:lnTo>
                      <a:pt x="426" y="672"/>
                    </a:lnTo>
                    <a:lnTo>
                      <a:pt x="424" y="672"/>
                    </a:lnTo>
                    <a:lnTo>
                      <a:pt x="424" y="674"/>
                    </a:lnTo>
                    <a:lnTo>
                      <a:pt x="422" y="674"/>
                    </a:lnTo>
                    <a:lnTo>
                      <a:pt x="422" y="675"/>
                    </a:lnTo>
                    <a:lnTo>
                      <a:pt x="422" y="677"/>
                    </a:lnTo>
                    <a:lnTo>
                      <a:pt x="421" y="677"/>
                    </a:lnTo>
                    <a:lnTo>
                      <a:pt x="421" y="679"/>
                    </a:lnTo>
                    <a:lnTo>
                      <a:pt x="419" y="679"/>
                    </a:lnTo>
                    <a:lnTo>
                      <a:pt x="417" y="681"/>
                    </a:lnTo>
                    <a:lnTo>
                      <a:pt x="417" y="683"/>
                    </a:lnTo>
                    <a:lnTo>
                      <a:pt x="415" y="683"/>
                    </a:lnTo>
                    <a:lnTo>
                      <a:pt x="415" y="685"/>
                    </a:lnTo>
                    <a:lnTo>
                      <a:pt x="413" y="685"/>
                    </a:lnTo>
                    <a:lnTo>
                      <a:pt x="413" y="687"/>
                    </a:lnTo>
                    <a:lnTo>
                      <a:pt x="411" y="687"/>
                    </a:lnTo>
                    <a:lnTo>
                      <a:pt x="411" y="689"/>
                    </a:lnTo>
                    <a:lnTo>
                      <a:pt x="409" y="689"/>
                    </a:lnTo>
                    <a:lnTo>
                      <a:pt x="409" y="691"/>
                    </a:lnTo>
                    <a:lnTo>
                      <a:pt x="407" y="691"/>
                    </a:lnTo>
                    <a:lnTo>
                      <a:pt x="407" y="693"/>
                    </a:lnTo>
                    <a:lnTo>
                      <a:pt x="405" y="693"/>
                    </a:lnTo>
                    <a:lnTo>
                      <a:pt x="405" y="695"/>
                    </a:lnTo>
                    <a:lnTo>
                      <a:pt x="403" y="695"/>
                    </a:lnTo>
                    <a:lnTo>
                      <a:pt x="401" y="695"/>
                    </a:lnTo>
                    <a:lnTo>
                      <a:pt x="401" y="697"/>
                    </a:lnTo>
                    <a:lnTo>
                      <a:pt x="399" y="697"/>
                    </a:lnTo>
                    <a:lnTo>
                      <a:pt x="399" y="699"/>
                    </a:lnTo>
                    <a:lnTo>
                      <a:pt x="397" y="699"/>
                    </a:lnTo>
                    <a:lnTo>
                      <a:pt x="397" y="700"/>
                    </a:lnTo>
                    <a:lnTo>
                      <a:pt x="396" y="700"/>
                    </a:lnTo>
                    <a:lnTo>
                      <a:pt x="394" y="700"/>
                    </a:lnTo>
                    <a:lnTo>
                      <a:pt x="394" y="702"/>
                    </a:lnTo>
                    <a:lnTo>
                      <a:pt x="392" y="702"/>
                    </a:lnTo>
                    <a:lnTo>
                      <a:pt x="392" y="704"/>
                    </a:lnTo>
                    <a:lnTo>
                      <a:pt x="390" y="704"/>
                    </a:lnTo>
                    <a:lnTo>
                      <a:pt x="388" y="704"/>
                    </a:lnTo>
                    <a:lnTo>
                      <a:pt x="386" y="706"/>
                    </a:lnTo>
                    <a:lnTo>
                      <a:pt x="384" y="706"/>
                    </a:lnTo>
                    <a:lnTo>
                      <a:pt x="382" y="706"/>
                    </a:lnTo>
                    <a:lnTo>
                      <a:pt x="380" y="706"/>
                    </a:lnTo>
                    <a:lnTo>
                      <a:pt x="380" y="708"/>
                    </a:lnTo>
                    <a:lnTo>
                      <a:pt x="378" y="708"/>
                    </a:lnTo>
                    <a:lnTo>
                      <a:pt x="376" y="708"/>
                    </a:lnTo>
                    <a:lnTo>
                      <a:pt x="376" y="710"/>
                    </a:lnTo>
                    <a:lnTo>
                      <a:pt x="374" y="710"/>
                    </a:lnTo>
                    <a:lnTo>
                      <a:pt x="374" y="712"/>
                    </a:lnTo>
                    <a:lnTo>
                      <a:pt x="373" y="712"/>
                    </a:lnTo>
                    <a:lnTo>
                      <a:pt x="371" y="712"/>
                    </a:lnTo>
                    <a:lnTo>
                      <a:pt x="369" y="712"/>
                    </a:lnTo>
                    <a:lnTo>
                      <a:pt x="369" y="714"/>
                    </a:lnTo>
                    <a:lnTo>
                      <a:pt x="367" y="714"/>
                    </a:lnTo>
                    <a:lnTo>
                      <a:pt x="365" y="714"/>
                    </a:lnTo>
                    <a:lnTo>
                      <a:pt x="363" y="714"/>
                    </a:lnTo>
                    <a:lnTo>
                      <a:pt x="361" y="714"/>
                    </a:lnTo>
                    <a:lnTo>
                      <a:pt x="361" y="716"/>
                    </a:lnTo>
                    <a:lnTo>
                      <a:pt x="359" y="716"/>
                    </a:lnTo>
                    <a:lnTo>
                      <a:pt x="357" y="716"/>
                    </a:lnTo>
                    <a:lnTo>
                      <a:pt x="357" y="718"/>
                    </a:lnTo>
                    <a:lnTo>
                      <a:pt x="355" y="718"/>
                    </a:lnTo>
                    <a:lnTo>
                      <a:pt x="353" y="718"/>
                    </a:lnTo>
                    <a:lnTo>
                      <a:pt x="353" y="720"/>
                    </a:lnTo>
                    <a:lnTo>
                      <a:pt x="351" y="720"/>
                    </a:lnTo>
                    <a:lnTo>
                      <a:pt x="351" y="722"/>
                    </a:lnTo>
                    <a:lnTo>
                      <a:pt x="349" y="722"/>
                    </a:lnTo>
                    <a:lnTo>
                      <a:pt x="349" y="723"/>
                    </a:lnTo>
                    <a:lnTo>
                      <a:pt x="348" y="723"/>
                    </a:lnTo>
                    <a:lnTo>
                      <a:pt x="348" y="725"/>
                    </a:lnTo>
                    <a:lnTo>
                      <a:pt x="348" y="727"/>
                    </a:lnTo>
                    <a:lnTo>
                      <a:pt x="346" y="727"/>
                    </a:lnTo>
                    <a:lnTo>
                      <a:pt x="346" y="729"/>
                    </a:lnTo>
                    <a:lnTo>
                      <a:pt x="344" y="729"/>
                    </a:lnTo>
                    <a:lnTo>
                      <a:pt x="344" y="731"/>
                    </a:lnTo>
                    <a:lnTo>
                      <a:pt x="342" y="731"/>
                    </a:lnTo>
                    <a:lnTo>
                      <a:pt x="342" y="733"/>
                    </a:lnTo>
                    <a:lnTo>
                      <a:pt x="340" y="733"/>
                    </a:lnTo>
                    <a:lnTo>
                      <a:pt x="340" y="735"/>
                    </a:lnTo>
                    <a:lnTo>
                      <a:pt x="338" y="735"/>
                    </a:lnTo>
                    <a:lnTo>
                      <a:pt x="338" y="737"/>
                    </a:lnTo>
                    <a:lnTo>
                      <a:pt x="336" y="739"/>
                    </a:lnTo>
                    <a:lnTo>
                      <a:pt x="336" y="741"/>
                    </a:lnTo>
                    <a:lnTo>
                      <a:pt x="334" y="741"/>
                    </a:lnTo>
                    <a:lnTo>
                      <a:pt x="334" y="743"/>
                    </a:lnTo>
                    <a:lnTo>
                      <a:pt x="332" y="743"/>
                    </a:lnTo>
                    <a:lnTo>
                      <a:pt x="332" y="745"/>
                    </a:lnTo>
                    <a:lnTo>
                      <a:pt x="330" y="745"/>
                    </a:lnTo>
                    <a:lnTo>
                      <a:pt x="330" y="746"/>
                    </a:lnTo>
                    <a:lnTo>
                      <a:pt x="330" y="748"/>
                    </a:lnTo>
                    <a:lnTo>
                      <a:pt x="328" y="748"/>
                    </a:lnTo>
                    <a:lnTo>
                      <a:pt x="328" y="750"/>
                    </a:lnTo>
                    <a:lnTo>
                      <a:pt x="326" y="750"/>
                    </a:lnTo>
                    <a:lnTo>
                      <a:pt x="326" y="752"/>
                    </a:lnTo>
                    <a:lnTo>
                      <a:pt x="325" y="752"/>
                    </a:lnTo>
                    <a:lnTo>
                      <a:pt x="325" y="754"/>
                    </a:lnTo>
                    <a:lnTo>
                      <a:pt x="323" y="756"/>
                    </a:lnTo>
                    <a:lnTo>
                      <a:pt x="323" y="758"/>
                    </a:lnTo>
                    <a:lnTo>
                      <a:pt x="321" y="758"/>
                    </a:lnTo>
                    <a:lnTo>
                      <a:pt x="321" y="760"/>
                    </a:lnTo>
                    <a:lnTo>
                      <a:pt x="321" y="762"/>
                    </a:lnTo>
                    <a:lnTo>
                      <a:pt x="319" y="762"/>
                    </a:lnTo>
                    <a:lnTo>
                      <a:pt x="319" y="764"/>
                    </a:lnTo>
                    <a:lnTo>
                      <a:pt x="317" y="764"/>
                    </a:lnTo>
                    <a:lnTo>
                      <a:pt x="317" y="766"/>
                    </a:lnTo>
                    <a:lnTo>
                      <a:pt x="317" y="768"/>
                    </a:lnTo>
                    <a:lnTo>
                      <a:pt x="315" y="768"/>
                    </a:lnTo>
                    <a:lnTo>
                      <a:pt x="315" y="770"/>
                    </a:lnTo>
                    <a:lnTo>
                      <a:pt x="313" y="770"/>
                    </a:lnTo>
                    <a:lnTo>
                      <a:pt x="313" y="771"/>
                    </a:lnTo>
                    <a:lnTo>
                      <a:pt x="313" y="773"/>
                    </a:lnTo>
                    <a:lnTo>
                      <a:pt x="311" y="773"/>
                    </a:lnTo>
                    <a:lnTo>
                      <a:pt x="311" y="775"/>
                    </a:lnTo>
                    <a:lnTo>
                      <a:pt x="309" y="775"/>
                    </a:lnTo>
                    <a:lnTo>
                      <a:pt x="309" y="777"/>
                    </a:lnTo>
                    <a:lnTo>
                      <a:pt x="307" y="777"/>
                    </a:lnTo>
                    <a:lnTo>
                      <a:pt x="307" y="779"/>
                    </a:lnTo>
                    <a:lnTo>
                      <a:pt x="305" y="779"/>
                    </a:lnTo>
                    <a:lnTo>
                      <a:pt x="305" y="781"/>
                    </a:lnTo>
                    <a:lnTo>
                      <a:pt x="305" y="783"/>
                    </a:lnTo>
                    <a:lnTo>
                      <a:pt x="303" y="783"/>
                    </a:lnTo>
                    <a:lnTo>
                      <a:pt x="303" y="785"/>
                    </a:lnTo>
                    <a:lnTo>
                      <a:pt x="301" y="787"/>
                    </a:lnTo>
                    <a:lnTo>
                      <a:pt x="301" y="789"/>
                    </a:lnTo>
                    <a:lnTo>
                      <a:pt x="300" y="791"/>
                    </a:lnTo>
                    <a:lnTo>
                      <a:pt x="300" y="789"/>
                    </a:lnTo>
                    <a:lnTo>
                      <a:pt x="298" y="789"/>
                    </a:lnTo>
                    <a:lnTo>
                      <a:pt x="296" y="789"/>
                    </a:lnTo>
                    <a:lnTo>
                      <a:pt x="294" y="787"/>
                    </a:lnTo>
                    <a:lnTo>
                      <a:pt x="292" y="787"/>
                    </a:lnTo>
                    <a:lnTo>
                      <a:pt x="290" y="785"/>
                    </a:lnTo>
                    <a:lnTo>
                      <a:pt x="282" y="781"/>
                    </a:lnTo>
                    <a:lnTo>
                      <a:pt x="278" y="779"/>
                    </a:lnTo>
                    <a:lnTo>
                      <a:pt x="275" y="779"/>
                    </a:lnTo>
                    <a:lnTo>
                      <a:pt x="271" y="777"/>
                    </a:lnTo>
                    <a:lnTo>
                      <a:pt x="269" y="775"/>
                    </a:lnTo>
                    <a:lnTo>
                      <a:pt x="261" y="773"/>
                    </a:lnTo>
                    <a:lnTo>
                      <a:pt x="259" y="773"/>
                    </a:lnTo>
                    <a:lnTo>
                      <a:pt x="252" y="771"/>
                    </a:lnTo>
                    <a:lnTo>
                      <a:pt x="250" y="771"/>
                    </a:lnTo>
                    <a:lnTo>
                      <a:pt x="248" y="771"/>
                    </a:lnTo>
                    <a:lnTo>
                      <a:pt x="246" y="771"/>
                    </a:lnTo>
                    <a:lnTo>
                      <a:pt x="244" y="771"/>
                    </a:lnTo>
                    <a:lnTo>
                      <a:pt x="242" y="771"/>
                    </a:lnTo>
                    <a:lnTo>
                      <a:pt x="242" y="770"/>
                    </a:lnTo>
                    <a:lnTo>
                      <a:pt x="240" y="768"/>
                    </a:lnTo>
                    <a:lnTo>
                      <a:pt x="240" y="764"/>
                    </a:lnTo>
                    <a:lnTo>
                      <a:pt x="240" y="762"/>
                    </a:lnTo>
                    <a:lnTo>
                      <a:pt x="240" y="760"/>
                    </a:lnTo>
                    <a:lnTo>
                      <a:pt x="240" y="758"/>
                    </a:lnTo>
                    <a:lnTo>
                      <a:pt x="240" y="756"/>
                    </a:lnTo>
                    <a:lnTo>
                      <a:pt x="240" y="754"/>
                    </a:lnTo>
                    <a:lnTo>
                      <a:pt x="240" y="752"/>
                    </a:lnTo>
                    <a:lnTo>
                      <a:pt x="240" y="750"/>
                    </a:lnTo>
                    <a:lnTo>
                      <a:pt x="240" y="748"/>
                    </a:lnTo>
                    <a:lnTo>
                      <a:pt x="238" y="741"/>
                    </a:lnTo>
                    <a:lnTo>
                      <a:pt x="242" y="741"/>
                    </a:lnTo>
                    <a:lnTo>
                      <a:pt x="242" y="739"/>
                    </a:lnTo>
                    <a:lnTo>
                      <a:pt x="242" y="737"/>
                    </a:lnTo>
                    <a:lnTo>
                      <a:pt x="242" y="735"/>
                    </a:lnTo>
                    <a:lnTo>
                      <a:pt x="242" y="731"/>
                    </a:lnTo>
                    <a:lnTo>
                      <a:pt x="242" y="727"/>
                    </a:lnTo>
                    <a:lnTo>
                      <a:pt x="242" y="725"/>
                    </a:lnTo>
                    <a:lnTo>
                      <a:pt x="242" y="722"/>
                    </a:lnTo>
                    <a:lnTo>
                      <a:pt x="242" y="720"/>
                    </a:lnTo>
                    <a:lnTo>
                      <a:pt x="240" y="720"/>
                    </a:lnTo>
                    <a:lnTo>
                      <a:pt x="240" y="718"/>
                    </a:lnTo>
                    <a:lnTo>
                      <a:pt x="240" y="716"/>
                    </a:lnTo>
                    <a:lnTo>
                      <a:pt x="240" y="710"/>
                    </a:lnTo>
                    <a:lnTo>
                      <a:pt x="240" y="708"/>
                    </a:lnTo>
                    <a:lnTo>
                      <a:pt x="240" y="704"/>
                    </a:lnTo>
                    <a:lnTo>
                      <a:pt x="240" y="702"/>
                    </a:lnTo>
                    <a:lnTo>
                      <a:pt x="240" y="700"/>
                    </a:lnTo>
                    <a:lnTo>
                      <a:pt x="240" y="697"/>
                    </a:lnTo>
                    <a:lnTo>
                      <a:pt x="238" y="695"/>
                    </a:lnTo>
                    <a:lnTo>
                      <a:pt x="234" y="697"/>
                    </a:lnTo>
                    <a:lnTo>
                      <a:pt x="230" y="697"/>
                    </a:lnTo>
                    <a:lnTo>
                      <a:pt x="229" y="697"/>
                    </a:lnTo>
                    <a:lnTo>
                      <a:pt x="229" y="695"/>
                    </a:lnTo>
                    <a:lnTo>
                      <a:pt x="227" y="695"/>
                    </a:lnTo>
                    <a:lnTo>
                      <a:pt x="225" y="693"/>
                    </a:lnTo>
                    <a:lnTo>
                      <a:pt x="221" y="691"/>
                    </a:lnTo>
                    <a:lnTo>
                      <a:pt x="217" y="689"/>
                    </a:lnTo>
                    <a:lnTo>
                      <a:pt x="213" y="687"/>
                    </a:lnTo>
                    <a:lnTo>
                      <a:pt x="211" y="685"/>
                    </a:lnTo>
                    <a:lnTo>
                      <a:pt x="209" y="685"/>
                    </a:lnTo>
                    <a:lnTo>
                      <a:pt x="209" y="683"/>
                    </a:lnTo>
                    <a:lnTo>
                      <a:pt x="209" y="681"/>
                    </a:lnTo>
                    <a:lnTo>
                      <a:pt x="207" y="681"/>
                    </a:lnTo>
                    <a:lnTo>
                      <a:pt x="204" y="681"/>
                    </a:lnTo>
                    <a:lnTo>
                      <a:pt x="200" y="681"/>
                    </a:lnTo>
                    <a:lnTo>
                      <a:pt x="194" y="683"/>
                    </a:lnTo>
                    <a:lnTo>
                      <a:pt x="192" y="683"/>
                    </a:lnTo>
                    <a:lnTo>
                      <a:pt x="192" y="675"/>
                    </a:lnTo>
                    <a:lnTo>
                      <a:pt x="192" y="670"/>
                    </a:lnTo>
                    <a:lnTo>
                      <a:pt x="194" y="670"/>
                    </a:lnTo>
                    <a:lnTo>
                      <a:pt x="194" y="668"/>
                    </a:lnTo>
                    <a:lnTo>
                      <a:pt x="194" y="662"/>
                    </a:lnTo>
                    <a:lnTo>
                      <a:pt x="194" y="660"/>
                    </a:lnTo>
                    <a:lnTo>
                      <a:pt x="194" y="658"/>
                    </a:lnTo>
                    <a:lnTo>
                      <a:pt x="192" y="658"/>
                    </a:lnTo>
                    <a:lnTo>
                      <a:pt x="190" y="658"/>
                    </a:lnTo>
                    <a:lnTo>
                      <a:pt x="188" y="658"/>
                    </a:lnTo>
                    <a:lnTo>
                      <a:pt x="177" y="660"/>
                    </a:lnTo>
                    <a:lnTo>
                      <a:pt x="167" y="662"/>
                    </a:lnTo>
                    <a:lnTo>
                      <a:pt x="165" y="662"/>
                    </a:lnTo>
                    <a:lnTo>
                      <a:pt x="156" y="662"/>
                    </a:lnTo>
                    <a:lnTo>
                      <a:pt x="156" y="660"/>
                    </a:lnTo>
                    <a:lnTo>
                      <a:pt x="154" y="658"/>
                    </a:lnTo>
                    <a:lnTo>
                      <a:pt x="154" y="656"/>
                    </a:lnTo>
                    <a:lnTo>
                      <a:pt x="154" y="652"/>
                    </a:lnTo>
                    <a:lnTo>
                      <a:pt x="154" y="649"/>
                    </a:lnTo>
                    <a:lnTo>
                      <a:pt x="150" y="649"/>
                    </a:lnTo>
                    <a:lnTo>
                      <a:pt x="146" y="649"/>
                    </a:lnTo>
                    <a:lnTo>
                      <a:pt x="146" y="645"/>
                    </a:lnTo>
                    <a:lnTo>
                      <a:pt x="144" y="631"/>
                    </a:lnTo>
                    <a:lnTo>
                      <a:pt x="152" y="631"/>
                    </a:lnTo>
                    <a:lnTo>
                      <a:pt x="156" y="629"/>
                    </a:lnTo>
                    <a:lnTo>
                      <a:pt x="156" y="627"/>
                    </a:lnTo>
                    <a:lnTo>
                      <a:pt x="156" y="624"/>
                    </a:lnTo>
                    <a:lnTo>
                      <a:pt x="156" y="622"/>
                    </a:lnTo>
                    <a:lnTo>
                      <a:pt x="156" y="620"/>
                    </a:lnTo>
                    <a:lnTo>
                      <a:pt x="156" y="618"/>
                    </a:lnTo>
                    <a:lnTo>
                      <a:pt x="156" y="616"/>
                    </a:lnTo>
                    <a:lnTo>
                      <a:pt x="156" y="614"/>
                    </a:lnTo>
                    <a:lnTo>
                      <a:pt x="156" y="612"/>
                    </a:lnTo>
                    <a:lnTo>
                      <a:pt x="156" y="610"/>
                    </a:lnTo>
                    <a:lnTo>
                      <a:pt x="156" y="608"/>
                    </a:lnTo>
                    <a:lnTo>
                      <a:pt x="156" y="606"/>
                    </a:lnTo>
                    <a:lnTo>
                      <a:pt x="154" y="606"/>
                    </a:lnTo>
                    <a:lnTo>
                      <a:pt x="152" y="606"/>
                    </a:lnTo>
                    <a:lnTo>
                      <a:pt x="148" y="606"/>
                    </a:lnTo>
                    <a:lnTo>
                      <a:pt x="140" y="608"/>
                    </a:lnTo>
                    <a:lnTo>
                      <a:pt x="138" y="608"/>
                    </a:lnTo>
                    <a:lnTo>
                      <a:pt x="136" y="608"/>
                    </a:lnTo>
                    <a:lnTo>
                      <a:pt x="136" y="606"/>
                    </a:lnTo>
                    <a:lnTo>
                      <a:pt x="136" y="603"/>
                    </a:lnTo>
                    <a:lnTo>
                      <a:pt x="132" y="603"/>
                    </a:lnTo>
                    <a:lnTo>
                      <a:pt x="125" y="603"/>
                    </a:lnTo>
                    <a:lnTo>
                      <a:pt x="123" y="603"/>
                    </a:lnTo>
                    <a:lnTo>
                      <a:pt x="121" y="603"/>
                    </a:lnTo>
                    <a:lnTo>
                      <a:pt x="121" y="595"/>
                    </a:lnTo>
                    <a:lnTo>
                      <a:pt x="121" y="593"/>
                    </a:lnTo>
                    <a:lnTo>
                      <a:pt x="121" y="587"/>
                    </a:lnTo>
                    <a:lnTo>
                      <a:pt x="127" y="587"/>
                    </a:lnTo>
                    <a:lnTo>
                      <a:pt x="129" y="587"/>
                    </a:lnTo>
                    <a:lnTo>
                      <a:pt x="131" y="587"/>
                    </a:lnTo>
                    <a:lnTo>
                      <a:pt x="131" y="583"/>
                    </a:lnTo>
                    <a:lnTo>
                      <a:pt x="131" y="581"/>
                    </a:lnTo>
                    <a:lnTo>
                      <a:pt x="136" y="579"/>
                    </a:lnTo>
                    <a:lnTo>
                      <a:pt x="142" y="579"/>
                    </a:lnTo>
                    <a:lnTo>
                      <a:pt x="144" y="579"/>
                    </a:lnTo>
                    <a:lnTo>
                      <a:pt x="152" y="579"/>
                    </a:lnTo>
                    <a:lnTo>
                      <a:pt x="154" y="579"/>
                    </a:lnTo>
                    <a:lnTo>
                      <a:pt x="154" y="576"/>
                    </a:lnTo>
                    <a:lnTo>
                      <a:pt x="156" y="576"/>
                    </a:lnTo>
                    <a:lnTo>
                      <a:pt x="157" y="576"/>
                    </a:lnTo>
                    <a:lnTo>
                      <a:pt x="157" y="570"/>
                    </a:lnTo>
                    <a:lnTo>
                      <a:pt x="157" y="566"/>
                    </a:lnTo>
                    <a:lnTo>
                      <a:pt x="163" y="566"/>
                    </a:lnTo>
                    <a:lnTo>
                      <a:pt x="163" y="562"/>
                    </a:lnTo>
                    <a:lnTo>
                      <a:pt x="161" y="556"/>
                    </a:lnTo>
                    <a:lnTo>
                      <a:pt x="161" y="555"/>
                    </a:lnTo>
                    <a:lnTo>
                      <a:pt x="161" y="553"/>
                    </a:lnTo>
                    <a:lnTo>
                      <a:pt x="161" y="551"/>
                    </a:lnTo>
                    <a:lnTo>
                      <a:pt x="161" y="549"/>
                    </a:lnTo>
                    <a:lnTo>
                      <a:pt x="161" y="547"/>
                    </a:lnTo>
                    <a:lnTo>
                      <a:pt x="165" y="547"/>
                    </a:lnTo>
                    <a:lnTo>
                      <a:pt x="175" y="547"/>
                    </a:lnTo>
                    <a:lnTo>
                      <a:pt x="179" y="547"/>
                    </a:lnTo>
                    <a:lnTo>
                      <a:pt x="177" y="545"/>
                    </a:lnTo>
                    <a:lnTo>
                      <a:pt x="177" y="541"/>
                    </a:lnTo>
                    <a:lnTo>
                      <a:pt x="177" y="537"/>
                    </a:lnTo>
                    <a:lnTo>
                      <a:pt x="177" y="535"/>
                    </a:lnTo>
                    <a:lnTo>
                      <a:pt x="177" y="531"/>
                    </a:lnTo>
                    <a:lnTo>
                      <a:pt x="177" y="528"/>
                    </a:lnTo>
                    <a:lnTo>
                      <a:pt x="177" y="524"/>
                    </a:lnTo>
                    <a:lnTo>
                      <a:pt x="173" y="524"/>
                    </a:lnTo>
                    <a:lnTo>
                      <a:pt x="165" y="524"/>
                    </a:lnTo>
                    <a:lnTo>
                      <a:pt x="161" y="524"/>
                    </a:lnTo>
                    <a:lnTo>
                      <a:pt x="161" y="522"/>
                    </a:lnTo>
                    <a:lnTo>
                      <a:pt x="161" y="520"/>
                    </a:lnTo>
                    <a:lnTo>
                      <a:pt x="161" y="518"/>
                    </a:lnTo>
                    <a:lnTo>
                      <a:pt x="159" y="512"/>
                    </a:lnTo>
                    <a:lnTo>
                      <a:pt x="159" y="510"/>
                    </a:lnTo>
                    <a:lnTo>
                      <a:pt x="159" y="508"/>
                    </a:lnTo>
                    <a:lnTo>
                      <a:pt x="159" y="501"/>
                    </a:lnTo>
                    <a:lnTo>
                      <a:pt x="159" y="493"/>
                    </a:lnTo>
                    <a:lnTo>
                      <a:pt x="157" y="489"/>
                    </a:lnTo>
                    <a:lnTo>
                      <a:pt x="156" y="489"/>
                    </a:lnTo>
                    <a:lnTo>
                      <a:pt x="154" y="489"/>
                    </a:lnTo>
                    <a:lnTo>
                      <a:pt x="150" y="489"/>
                    </a:lnTo>
                    <a:lnTo>
                      <a:pt x="148" y="491"/>
                    </a:lnTo>
                    <a:lnTo>
                      <a:pt x="144" y="491"/>
                    </a:lnTo>
                    <a:lnTo>
                      <a:pt x="144" y="489"/>
                    </a:lnTo>
                    <a:lnTo>
                      <a:pt x="144" y="485"/>
                    </a:lnTo>
                    <a:lnTo>
                      <a:pt x="142" y="482"/>
                    </a:lnTo>
                    <a:lnTo>
                      <a:pt x="140" y="482"/>
                    </a:lnTo>
                    <a:lnTo>
                      <a:pt x="134" y="482"/>
                    </a:lnTo>
                    <a:lnTo>
                      <a:pt x="131" y="482"/>
                    </a:lnTo>
                    <a:lnTo>
                      <a:pt x="129" y="482"/>
                    </a:lnTo>
                    <a:lnTo>
                      <a:pt x="127" y="482"/>
                    </a:lnTo>
                    <a:lnTo>
                      <a:pt x="125" y="478"/>
                    </a:lnTo>
                    <a:lnTo>
                      <a:pt x="125" y="476"/>
                    </a:lnTo>
                    <a:lnTo>
                      <a:pt x="125" y="474"/>
                    </a:lnTo>
                    <a:lnTo>
                      <a:pt x="123" y="474"/>
                    </a:lnTo>
                    <a:lnTo>
                      <a:pt x="119" y="474"/>
                    </a:lnTo>
                    <a:lnTo>
                      <a:pt x="119" y="470"/>
                    </a:lnTo>
                    <a:lnTo>
                      <a:pt x="119" y="466"/>
                    </a:lnTo>
                    <a:lnTo>
                      <a:pt x="119" y="464"/>
                    </a:lnTo>
                    <a:lnTo>
                      <a:pt x="119" y="460"/>
                    </a:lnTo>
                    <a:lnTo>
                      <a:pt x="117" y="460"/>
                    </a:lnTo>
                    <a:lnTo>
                      <a:pt x="117" y="459"/>
                    </a:lnTo>
                    <a:lnTo>
                      <a:pt x="111" y="460"/>
                    </a:lnTo>
                    <a:lnTo>
                      <a:pt x="111" y="459"/>
                    </a:lnTo>
                    <a:lnTo>
                      <a:pt x="111" y="457"/>
                    </a:lnTo>
                    <a:lnTo>
                      <a:pt x="111" y="453"/>
                    </a:lnTo>
                    <a:lnTo>
                      <a:pt x="109" y="449"/>
                    </a:lnTo>
                    <a:lnTo>
                      <a:pt x="109" y="447"/>
                    </a:lnTo>
                    <a:lnTo>
                      <a:pt x="109" y="434"/>
                    </a:lnTo>
                    <a:lnTo>
                      <a:pt x="109" y="428"/>
                    </a:lnTo>
                    <a:lnTo>
                      <a:pt x="109" y="426"/>
                    </a:lnTo>
                    <a:lnTo>
                      <a:pt x="108" y="426"/>
                    </a:lnTo>
                    <a:lnTo>
                      <a:pt x="106" y="426"/>
                    </a:lnTo>
                    <a:lnTo>
                      <a:pt x="104" y="426"/>
                    </a:lnTo>
                    <a:lnTo>
                      <a:pt x="100" y="426"/>
                    </a:lnTo>
                    <a:lnTo>
                      <a:pt x="100" y="422"/>
                    </a:lnTo>
                    <a:lnTo>
                      <a:pt x="98" y="420"/>
                    </a:lnTo>
                    <a:lnTo>
                      <a:pt x="98" y="416"/>
                    </a:lnTo>
                    <a:lnTo>
                      <a:pt x="98" y="409"/>
                    </a:lnTo>
                    <a:lnTo>
                      <a:pt x="98" y="399"/>
                    </a:lnTo>
                    <a:lnTo>
                      <a:pt x="98" y="397"/>
                    </a:lnTo>
                    <a:lnTo>
                      <a:pt x="96" y="395"/>
                    </a:lnTo>
                    <a:lnTo>
                      <a:pt x="96" y="389"/>
                    </a:lnTo>
                    <a:lnTo>
                      <a:pt x="96" y="384"/>
                    </a:lnTo>
                    <a:lnTo>
                      <a:pt x="96" y="380"/>
                    </a:lnTo>
                    <a:lnTo>
                      <a:pt x="96" y="378"/>
                    </a:lnTo>
                    <a:lnTo>
                      <a:pt x="96" y="376"/>
                    </a:lnTo>
                    <a:lnTo>
                      <a:pt x="94" y="372"/>
                    </a:lnTo>
                    <a:lnTo>
                      <a:pt x="94" y="364"/>
                    </a:lnTo>
                    <a:lnTo>
                      <a:pt x="96" y="364"/>
                    </a:lnTo>
                    <a:lnTo>
                      <a:pt x="98" y="364"/>
                    </a:lnTo>
                    <a:lnTo>
                      <a:pt x="100" y="364"/>
                    </a:lnTo>
                    <a:lnTo>
                      <a:pt x="102" y="364"/>
                    </a:lnTo>
                    <a:lnTo>
                      <a:pt x="104" y="364"/>
                    </a:lnTo>
                    <a:lnTo>
                      <a:pt x="106" y="364"/>
                    </a:lnTo>
                    <a:lnTo>
                      <a:pt x="106" y="363"/>
                    </a:lnTo>
                    <a:lnTo>
                      <a:pt x="106" y="361"/>
                    </a:lnTo>
                    <a:lnTo>
                      <a:pt x="106" y="359"/>
                    </a:lnTo>
                    <a:lnTo>
                      <a:pt x="106" y="357"/>
                    </a:lnTo>
                    <a:lnTo>
                      <a:pt x="104" y="357"/>
                    </a:lnTo>
                    <a:lnTo>
                      <a:pt x="104" y="355"/>
                    </a:lnTo>
                    <a:lnTo>
                      <a:pt x="104" y="353"/>
                    </a:lnTo>
                    <a:lnTo>
                      <a:pt x="104" y="351"/>
                    </a:lnTo>
                    <a:lnTo>
                      <a:pt x="102" y="351"/>
                    </a:lnTo>
                    <a:lnTo>
                      <a:pt x="98" y="351"/>
                    </a:lnTo>
                    <a:lnTo>
                      <a:pt x="94" y="351"/>
                    </a:lnTo>
                    <a:lnTo>
                      <a:pt x="94" y="347"/>
                    </a:lnTo>
                    <a:lnTo>
                      <a:pt x="94" y="341"/>
                    </a:lnTo>
                    <a:lnTo>
                      <a:pt x="92" y="338"/>
                    </a:lnTo>
                    <a:lnTo>
                      <a:pt x="94" y="338"/>
                    </a:lnTo>
                    <a:lnTo>
                      <a:pt x="98" y="336"/>
                    </a:lnTo>
                    <a:lnTo>
                      <a:pt x="100" y="336"/>
                    </a:lnTo>
                    <a:lnTo>
                      <a:pt x="102" y="336"/>
                    </a:lnTo>
                    <a:lnTo>
                      <a:pt x="104" y="336"/>
                    </a:lnTo>
                    <a:lnTo>
                      <a:pt x="104" y="334"/>
                    </a:lnTo>
                    <a:lnTo>
                      <a:pt x="102" y="334"/>
                    </a:lnTo>
                    <a:lnTo>
                      <a:pt x="102" y="332"/>
                    </a:lnTo>
                    <a:lnTo>
                      <a:pt x="102" y="330"/>
                    </a:lnTo>
                    <a:lnTo>
                      <a:pt x="104" y="330"/>
                    </a:lnTo>
                    <a:lnTo>
                      <a:pt x="104" y="328"/>
                    </a:lnTo>
                    <a:lnTo>
                      <a:pt x="102" y="328"/>
                    </a:lnTo>
                    <a:lnTo>
                      <a:pt x="100" y="328"/>
                    </a:lnTo>
                    <a:lnTo>
                      <a:pt x="100" y="326"/>
                    </a:lnTo>
                    <a:lnTo>
                      <a:pt x="100" y="328"/>
                    </a:lnTo>
                    <a:lnTo>
                      <a:pt x="98" y="328"/>
                    </a:lnTo>
                    <a:lnTo>
                      <a:pt x="98" y="330"/>
                    </a:lnTo>
                    <a:lnTo>
                      <a:pt x="96" y="330"/>
                    </a:lnTo>
                    <a:lnTo>
                      <a:pt x="94" y="330"/>
                    </a:lnTo>
                    <a:lnTo>
                      <a:pt x="90" y="330"/>
                    </a:lnTo>
                    <a:lnTo>
                      <a:pt x="86" y="330"/>
                    </a:lnTo>
                    <a:lnTo>
                      <a:pt x="83" y="332"/>
                    </a:lnTo>
                    <a:lnTo>
                      <a:pt x="75" y="332"/>
                    </a:lnTo>
                    <a:lnTo>
                      <a:pt x="75" y="338"/>
                    </a:lnTo>
                    <a:lnTo>
                      <a:pt x="75" y="341"/>
                    </a:lnTo>
                    <a:lnTo>
                      <a:pt x="69" y="341"/>
                    </a:lnTo>
                    <a:lnTo>
                      <a:pt x="69" y="347"/>
                    </a:lnTo>
                    <a:lnTo>
                      <a:pt x="65" y="347"/>
                    </a:lnTo>
                    <a:lnTo>
                      <a:pt x="63" y="347"/>
                    </a:lnTo>
                    <a:lnTo>
                      <a:pt x="61" y="347"/>
                    </a:lnTo>
                    <a:lnTo>
                      <a:pt x="60" y="347"/>
                    </a:lnTo>
                    <a:lnTo>
                      <a:pt x="60" y="345"/>
                    </a:lnTo>
                    <a:lnTo>
                      <a:pt x="58" y="343"/>
                    </a:lnTo>
                    <a:lnTo>
                      <a:pt x="56" y="343"/>
                    </a:lnTo>
                    <a:lnTo>
                      <a:pt x="52" y="343"/>
                    </a:lnTo>
                    <a:lnTo>
                      <a:pt x="50" y="345"/>
                    </a:lnTo>
                    <a:lnTo>
                      <a:pt x="48" y="345"/>
                    </a:lnTo>
                    <a:lnTo>
                      <a:pt x="48" y="347"/>
                    </a:lnTo>
                    <a:lnTo>
                      <a:pt x="46" y="349"/>
                    </a:lnTo>
                    <a:lnTo>
                      <a:pt x="42" y="353"/>
                    </a:lnTo>
                    <a:lnTo>
                      <a:pt x="40" y="351"/>
                    </a:lnTo>
                    <a:lnTo>
                      <a:pt x="38" y="351"/>
                    </a:lnTo>
                    <a:lnTo>
                      <a:pt x="38" y="349"/>
                    </a:lnTo>
                    <a:lnTo>
                      <a:pt x="38" y="347"/>
                    </a:lnTo>
                    <a:lnTo>
                      <a:pt x="38" y="343"/>
                    </a:lnTo>
                    <a:lnTo>
                      <a:pt x="38" y="341"/>
                    </a:lnTo>
                    <a:lnTo>
                      <a:pt x="36" y="338"/>
                    </a:lnTo>
                    <a:lnTo>
                      <a:pt x="36" y="336"/>
                    </a:lnTo>
                    <a:lnTo>
                      <a:pt x="36" y="334"/>
                    </a:lnTo>
                    <a:lnTo>
                      <a:pt x="36" y="332"/>
                    </a:lnTo>
                    <a:lnTo>
                      <a:pt x="36" y="330"/>
                    </a:lnTo>
                    <a:lnTo>
                      <a:pt x="36" y="328"/>
                    </a:lnTo>
                    <a:lnTo>
                      <a:pt x="36" y="324"/>
                    </a:lnTo>
                    <a:lnTo>
                      <a:pt x="36" y="318"/>
                    </a:lnTo>
                    <a:lnTo>
                      <a:pt x="35" y="315"/>
                    </a:lnTo>
                    <a:lnTo>
                      <a:pt x="31" y="315"/>
                    </a:lnTo>
                    <a:lnTo>
                      <a:pt x="31" y="313"/>
                    </a:lnTo>
                    <a:lnTo>
                      <a:pt x="31" y="309"/>
                    </a:lnTo>
                    <a:lnTo>
                      <a:pt x="31" y="303"/>
                    </a:lnTo>
                    <a:lnTo>
                      <a:pt x="29" y="301"/>
                    </a:lnTo>
                    <a:lnTo>
                      <a:pt x="31" y="299"/>
                    </a:lnTo>
                    <a:lnTo>
                      <a:pt x="31" y="291"/>
                    </a:lnTo>
                    <a:lnTo>
                      <a:pt x="31" y="290"/>
                    </a:lnTo>
                    <a:lnTo>
                      <a:pt x="29" y="288"/>
                    </a:lnTo>
                    <a:lnTo>
                      <a:pt x="29" y="286"/>
                    </a:lnTo>
                    <a:lnTo>
                      <a:pt x="29" y="284"/>
                    </a:lnTo>
                    <a:lnTo>
                      <a:pt x="29" y="282"/>
                    </a:lnTo>
                    <a:lnTo>
                      <a:pt x="27" y="280"/>
                    </a:lnTo>
                    <a:lnTo>
                      <a:pt x="25" y="278"/>
                    </a:lnTo>
                    <a:lnTo>
                      <a:pt x="23" y="276"/>
                    </a:lnTo>
                    <a:lnTo>
                      <a:pt x="21" y="274"/>
                    </a:lnTo>
                    <a:lnTo>
                      <a:pt x="19" y="272"/>
                    </a:lnTo>
                    <a:lnTo>
                      <a:pt x="13" y="268"/>
                    </a:lnTo>
                    <a:lnTo>
                      <a:pt x="12" y="268"/>
                    </a:lnTo>
                    <a:lnTo>
                      <a:pt x="10" y="267"/>
                    </a:lnTo>
                    <a:lnTo>
                      <a:pt x="6" y="267"/>
                    </a:lnTo>
                    <a:lnTo>
                      <a:pt x="0" y="263"/>
                    </a:lnTo>
                    <a:lnTo>
                      <a:pt x="2" y="263"/>
                    </a:lnTo>
                    <a:lnTo>
                      <a:pt x="6" y="261"/>
                    </a:lnTo>
                    <a:lnTo>
                      <a:pt x="8" y="261"/>
                    </a:lnTo>
                    <a:lnTo>
                      <a:pt x="10" y="261"/>
                    </a:lnTo>
                    <a:lnTo>
                      <a:pt x="12" y="261"/>
                    </a:lnTo>
                    <a:lnTo>
                      <a:pt x="13" y="261"/>
                    </a:lnTo>
                    <a:lnTo>
                      <a:pt x="15" y="259"/>
                    </a:lnTo>
                    <a:lnTo>
                      <a:pt x="17" y="259"/>
                    </a:lnTo>
                    <a:lnTo>
                      <a:pt x="19" y="259"/>
                    </a:lnTo>
                    <a:lnTo>
                      <a:pt x="21" y="259"/>
                    </a:lnTo>
                    <a:lnTo>
                      <a:pt x="23" y="259"/>
                    </a:lnTo>
                    <a:lnTo>
                      <a:pt x="25" y="257"/>
                    </a:lnTo>
                    <a:lnTo>
                      <a:pt x="27" y="257"/>
                    </a:lnTo>
                    <a:lnTo>
                      <a:pt x="29" y="257"/>
                    </a:lnTo>
                    <a:lnTo>
                      <a:pt x="31" y="255"/>
                    </a:lnTo>
                    <a:lnTo>
                      <a:pt x="33" y="255"/>
                    </a:lnTo>
                    <a:lnTo>
                      <a:pt x="35" y="253"/>
                    </a:lnTo>
                    <a:lnTo>
                      <a:pt x="36" y="251"/>
                    </a:lnTo>
                    <a:lnTo>
                      <a:pt x="38" y="251"/>
                    </a:lnTo>
                    <a:lnTo>
                      <a:pt x="40" y="251"/>
                    </a:lnTo>
                    <a:lnTo>
                      <a:pt x="42" y="249"/>
                    </a:lnTo>
                    <a:lnTo>
                      <a:pt x="44" y="249"/>
                    </a:lnTo>
                    <a:lnTo>
                      <a:pt x="46" y="247"/>
                    </a:lnTo>
                    <a:lnTo>
                      <a:pt x="48" y="247"/>
                    </a:lnTo>
                    <a:lnTo>
                      <a:pt x="50" y="247"/>
                    </a:lnTo>
                    <a:lnTo>
                      <a:pt x="52" y="247"/>
                    </a:lnTo>
                    <a:lnTo>
                      <a:pt x="54" y="247"/>
                    </a:lnTo>
                    <a:lnTo>
                      <a:pt x="56" y="247"/>
                    </a:lnTo>
                    <a:lnTo>
                      <a:pt x="58" y="247"/>
                    </a:lnTo>
                    <a:lnTo>
                      <a:pt x="60" y="247"/>
                    </a:lnTo>
                    <a:lnTo>
                      <a:pt x="61" y="247"/>
                    </a:lnTo>
                    <a:lnTo>
                      <a:pt x="63" y="247"/>
                    </a:lnTo>
                    <a:lnTo>
                      <a:pt x="65" y="247"/>
                    </a:lnTo>
                    <a:lnTo>
                      <a:pt x="67" y="247"/>
                    </a:lnTo>
                    <a:lnTo>
                      <a:pt x="69" y="247"/>
                    </a:lnTo>
                    <a:lnTo>
                      <a:pt x="69" y="245"/>
                    </a:lnTo>
                    <a:lnTo>
                      <a:pt x="71" y="245"/>
                    </a:lnTo>
                    <a:lnTo>
                      <a:pt x="73" y="245"/>
                    </a:lnTo>
                    <a:lnTo>
                      <a:pt x="75" y="245"/>
                    </a:lnTo>
                    <a:lnTo>
                      <a:pt x="77" y="245"/>
                    </a:lnTo>
                    <a:lnTo>
                      <a:pt x="79" y="245"/>
                    </a:lnTo>
                    <a:lnTo>
                      <a:pt x="81" y="245"/>
                    </a:lnTo>
                    <a:lnTo>
                      <a:pt x="83" y="245"/>
                    </a:lnTo>
                    <a:lnTo>
                      <a:pt x="84" y="245"/>
                    </a:lnTo>
                    <a:lnTo>
                      <a:pt x="86" y="245"/>
                    </a:lnTo>
                    <a:lnTo>
                      <a:pt x="88" y="245"/>
                    </a:lnTo>
                    <a:lnTo>
                      <a:pt x="90" y="245"/>
                    </a:lnTo>
                    <a:lnTo>
                      <a:pt x="92" y="245"/>
                    </a:lnTo>
                    <a:lnTo>
                      <a:pt x="94" y="245"/>
                    </a:lnTo>
                    <a:lnTo>
                      <a:pt x="96" y="245"/>
                    </a:lnTo>
                    <a:lnTo>
                      <a:pt x="98" y="245"/>
                    </a:lnTo>
                    <a:lnTo>
                      <a:pt x="98" y="243"/>
                    </a:lnTo>
                    <a:lnTo>
                      <a:pt x="100" y="243"/>
                    </a:lnTo>
                    <a:lnTo>
                      <a:pt x="102" y="242"/>
                    </a:lnTo>
                    <a:lnTo>
                      <a:pt x="104" y="242"/>
                    </a:lnTo>
                    <a:lnTo>
                      <a:pt x="106" y="240"/>
                    </a:lnTo>
                    <a:lnTo>
                      <a:pt x="108" y="240"/>
                    </a:lnTo>
                    <a:lnTo>
                      <a:pt x="109" y="238"/>
                    </a:lnTo>
                    <a:lnTo>
                      <a:pt x="111" y="238"/>
                    </a:lnTo>
                    <a:lnTo>
                      <a:pt x="113" y="238"/>
                    </a:lnTo>
                    <a:lnTo>
                      <a:pt x="115" y="236"/>
                    </a:lnTo>
                    <a:lnTo>
                      <a:pt x="119" y="236"/>
                    </a:lnTo>
                    <a:lnTo>
                      <a:pt x="123" y="234"/>
                    </a:lnTo>
                    <a:lnTo>
                      <a:pt x="125" y="234"/>
                    </a:lnTo>
                    <a:lnTo>
                      <a:pt x="129" y="234"/>
                    </a:lnTo>
                    <a:lnTo>
                      <a:pt x="131" y="234"/>
                    </a:lnTo>
                    <a:lnTo>
                      <a:pt x="134" y="234"/>
                    </a:lnTo>
                    <a:lnTo>
                      <a:pt x="136" y="236"/>
                    </a:lnTo>
                    <a:lnTo>
                      <a:pt x="140" y="236"/>
                    </a:lnTo>
                    <a:lnTo>
                      <a:pt x="142" y="236"/>
                    </a:lnTo>
                    <a:lnTo>
                      <a:pt x="146" y="236"/>
                    </a:lnTo>
                    <a:lnTo>
                      <a:pt x="148" y="238"/>
                    </a:lnTo>
                    <a:lnTo>
                      <a:pt x="152" y="238"/>
                    </a:lnTo>
                    <a:lnTo>
                      <a:pt x="154" y="238"/>
                    </a:lnTo>
                    <a:lnTo>
                      <a:pt x="156" y="240"/>
                    </a:lnTo>
                    <a:lnTo>
                      <a:pt x="157" y="242"/>
                    </a:lnTo>
                    <a:lnTo>
                      <a:pt x="159" y="242"/>
                    </a:lnTo>
                    <a:lnTo>
                      <a:pt x="163" y="243"/>
                    </a:lnTo>
                    <a:lnTo>
                      <a:pt x="167" y="245"/>
                    </a:lnTo>
                    <a:lnTo>
                      <a:pt x="169" y="245"/>
                    </a:lnTo>
                    <a:lnTo>
                      <a:pt x="171" y="247"/>
                    </a:lnTo>
                    <a:lnTo>
                      <a:pt x="173" y="247"/>
                    </a:lnTo>
                    <a:lnTo>
                      <a:pt x="175" y="247"/>
                    </a:lnTo>
                    <a:lnTo>
                      <a:pt x="179" y="247"/>
                    </a:lnTo>
                    <a:lnTo>
                      <a:pt x="182" y="247"/>
                    </a:lnTo>
                    <a:lnTo>
                      <a:pt x="186" y="247"/>
                    </a:lnTo>
                    <a:lnTo>
                      <a:pt x="188" y="247"/>
                    </a:lnTo>
                    <a:lnTo>
                      <a:pt x="190" y="249"/>
                    </a:lnTo>
                    <a:lnTo>
                      <a:pt x="192" y="249"/>
                    </a:lnTo>
                    <a:lnTo>
                      <a:pt x="192" y="251"/>
                    </a:lnTo>
                    <a:lnTo>
                      <a:pt x="194" y="251"/>
                    </a:lnTo>
                    <a:lnTo>
                      <a:pt x="198" y="253"/>
                    </a:lnTo>
                    <a:lnTo>
                      <a:pt x="198" y="255"/>
                    </a:lnTo>
                    <a:lnTo>
                      <a:pt x="200" y="255"/>
                    </a:lnTo>
                    <a:lnTo>
                      <a:pt x="202" y="255"/>
                    </a:lnTo>
                    <a:lnTo>
                      <a:pt x="202" y="257"/>
                    </a:lnTo>
                    <a:lnTo>
                      <a:pt x="205" y="257"/>
                    </a:lnTo>
                    <a:lnTo>
                      <a:pt x="207" y="259"/>
                    </a:lnTo>
                    <a:lnTo>
                      <a:pt x="209" y="259"/>
                    </a:lnTo>
                    <a:lnTo>
                      <a:pt x="211" y="259"/>
                    </a:lnTo>
                    <a:lnTo>
                      <a:pt x="213" y="259"/>
                    </a:lnTo>
                    <a:lnTo>
                      <a:pt x="217" y="257"/>
                    </a:lnTo>
                    <a:lnTo>
                      <a:pt x="219" y="257"/>
                    </a:lnTo>
                    <a:lnTo>
                      <a:pt x="221" y="257"/>
                    </a:lnTo>
                    <a:lnTo>
                      <a:pt x="223" y="257"/>
                    </a:lnTo>
                    <a:lnTo>
                      <a:pt x="225" y="255"/>
                    </a:lnTo>
                    <a:lnTo>
                      <a:pt x="227" y="255"/>
                    </a:lnTo>
                    <a:lnTo>
                      <a:pt x="229" y="255"/>
                    </a:lnTo>
                    <a:lnTo>
                      <a:pt x="230" y="255"/>
                    </a:lnTo>
                    <a:lnTo>
                      <a:pt x="230" y="253"/>
                    </a:lnTo>
                    <a:lnTo>
                      <a:pt x="232" y="253"/>
                    </a:lnTo>
                    <a:lnTo>
                      <a:pt x="232" y="251"/>
                    </a:lnTo>
                    <a:lnTo>
                      <a:pt x="234" y="251"/>
                    </a:lnTo>
                    <a:lnTo>
                      <a:pt x="234" y="249"/>
                    </a:lnTo>
                    <a:lnTo>
                      <a:pt x="236" y="247"/>
                    </a:lnTo>
                    <a:lnTo>
                      <a:pt x="236" y="245"/>
                    </a:lnTo>
                    <a:lnTo>
                      <a:pt x="236" y="243"/>
                    </a:lnTo>
                    <a:lnTo>
                      <a:pt x="236" y="242"/>
                    </a:lnTo>
                    <a:lnTo>
                      <a:pt x="236" y="240"/>
                    </a:lnTo>
                    <a:lnTo>
                      <a:pt x="234" y="238"/>
                    </a:lnTo>
                    <a:lnTo>
                      <a:pt x="234" y="236"/>
                    </a:lnTo>
                    <a:lnTo>
                      <a:pt x="232" y="236"/>
                    </a:lnTo>
                    <a:lnTo>
                      <a:pt x="230" y="236"/>
                    </a:lnTo>
                    <a:lnTo>
                      <a:pt x="229" y="238"/>
                    </a:lnTo>
                    <a:lnTo>
                      <a:pt x="229" y="236"/>
                    </a:lnTo>
                    <a:lnTo>
                      <a:pt x="230" y="236"/>
                    </a:lnTo>
                    <a:lnTo>
                      <a:pt x="232" y="236"/>
                    </a:lnTo>
                    <a:lnTo>
                      <a:pt x="232" y="234"/>
                    </a:lnTo>
                    <a:lnTo>
                      <a:pt x="230" y="234"/>
                    </a:lnTo>
                    <a:lnTo>
                      <a:pt x="230" y="232"/>
                    </a:lnTo>
                    <a:lnTo>
                      <a:pt x="229" y="232"/>
                    </a:lnTo>
                    <a:lnTo>
                      <a:pt x="227" y="232"/>
                    </a:lnTo>
                    <a:lnTo>
                      <a:pt x="229" y="232"/>
                    </a:lnTo>
                    <a:lnTo>
                      <a:pt x="229" y="230"/>
                    </a:lnTo>
                    <a:lnTo>
                      <a:pt x="229" y="228"/>
                    </a:lnTo>
                    <a:lnTo>
                      <a:pt x="227" y="228"/>
                    </a:lnTo>
                    <a:lnTo>
                      <a:pt x="227" y="226"/>
                    </a:lnTo>
                    <a:lnTo>
                      <a:pt x="229" y="226"/>
                    </a:lnTo>
                    <a:lnTo>
                      <a:pt x="229" y="228"/>
                    </a:lnTo>
                    <a:lnTo>
                      <a:pt x="230" y="226"/>
                    </a:lnTo>
                    <a:lnTo>
                      <a:pt x="230" y="224"/>
                    </a:lnTo>
                    <a:lnTo>
                      <a:pt x="230" y="222"/>
                    </a:lnTo>
                    <a:lnTo>
                      <a:pt x="230" y="219"/>
                    </a:lnTo>
                    <a:lnTo>
                      <a:pt x="230" y="213"/>
                    </a:lnTo>
                    <a:lnTo>
                      <a:pt x="230" y="209"/>
                    </a:lnTo>
                    <a:lnTo>
                      <a:pt x="225" y="209"/>
                    </a:lnTo>
                    <a:lnTo>
                      <a:pt x="225" y="203"/>
                    </a:lnTo>
                    <a:lnTo>
                      <a:pt x="223" y="201"/>
                    </a:lnTo>
                    <a:lnTo>
                      <a:pt x="223" y="197"/>
                    </a:lnTo>
                    <a:lnTo>
                      <a:pt x="223" y="192"/>
                    </a:lnTo>
                    <a:lnTo>
                      <a:pt x="227" y="192"/>
                    </a:lnTo>
                    <a:lnTo>
                      <a:pt x="232" y="192"/>
                    </a:lnTo>
                    <a:lnTo>
                      <a:pt x="230" y="186"/>
                    </a:lnTo>
                    <a:lnTo>
                      <a:pt x="230" y="182"/>
                    </a:lnTo>
                    <a:lnTo>
                      <a:pt x="230" y="176"/>
                    </a:lnTo>
                    <a:lnTo>
                      <a:pt x="234" y="176"/>
                    </a:lnTo>
                    <a:lnTo>
                      <a:pt x="238" y="176"/>
                    </a:lnTo>
                    <a:lnTo>
                      <a:pt x="236" y="171"/>
                    </a:lnTo>
                    <a:lnTo>
                      <a:pt x="238" y="171"/>
                    </a:lnTo>
                    <a:lnTo>
                      <a:pt x="238" y="167"/>
                    </a:lnTo>
                    <a:lnTo>
                      <a:pt x="240" y="165"/>
                    </a:lnTo>
                    <a:lnTo>
                      <a:pt x="240" y="159"/>
                    </a:lnTo>
                    <a:lnTo>
                      <a:pt x="240" y="157"/>
                    </a:lnTo>
                    <a:lnTo>
                      <a:pt x="240" y="153"/>
                    </a:lnTo>
                    <a:lnTo>
                      <a:pt x="232" y="155"/>
                    </a:lnTo>
                    <a:lnTo>
                      <a:pt x="227" y="155"/>
                    </a:lnTo>
                    <a:lnTo>
                      <a:pt x="225" y="155"/>
                    </a:lnTo>
                    <a:lnTo>
                      <a:pt x="221" y="155"/>
                    </a:lnTo>
                    <a:lnTo>
                      <a:pt x="221" y="151"/>
                    </a:lnTo>
                    <a:lnTo>
                      <a:pt x="221" y="146"/>
                    </a:lnTo>
                    <a:lnTo>
                      <a:pt x="219" y="142"/>
                    </a:lnTo>
                    <a:lnTo>
                      <a:pt x="219" y="136"/>
                    </a:lnTo>
                    <a:lnTo>
                      <a:pt x="219" y="132"/>
                    </a:lnTo>
                    <a:lnTo>
                      <a:pt x="219" y="130"/>
                    </a:lnTo>
                    <a:lnTo>
                      <a:pt x="221" y="130"/>
                    </a:lnTo>
                    <a:lnTo>
                      <a:pt x="221" y="128"/>
                    </a:lnTo>
                    <a:lnTo>
                      <a:pt x="225" y="128"/>
                    </a:lnTo>
                    <a:lnTo>
                      <a:pt x="225" y="126"/>
                    </a:lnTo>
                    <a:lnTo>
                      <a:pt x="225" y="124"/>
                    </a:lnTo>
                    <a:lnTo>
                      <a:pt x="225" y="123"/>
                    </a:lnTo>
                    <a:lnTo>
                      <a:pt x="225" y="121"/>
                    </a:lnTo>
                    <a:lnTo>
                      <a:pt x="225" y="117"/>
                    </a:lnTo>
                    <a:lnTo>
                      <a:pt x="221" y="119"/>
                    </a:lnTo>
                    <a:lnTo>
                      <a:pt x="219" y="119"/>
                    </a:lnTo>
                    <a:lnTo>
                      <a:pt x="219" y="117"/>
                    </a:lnTo>
                    <a:lnTo>
                      <a:pt x="217" y="117"/>
                    </a:lnTo>
                    <a:lnTo>
                      <a:pt x="217" y="115"/>
                    </a:lnTo>
                    <a:lnTo>
                      <a:pt x="217" y="113"/>
                    </a:lnTo>
                    <a:lnTo>
                      <a:pt x="215" y="111"/>
                    </a:lnTo>
                    <a:lnTo>
                      <a:pt x="215" y="109"/>
                    </a:lnTo>
                    <a:lnTo>
                      <a:pt x="215" y="107"/>
                    </a:lnTo>
                    <a:lnTo>
                      <a:pt x="215" y="105"/>
                    </a:lnTo>
                    <a:lnTo>
                      <a:pt x="213" y="105"/>
                    </a:lnTo>
                    <a:lnTo>
                      <a:pt x="211" y="105"/>
                    </a:lnTo>
                    <a:lnTo>
                      <a:pt x="211" y="107"/>
                    </a:lnTo>
                    <a:lnTo>
                      <a:pt x="209" y="107"/>
                    </a:lnTo>
                    <a:lnTo>
                      <a:pt x="209" y="109"/>
                    </a:lnTo>
                    <a:lnTo>
                      <a:pt x="207" y="109"/>
                    </a:lnTo>
                    <a:lnTo>
                      <a:pt x="205" y="109"/>
                    </a:lnTo>
                    <a:lnTo>
                      <a:pt x="204" y="109"/>
                    </a:lnTo>
                    <a:lnTo>
                      <a:pt x="204" y="111"/>
                    </a:lnTo>
                    <a:lnTo>
                      <a:pt x="202" y="111"/>
                    </a:lnTo>
                    <a:lnTo>
                      <a:pt x="202" y="109"/>
                    </a:lnTo>
                    <a:lnTo>
                      <a:pt x="202" y="107"/>
                    </a:lnTo>
                    <a:lnTo>
                      <a:pt x="202" y="105"/>
                    </a:lnTo>
                    <a:lnTo>
                      <a:pt x="200" y="103"/>
                    </a:lnTo>
                    <a:lnTo>
                      <a:pt x="200" y="101"/>
                    </a:lnTo>
                    <a:lnTo>
                      <a:pt x="200" y="98"/>
                    </a:lnTo>
                    <a:lnTo>
                      <a:pt x="200" y="92"/>
                    </a:lnTo>
                    <a:lnTo>
                      <a:pt x="198" y="90"/>
                    </a:lnTo>
                    <a:lnTo>
                      <a:pt x="204" y="88"/>
                    </a:lnTo>
                    <a:lnTo>
                      <a:pt x="205" y="88"/>
                    </a:lnTo>
                    <a:lnTo>
                      <a:pt x="207" y="88"/>
                    </a:lnTo>
                    <a:lnTo>
                      <a:pt x="209" y="88"/>
                    </a:lnTo>
                    <a:lnTo>
                      <a:pt x="211" y="88"/>
                    </a:lnTo>
                    <a:lnTo>
                      <a:pt x="213" y="88"/>
                    </a:lnTo>
                    <a:lnTo>
                      <a:pt x="213" y="84"/>
                    </a:lnTo>
                    <a:lnTo>
                      <a:pt x="213" y="82"/>
                    </a:lnTo>
                    <a:lnTo>
                      <a:pt x="213" y="80"/>
                    </a:lnTo>
                    <a:lnTo>
                      <a:pt x="215" y="80"/>
                    </a:lnTo>
                    <a:lnTo>
                      <a:pt x="219" y="80"/>
                    </a:lnTo>
                    <a:lnTo>
                      <a:pt x="221" y="80"/>
                    </a:lnTo>
                    <a:lnTo>
                      <a:pt x="221" y="82"/>
                    </a:lnTo>
                    <a:lnTo>
                      <a:pt x="221" y="84"/>
                    </a:lnTo>
                    <a:lnTo>
                      <a:pt x="227" y="84"/>
                    </a:lnTo>
                    <a:lnTo>
                      <a:pt x="232" y="84"/>
                    </a:lnTo>
                    <a:lnTo>
                      <a:pt x="232" y="82"/>
                    </a:lnTo>
                    <a:lnTo>
                      <a:pt x="230" y="80"/>
                    </a:lnTo>
                    <a:lnTo>
                      <a:pt x="230" y="75"/>
                    </a:lnTo>
                    <a:lnTo>
                      <a:pt x="230" y="73"/>
                    </a:lnTo>
                    <a:lnTo>
                      <a:pt x="230" y="69"/>
                    </a:lnTo>
                    <a:lnTo>
                      <a:pt x="230" y="67"/>
                    </a:lnTo>
                    <a:lnTo>
                      <a:pt x="230" y="65"/>
                    </a:lnTo>
                    <a:lnTo>
                      <a:pt x="229" y="61"/>
                    </a:lnTo>
                    <a:lnTo>
                      <a:pt x="223" y="63"/>
                    </a:lnTo>
                    <a:lnTo>
                      <a:pt x="219" y="63"/>
                    </a:lnTo>
                    <a:lnTo>
                      <a:pt x="219" y="61"/>
                    </a:lnTo>
                    <a:lnTo>
                      <a:pt x="219" y="57"/>
                    </a:lnTo>
                    <a:lnTo>
                      <a:pt x="219" y="53"/>
                    </a:lnTo>
                    <a:lnTo>
                      <a:pt x="217" y="52"/>
                    </a:lnTo>
                    <a:lnTo>
                      <a:pt x="217" y="48"/>
                    </a:lnTo>
                    <a:lnTo>
                      <a:pt x="213" y="50"/>
                    </a:lnTo>
                    <a:lnTo>
                      <a:pt x="213" y="48"/>
                    </a:lnTo>
                    <a:lnTo>
                      <a:pt x="213" y="46"/>
                    </a:lnTo>
                    <a:lnTo>
                      <a:pt x="213" y="44"/>
                    </a:lnTo>
                    <a:lnTo>
                      <a:pt x="213" y="40"/>
                    </a:lnTo>
                    <a:lnTo>
                      <a:pt x="213" y="38"/>
                    </a:lnTo>
                    <a:lnTo>
                      <a:pt x="213" y="36"/>
                    </a:lnTo>
                    <a:lnTo>
                      <a:pt x="213" y="34"/>
                    </a:lnTo>
                    <a:lnTo>
                      <a:pt x="213" y="32"/>
                    </a:lnTo>
                    <a:lnTo>
                      <a:pt x="223" y="32"/>
                    </a:lnTo>
                    <a:lnTo>
                      <a:pt x="221" y="27"/>
                    </a:lnTo>
                    <a:lnTo>
                      <a:pt x="221" y="19"/>
                    </a:lnTo>
                    <a:lnTo>
                      <a:pt x="221" y="13"/>
                    </a:lnTo>
                    <a:lnTo>
                      <a:pt x="219" y="9"/>
                    </a:lnTo>
                    <a:lnTo>
                      <a:pt x="219" y="7"/>
                    </a:lnTo>
                    <a:lnTo>
                      <a:pt x="219" y="5"/>
                    </a:lnTo>
                    <a:lnTo>
                      <a:pt x="219" y="2"/>
                    </a:lnTo>
                    <a:lnTo>
                      <a:pt x="219" y="0"/>
                    </a:lnTo>
                    <a:lnTo>
                      <a:pt x="221" y="0"/>
                    </a:lnTo>
                    <a:lnTo>
                      <a:pt x="225" y="0"/>
                    </a:lnTo>
                    <a:lnTo>
                      <a:pt x="227" y="2"/>
                    </a:lnTo>
                    <a:lnTo>
                      <a:pt x="236" y="2"/>
                    </a:lnTo>
                    <a:lnTo>
                      <a:pt x="236" y="7"/>
                    </a:lnTo>
                    <a:lnTo>
                      <a:pt x="234" y="7"/>
                    </a:lnTo>
                    <a:lnTo>
                      <a:pt x="234" y="13"/>
                    </a:lnTo>
                    <a:lnTo>
                      <a:pt x="234" y="17"/>
                    </a:lnTo>
                    <a:lnTo>
                      <a:pt x="238" y="17"/>
                    </a:lnTo>
                    <a:lnTo>
                      <a:pt x="242" y="17"/>
                    </a:lnTo>
                    <a:lnTo>
                      <a:pt x="248" y="17"/>
                    </a:lnTo>
                    <a:lnTo>
                      <a:pt x="255" y="17"/>
                    </a:lnTo>
                    <a:lnTo>
                      <a:pt x="255" y="19"/>
                    </a:lnTo>
                    <a:lnTo>
                      <a:pt x="257" y="19"/>
                    </a:lnTo>
                    <a:lnTo>
                      <a:pt x="259" y="17"/>
                    </a:lnTo>
                    <a:lnTo>
                      <a:pt x="261" y="17"/>
                    </a:lnTo>
                    <a:lnTo>
                      <a:pt x="263" y="17"/>
                    </a:lnTo>
                    <a:lnTo>
                      <a:pt x="265" y="17"/>
                    </a:lnTo>
                    <a:lnTo>
                      <a:pt x="267" y="17"/>
                    </a:lnTo>
                    <a:lnTo>
                      <a:pt x="269" y="17"/>
                    </a:lnTo>
                    <a:lnTo>
                      <a:pt x="269" y="15"/>
                    </a:lnTo>
                    <a:lnTo>
                      <a:pt x="271" y="15"/>
                    </a:lnTo>
                    <a:lnTo>
                      <a:pt x="271" y="13"/>
                    </a:lnTo>
                    <a:lnTo>
                      <a:pt x="271" y="11"/>
                    </a:lnTo>
                    <a:lnTo>
                      <a:pt x="273" y="11"/>
                    </a:lnTo>
                    <a:lnTo>
                      <a:pt x="275" y="9"/>
                    </a:lnTo>
                    <a:lnTo>
                      <a:pt x="275" y="7"/>
                    </a:lnTo>
                    <a:lnTo>
                      <a:pt x="277" y="7"/>
                    </a:lnTo>
                    <a:lnTo>
                      <a:pt x="278" y="7"/>
                    </a:lnTo>
                    <a:lnTo>
                      <a:pt x="280" y="7"/>
                    </a:lnTo>
                    <a:lnTo>
                      <a:pt x="282" y="5"/>
                    </a:lnTo>
                    <a:lnTo>
                      <a:pt x="284" y="5"/>
                    </a:lnTo>
                    <a:lnTo>
                      <a:pt x="286" y="4"/>
                    </a:lnTo>
                    <a:lnTo>
                      <a:pt x="288" y="4"/>
                    </a:lnTo>
                    <a:lnTo>
                      <a:pt x="290" y="4"/>
                    </a:lnTo>
                    <a:lnTo>
                      <a:pt x="292" y="4"/>
                    </a:lnTo>
                    <a:lnTo>
                      <a:pt x="294" y="4"/>
                    </a:lnTo>
                    <a:lnTo>
                      <a:pt x="296" y="4"/>
                    </a:lnTo>
                    <a:lnTo>
                      <a:pt x="298" y="5"/>
                    </a:lnTo>
                    <a:lnTo>
                      <a:pt x="300" y="5"/>
                    </a:lnTo>
                    <a:lnTo>
                      <a:pt x="301" y="5"/>
                    </a:lnTo>
                    <a:lnTo>
                      <a:pt x="303" y="5"/>
                    </a:lnTo>
                    <a:lnTo>
                      <a:pt x="305" y="5"/>
                    </a:lnTo>
                    <a:lnTo>
                      <a:pt x="307" y="5"/>
                    </a:lnTo>
                    <a:lnTo>
                      <a:pt x="309" y="4"/>
                    </a:lnTo>
                    <a:lnTo>
                      <a:pt x="311" y="4"/>
                    </a:lnTo>
                    <a:lnTo>
                      <a:pt x="313" y="4"/>
                    </a:lnTo>
                    <a:lnTo>
                      <a:pt x="315" y="2"/>
                    </a:lnTo>
                    <a:lnTo>
                      <a:pt x="317" y="2"/>
                    </a:lnTo>
                    <a:lnTo>
                      <a:pt x="319" y="2"/>
                    </a:lnTo>
                    <a:lnTo>
                      <a:pt x="321" y="2"/>
                    </a:lnTo>
                    <a:lnTo>
                      <a:pt x="321" y="0"/>
                    </a:lnTo>
                    <a:lnTo>
                      <a:pt x="323" y="2"/>
                    </a:lnTo>
                    <a:lnTo>
                      <a:pt x="325" y="2"/>
                    </a:lnTo>
                    <a:lnTo>
                      <a:pt x="326" y="4"/>
                    </a:lnTo>
                    <a:lnTo>
                      <a:pt x="328" y="4"/>
                    </a:lnTo>
                    <a:lnTo>
                      <a:pt x="330" y="4"/>
                    </a:lnTo>
                    <a:lnTo>
                      <a:pt x="332" y="4"/>
                    </a:lnTo>
                    <a:lnTo>
                      <a:pt x="334" y="2"/>
                    </a:lnTo>
                    <a:lnTo>
                      <a:pt x="336" y="2"/>
                    </a:lnTo>
                    <a:lnTo>
                      <a:pt x="336" y="0"/>
                    </a:lnTo>
                    <a:lnTo>
                      <a:pt x="338" y="0"/>
                    </a:lnTo>
                    <a:lnTo>
                      <a:pt x="340" y="0"/>
                    </a:lnTo>
                    <a:lnTo>
                      <a:pt x="342" y="0"/>
                    </a:lnTo>
                    <a:lnTo>
                      <a:pt x="342" y="2"/>
                    </a:lnTo>
                    <a:lnTo>
                      <a:pt x="344" y="2"/>
                    </a:lnTo>
                    <a:lnTo>
                      <a:pt x="346" y="2"/>
                    </a:lnTo>
                    <a:lnTo>
                      <a:pt x="346" y="4"/>
                    </a:lnTo>
                    <a:lnTo>
                      <a:pt x="348" y="4"/>
                    </a:lnTo>
                    <a:lnTo>
                      <a:pt x="348" y="5"/>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8" name="Freeform 152">
                <a:extLst>
                  <a:ext uri="{FF2B5EF4-FFF2-40B4-BE49-F238E27FC236}">
                    <a16:creationId xmlns:a16="http://schemas.microsoft.com/office/drawing/2014/main" id="{85B10B1C-FAC3-44A4-A895-D97041472E10}"/>
                  </a:ext>
                </a:extLst>
              </p:cNvPr>
              <p:cNvSpPr>
                <a:spLocks/>
              </p:cNvSpPr>
              <p:nvPr/>
            </p:nvSpPr>
            <p:spPr bwMode="auto">
              <a:xfrm>
                <a:off x="5639477" y="3435445"/>
                <a:ext cx="1749655" cy="908218"/>
              </a:xfrm>
              <a:custGeom>
                <a:avLst/>
                <a:gdLst>
                  <a:gd name="T0" fmla="*/ 968 w 1179"/>
                  <a:gd name="T1" fmla="*/ 32 h 612"/>
                  <a:gd name="T2" fmla="*/ 1003 w 1179"/>
                  <a:gd name="T3" fmla="*/ 77 h 612"/>
                  <a:gd name="T4" fmla="*/ 1014 w 1179"/>
                  <a:gd name="T5" fmla="*/ 73 h 612"/>
                  <a:gd name="T6" fmla="*/ 1020 w 1179"/>
                  <a:gd name="T7" fmla="*/ 115 h 612"/>
                  <a:gd name="T8" fmla="*/ 1066 w 1179"/>
                  <a:gd name="T9" fmla="*/ 146 h 612"/>
                  <a:gd name="T10" fmla="*/ 1114 w 1179"/>
                  <a:gd name="T11" fmla="*/ 130 h 612"/>
                  <a:gd name="T12" fmla="*/ 1166 w 1179"/>
                  <a:gd name="T13" fmla="*/ 155 h 612"/>
                  <a:gd name="T14" fmla="*/ 1160 w 1179"/>
                  <a:gd name="T15" fmla="*/ 221 h 612"/>
                  <a:gd name="T16" fmla="*/ 1124 w 1179"/>
                  <a:gd name="T17" fmla="*/ 199 h 612"/>
                  <a:gd name="T18" fmla="*/ 1097 w 1179"/>
                  <a:gd name="T19" fmla="*/ 228 h 612"/>
                  <a:gd name="T20" fmla="*/ 1135 w 1179"/>
                  <a:gd name="T21" fmla="*/ 267 h 612"/>
                  <a:gd name="T22" fmla="*/ 1093 w 1179"/>
                  <a:gd name="T23" fmla="*/ 292 h 612"/>
                  <a:gd name="T24" fmla="*/ 1053 w 1179"/>
                  <a:gd name="T25" fmla="*/ 349 h 612"/>
                  <a:gd name="T26" fmla="*/ 1058 w 1179"/>
                  <a:gd name="T27" fmla="*/ 401 h 612"/>
                  <a:gd name="T28" fmla="*/ 1039 w 1179"/>
                  <a:gd name="T29" fmla="*/ 457 h 612"/>
                  <a:gd name="T30" fmla="*/ 983 w 1179"/>
                  <a:gd name="T31" fmla="*/ 489 h 612"/>
                  <a:gd name="T32" fmla="*/ 968 w 1179"/>
                  <a:gd name="T33" fmla="*/ 493 h 612"/>
                  <a:gd name="T34" fmla="*/ 924 w 1179"/>
                  <a:gd name="T35" fmla="*/ 512 h 612"/>
                  <a:gd name="T36" fmla="*/ 885 w 1179"/>
                  <a:gd name="T37" fmla="*/ 509 h 612"/>
                  <a:gd name="T38" fmla="*/ 820 w 1179"/>
                  <a:gd name="T39" fmla="*/ 528 h 612"/>
                  <a:gd name="T40" fmla="*/ 805 w 1179"/>
                  <a:gd name="T41" fmla="*/ 585 h 612"/>
                  <a:gd name="T42" fmla="*/ 726 w 1179"/>
                  <a:gd name="T43" fmla="*/ 599 h 612"/>
                  <a:gd name="T44" fmla="*/ 680 w 1179"/>
                  <a:gd name="T45" fmla="*/ 587 h 612"/>
                  <a:gd name="T46" fmla="*/ 638 w 1179"/>
                  <a:gd name="T47" fmla="*/ 593 h 612"/>
                  <a:gd name="T48" fmla="*/ 565 w 1179"/>
                  <a:gd name="T49" fmla="*/ 582 h 612"/>
                  <a:gd name="T50" fmla="*/ 582 w 1179"/>
                  <a:gd name="T51" fmla="*/ 534 h 612"/>
                  <a:gd name="T52" fmla="*/ 547 w 1179"/>
                  <a:gd name="T53" fmla="*/ 499 h 612"/>
                  <a:gd name="T54" fmla="*/ 524 w 1179"/>
                  <a:gd name="T55" fmla="*/ 445 h 612"/>
                  <a:gd name="T56" fmla="*/ 486 w 1179"/>
                  <a:gd name="T57" fmla="*/ 464 h 612"/>
                  <a:gd name="T58" fmla="*/ 450 w 1179"/>
                  <a:gd name="T59" fmla="*/ 434 h 612"/>
                  <a:gd name="T60" fmla="*/ 402 w 1179"/>
                  <a:gd name="T61" fmla="*/ 399 h 612"/>
                  <a:gd name="T62" fmla="*/ 344 w 1179"/>
                  <a:gd name="T63" fmla="*/ 390 h 612"/>
                  <a:gd name="T64" fmla="*/ 306 w 1179"/>
                  <a:gd name="T65" fmla="*/ 401 h 612"/>
                  <a:gd name="T66" fmla="*/ 252 w 1179"/>
                  <a:gd name="T67" fmla="*/ 388 h 612"/>
                  <a:gd name="T68" fmla="*/ 204 w 1179"/>
                  <a:gd name="T69" fmla="*/ 390 h 612"/>
                  <a:gd name="T70" fmla="*/ 156 w 1179"/>
                  <a:gd name="T71" fmla="*/ 391 h 612"/>
                  <a:gd name="T72" fmla="*/ 106 w 1179"/>
                  <a:gd name="T73" fmla="*/ 388 h 612"/>
                  <a:gd name="T74" fmla="*/ 65 w 1179"/>
                  <a:gd name="T75" fmla="*/ 367 h 612"/>
                  <a:gd name="T76" fmla="*/ 31 w 1179"/>
                  <a:gd name="T77" fmla="*/ 361 h 612"/>
                  <a:gd name="T78" fmla="*/ 8 w 1179"/>
                  <a:gd name="T79" fmla="*/ 328 h 612"/>
                  <a:gd name="T80" fmla="*/ 21 w 1179"/>
                  <a:gd name="T81" fmla="*/ 294 h 612"/>
                  <a:gd name="T82" fmla="*/ 69 w 1179"/>
                  <a:gd name="T83" fmla="*/ 249 h 612"/>
                  <a:gd name="T84" fmla="*/ 123 w 1179"/>
                  <a:gd name="T85" fmla="*/ 242 h 612"/>
                  <a:gd name="T86" fmla="*/ 204 w 1179"/>
                  <a:gd name="T87" fmla="*/ 215 h 612"/>
                  <a:gd name="T88" fmla="*/ 236 w 1179"/>
                  <a:gd name="T89" fmla="*/ 199 h 612"/>
                  <a:gd name="T90" fmla="*/ 273 w 1179"/>
                  <a:gd name="T91" fmla="*/ 150 h 612"/>
                  <a:gd name="T92" fmla="*/ 342 w 1179"/>
                  <a:gd name="T93" fmla="*/ 157 h 612"/>
                  <a:gd name="T94" fmla="*/ 384 w 1179"/>
                  <a:gd name="T95" fmla="*/ 161 h 612"/>
                  <a:gd name="T96" fmla="*/ 417 w 1179"/>
                  <a:gd name="T97" fmla="*/ 165 h 612"/>
                  <a:gd name="T98" fmla="*/ 457 w 1179"/>
                  <a:gd name="T99" fmla="*/ 167 h 612"/>
                  <a:gd name="T100" fmla="*/ 484 w 1179"/>
                  <a:gd name="T101" fmla="*/ 176 h 612"/>
                  <a:gd name="T102" fmla="*/ 532 w 1179"/>
                  <a:gd name="T103" fmla="*/ 134 h 612"/>
                  <a:gd name="T104" fmla="*/ 555 w 1179"/>
                  <a:gd name="T105" fmla="*/ 115 h 612"/>
                  <a:gd name="T106" fmla="*/ 609 w 1179"/>
                  <a:gd name="T107" fmla="*/ 105 h 612"/>
                  <a:gd name="T108" fmla="*/ 657 w 1179"/>
                  <a:gd name="T109" fmla="*/ 121 h 612"/>
                  <a:gd name="T110" fmla="*/ 695 w 1179"/>
                  <a:gd name="T111" fmla="*/ 105 h 612"/>
                  <a:gd name="T112" fmla="*/ 732 w 1179"/>
                  <a:gd name="T113" fmla="*/ 61 h 612"/>
                  <a:gd name="T114" fmla="*/ 766 w 1179"/>
                  <a:gd name="T115" fmla="*/ 79 h 612"/>
                  <a:gd name="T116" fmla="*/ 797 w 1179"/>
                  <a:gd name="T117" fmla="*/ 94 h 612"/>
                  <a:gd name="T118" fmla="*/ 807 w 1179"/>
                  <a:gd name="T119" fmla="*/ 111 h 612"/>
                  <a:gd name="T120" fmla="*/ 845 w 1179"/>
                  <a:gd name="T121" fmla="*/ 107 h 612"/>
                  <a:gd name="T122" fmla="*/ 893 w 1179"/>
                  <a:gd name="T123" fmla="*/ 94 h 612"/>
                  <a:gd name="T124" fmla="*/ 880 w 1179"/>
                  <a:gd name="T125" fmla="*/ 25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79" h="612">
                    <a:moveTo>
                      <a:pt x="922" y="8"/>
                    </a:moveTo>
                    <a:lnTo>
                      <a:pt x="924" y="8"/>
                    </a:lnTo>
                    <a:lnTo>
                      <a:pt x="926" y="8"/>
                    </a:lnTo>
                    <a:lnTo>
                      <a:pt x="928" y="8"/>
                    </a:lnTo>
                    <a:lnTo>
                      <a:pt x="932" y="6"/>
                    </a:lnTo>
                    <a:lnTo>
                      <a:pt x="932" y="4"/>
                    </a:lnTo>
                    <a:lnTo>
                      <a:pt x="933" y="4"/>
                    </a:lnTo>
                    <a:lnTo>
                      <a:pt x="935" y="4"/>
                    </a:lnTo>
                    <a:lnTo>
                      <a:pt x="937" y="4"/>
                    </a:lnTo>
                    <a:lnTo>
                      <a:pt x="939" y="6"/>
                    </a:lnTo>
                    <a:lnTo>
                      <a:pt x="939" y="8"/>
                    </a:lnTo>
                    <a:lnTo>
                      <a:pt x="939" y="9"/>
                    </a:lnTo>
                    <a:lnTo>
                      <a:pt x="939" y="11"/>
                    </a:lnTo>
                    <a:lnTo>
                      <a:pt x="939" y="13"/>
                    </a:lnTo>
                    <a:lnTo>
                      <a:pt x="939" y="15"/>
                    </a:lnTo>
                    <a:lnTo>
                      <a:pt x="937" y="15"/>
                    </a:lnTo>
                    <a:lnTo>
                      <a:pt x="937" y="17"/>
                    </a:lnTo>
                    <a:lnTo>
                      <a:pt x="937" y="19"/>
                    </a:lnTo>
                    <a:lnTo>
                      <a:pt x="939" y="19"/>
                    </a:lnTo>
                    <a:lnTo>
                      <a:pt x="939" y="21"/>
                    </a:lnTo>
                    <a:lnTo>
                      <a:pt x="941" y="21"/>
                    </a:lnTo>
                    <a:lnTo>
                      <a:pt x="943" y="23"/>
                    </a:lnTo>
                    <a:lnTo>
                      <a:pt x="945" y="25"/>
                    </a:lnTo>
                    <a:lnTo>
                      <a:pt x="947" y="25"/>
                    </a:lnTo>
                    <a:lnTo>
                      <a:pt x="949" y="29"/>
                    </a:lnTo>
                    <a:lnTo>
                      <a:pt x="949" y="31"/>
                    </a:lnTo>
                    <a:lnTo>
                      <a:pt x="951" y="31"/>
                    </a:lnTo>
                    <a:lnTo>
                      <a:pt x="953" y="31"/>
                    </a:lnTo>
                    <a:lnTo>
                      <a:pt x="955" y="31"/>
                    </a:lnTo>
                    <a:lnTo>
                      <a:pt x="957" y="31"/>
                    </a:lnTo>
                    <a:lnTo>
                      <a:pt x="958" y="31"/>
                    </a:lnTo>
                    <a:lnTo>
                      <a:pt x="960" y="31"/>
                    </a:lnTo>
                    <a:lnTo>
                      <a:pt x="962" y="31"/>
                    </a:lnTo>
                    <a:lnTo>
                      <a:pt x="964" y="31"/>
                    </a:lnTo>
                    <a:lnTo>
                      <a:pt x="964" y="32"/>
                    </a:lnTo>
                    <a:lnTo>
                      <a:pt x="966" y="32"/>
                    </a:lnTo>
                    <a:lnTo>
                      <a:pt x="968" y="32"/>
                    </a:lnTo>
                    <a:lnTo>
                      <a:pt x="970" y="32"/>
                    </a:lnTo>
                    <a:lnTo>
                      <a:pt x="972" y="32"/>
                    </a:lnTo>
                    <a:lnTo>
                      <a:pt x="972" y="34"/>
                    </a:lnTo>
                    <a:lnTo>
                      <a:pt x="974" y="36"/>
                    </a:lnTo>
                    <a:lnTo>
                      <a:pt x="974" y="38"/>
                    </a:lnTo>
                    <a:lnTo>
                      <a:pt x="974" y="40"/>
                    </a:lnTo>
                    <a:lnTo>
                      <a:pt x="976" y="42"/>
                    </a:lnTo>
                    <a:lnTo>
                      <a:pt x="976" y="44"/>
                    </a:lnTo>
                    <a:lnTo>
                      <a:pt x="978" y="44"/>
                    </a:lnTo>
                    <a:lnTo>
                      <a:pt x="978" y="46"/>
                    </a:lnTo>
                    <a:lnTo>
                      <a:pt x="980" y="48"/>
                    </a:lnTo>
                    <a:lnTo>
                      <a:pt x="981" y="52"/>
                    </a:lnTo>
                    <a:lnTo>
                      <a:pt x="983" y="54"/>
                    </a:lnTo>
                    <a:lnTo>
                      <a:pt x="983" y="56"/>
                    </a:lnTo>
                    <a:lnTo>
                      <a:pt x="983" y="57"/>
                    </a:lnTo>
                    <a:lnTo>
                      <a:pt x="981" y="59"/>
                    </a:lnTo>
                    <a:lnTo>
                      <a:pt x="981" y="61"/>
                    </a:lnTo>
                    <a:lnTo>
                      <a:pt x="983" y="63"/>
                    </a:lnTo>
                    <a:lnTo>
                      <a:pt x="983" y="65"/>
                    </a:lnTo>
                    <a:lnTo>
                      <a:pt x="981" y="67"/>
                    </a:lnTo>
                    <a:lnTo>
                      <a:pt x="981" y="69"/>
                    </a:lnTo>
                    <a:lnTo>
                      <a:pt x="983" y="71"/>
                    </a:lnTo>
                    <a:lnTo>
                      <a:pt x="985" y="71"/>
                    </a:lnTo>
                    <a:lnTo>
                      <a:pt x="987" y="71"/>
                    </a:lnTo>
                    <a:lnTo>
                      <a:pt x="989" y="71"/>
                    </a:lnTo>
                    <a:lnTo>
                      <a:pt x="991" y="71"/>
                    </a:lnTo>
                    <a:lnTo>
                      <a:pt x="993" y="75"/>
                    </a:lnTo>
                    <a:lnTo>
                      <a:pt x="991" y="77"/>
                    </a:lnTo>
                    <a:lnTo>
                      <a:pt x="991" y="79"/>
                    </a:lnTo>
                    <a:lnTo>
                      <a:pt x="993" y="79"/>
                    </a:lnTo>
                    <a:lnTo>
                      <a:pt x="993" y="80"/>
                    </a:lnTo>
                    <a:lnTo>
                      <a:pt x="995" y="80"/>
                    </a:lnTo>
                    <a:lnTo>
                      <a:pt x="997" y="80"/>
                    </a:lnTo>
                    <a:lnTo>
                      <a:pt x="999" y="79"/>
                    </a:lnTo>
                    <a:lnTo>
                      <a:pt x="1001" y="79"/>
                    </a:lnTo>
                    <a:lnTo>
                      <a:pt x="1001" y="77"/>
                    </a:lnTo>
                    <a:lnTo>
                      <a:pt x="1003" y="77"/>
                    </a:lnTo>
                    <a:lnTo>
                      <a:pt x="1005" y="79"/>
                    </a:lnTo>
                    <a:lnTo>
                      <a:pt x="1006" y="79"/>
                    </a:lnTo>
                    <a:lnTo>
                      <a:pt x="1006" y="77"/>
                    </a:lnTo>
                    <a:lnTo>
                      <a:pt x="1006" y="75"/>
                    </a:lnTo>
                    <a:lnTo>
                      <a:pt x="1006" y="73"/>
                    </a:lnTo>
                    <a:lnTo>
                      <a:pt x="1006" y="69"/>
                    </a:lnTo>
                    <a:lnTo>
                      <a:pt x="1008" y="69"/>
                    </a:lnTo>
                    <a:lnTo>
                      <a:pt x="1008" y="65"/>
                    </a:lnTo>
                    <a:lnTo>
                      <a:pt x="1008" y="63"/>
                    </a:lnTo>
                    <a:lnTo>
                      <a:pt x="1008" y="61"/>
                    </a:lnTo>
                    <a:lnTo>
                      <a:pt x="1008" y="59"/>
                    </a:lnTo>
                    <a:lnTo>
                      <a:pt x="1008" y="57"/>
                    </a:lnTo>
                    <a:lnTo>
                      <a:pt x="1008" y="56"/>
                    </a:lnTo>
                    <a:lnTo>
                      <a:pt x="1008" y="54"/>
                    </a:lnTo>
                    <a:lnTo>
                      <a:pt x="1008" y="52"/>
                    </a:lnTo>
                    <a:lnTo>
                      <a:pt x="1008" y="50"/>
                    </a:lnTo>
                    <a:lnTo>
                      <a:pt x="1008" y="48"/>
                    </a:lnTo>
                    <a:lnTo>
                      <a:pt x="1008" y="46"/>
                    </a:lnTo>
                    <a:lnTo>
                      <a:pt x="1006" y="44"/>
                    </a:lnTo>
                    <a:lnTo>
                      <a:pt x="1006" y="42"/>
                    </a:lnTo>
                    <a:lnTo>
                      <a:pt x="1008" y="44"/>
                    </a:lnTo>
                    <a:lnTo>
                      <a:pt x="1010" y="46"/>
                    </a:lnTo>
                    <a:lnTo>
                      <a:pt x="1012" y="48"/>
                    </a:lnTo>
                    <a:lnTo>
                      <a:pt x="1012" y="50"/>
                    </a:lnTo>
                    <a:lnTo>
                      <a:pt x="1014" y="52"/>
                    </a:lnTo>
                    <a:lnTo>
                      <a:pt x="1014" y="54"/>
                    </a:lnTo>
                    <a:lnTo>
                      <a:pt x="1014" y="57"/>
                    </a:lnTo>
                    <a:lnTo>
                      <a:pt x="1016" y="57"/>
                    </a:lnTo>
                    <a:lnTo>
                      <a:pt x="1018" y="59"/>
                    </a:lnTo>
                    <a:lnTo>
                      <a:pt x="1018" y="61"/>
                    </a:lnTo>
                    <a:lnTo>
                      <a:pt x="1020" y="63"/>
                    </a:lnTo>
                    <a:lnTo>
                      <a:pt x="1022" y="63"/>
                    </a:lnTo>
                    <a:lnTo>
                      <a:pt x="1024" y="63"/>
                    </a:lnTo>
                    <a:lnTo>
                      <a:pt x="1022" y="67"/>
                    </a:lnTo>
                    <a:lnTo>
                      <a:pt x="1018" y="73"/>
                    </a:lnTo>
                    <a:lnTo>
                      <a:pt x="1016" y="73"/>
                    </a:lnTo>
                    <a:lnTo>
                      <a:pt x="1014" y="73"/>
                    </a:lnTo>
                    <a:lnTo>
                      <a:pt x="1012" y="73"/>
                    </a:lnTo>
                    <a:lnTo>
                      <a:pt x="1010" y="75"/>
                    </a:lnTo>
                    <a:lnTo>
                      <a:pt x="1012" y="75"/>
                    </a:lnTo>
                    <a:lnTo>
                      <a:pt x="1014" y="75"/>
                    </a:lnTo>
                    <a:lnTo>
                      <a:pt x="1012" y="75"/>
                    </a:lnTo>
                    <a:lnTo>
                      <a:pt x="1014" y="77"/>
                    </a:lnTo>
                    <a:lnTo>
                      <a:pt x="1016" y="77"/>
                    </a:lnTo>
                    <a:lnTo>
                      <a:pt x="1016" y="79"/>
                    </a:lnTo>
                    <a:lnTo>
                      <a:pt x="1014" y="79"/>
                    </a:lnTo>
                    <a:lnTo>
                      <a:pt x="1018" y="79"/>
                    </a:lnTo>
                    <a:lnTo>
                      <a:pt x="1020" y="79"/>
                    </a:lnTo>
                    <a:lnTo>
                      <a:pt x="1022" y="79"/>
                    </a:lnTo>
                    <a:lnTo>
                      <a:pt x="1024" y="80"/>
                    </a:lnTo>
                    <a:lnTo>
                      <a:pt x="1022" y="84"/>
                    </a:lnTo>
                    <a:lnTo>
                      <a:pt x="1020" y="84"/>
                    </a:lnTo>
                    <a:lnTo>
                      <a:pt x="1020" y="86"/>
                    </a:lnTo>
                    <a:lnTo>
                      <a:pt x="1022" y="88"/>
                    </a:lnTo>
                    <a:lnTo>
                      <a:pt x="1024" y="92"/>
                    </a:lnTo>
                    <a:lnTo>
                      <a:pt x="1024" y="94"/>
                    </a:lnTo>
                    <a:lnTo>
                      <a:pt x="1024" y="96"/>
                    </a:lnTo>
                    <a:lnTo>
                      <a:pt x="1026" y="96"/>
                    </a:lnTo>
                    <a:lnTo>
                      <a:pt x="1026" y="98"/>
                    </a:lnTo>
                    <a:lnTo>
                      <a:pt x="1028" y="100"/>
                    </a:lnTo>
                    <a:lnTo>
                      <a:pt x="1028" y="102"/>
                    </a:lnTo>
                    <a:lnTo>
                      <a:pt x="1029" y="104"/>
                    </a:lnTo>
                    <a:lnTo>
                      <a:pt x="1028" y="104"/>
                    </a:lnTo>
                    <a:lnTo>
                      <a:pt x="1026" y="105"/>
                    </a:lnTo>
                    <a:lnTo>
                      <a:pt x="1024" y="105"/>
                    </a:lnTo>
                    <a:lnTo>
                      <a:pt x="1022" y="105"/>
                    </a:lnTo>
                    <a:lnTo>
                      <a:pt x="1022" y="107"/>
                    </a:lnTo>
                    <a:lnTo>
                      <a:pt x="1020" y="109"/>
                    </a:lnTo>
                    <a:lnTo>
                      <a:pt x="1018" y="109"/>
                    </a:lnTo>
                    <a:lnTo>
                      <a:pt x="1018" y="111"/>
                    </a:lnTo>
                    <a:lnTo>
                      <a:pt x="1018" y="109"/>
                    </a:lnTo>
                    <a:lnTo>
                      <a:pt x="1018" y="111"/>
                    </a:lnTo>
                    <a:lnTo>
                      <a:pt x="1018" y="113"/>
                    </a:lnTo>
                    <a:lnTo>
                      <a:pt x="1020" y="115"/>
                    </a:lnTo>
                    <a:lnTo>
                      <a:pt x="1020" y="119"/>
                    </a:lnTo>
                    <a:lnTo>
                      <a:pt x="1022" y="121"/>
                    </a:lnTo>
                    <a:lnTo>
                      <a:pt x="1022" y="123"/>
                    </a:lnTo>
                    <a:lnTo>
                      <a:pt x="1022" y="125"/>
                    </a:lnTo>
                    <a:lnTo>
                      <a:pt x="1024" y="127"/>
                    </a:lnTo>
                    <a:lnTo>
                      <a:pt x="1024" y="130"/>
                    </a:lnTo>
                    <a:lnTo>
                      <a:pt x="1022" y="132"/>
                    </a:lnTo>
                    <a:lnTo>
                      <a:pt x="1022" y="136"/>
                    </a:lnTo>
                    <a:lnTo>
                      <a:pt x="1026" y="134"/>
                    </a:lnTo>
                    <a:lnTo>
                      <a:pt x="1026" y="136"/>
                    </a:lnTo>
                    <a:lnTo>
                      <a:pt x="1029" y="134"/>
                    </a:lnTo>
                    <a:lnTo>
                      <a:pt x="1031" y="134"/>
                    </a:lnTo>
                    <a:lnTo>
                      <a:pt x="1031" y="136"/>
                    </a:lnTo>
                    <a:lnTo>
                      <a:pt x="1037" y="142"/>
                    </a:lnTo>
                    <a:lnTo>
                      <a:pt x="1043" y="146"/>
                    </a:lnTo>
                    <a:lnTo>
                      <a:pt x="1045" y="146"/>
                    </a:lnTo>
                    <a:lnTo>
                      <a:pt x="1045" y="144"/>
                    </a:lnTo>
                    <a:lnTo>
                      <a:pt x="1045" y="138"/>
                    </a:lnTo>
                    <a:lnTo>
                      <a:pt x="1045" y="136"/>
                    </a:lnTo>
                    <a:lnTo>
                      <a:pt x="1045" y="134"/>
                    </a:lnTo>
                    <a:lnTo>
                      <a:pt x="1047" y="134"/>
                    </a:lnTo>
                    <a:lnTo>
                      <a:pt x="1045" y="132"/>
                    </a:lnTo>
                    <a:lnTo>
                      <a:pt x="1047" y="132"/>
                    </a:lnTo>
                    <a:lnTo>
                      <a:pt x="1049" y="134"/>
                    </a:lnTo>
                    <a:lnTo>
                      <a:pt x="1051" y="134"/>
                    </a:lnTo>
                    <a:lnTo>
                      <a:pt x="1053" y="134"/>
                    </a:lnTo>
                    <a:lnTo>
                      <a:pt x="1051" y="136"/>
                    </a:lnTo>
                    <a:lnTo>
                      <a:pt x="1049" y="136"/>
                    </a:lnTo>
                    <a:lnTo>
                      <a:pt x="1051" y="138"/>
                    </a:lnTo>
                    <a:lnTo>
                      <a:pt x="1053" y="136"/>
                    </a:lnTo>
                    <a:lnTo>
                      <a:pt x="1054" y="134"/>
                    </a:lnTo>
                    <a:lnTo>
                      <a:pt x="1058" y="136"/>
                    </a:lnTo>
                    <a:lnTo>
                      <a:pt x="1060" y="136"/>
                    </a:lnTo>
                    <a:lnTo>
                      <a:pt x="1064" y="138"/>
                    </a:lnTo>
                    <a:lnTo>
                      <a:pt x="1066" y="138"/>
                    </a:lnTo>
                    <a:lnTo>
                      <a:pt x="1064" y="144"/>
                    </a:lnTo>
                    <a:lnTo>
                      <a:pt x="1066" y="146"/>
                    </a:lnTo>
                    <a:lnTo>
                      <a:pt x="1064" y="153"/>
                    </a:lnTo>
                    <a:lnTo>
                      <a:pt x="1066" y="153"/>
                    </a:lnTo>
                    <a:lnTo>
                      <a:pt x="1068" y="153"/>
                    </a:lnTo>
                    <a:lnTo>
                      <a:pt x="1068" y="152"/>
                    </a:lnTo>
                    <a:lnTo>
                      <a:pt x="1068" y="150"/>
                    </a:lnTo>
                    <a:lnTo>
                      <a:pt x="1070" y="150"/>
                    </a:lnTo>
                    <a:lnTo>
                      <a:pt x="1072" y="150"/>
                    </a:lnTo>
                    <a:lnTo>
                      <a:pt x="1070" y="148"/>
                    </a:lnTo>
                    <a:lnTo>
                      <a:pt x="1076" y="148"/>
                    </a:lnTo>
                    <a:lnTo>
                      <a:pt x="1081" y="148"/>
                    </a:lnTo>
                    <a:lnTo>
                      <a:pt x="1083" y="152"/>
                    </a:lnTo>
                    <a:lnTo>
                      <a:pt x="1083" y="153"/>
                    </a:lnTo>
                    <a:lnTo>
                      <a:pt x="1085" y="155"/>
                    </a:lnTo>
                    <a:lnTo>
                      <a:pt x="1087" y="155"/>
                    </a:lnTo>
                    <a:lnTo>
                      <a:pt x="1089" y="155"/>
                    </a:lnTo>
                    <a:lnTo>
                      <a:pt x="1091" y="157"/>
                    </a:lnTo>
                    <a:lnTo>
                      <a:pt x="1091" y="155"/>
                    </a:lnTo>
                    <a:lnTo>
                      <a:pt x="1091" y="153"/>
                    </a:lnTo>
                    <a:lnTo>
                      <a:pt x="1093" y="153"/>
                    </a:lnTo>
                    <a:lnTo>
                      <a:pt x="1095" y="155"/>
                    </a:lnTo>
                    <a:lnTo>
                      <a:pt x="1097" y="155"/>
                    </a:lnTo>
                    <a:lnTo>
                      <a:pt x="1099" y="152"/>
                    </a:lnTo>
                    <a:lnTo>
                      <a:pt x="1101" y="148"/>
                    </a:lnTo>
                    <a:lnTo>
                      <a:pt x="1102" y="146"/>
                    </a:lnTo>
                    <a:lnTo>
                      <a:pt x="1101" y="146"/>
                    </a:lnTo>
                    <a:lnTo>
                      <a:pt x="1101" y="144"/>
                    </a:lnTo>
                    <a:lnTo>
                      <a:pt x="1101" y="142"/>
                    </a:lnTo>
                    <a:lnTo>
                      <a:pt x="1102" y="142"/>
                    </a:lnTo>
                    <a:lnTo>
                      <a:pt x="1104" y="142"/>
                    </a:lnTo>
                    <a:lnTo>
                      <a:pt x="1106" y="140"/>
                    </a:lnTo>
                    <a:lnTo>
                      <a:pt x="1106" y="138"/>
                    </a:lnTo>
                    <a:lnTo>
                      <a:pt x="1110" y="136"/>
                    </a:lnTo>
                    <a:lnTo>
                      <a:pt x="1110" y="134"/>
                    </a:lnTo>
                    <a:lnTo>
                      <a:pt x="1110" y="132"/>
                    </a:lnTo>
                    <a:lnTo>
                      <a:pt x="1112" y="132"/>
                    </a:lnTo>
                    <a:lnTo>
                      <a:pt x="1112" y="130"/>
                    </a:lnTo>
                    <a:lnTo>
                      <a:pt x="1114" y="130"/>
                    </a:lnTo>
                    <a:lnTo>
                      <a:pt x="1116" y="130"/>
                    </a:lnTo>
                    <a:lnTo>
                      <a:pt x="1118" y="130"/>
                    </a:lnTo>
                    <a:lnTo>
                      <a:pt x="1120" y="130"/>
                    </a:lnTo>
                    <a:lnTo>
                      <a:pt x="1120" y="132"/>
                    </a:lnTo>
                    <a:lnTo>
                      <a:pt x="1120" y="134"/>
                    </a:lnTo>
                    <a:lnTo>
                      <a:pt x="1122" y="136"/>
                    </a:lnTo>
                    <a:lnTo>
                      <a:pt x="1122" y="138"/>
                    </a:lnTo>
                    <a:lnTo>
                      <a:pt x="1122" y="140"/>
                    </a:lnTo>
                    <a:lnTo>
                      <a:pt x="1124" y="140"/>
                    </a:lnTo>
                    <a:lnTo>
                      <a:pt x="1125" y="140"/>
                    </a:lnTo>
                    <a:lnTo>
                      <a:pt x="1125" y="142"/>
                    </a:lnTo>
                    <a:lnTo>
                      <a:pt x="1125" y="144"/>
                    </a:lnTo>
                    <a:lnTo>
                      <a:pt x="1127" y="144"/>
                    </a:lnTo>
                    <a:lnTo>
                      <a:pt x="1127" y="146"/>
                    </a:lnTo>
                    <a:lnTo>
                      <a:pt x="1129" y="146"/>
                    </a:lnTo>
                    <a:lnTo>
                      <a:pt x="1131" y="148"/>
                    </a:lnTo>
                    <a:lnTo>
                      <a:pt x="1133" y="148"/>
                    </a:lnTo>
                    <a:lnTo>
                      <a:pt x="1135" y="148"/>
                    </a:lnTo>
                    <a:lnTo>
                      <a:pt x="1137" y="148"/>
                    </a:lnTo>
                    <a:lnTo>
                      <a:pt x="1141" y="146"/>
                    </a:lnTo>
                    <a:lnTo>
                      <a:pt x="1143" y="146"/>
                    </a:lnTo>
                    <a:lnTo>
                      <a:pt x="1145" y="146"/>
                    </a:lnTo>
                    <a:lnTo>
                      <a:pt x="1147" y="148"/>
                    </a:lnTo>
                    <a:lnTo>
                      <a:pt x="1149" y="148"/>
                    </a:lnTo>
                    <a:lnTo>
                      <a:pt x="1150" y="148"/>
                    </a:lnTo>
                    <a:lnTo>
                      <a:pt x="1150" y="150"/>
                    </a:lnTo>
                    <a:lnTo>
                      <a:pt x="1152" y="150"/>
                    </a:lnTo>
                    <a:lnTo>
                      <a:pt x="1154" y="150"/>
                    </a:lnTo>
                    <a:lnTo>
                      <a:pt x="1156" y="150"/>
                    </a:lnTo>
                    <a:lnTo>
                      <a:pt x="1158" y="150"/>
                    </a:lnTo>
                    <a:lnTo>
                      <a:pt x="1160" y="150"/>
                    </a:lnTo>
                    <a:lnTo>
                      <a:pt x="1160" y="152"/>
                    </a:lnTo>
                    <a:lnTo>
                      <a:pt x="1162" y="152"/>
                    </a:lnTo>
                    <a:lnTo>
                      <a:pt x="1164" y="152"/>
                    </a:lnTo>
                    <a:lnTo>
                      <a:pt x="1164" y="153"/>
                    </a:lnTo>
                    <a:lnTo>
                      <a:pt x="1166" y="153"/>
                    </a:lnTo>
                    <a:lnTo>
                      <a:pt x="1166" y="155"/>
                    </a:lnTo>
                    <a:lnTo>
                      <a:pt x="1168" y="155"/>
                    </a:lnTo>
                    <a:lnTo>
                      <a:pt x="1170" y="159"/>
                    </a:lnTo>
                    <a:lnTo>
                      <a:pt x="1172" y="161"/>
                    </a:lnTo>
                    <a:lnTo>
                      <a:pt x="1173" y="163"/>
                    </a:lnTo>
                    <a:lnTo>
                      <a:pt x="1175" y="163"/>
                    </a:lnTo>
                    <a:lnTo>
                      <a:pt x="1177" y="165"/>
                    </a:lnTo>
                    <a:lnTo>
                      <a:pt x="1179" y="165"/>
                    </a:lnTo>
                    <a:lnTo>
                      <a:pt x="1179" y="167"/>
                    </a:lnTo>
                    <a:lnTo>
                      <a:pt x="1179" y="169"/>
                    </a:lnTo>
                    <a:lnTo>
                      <a:pt x="1179" y="171"/>
                    </a:lnTo>
                    <a:lnTo>
                      <a:pt x="1179" y="173"/>
                    </a:lnTo>
                    <a:lnTo>
                      <a:pt x="1177" y="173"/>
                    </a:lnTo>
                    <a:lnTo>
                      <a:pt x="1177" y="175"/>
                    </a:lnTo>
                    <a:lnTo>
                      <a:pt x="1177" y="176"/>
                    </a:lnTo>
                    <a:lnTo>
                      <a:pt x="1177" y="178"/>
                    </a:lnTo>
                    <a:lnTo>
                      <a:pt x="1175" y="180"/>
                    </a:lnTo>
                    <a:lnTo>
                      <a:pt x="1175" y="182"/>
                    </a:lnTo>
                    <a:lnTo>
                      <a:pt x="1175" y="184"/>
                    </a:lnTo>
                    <a:lnTo>
                      <a:pt x="1173" y="188"/>
                    </a:lnTo>
                    <a:lnTo>
                      <a:pt x="1173" y="192"/>
                    </a:lnTo>
                    <a:lnTo>
                      <a:pt x="1172" y="192"/>
                    </a:lnTo>
                    <a:lnTo>
                      <a:pt x="1170" y="192"/>
                    </a:lnTo>
                    <a:lnTo>
                      <a:pt x="1170" y="194"/>
                    </a:lnTo>
                    <a:lnTo>
                      <a:pt x="1168" y="196"/>
                    </a:lnTo>
                    <a:lnTo>
                      <a:pt x="1166" y="201"/>
                    </a:lnTo>
                    <a:lnTo>
                      <a:pt x="1166" y="205"/>
                    </a:lnTo>
                    <a:lnTo>
                      <a:pt x="1166" y="207"/>
                    </a:lnTo>
                    <a:lnTo>
                      <a:pt x="1164" y="207"/>
                    </a:lnTo>
                    <a:lnTo>
                      <a:pt x="1164" y="211"/>
                    </a:lnTo>
                    <a:lnTo>
                      <a:pt x="1164" y="213"/>
                    </a:lnTo>
                    <a:lnTo>
                      <a:pt x="1166" y="215"/>
                    </a:lnTo>
                    <a:lnTo>
                      <a:pt x="1166" y="217"/>
                    </a:lnTo>
                    <a:lnTo>
                      <a:pt x="1166" y="219"/>
                    </a:lnTo>
                    <a:lnTo>
                      <a:pt x="1164" y="219"/>
                    </a:lnTo>
                    <a:lnTo>
                      <a:pt x="1164" y="221"/>
                    </a:lnTo>
                    <a:lnTo>
                      <a:pt x="1162" y="221"/>
                    </a:lnTo>
                    <a:lnTo>
                      <a:pt x="1160" y="221"/>
                    </a:lnTo>
                    <a:lnTo>
                      <a:pt x="1158" y="221"/>
                    </a:lnTo>
                    <a:lnTo>
                      <a:pt x="1158" y="219"/>
                    </a:lnTo>
                    <a:lnTo>
                      <a:pt x="1156" y="219"/>
                    </a:lnTo>
                    <a:lnTo>
                      <a:pt x="1156" y="217"/>
                    </a:lnTo>
                    <a:lnTo>
                      <a:pt x="1154" y="215"/>
                    </a:lnTo>
                    <a:lnTo>
                      <a:pt x="1154" y="213"/>
                    </a:lnTo>
                    <a:lnTo>
                      <a:pt x="1154" y="211"/>
                    </a:lnTo>
                    <a:lnTo>
                      <a:pt x="1154" y="209"/>
                    </a:lnTo>
                    <a:lnTo>
                      <a:pt x="1154" y="207"/>
                    </a:lnTo>
                    <a:lnTo>
                      <a:pt x="1152" y="207"/>
                    </a:lnTo>
                    <a:lnTo>
                      <a:pt x="1150" y="207"/>
                    </a:lnTo>
                    <a:lnTo>
                      <a:pt x="1149" y="207"/>
                    </a:lnTo>
                    <a:lnTo>
                      <a:pt x="1149" y="209"/>
                    </a:lnTo>
                    <a:lnTo>
                      <a:pt x="1147" y="209"/>
                    </a:lnTo>
                    <a:lnTo>
                      <a:pt x="1147" y="211"/>
                    </a:lnTo>
                    <a:lnTo>
                      <a:pt x="1145" y="211"/>
                    </a:lnTo>
                    <a:lnTo>
                      <a:pt x="1143" y="211"/>
                    </a:lnTo>
                    <a:lnTo>
                      <a:pt x="1143" y="209"/>
                    </a:lnTo>
                    <a:lnTo>
                      <a:pt x="1143" y="207"/>
                    </a:lnTo>
                    <a:lnTo>
                      <a:pt x="1141" y="207"/>
                    </a:lnTo>
                    <a:lnTo>
                      <a:pt x="1141" y="209"/>
                    </a:lnTo>
                    <a:lnTo>
                      <a:pt x="1139" y="209"/>
                    </a:lnTo>
                    <a:lnTo>
                      <a:pt x="1137" y="209"/>
                    </a:lnTo>
                    <a:lnTo>
                      <a:pt x="1135" y="209"/>
                    </a:lnTo>
                    <a:lnTo>
                      <a:pt x="1135" y="211"/>
                    </a:lnTo>
                    <a:lnTo>
                      <a:pt x="1133" y="211"/>
                    </a:lnTo>
                    <a:lnTo>
                      <a:pt x="1131" y="211"/>
                    </a:lnTo>
                    <a:lnTo>
                      <a:pt x="1129" y="211"/>
                    </a:lnTo>
                    <a:lnTo>
                      <a:pt x="1129" y="209"/>
                    </a:lnTo>
                    <a:lnTo>
                      <a:pt x="1129" y="207"/>
                    </a:lnTo>
                    <a:lnTo>
                      <a:pt x="1129" y="205"/>
                    </a:lnTo>
                    <a:lnTo>
                      <a:pt x="1129" y="203"/>
                    </a:lnTo>
                    <a:lnTo>
                      <a:pt x="1129" y="201"/>
                    </a:lnTo>
                    <a:lnTo>
                      <a:pt x="1127" y="201"/>
                    </a:lnTo>
                    <a:lnTo>
                      <a:pt x="1127" y="199"/>
                    </a:lnTo>
                    <a:lnTo>
                      <a:pt x="1125" y="199"/>
                    </a:lnTo>
                    <a:lnTo>
                      <a:pt x="1124" y="199"/>
                    </a:lnTo>
                    <a:lnTo>
                      <a:pt x="1122" y="201"/>
                    </a:lnTo>
                    <a:lnTo>
                      <a:pt x="1120" y="201"/>
                    </a:lnTo>
                    <a:lnTo>
                      <a:pt x="1120" y="199"/>
                    </a:lnTo>
                    <a:lnTo>
                      <a:pt x="1118" y="199"/>
                    </a:lnTo>
                    <a:lnTo>
                      <a:pt x="1116" y="199"/>
                    </a:lnTo>
                    <a:lnTo>
                      <a:pt x="1116" y="201"/>
                    </a:lnTo>
                    <a:lnTo>
                      <a:pt x="1114" y="201"/>
                    </a:lnTo>
                    <a:lnTo>
                      <a:pt x="1114" y="203"/>
                    </a:lnTo>
                    <a:lnTo>
                      <a:pt x="1112" y="205"/>
                    </a:lnTo>
                    <a:lnTo>
                      <a:pt x="1112" y="207"/>
                    </a:lnTo>
                    <a:lnTo>
                      <a:pt x="1110" y="207"/>
                    </a:lnTo>
                    <a:lnTo>
                      <a:pt x="1108" y="209"/>
                    </a:lnTo>
                    <a:lnTo>
                      <a:pt x="1106" y="209"/>
                    </a:lnTo>
                    <a:lnTo>
                      <a:pt x="1104" y="209"/>
                    </a:lnTo>
                    <a:lnTo>
                      <a:pt x="1102" y="209"/>
                    </a:lnTo>
                    <a:lnTo>
                      <a:pt x="1101" y="209"/>
                    </a:lnTo>
                    <a:lnTo>
                      <a:pt x="1101" y="207"/>
                    </a:lnTo>
                    <a:lnTo>
                      <a:pt x="1097" y="207"/>
                    </a:lnTo>
                    <a:lnTo>
                      <a:pt x="1097" y="205"/>
                    </a:lnTo>
                    <a:lnTo>
                      <a:pt x="1095" y="205"/>
                    </a:lnTo>
                    <a:lnTo>
                      <a:pt x="1091" y="205"/>
                    </a:lnTo>
                    <a:lnTo>
                      <a:pt x="1091" y="207"/>
                    </a:lnTo>
                    <a:lnTo>
                      <a:pt x="1091" y="209"/>
                    </a:lnTo>
                    <a:lnTo>
                      <a:pt x="1091" y="211"/>
                    </a:lnTo>
                    <a:lnTo>
                      <a:pt x="1091" y="213"/>
                    </a:lnTo>
                    <a:lnTo>
                      <a:pt x="1091" y="211"/>
                    </a:lnTo>
                    <a:lnTo>
                      <a:pt x="1089" y="211"/>
                    </a:lnTo>
                    <a:lnTo>
                      <a:pt x="1089" y="213"/>
                    </a:lnTo>
                    <a:lnTo>
                      <a:pt x="1089" y="217"/>
                    </a:lnTo>
                    <a:lnTo>
                      <a:pt x="1089" y="219"/>
                    </a:lnTo>
                    <a:lnTo>
                      <a:pt x="1091" y="221"/>
                    </a:lnTo>
                    <a:lnTo>
                      <a:pt x="1091" y="223"/>
                    </a:lnTo>
                    <a:lnTo>
                      <a:pt x="1089" y="223"/>
                    </a:lnTo>
                    <a:lnTo>
                      <a:pt x="1091" y="223"/>
                    </a:lnTo>
                    <a:lnTo>
                      <a:pt x="1091" y="224"/>
                    </a:lnTo>
                    <a:lnTo>
                      <a:pt x="1097" y="224"/>
                    </a:lnTo>
                    <a:lnTo>
                      <a:pt x="1097" y="228"/>
                    </a:lnTo>
                    <a:lnTo>
                      <a:pt x="1099" y="230"/>
                    </a:lnTo>
                    <a:lnTo>
                      <a:pt x="1099" y="232"/>
                    </a:lnTo>
                    <a:lnTo>
                      <a:pt x="1099" y="234"/>
                    </a:lnTo>
                    <a:lnTo>
                      <a:pt x="1101" y="234"/>
                    </a:lnTo>
                    <a:lnTo>
                      <a:pt x="1101" y="236"/>
                    </a:lnTo>
                    <a:lnTo>
                      <a:pt x="1102" y="236"/>
                    </a:lnTo>
                    <a:lnTo>
                      <a:pt x="1104" y="236"/>
                    </a:lnTo>
                    <a:lnTo>
                      <a:pt x="1106" y="236"/>
                    </a:lnTo>
                    <a:lnTo>
                      <a:pt x="1106" y="238"/>
                    </a:lnTo>
                    <a:lnTo>
                      <a:pt x="1108" y="238"/>
                    </a:lnTo>
                    <a:lnTo>
                      <a:pt x="1110" y="238"/>
                    </a:lnTo>
                    <a:lnTo>
                      <a:pt x="1112" y="238"/>
                    </a:lnTo>
                    <a:lnTo>
                      <a:pt x="1116" y="238"/>
                    </a:lnTo>
                    <a:lnTo>
                      <a:pt x="1118" y="240"/>
                    </a:lnTo>
                    <a:lnTo>
                      <a:pt x="1120" y="242"/>
                    </a:lnTo>
                    <a:lnTo>
                      <a:pt x="1122" y="244"/>
                    </a:lnTo>
                    <a:lnTo>
                      <a:pt x="1124" y="246"/>
                    </a:lnTo>
                    <a:lnTo>
                      <a:pt x="1124" y="247"/>
                    </a:lnTo>
                    <a:lnTo>
                      <a:pt x="1125" y="247"/>
                    </a:lnTo>
                    <a:lnTo>
                      <a:pt x="1125" y="249"/>
                    </a:lnTo>
                    <a:lnTo>
                      <a:pt x="1127" y="249"/>
                    </a:lnTo>
                    <a:lnTo>
                      <a:pt x="1127" y="251"/>
                    </a:lnTo>
                    <a:lnTo>
                      <a:pt x="1129" y="251"/>
                    </a:lnTo>
                    <a:lnTo>
                      <a:pt x="1133" y="251"/>
                    </a:lnTo>
                    <a:lnTo>
                      <a:pt x="1133" y="253"/>
                    </a:lnTo>
                    <a:lnTo>
                      <a:pt x="1133" y="255"/>
                    </a:lnTo>
                    <a:lnTo>
                      <a:pt x="1133" y="257"/>
                    </a:lnTo>
                    <a:lnTo>
                      <a:pt x="1135" y="257"/>
                    </a:lnTo>
                    <a:lnTo>
                      <a:pt x="1139" y="257"/>
                    </a:lnTo>
                    <a:lnTo>
                      <a:pt x="1141" y="255"/>
                    </a:lnTo>
                    <a:lnTo>
                      <a:pt x="1145" y="255"/>
                    </a:lnTo>
                    <a:lnTo>
                      <a:pt x="1149" y="255"/>
                    </a:lnTo>
                    <a:lnTo>
                      <a:pt x="1149" y="257"/>
                    </a:lnTo>
                    <a:lnTo>
                      <a:pt x="1149" y="261"/>
                    </a:lnTo>
                    <a:lnTo>
                      <a:pt x="1149" y="265"/>
                    </a:lnTo>
                    <a:lnTo>
                      <a:pt x="1139" y="267"/>
                    </a:lnTo>
                    <a:lnTo>
                      <a:pt x="1135" y="267"/>
                    </a:lnTo>
                    <a:lnTo>
                      <a:pt x="1135" y="269"/>
                    </a:lnTo>
                    <a:lnTo>
                      <a:pt x="1135" y="271"/>
                    </a:lnTo>
                    <a:lnTo>
                      <a:pt x="1137" y="271"/>
                    </a:lnTo>
                    <a:lnTo>
                      <a:pt x="1137" y="272"/>
                    </a:lnTo>
                    <a:lnTo>
                      <a:pt x="1135" y="272"/>
                    </a:lnTo>
                    <a:lnTo>
                      <a:pt x="1135" y="276"/>
                    </a:lnTo>
                    <a:lnTo>
                      <a:pt x="1135" y="278"/>
                    </a:lnTo>
                    <a:lnTo>
                      <a:pt x="1135" y="280"/>
                    </a:lnTo>
                    <a:lnTo>
                      <a:pt x="1133" y="280"/>
                    </a:lnTo>
                    <a:lnTo>
                      <a:pt x="1133" y="282"/>
                    </a:lnTo>
                    <a:lnTo>
                      <a:pt x="1131" y="282"/>
                    </a:lnTo>
                    <a:lnTo>
                      <a:pt x="1129" y="282"/>
                    </a:lnTo>
                    <a:lnTo>
                      <a:pt x="1129" y="284"/>
                    </a:lnTo>
                    <a:lnTo>
                      <a:pt x="1131" y="284"/>
                    </a:lnTo>
                    <a:lnTo>
                      <a:pt x="1129" y="284"/>
                    </a:lnTo>
                    <a:lnTo>
                      <a:pt x="1127" y="284"/>
                    </a:lnTo>
                    <a:lnTo>
                      <a:pt x="1124" y="284"/>
                    </a:lnTo>
                    <a:lnTo>
                      <a:pt x="1124" y="286"/>
                    </a:lnTo>
                    <a:lnTo>
                      <a:pt x="1122" y="286"/>
                    </a:lnTo>
                    <a:lnTo>
                      <a:pt x="1120" y="286"/>
                    </a:lnTo>
                    <a:lnTo>
                      <a:pt x="1118" y="288"/>
                    </a:lnTo>
                    <a:lnTo>
                      <a:pt x="1116" y="288"/>
                    </a:lnTo>
                    <a:lnTo>
                      <a:pt x="1114" y="290"/>
                    </a:lnTo>
                    <a:lnTo>
                      <a:pt x="1112" y="292"/>
                    </a:lnTo>
                    <a:lnTo>
                      <a:pt x="1108" y="294"/>
                    </a:lnTo>
                    <a:lnTo>
                      <a:pt x="1106" y="295"/>
                    </a:lnTo>
                    <a:lnTo>
                      <a:pt x="1104" y="295"/>
                    </a:lnTo>
                    <a:lnTo>
                      <a:pt x="1104" y="292"/>
                    </a:lnTo>
                    <a:lnTo>
                      <a:pt x="1102" y="288"/>
                    </a:lnTo>
                    <a:lnTo>
                      <a:pt x="1102" y="290"/>
                    </a:lnTo>
                    <a:lnTo>
                      <a:pt x="1101" y="290"/>
                    </a:lnTo>
                    <a:lnTo>
                      <a:pt x="1097" y="290"/>
                    </a:lnTo>
                    <a:lnTo>
                      <a:pt x="1097" y="288"/>
                    </a:lnTo>
                    <a:lnTo>
                      <a:pt x="1095" y="288"/>
                    </a:lnTo>
                    <a:lnTo>
                      <a:pt x="1093" y="288"/>
                    </a:lnTo>
                    <a:lnTo>
                      <a:pt x="1093" y="290"/>
                    </a:lnTo>
                    <a:lnTo>
                      <a:pt x="1093" y="292"/>
                    </a:lnTo>
                    <a:lnTo>
                      <a:pt x="1093" y="297"/>
                    </a:lnTo>
                    <a:lnTo>
                      <a:pt x="1095" y="297"/>
                    </a:lnTo>
                    <a:lnTo>
                      <a:pt x="1095" y="301"/>
                    </a:lnTo>
                    <a:lnTo>
                      <a:pt x="1095" y="303"/>
                    </a:lnTo>
                    <a:lnTo>
                      <a:pt x="1093" y="303"/>
                    </a:lnTo>
                    <a:lnTo>
                      <a:pt x="1085" y="305"/>
                    </a:lnTo>
                    <a:lnTo>
                      <a:pt x="1085" y="299"/>
                    </a:lnTo>
                    <a:lnTo>
                      <a:pt x="1085" y="297"/>
                    </a:lnTo>
                    <a:lnTo>
                      <a:pt x="1081" y="297"/>
                    </a:lnTo>
                    <a:lnTo>
                      <a:pt x="1076" y="297"/>
                    </a:lnTo>
                    <a:lnTo>
                      <a:pt x="1070" y="299"/>
                    </a:lnTo>
                    <a:lnTo>
                      <a:pt x="1066" y="299"/>
                    </a:lnTo>
                    <a:lnTo>
                      <a:pt x="1064" y="299"/>
                    </a:lnTo>
                    <a:lnTo>
                      <a:pt x="1064" y="301"/>
                    </a:lnTo>
                    <a:lnTo>
                      <a:pt x="1064" y="303"/>
                    </a:lnTo>
                    <a:lnTo>
                      <a:pt x="1062" y="303"/>
                    </a:lnTo>
                    <a:lnTo>
                      <a:pt x="1058" y="303"/>
                    </a:lnTo>
                    <a:lnTo>
                      <a:pt x="1054" y="303"/>
                    </a:lnTo>
                    <a:lnTo>
                      <a:pt x="1054" y="305"/>
                    </a:lnTo>
                    <a:lnTo>
                      <a:pt x="1056" y="307"/>
                    </a:lnTo>
                    <a:lnTo>
                      <a:pt x="1053" y="309"/>
                    </a:lnTo>
                    <a:lnTo>
                      <a:pt x="1054" y="311"/>
                    </a:lnTo>
                    <a:lnTo>
                      <a:pt x="1054" y="313"/>
                    </a:lnTo>
                    <a:lnTo>
                      <a:pt x="1053" y="313"/>
                    </a:lnTo>
                    <a:lnTo>
                      <a:pt x="1051" y="313"/>
                    </a:lnTo>
                    <a:lnTo>
                      <a:pt x="1051" y="317"/>
                    </a:lnTo>
                    <a:lnTo>
                      <a:pt x="1053" y="320"/>
                    </a:lnTo>
                    <a:lnTo>
                      <a:pt x="1053" y="322"/>
                    </a:lnTo>
                    <a:lnTo>
                      <a:pt x="1053" y="328"/>
                    </a:lnTo>
                    <a:lnTo>
                      <a:pt x="1053" y="332"/>
                    </a:lnTo>
                    <a:lnTo>
                      <a:pt x="1053" y="334"/>
                    </a:lnTo>
                    <a:lnTo>
                      <a:pt x="1053" y="338"/>
                    </a:lnTo>
                    <a:lnTo>
                      <a:pt x="1053" y="340"/>
                    </a:lnTo>
                    <a:lnTo>
                      <a:pt x="1053" y="342"/>
                    </a:lnTo>
                    <a:lnTo>
                      <a:pt x="1053" y="343"/>
                    </a:lnTo>
                    <a:lnTo>
                      <a:pt x="1053" y="347"/>
                    </a:lnTo>
                    <a:lnTo>
                      <a:pt x="1053" y="349"/>
                    </a:lnTo>
                    <a:lnTo>
                      <a:pt x="1054" y="353"/>
                    </a:lnTo>
                    <a:lnTo>
                      <a:pt x="1054" y="355"/>
                    </a:lnTo>
                    <a:lnTo>
                      <a:pt x="1053" y="357"/>
                    </a:lnTo>
                    <a:lnTo>
                      <a:pt x="1053" y="359"/>
                    </a:lnTo>
                    <a:lnTo>
                      <a:pt x="1053" y="361"/>
                    </a:lnTo>
                    <a:lnTo>
                      <a:pt x="1053" y="363"/>
                    </a:lnTo>
                    <a:lnTo>
                      <a:pt x="1053" y="365"/>
                    </a:lnTo>
                    <a:lnTo>
                      <a:pt x="1053" y="367"/>
                    </a:lnTo>
                    <a:lnTo>
                      <a:pt x="1053" y="368"/>
                    </a:lnTo>
                    <a:lnTo>
                      <a:pt x="1054" y="368"/>
                    </a:lnTo>
                    <a:lnTo>
                      <a:pt x="1054" y="372"/>
                    </a:lnTo>
                    <a:lnTo>
                      <a:pt x="1053" y="372"/>
                    </a:lnTo>
                    <a:lnTo>
                      <a:pt x="1051" y="372"/>
                    </a:lnTo>
                    <a:lnTo>
                      <a:pt x="1051" y="374"/>
                    </a:lnTo>
                    <a:lnTo>
                      <a:pt x="1049" y="374"/>
                    </a:lnTo>
                    <a:lnTo>
                      <a:pt x="1047" y="374"/>
                    </a:lnTo>
                    <a:lnTo>
                      <a:pt x="1047" y="376"/>
                    </a:lnTo>
                    <a:lnTo>
                      <a:pt x="1047" y="380"/>
                    </a:lnTo>
                    <a:lnTo>
                      <a:pt x="1047" y="382"/>
                    </a:lnTo>
                    <a:lnTo>
                      <a:pt x="1049" y="382"/>
                    </a:lnTo>
                    <a:lnTo>
                      <a:pt x="1047" y="384"/>
                    </a:lnTo>
                    <a:lnTo>
                      <a:pt x="1043" y="388"/>
                    </a:lnTo>
                    <a:lnTo>
                      <a:pt x="1043" y="390"/>
                    </a:lnTo>
                    <a:lnTo>
                      <a:pt x="1047" y="390"/>
                    </a:lnTo>
                    <a:lnTo>
                      <a:pt x="1049" y="391"/>
                    </a:lnTo>
                    <a:lnTo>
                      <a:pt x="1047" y="391"/>
                    </a:lnTo>
                    <a:lnTo>
                      <a:pt x="1047" y="397"/>
                    </a:lnTo>
                    <a:lnTo>
                      <a:pt x="1045" y="401"/>
                    </a:lnTo>
                    <a:lnTo>
                      <a:pt x="1047" y="401"/>
                    </a:lnTo>
                    <a:lnTo>
                      <a:pt x="1047" y="399"/>
                    </a:lnTo>
                    <a:lnTo>
                      <a:pt x="1049" y="399"/>
                    </a:lnTo>
                    <a:lnTo>
                      <a:pt x="1051" y="399"/>
                    </a:lnTo>
                    <a:lnTo>
                      <a:pt x="1053" y="399"/>
                    </a:lnTo>
                    <a:lnTo>
                      <a:pt x="1054" y="399"/>
                    </a:lnTo>
                    <a:lnTo>
                      <a:pt x="1056" y="399"/>
                    </a:lnTo>
                    <a:lnTo>
                      <a:pt x="1058" y="399"/>
                    </a:lnTo>
                    <a:lnTo>
                      <a:pt x="1058" y="401"/>
                    </a:lnTo>
                    <a:lnTo>
                      <a:pt x="1058" y="403"/>
                    </a:lnTo>
                    <a:lnTo>
                      <a:pt x="1056" y="405"/>
                    </a:lnTo>
                    <a:lnTo>
                      <a:pt x="1056" y="407"/>
                    </a:lnTo>
                    <a:lnTo>
                      <a:pt x="1056" y="411"/>
                    </a:lnTo>
                    <a:lnTo>
                      <a:pt x="1054" y="415"/>
                    </a:lnTo>
                    <a:lnTo>
                      <a:pt x="1056" y="415"/>
                    </a:lnTo>
                    <a:lnTo>
                      <a:pt x="1056" y="416"/>
                    </a:lnTo>
                    <a:lnTo>
                      <a:pt x="1056" y="418"/>
                    </a:lnTo>
                    <a:lnTo>
                      <a:pt x="1056" y="420"/>
                    </a:lnTo>
                    <a:lnTo>
                      <a:pt x="1056" y="422"/>
                    </a:lnTo>
                    <a:lnTo>
                      <a:pt x="1060" y="422"/>
                    </a:lnTo>
                    <a:lnTo>
                      <a:pt x="1060" y="424"/>
                    </a:lnTo>
                    <a:lnTo>
                      <a:pt x="1060" y="428"/>
                    </a:lnTo>
                    <a:lnTo>
                      <a:pt x="1060" y="432"/>
                    </a:lnTo>
                    <a:lnTo>
                      <a:pt x="1062" y="432"/>
                    </a:lnTo>
                    <a:lnTo>
                      <a:pt x="1062" y="434"/>
                    </a:lnTo>
                    <a:lnTo>
                      <a:pt x="1064" y="439"/>
                    </a:lnTo>
                    <a:lnTo>
                      <a:pt x="1062" y="441"/>
                    </a:lnTo>
                    <a:lnTo>
                      <a:pt x="1062" y="443"/>
                    </a:lnTo>
                    <a:lnTo>
                      <a:pt x="1060" y="443"/>
                    </a:lnTo>
                    <a:lnTo>
                      <a:pt x="1058" y="445"/>
                    </a:lnTo>
                    <a:lnTo>
                      <a:pt x="1056" y="445"/>
                    </a:lnTo>
                    <a:lnTo>
                      <a:pt x="1054" y="441"/>
                    </a:lnTo>
                    <a:lnTo>
                      <a:pt x="1053" y="441"/>
                    </a:lnTo>
                    <a:lnTo>
                      <a:pt x="1051" y="439"/>
                    </a:lnTo>
                    <a:lnTo>
                      <a:pt x="1051" y="441"/>
                    </a:lnTo>
                    <a:lnTo>
                      <a:pt x="1051" y="443"/>
                    </a:lnTo>
                    <a:lnTo>
                      <a:pt x="1049" y="447"/>
                    </a:lnTo>
                    <a:lnTo>
                      <a:pt x="1047" y="447"/>
                    </a:lnTo>
                    <a:lnTo>
                      <a:pt x="1045" y="447"/>
                    </a:lnTo>
                    <a:lnTo>
                      <a:pt x="1047" y="451"/>
                    </a:lnTo>
                    <a:lnTo>
                      <a:pt x="1049" y="449"/>
                    </a:lnTo>
                    <a:lnTo>
                      <a:pt x="1049" y="451"/>
                    </a:lnTo>
                    <a:lnTo>
                      <a:pt x="1049" y="453"/>
                    </a:lnTo>
                    <a:lnTo>
                      <a:pt x="1043" y="453"/>
                    </a:lnTo>
                    <a:lnTo>
                      <a:pt x="1043" y="455"/>
                    </a:lnTo>
                    <a:lnTo>
                      <a:pt x="1039" y="457"/>
                    </a:lnTo>
                    <a:lnTo>
                      <a:pt x="1033" y="457"/>
                    </a:lnTo>
                    <a:lnTo>
                      <a:pt x="1029" y="457"/>
                    </a:lnTo>
                    <a:lnTo>
                      <a:pt x="1029" y="459"/>
                    </a:lnTo>
                    <a:lnTo>
                      <a:pt x="1029" y="461"/>
                    </a:lnTo>
                    <a:lnTo>
                      <a:pt x="1029" y="464"/>
                    </a:lnTo>
                    <a:lnTo>
                      <a:pt x="1028" y="464"/>
                    </a:lnTo>
                    <a:lnTo>
                      <a:pt x="1026" y="464"/>
                    </a:lnTo>
                    <a:lnTo>
                      <a:pt x="1022" y="466"/>
                    </a:lnTo>
                    <a:lnTo>
                      <a:pt x="1020" y="466"/>
                    </a:lnTo>
                    <a:lnTo>
                      <a:pt x="1016" y="466"/>
                    </a:lnTo>
                    <a:lnTo>
                      <a:pt x="1014" y="466"/>
                    </a:lnTo>
                    <a:lnTo>
                      <a:pt x="1012" y="466"/>
                    </a:lnTo>
                    <a:lnTo>
                      <a:pt x="1010" y="466"/>
                    </a:lnTo>
                    <a:lnTo>
                      <a:pt x="1008" y="466"/>
                    </a:lnTo>
                    <a:lnTo>
                      <a:pt x="1008" y="468"/>
                    </a:lnTo>
                    <a:lnTo>
                      <a:pt x="1003" y="468"/>
                    </a:lnTo>
                    <a:lnTo>
                      <a:pt x="997" y="468"/>
                    </a:lnTo>
                    <a:lnTo>
                      <a:pt x="997" y="470"/>
                    </a:lnTo>
                    <a:lnTo>
                      <a:pt x="995" y="470"/>
                    </a:lnTo>
                    <a:lnTo>
                      <a:pt x="991" y="470"/>
                    </a:lnTo>
                    <a:lnTo>
                      <a:pt x="989" y="470"/>
                    </a:lnTo>
                    <a:lnTo>
                      <a:pt x="989" y="472"/>
                    </a:lnTo>
                    <a:lnTo>
                      <a:pt x="991" y="474"/>
                    </a:lnTo>
                    <a:lnTo>
                      <a:pt x="991" y="478"/>
                    </a:lnTo>
                    <a:lnTo>
                      <a:pt x="993" y="480"/>
                    </a:lnTo>
                    <a:lnTo>
                      <a:pt x="995" y="480"/>
                    </a:lnTo>
                    <a:lnTo>
                      <a:pt x="995" y="482"/>
                    </a:lnTo>
                    <a:lnTo>
                      <a:pt x="995" y="484"/>
                    </a:lnTo>
                    <a:lnTo>
                      <a:pt x="993" y="484"/>
                    </a:lnTo>
                    <a:lnTo>
                      <a:pt x="991" y="484"/>
                    </a:lnTo>
                    <a:lnTo>
                      <a:pt x="991" y="486"/>
                    </a:lnTo>
                    <a:lnTo>
                      <a:pt x="991" y="487"/>
                    </a:lnTo>
                    <a:lnTo>
                      <a:pt x="989" y="487"/>
                    </a:lnTo>
                    <a:lnTo>
                      <a:pt x="989" y="489"/>
                    </a:lnTo>
                    <a:lnTo>
                      <a:pt x="989" y="491"/>
                    </a:lnTo>
                    <a:lnTo>
                      <a:pt x="987" y="491"/>
                    </a:lnTo>
                    <a:lnTo>
                      <a:pt x="983" y="489"/>
                    </a:lnTo>
                    <a:lnTo>
                      <a:pt x="983" y="478"/>
                    </a:lnTo>
                    <a:lnTo>
                      <a:pt x="983" y="476"/>
                    </a:lnTo>
                    <a:lnTo>
                      <a:pt x="985" y="474"/>
                    </a:lnTo>
                    <a:lnTo>
                      <a:pt x="983" y="468"/>
                    </a:lnTo>
                    <a:lnTo>
                      <a:pt x="978" y="468"/>
                    </a:lnTo>
                    <a:lnTo>
                      <a:pt x="978" y="466"/>
                    </a:lnTo>
                    <a:lnTo>
                      <a:pt x="976" y="461"/>
                    </a:lnTo>
                    <a:lnTo>
                      <a:pt x="974" y="461"/>
                    </a:lnTo>
                    <a:lnTo>
                      <a:pt x="972" y="461"/>
                    </a:lnTo>
                    <a:lnTo>
                      <a:pt x="968" y="461"/>
                    </a:lnTo>
                    <a:lnTo>
                      <a:pt x="968" y="464"/>
                    </a:lnTo>
                    <a:lnTo>
                      <a:pt x="968" y="466"/>
                    </a:lnTo>
                    <a:lnTo>
                      <a:pt x="968" y="470"/>
                    </a:lnTo>
                    <a:lnTo>
                      <a:pt x="972" y="470"/>
                    </a:lnTo>
                    <a:lnTo>
                      <a:pt x="972" y="472"/>
                    </a:lnTo>
                    <a:lnTo>
                      <a:pt x="972" y="474"/>
                    </a:lnTo>
                    <a:lnTo>
                      <a:pt x="972" y="476"/>
                    </a:lnTo>
                    <a:lnTo>
                      <a:pt x="972" y="478"/>
                    </a:lnTo>
                    <a:lnTo>
                      <a:pt x="972" y="480"/>
                    </a:lnTo>
                    <a:lnTo>
                      <a:pt x="970" y="480"/>
                    </a:lnTo>
                    <a:lnTo>
                      <a:pt x="968" y="480"/>
                    </a:lnTo>
                    <a:lnTo>
                      <a:pt x="966" y="482"/>
                    </a:lnTo>
                    <a:lnTo>
                      <a:pt x="962" y="482"/>
                    </a:lnTo>
                    <a:lnTo>
                      <a:pt x="958" y="482"/>
                    </a:lnTo>
                    <a:lnTo>
                      <a:pt x="958" y="484"/>
                    </a:lnTo>
                    <a:lnTo>
                      <a:pt x="958" y="486"/>
                    </a:lnTo>
                    <a:lnTo>
                      <a:pt x="958" y="487"/>
                    </a:lnTo>
                    <a:lnTo>
                      <a:pt x="964" y="487"/>
                    </a:lnTo>
                    <a:lnTo>
                      <a:pt x="966" y="487"/>
                    </a:lnTo>
                    <a:lnTo>
                      <a:pt x="968" y="487"/>
                    </a:lnTo>
                    <a:lnTo>
                      <a:pt x="968" y="484"/>
                    </a:lnTo>
                    <a:lnTo>
                      <a:pt x="970" y="484"/>
                    </a:lnTo>
                    <a:lnTo>
                      <a:pt x="970" y="486"/>
                    </a:lnTo>
                    <a:lnTo>
                      <a:pt x="972" y="486"/>
                    </a:lnTo>
                    <a:lnTo>
                      <a:pt x="972" y="487"/>
                    </a:lnTo>
                    <a:lnTo>
                      <a:pt x="968" y="487"/>
                    </a:lnTo>
                    <a:lnTo>
                      <a:pt x="968" y="493"/>
                    </a:lnTo>
                    <a:lnTo>
                      <a:pt x="964" y="493"/>
                    </a:lnTo>
                    <a:lnTo>
                      <a:pt x="958" y="495"/>
                    </a:lnTo>
                    <a:lnTo>
                      <a:pt x="957" y="495"/>
                    </a:lnTo>
                    <a:lnTo>
                      <a:pt x="955" y="495"/>
                    </a:lnTo>
                    <a:lnTo>
                      <a:pt x="953" y="495"/>
                    </a:lnTo>
                    <a:lnTo>
                      <a:pt x="951" y="495"/>
                    </a:lnTo>
                    <a:lnTo>
                      <a:pt x="949" y="495"/>
                    </a:lnTo>
                    <a:lnTo>
                      <a:pt x="949" y="497"/>
                    </a:lnTo>
                    <a:lnTo>
                      <a:pt x="947" y="497"/>
                    </a:lnTo>
                    <a:lnTo>
                      <a:pt x="945" y="499"/>
                    </a:lnTo>
                    <a:lnTo>
                      <a:pt x="945" y="503"/>
                    </a:lnTo>
                    <a:lnTo>
                      <a:pt x="947" y="503"/>
                    </a:lnTo>
                    <a:lnTo>
                      <a:pt x="947" y="505"/>
                    </a:lnTo>
                    <a:lnTo>
                      <a:pt x="947" y="507"/>
                    </a:lnTo>
                    <a:lnTo>
                      <a:pt x="947" y="509"/>
                    </a:lnTo>
                    <a:lnTo>
                      <a:pt x="947" y="512"/>
                    </a:lnTo>
                    <a:lnTo>
                      <a:pt x="945" y="512"/>
                    </a:lnTo>
                    <a:lnTo>
                      <a:pt x="945" y="509"/>
                    </a:lnTo>
                    <a:lnTo>
                      <a:pt x="945" y="505"/>
                    </a:lnTo>
                    <a:lnTo>
                      <a:pt x="945" y="503"/>
                    </a:lnTo>
                    <a:lnTo>
                      <a:pt x="943" y="503"/>
                    </a:lnTo>
                    <a:lnTo>
                      <a:pt x="939" y="505"/>
                    </a:lnTo>
                    <a:lnTo>
                      <a:pt x="937" y="505"/>
                    </a:lnTo>
                    <a:lnTo>
                      <a:pt x="937" y="503"/>
                    </a:lnTo>
                    <a:lnTo>
                      <a:pt x="933" y="503"/>
                    </a:lnTo>
                    <a:lnTo>
                      <a:pt x="935" y="503"/>
                    </a:lnTo>
                    <a:lnTo>
                      <a:pt x="935" y="505"/>
                    </a:lnTo>
                    <a:lnTo>
                      <a:pt x="933" y="505"/>
                    </a:lnTo>
                    <a:lnTo>
                      <a:pt x="933" y="507"/>
                    </a:lnTo>
                    <a:lnTo>
                      <a:pt x="933" y="509"/>
                    </a:lnTo>
                    <a:lnTo>
                      <a:pt x="933" y="511"/>
                    </a:lnTo>
                    <a:lnTo>
                      <a:pt x="935" y="511"/>
                    </a:lnTo>
                    <a:lnTo>
                      <a:pt x="935" y="512"/>
                    </a:lnTo>
                    <a:lnTo>
                      <a:pt x="933" y="512"/>
                    </a:lnTo>
                    <a:lnTo>
                      <a:pt x="932" y="512"/>
                    </a:lnTo>
                    <a:lnTo>
                      <a:pt x="930" y="512"/>
                    </a:lnTo>
                    <a:lnTo>
                      <a:pt x="924" y="512"/>
                    </a:lnTo>
                    <a:lnTo>
                      <a:pt x="922" y="512"/>
                    </a:lnTo>
                    <a:lnTo>
                      <a:pt x="920" y="512"/>
                    </a:lnTo>
                    <a:lnTo>
                      <a:pt x="918" y="512"/>
                    </a:lnTo>
                    <a:lnTo>
                      <a:pt x="916" y="514"/>
                    </a:lnTo>
                    <a:lnTo>
                      <a:pt x="914" y="514"/>
                    </a:lnTo>
                    <a:lnTo>
                      <a:pt x="912" y="514"/>
                    </a:lnTo>
                    <a:lnTo>
                      <a:pt x="912" y="516"/>
                    </a:lnTo>
                    <a:lnTo>
                      <a:pt x="912" y="518"/>
                    </a:lnTo>
                    <a:lnTo>
                      <a:pt x="912" y="522"/>
                    </a:lnTo>
                    <a:lnTo>
                      <a:pt x="912" y="524"/>
                    </a:lnTo>
                    <a:lnTo>
                      <a:pt x="910" y="524"/>
                    </a:lnTo>
                    <a:lnTo>
                      <a:pt x="910" y="526"/>
                    </a:lnTo>
                    <a:lnTo>
                      <a:pt x="910" y="528"/>
                    </a:lnTo>
                    <a:lnTo>
                      <a:pt x="908" y="528"/>
                    </a:lnTo>
                    <a:lnTo>
                      <a:pt x="908" y="530"/>
                    </a:lnTo>
                    <a:lnTo>
                      <a:pt x="908" y="532"/>
                    </a:lnTo>
                    <a:lnTo>
                      <a:pt x="908" y="534"/>
                    </a:lnTo>
                    <a:lnTo>
                      <a:pt x="908" y="535"/>
                    </a:lnTo>
                    <a:lnTo>
                      <a:pt x="908" y="534"/>
                    </a:lnTo>
                    <a:lnTo>
                      <a:pt x="907" y="534"/>
                    </a:lnTo>
                    <a:lnTo>
                      <a:pt x="905" y="534"/>
                    </a:lnTo>
                    <a:lnTo>
                      <a:pt x="905" y="532"/>
                    </a:lnTo>
                    <a:lnTo>
                      <a:pt x="903" y="532"/>
                    </a:lnTo>
                    <a:lnTo>
                      <a:pt x="903" y="528"/>
                    </a:lnTo>
                    <a:lnTo>
                      <a:pt x="903" y="522"/>
                    </a:lnTo>
                    <a:lnTo>
                      <a:pt x="903" y="518"/>
                    </a:lnTo>
                    <a:lnTo>
                      <a:pt x="901" y="511"/>
                    </a:lnTo>
                    <a:lnTo>
                      <a:pt x="901" y="507"/>
                    </a:lnTo>
                    <a:lnTo>
                      <a:pt x="899" y="507"/>
                    </a:lnTo>
                    <a:lnTo>
                      <a:pt x="897" y="509"/>
                    </a:lnTo>
                    <a:lnTo>
                      <a:pt x="895" y="509"/>
                    </a:lnTo>
                    <a:lnTo>
                      <a:pt x="893" y="511"/>
                    </a:lnTo>
                    <a:lnTo>
                      <a:pt x="891" y="511"/>
                    </a:lnTo>
                    <a:lnTo>
                      <a:pt x="889" y="511"/>
                    </a:lnTo>
                    <a:lnTo>
                      <a:pt x="889" y="509"/>
                    </a:lnTo>
                    <a:lnTo>
                      <a:pt x="887" y="509"/>
                    </a:lnTo>
                    <a:lnTo>
                      <a:pt x="885" y="509"/>
                    </a:lnTo>
                    <a:lnTo>
                      <a:pt x="880" y="509"/>
                    </a:lnTo>
                    <a:lnTo>
                      <a:pt x="880" y="512"/>
                    </a:lnTo>
                    <a:lnTo>
                      <a:pt x="874" y="512"/>
                    </a:lnTo>
                    <a:lnTo>
                      <a:pt x="870" y="512"/>
                    </a:lnTo>
                    <a:lnTo>
                      <a:pt x="870" y="511"/>
                    </a:lnTo>
                    <a:lnTo>
                      <a:pt x="866" y="511"/>
                    </a:lnTo>
                    <a:lnTo>
                      <a:pt x="868" y="514"/>
                    </a:lnTo>
                    <a:lnTo>
                      <a:pt x="868" y="516"/>
                    </a:lnTo>
                    <a:lnTo>
                      <a:pt x="870" y="516"/>
                    </a:lnTo>
                    <a:lnTo>
                      <a:pt x="870" y="518"/>
                    </a:lnTo>
                    <a:lnTo>
                      <a:pt x="872" y="518"/>
                    </a:lnTo>
                    <a:lnTo>
                      <a:pt x="872" y="524"/>
                    </a:lnTo>
                    <a:lnTo>
                      <a:pt x="872" y="532"/>
                    </a:lnTo>
                    <a:lnTo>
                      <a:pt x="870" y="532"/>
                    </a:lnTo>
                    <a:lnTo>
                      <a:pt x="866" y="532"/>
                    </a:lnTo>
                    <a:lnTo>
                      <a:pt x="864" y="532"/>
                    </a:lnTo>
                    <a:lnTo>
                      <a:pt x="864" y="530"/>
                    </a:lnTo>
                    <a:lnTo>
                      <a:pt x="862" y="530"/>
                    </a:lnTo>
                    <a:lnTo>
                      <a:pt x="860" y="532"/>
                    </a:lnTo>
                    <a:lnTo>
                      <a:pt x="855" y="532"/>
                    </a:lnTo>
                    <a:lnTo>
                      <a:pt x="853" y="532"/>
                    </a:lnTo>
                    <a:lnTo>
                      <a:pt x="849" y="532"/>
                    </a:lnTo>
                    <a:lnTo>
                      <a:pt x="849" y="534"/>
                    </a:lnTo>
                    <a:lnTo>
                      <a:pt x="847" y="534"/>
                    </a:lnTo>
                    <a:lnTo>
                      <a:pt x="845" y="534"/>
                    </a:lnTo>
                    <a:lnTo>
                      <a:pt x="845" y="532"/>
                    </a:lnTo>
                    <a:lnTo>
                      <a:pt x="845" y="530"/>
                    </a:lnTo>
                    <a:lnTo>
                      <a:pt x="845" y="532"/>
                    </a:lnTo>
                    <a:lnTo>
                      <a:pt x="843" y="530"/>
                    </a:lnTo>
                    <a:lnTo>
                      <a:pt x="843" y="528"/>
                    </a:lnTo>
                    <a:lnTo>
                      <a:pt x="845" y="528"/>
                    </a:lnTo>
                    <a:lnTo>
                      <a:pt x="845" y="526"/>
                    </a:lnTo>
                    <a:lnTo>
                      <a:pt x="843" y="526"/>
                    </a:lnTo>
                    <a:lnTo>
                      <a:pt x="841" y="526"/>
                    </a:lnTo>
                    <a:lnTo>
                      <a:pt x="839" y="526"/>
                    </a:lnTo>
                    <a:lnTo>
                      <a:pt x="836" y="526"/>
                    </a:lnTo>
                    <a:lnTo>
                      <a:pt x="820" y="528"/>
                    </a:lnTo>
                    <a:lnTo>
                      <a:pt x="814" y="528"/>
                    </a:lnTo>
                    <a:lnTo>
                      <a:pt x="814" y="532"/>
                    </a:lnTo>
                    <a:lnTo>
                      <a:pt x="814" y="535"/>
                    </a:lnTo>
                    <a:lnTo>
                      <a:pt x="814" y="537"/>
                    </a:lnTo>
                    <a:lnTo>
                      <a:pt x="814" y="541"/>
                    </a:lnTo>
                    <a:lnTo>
                      <a:pt x="814" y="543"/>
                    </a:lnTo>
                    <a:lnTo>
                      <a:pt x="826" y="541"/>
                    </a:lnTo>
                    <a:lnTo>
                      <a:pt x="826" y="543"/>
                    </a:lnTo>
                    <a:lnTo>
                      <a:pt x="826" y="545"/>
                    </a:lnTo>
                    <a:lnTo>
                      <a:pt x="828" y="545"/>
                    </a:lnTo>
                    <a:lnTo>
                      <a:pt x="828" y="547"/>
                    </a:lnTo>
                    <a:lnTo>
                      <a:pt x="828" y="549"/>
                    </a:lnTo>
                    <a:lnTo>
                      <a:pt x="824" y="551"/>
                    </a:lnTo>
                    <a:lnTo>
                      <a:pt x="820" y="551"/>
                    </a:lnTo>
                    <a:lnTo>
                      <a:pt x="816" y="551"/>
                    </a:lnTo>
                    <a:lnTo>
                      <a:pt x="814" y="551"/>
                    </a:lnTo>
                    <a:lnTo>
                      <a:pt x="812" y="551"/>
                    </a:lnTo>
                    <a:lnTo>
                      <a:pt x="811" y="551"/>
                    </a:lnTo>
                    <a:lnTo>
                      <a:pt x="807" y="551"/>
                    </a:lnTo>
                    <a:lnTo>
                      <a:pt x="801" y="553"/>
                    </a:lnTo>
                    <a:lnTo>
                      <a:pt x="801" y="555"/>
                    </a:lnTo>
                    <a:lnTo>
                      <a:pt x="803" y="559"/>
                    </a:lnTo>
                    <a:lnTo>
                      <a:pt x="805" y="559"/>
                    </a:lnTo>
                    <a:lnTo>
                      <a:pt x="807" y="559"/>
                    </a:lnTo>
                    <a:lnTo>
                      <a:pt x="809" y="559"/>
                    </a:lnTo>
                    <a:lnTo>
                      <a:pt x="809" y="562"/>
                    </a:lnTo>
                    <a:lnTo>
                      <a:pt x="809" y="564"/>
                    </a:lnTo>
                    <a:lnTo>
                      <a:pt x="809" y="566"/>
                    </a:lnTo>
                    <a:lnTo>
                      <a:pt x="809" y="574"/>
                    </a:lnTo>
                    <a:lnTo>
                      <a:pt x="803" y="574"/>
                    </a:lnTo>
                    <a:lnTo>
                      <a:pt x="803" y="578"/>
                    </a:lnTo>
                    <a:lnTo>
                      <a:pt x="805" y="580"/>
                    </a:lnTo>
                    <a:lnTo>
                      <a:pt x="805" y="582"/>
                    </a:lnTo>
                    <a:lnTo>
                      <a:pt x="807" y="580"/>
                    </a:lnTo>
                    <a:lnTo>
                      <a:pt x="807" y="582"/>
                    </a:lnTo>
                    <a:lnTo>
                      <a:pt x="807" y="583"/>
                    </a:lnTo>
                    <a:lnTo>
                      <a:pt x="805" y="585"/>
                    </a:lnTo>
                    <a:lnTo>
                      <a:pt x="803" y="587"/>
                    </a:lnTo>
                    <a:lnTo>
                      <a:pt x="801" y="591"/>
                    </a:lnTo>
                    <a:lnTo>
                      <a:pt x="799" y="591"/>
                    </a:lnTo>
                    <a:lnTo>
                      <a:pt x="799" y="593"/>
                    </a:lnTo>
                    <a:lnTo>
                      <a:pt x="799" y="595"/>
                    </a:lnTo>
                    <a:lnTo>
                      <a:pt x="797" y="595"/>
                    </a:lnTo>
                    <a:lnTo>
                      <a:pt x="793" y="595"/>
                    </a:lnTo>
                    <a:lnTo>
                      <a:pt x="791" y="595"/>
                    </a:lnTo>
                    <a:lnTo>
                      <a:pt x="789" y="597"/>
                    </a:lnTo>
                    <a:lnTo>
                      <a:pt x="786" y="597"/>
                    </a:lnTo>
                    <a:lnTo>
                      <a:pt x="784" y="597"/>
                    </a:lnTo>
                    <a:lnTo>
                      <a:pt x="782" y="599"/>
                    </a:lnTo>
                    <a:lnTo>
                      <a:pt x="778" y="599"/>
                    </a:lnTo>
                    <a:lnTo>
                      <a:pt x="776" y="599"/>
                    </a:lnTo>
                    <a:lnTo>
                      <a:pt x="774" y="599"/>
                    </a:lnTo>
                    <a:lnTo>
                      <a:pt x="768" y="599"/>
                    </a:lnTo>
                    <a:lnTo>
                      <a:pt x="764" y="599"/>
                    </a:lnTo>
                    <a:lnTo>
                      <a:pt x="759" y="601"/>
                    </a:lnTo>
                    <a:lnTo>
                      <a:pt x="755" y="601"/>
                    </a:lnTo>
                    <a:lnTo>
                      <a:pt x="753" y="601"/>
                    </a:lnTo>
                    <a:lnTo>
                      <a:pt x="749" y="601"/>
                    </a:lnTo>
                    <a:lnTo>
                      <a:pt x="747" y="601"/>
                    </a:lnTo>
                    <a:lnTo>
                      <a:pt x="745" y="601"/>
                    </a:lnTo>
                    <a:lnTo>
                      <a:pt x="743" y="601"/>
                    </a:lnTo>
                    <a:lnTo>
                      <a:pt x="741" y="601"/>
                    </a:lnTo>
                    <a:lnTo>
                      <a:pt x="740" y="603"/>
                    </a:lnTo>
                    <a:lnTo>
                      <a:pt x="738" y="603"/>
                    </a:lnTo>
                    <a:lnTo>
                      <a:pt x="736" y="603"/>
                    </a:lnTo>
                    <a:lnTo>
                      <a:pt x="734" y="603"/>
                    </a:lnTo>
                    <a:lnTo>
                      <a:pt x="734" y="601"/>
                    </a:lnTo>
                    <a:lnTo>
                      <a:pt x="734" y="599"/>
                    </a:lnTo>
                    <a:lnTo>
                      <a:pt x="734" y="597"/>
                    </a:lnTo>
                    <a:lnTo>
                      <a:pt x="732" y="597"/>
                    </a:lnTo>
                    <a:lnTo>
                      <a:pt x="732" y="599"/>
                    </a:lnTo>
                    <a:lnTo>
                      <a:pt x="730" y="599"/>
                    </a:lnTo>
                    <a:lnTo>
                      <a:pt x="728" y="599"/>
                    </a:lnTo>
                    <a:lnTo>
                      <a:pt x="726" y="599"/>
                    </a:lnTo>
                    <a:lnTo>
                      <a:pt x="724" y="599"/>
                    </a:lnTo>
                    <a:lnTo>
                      <a:pt x="726" y="597"/>
                    </a:lnTo>
                    <a:lnTo>
                      <a:pt x="726" y="599"/>
                    </a:lnTo>
                    <a:lnTo>
                      <a:pt x="728" y="597"/>
                    </a:lnTo>
                    <a:lnTo>
                      <a:pt x="726" y="597"/>
                    </a:lnTo>
                    <a:lnTo>
                      <a:pt x="724" y="597"/>
                    </a:lnTo>
                    <a:lnTo>
                      <a:pt x="722" y="599"/>
                    </a:lnTo>
                    <a:lnTo>
                      <a:pt x="722" y="597"/>
                    </a:lnTo>
                    <a:lnTo>
                      <a:pt x="720" y="597"/>
                    </a:lnTo>
                    <a:lnTo>
                      <a:pt x="720" y="599"/>
                    </a:lnTo>
                    <a:lnTo>
                      <a:pt x="718" y="599"/>
                    </a:lnTo>
                    <a:lnTo>
                      <a:pt x="716" y="599"/>
                    </a:lnTo>
                    <a:lnTo>
                      <a:pt x="716" y="601"/>
                    </a:lnTo>
                    <a:lnTo>
                      <a:pt x="715" y="601"/>
                    </a:lnTo>
                    <a:lnTo>
                      <a:pt x="713" y="601"/>
                    </a:lnTo>
                    <a:lnTo>
                      <a:pt x="713" y="599"/>
                    </a:lnTo>
                    <a:lnTo>
                      <a:pt x="711" y="599"/>
                    </a:lnTo>
                    <a:lnTo>
                      <a:pt x="711" y="597"/>
                    </a:lnTo>
                    <a:lnTo>
                      <a:pt x="709" y="597"/>
                    </a:lnTo>
                    <a:lnTo>
                      <a:pt x="709" y="595"/>
                    </a:lnTo>
                    <a:lnTo>
                      <a:pt x="707" y="595"/>
                    </a:lnTo>
                    <a:lnTo>
                      <a:pt x="707" y="593"/>
                    </a:lnTo>
                    <a:lnTo>
                      <a:pt x="707" y="591"/>
                    </a:lnTo>
                    <a:lnTo>
                      <a:pt x="707" y="589"/>
                    </a:lnTo>
                    <a:lnTo>
                      <a:pt x="705" y="589"/>
                    </a:lnTo>
                    <a:lnTo>
                      <a:pt x="705" y="587"/>
                    </a:lnTo>
                    <a:lnTo>
                      <a:pt x="703" y="587"/>
                    </a:lnTo>
                    <a:lnTo>
                      <a:pt x="701" y="587"/>
                    </a:lnTo>
                    <a:lnTo>
                      <a:pt x="701" y="585"/>
                    </a:lnTo>
                    <a:lnTo>
                      <a:pt x="699" y="585"/>
                    </a:lnTo>
                    <a:lnTo>
                      <a:pt x="697" y="585"/>
                    </a:lnTo>
                    <a:lnTo>
                      <a:pt x="695" y="585"/>
                    </a:lnTo>
                    <a:lnTo>
                      <a:pt x="692" y="585"/>
                    </a:lnTo>
                    <a:lnTo>
                      <a:pt x="690" y="585"/>
                    </a:lnTo>
                    <a:lnTo>
                      <a:pt x="684" y="587"/>
                    </a:lnTo>
                    <a:lnTo>
                      <a:pt x="682" y="587"/>
                    </a:lnTo>
                    <a:lnTo>
                      <a:pt x="680" y="587"/>
                    </a:lnTo>
                    <a:lnTo>
                      <a:pt x="680" y="589"/>
                    </a:lnTo>
                    <a:lnTo>
                      <a:pt x="680" y="591"/>
                    </a:lnTo>
                    <a:lnTo>
                      <a:pt x="680" y="593"/>
                    </a:lnTo>
                    <a:lnTo>
                      <a:pt x="680" y="597"/>
                    </a:lnTo>
                    <a:lnTo>
                      <a:pt x="676" y="597"/>
                    </a:lnTo>
                    <a:lnTo>
                      <a:pt x="676" y="599"/>
                    </a:lnTo>
                    <a:lnTo>
                      <a:pt x="676" y="603"/>
                    </a:lnTo>
                    <a:lnTo>
                      <a:pt x="676" y="605"/>
                    </a:lnTo>
                    <a:lnTo>
                      <a:pt x="676" y="610"/>
                    </a:lnTo>
                    <a:lnTo>
                      <a:pt x="674" y="610"/>
                    </a:lnTo>
                    <a:lnTo>
                      <a:pt x="670" y="610"/>
                    </a:lnTo>
                    <a:lnTo>
                      <a:pt x="667" y="610"/>
                    </a:lnTo>
                    <a:lnTo>
                      <a:pt x="663" y="610"/>
                    </a:lnTo>
                    <a:lnTo>
                      <a:pt x="661" y="612"/>
                    </a:lnTo>
                    <a:lnTo>
                      <a:pt x="657" y="612"/>
                    </a:lnTo>
                    <a:lnTo>
                      <a:pt x="657" y="610"/>
                    </a:lnTo>
                    <a:lnTo>
                      <a:pt x="657" y="608"/>
                    </a:lnTo>
                    <a:lnTo>
                      <a:pt x="655" y="608"/>
                    </a:lnTo>
                    <a:lnTo>
                      <a:pt x="655" y="610"/>
                    </a:lnTo>
                    <a:lnTo>
                      <a:pt x="653" y="610"/>
                    </a:lnTo>
                    <a:lnTo>
                      <a:pt x="653" y="612"/>
                    </a:lnTo>
                    <a:lnTo>
                      <a:pt x="651" y="612"/>
                    </a:lnTo>
                    <a:lnTo>
                      <a:pt x="649" y="610"/>
                    </a:lnTo>
                    <a:lnTo>
                      <a:pt x="651" y="610"/>
                    </a:lnTo>
                    <a:lnTo>
                      <a:pt x="649" y="610"/>
                    </a:lnTo>
                    <a:lnTo>
                      <a:pt x="649" y="608"/>
                    </a:lnTo>
                    <a:lnTo>
                      <a:pt x="647" y="608"/>
                    </a:lnTo>
                    <a:lnTo>
                      <a:pt x="645" y="608"/>
                    </a:lnTo>
                    <a:lnTo>
                      <a:pt x="643" y="608"/>
                    </a:lnTo>
                    <a:lnTo>
                      <a:pt x="643" y="605"/>
                    </a:lnTo>
                    <a:lnTo>
                      <a:pt x="643" y="603"/>
                    </a:lnTo>
                    <a:lnTo>
                      <a:pt x="643" y="601"/>
                    </a:lnTo>
                    <a:lnTo>
                      <a:pt x="643" y="597"/>
                    </a:lnTo>
                    <a:lnTo>
                      <a:pt x="642" y="597"/>
                    </a:lnTo>
                    <a:lnTo>
                      <a:pt x="638" y="597"/>
                    </a:lnTo>
                    <a:lnTo>
                      <a:pt x="638" y="595"/>
                    </a:lnTo>
                    <a:lnTo>
                      <a:pt x="638" y="593"/>
                    </a:lnTo>
                    <a:lnTo>
                      <a:pt x="638" y="591"/>
                    </a:lnTo>
                    <a:lnTo>
                      <a:pt x="636" y="591"/>
                    </a:lnTo>
                    <a:lnTo>
                      <a:pt x="634" y="587"/>
                    </a:lnTo>
                    <a:lnTo>
                      <a:pt x="632" y="587"/>
                    </a:lnTo>
                    <a:lnTo>
                      <a:pt x="630" y="587"/>
                    </a:lnTo>
                    <a:lnTo>
                      <a:pt x="630" y="585"/>
                    </a:lnTo>
                    <a:lnTo>
                      <a:pt x="630" y="583"/>
                    </a:lnTo>
                    <a:lnTo>
                      <a:pt x="628" y="582"/>
                    </a:lnTo>
                    <a:lnTo>
                      <a:pt x="626" y="582"/>
                    </a:lnTo>
                    <a:lnTo>
                      <a:pt x="624" y="582"/>
                    </a:lnTo>
                    <a:lnTo>
                      <a:pt x="622" y="582"/>
                    </a:lnTo>
                    <a:lnTo>
                      <a:pt x="620" y="582"/>
                    </a:lnTo>
                    <a:lnTo>
                      <a:pt x="619" y="582"/>
                    </a:lnTo>
                    <a:lnTo>
                      <a:pt x="617" y="582"/>
                    </a:lnTo>
                    <a:lnTo>
                      <a:pt x="619" y="582"/>
                    </a:lnTo>
                    <a:lnTo>
                      <a:pt x="617" y="582"/>
                    </a:lnTo>
                    <a:lnTo>
                      <a:pt x="615" y="582"/>
                    </a:lnTo>
                    <a:lnTo>
                      <a:pt x="613" y="582"/>
                    </a:lnTo>
                    <a:lnTo>
                      <a:pt x="611" y="582"/>
                    </a:lnTo>
                    <a:lnTo>
                      <a:pt x="607" y="582"/>
                    </a:lnTo>
                    <a:lnTo>
                      <a:pt x="605" y="582"/>
                    </a:lnTo>
                    <a:lnTo>
                      <a:pt x="601" y="582"/>
                    </a:lnTo>
                    <a:lnTo>
                      <a:pt x="603" y="587"/>
                    </a:lnTo>
                    <a:lnTo>
                      <a:pt x="601" y="587"/>
                    </a:lnTo>
                    <a:lnTo>
                      <a:pt x="597" y="587"/>
                    </a:lnTo>
                    <a:lnTo>
                      <a:pt x="594" y="587"/>
                    </a:lnTo>
                    <a:lnTo>
                      <a:pt x="590" y="587"/>
                    </a:lnTo>
                    <a:lnTo>
                      <a:pt x="588" y="589"/>
                    </a:lnTo>
                    <a:lnTo>
                      <a:pt x="582" y="589"/>
                    </a:lnTo>
                    <a:lnTo>
                      <a:pt x="576" y="589"/>
                    </a:lnTo>
                    <a:lnTo>
                      <a:pt x="574" y="589"/>
                    </a:lnTo>
                    <a:lnTo>
                      <a:pt x="571" y="591"/>
                    </a:lnTo>
                    <a:lnTo>
                      <a:pt x="567" y="591"/>
                    </a:lnTo>
                    <a:lnTo>
                      <a:pt x="567" y="589"/>
                    </a:lnTo>
                    <a:lnTo>
                      <a:pt x="567" y="585"/>
                    </a:lnTo>
                    <a:lnTo>
                      <a:pt x="565" y="585"/>
                    </a:lnTo>
                    <a:lnTo>
                      <a:pt x="565" y="582"/>
                    </a:lnTo>
                    <a:lnTo>
                      <a:pt x="565" y="580"/>
                    </a:lnTo>
                    <a:lnTo>
                      <a:pt x="565" y="578"/>
                    </a:lnTo>
                    <a:lnTo>
                      <a:pt x="565" y="576"/>
                    </a:lnTo>
                    <a:lnTo>
                      <a:pt x="567" y="576"/>
                    </a:lnTo>
                    <a:lnTo>
                      <a:pt x="569" y="576"/>
                    </a:lnTo>
                    <a:lnTo>
                      <a:pt x="572" y="576"/>
                    </a:lnTo>
                    <a:lnTo>
                      <a:pt x="576" y="574"/>
                    </a:lnTo>
                    <a:lnTo>
                      <a:pt x="578" y="574"/>
                    </a:lnTo>
                    <a:lnTo>
                      <a:pt x="578" y="572"/>
                    </a:lnTo>
                    <a:lnTo>
                      <a:pt x="576" y="572"/>
                    </a:lnTo>
                    <a:lnTo>
                      <a:pt x="576" y="570"/>
                    </a:lnTo>
                    <a:lnTo>
                      <a:pt x="574" y="570"/>
                    </a:lnTo>
                    <a:lnTo>
                      <a:pt x="574" y="568"/>
                    </a:lnTo>
                    <a:lnTo>
                      <a:pt x="574" y="564"/>
                    </a:lnTo>
                    <a:lnTo>
                      <a:pt x="572" y="562"/>
                    </a:lnTo>
                    <a:lnTo>
                      <a:pt x="574" y="562"/>
                    </a:lnTo>
                    <a:lnTo>
                      <a:pt x="574" y="559"/>
                    </a:lnTo>
                    <a:lnTo>
                      <a:pt x="574" y="557"/>
                    </a:lnTo>
                    <a:lnTo>
                      <a:pt x="582" y="557"/>
                    </a:lnTo>
                    <a:lnTo>
                      <a:pt x="584" y="557"/>
                    </a:lnTo>
                    <a:lnTo>
                      <a:pt x="586" y="557"/>
                    </a:lnTo>
                    <a:lnTo>
                      <a:pt x="584" y="557"/>
                    </a:lnTo>
                    <a:lnTo>
                      <a:pt x="584" y="555"/>
                    </a:lnTo>
                    <a:lnTo>
                      <a:pt x="584" y="553"/>
                    </a:lnTo>
                    <a:lnTo>
                      <a:pt x="584" y="551"/>
                    </a:lnTo>
                    <a:lnTo>
                      <a:pt x="582" y="551"/>
                    </a:lnTo>
                    <a:lnTo>
                      <a:pt x="582" y="549"/>
                    </a:lnTo>
                    <a:lnTo>
                      <a:pt x="582" y="547"/>
                    </a:lnTo>
                    <a:lnTo>
                      <a:pt x="582" y="545"/>
                    </a:lnTo>
                    <a:lnTo>
                      <a:pt x="584" y="545"/>
                    </a:lnTo>
                    <a:lnTo>
                      <a:pt x="584" y="543"/>
                    </a:lnTo>
                    <a:lnTo>
                      <a:pt x="584" y="541"/>
                    </a:lnTo>
                    <a:lnTo>
                      <a:pt x="582" y="541"/>
                    </a:lnTo>
                    <a:lnTo>
                      <a:pt x="582" y="539"/>
                    </a:lnTo>
                    <a:lnTo>
                      <a:pt x="582" y="537"/>
                    </a:lnTo>
                    <a:lnTo>
                      <a:pt x="582" y="535"/>
                    </a:lnTo>
                    <a:lnTo>
                      <a:pt x="582" y="534"/>
                    </a:lnTo>
                    <a:lnTo>
                      <a:pt x="580" y="534"/>
                    </a:lnTo>
                    <a:lnTo>
                      <a:pt x="578" y="534"/>
                    </a:lnTo>
                    <a:lnTo>
                      <a:pt x="578" y="535"/>
                    </a:lnTo>
                    <a:lnTo>
                      <a:pt x="576" y="535"/>
                    </a:lnTo>
                    <a:lnTo>
                      <a:pt x="576" y="528"/>
                    </a:lnTo>
                    <a:lnTo>
                      <a:pt x="576" y="524"/>
                    </a:lnTo>
                    <a:lnTo>
                      <a:pt x="574" y="516"/>
                    </a:lnTo>
                    <a:lnTo>
                      <a:pt x="574" y="514"/>
                    </a:lnTo>
                    <a:lnTo>
                      <a:pt x="572" y="514"/>
                    </a:lnTo>
                    <a:lnTo>
                      <a:pt x="571" y="514"/>
                    </a:lnTo>
                    <a:lnTo>
                      <a:pt x="569" y="514"/>
                    </a:lnTo>
                    <a:lnTo>
                      <a:pt x="567" y="514"/>
                    </a:lnTo>
                    <a:lnTo>
                      <a:pt x="565" y="514"/>
                    </a:lnTo>
                    <a:lnTo>
                      <a:pt x="563" y="514"/>
                    </a:lnTo>
                    <a:lnTo>
                      <a:pt x="563" y="516"/>
                    </a:lnTo>
                    <a:lnTo>
                      <a:pt x="561" y="516"/>
                    </a:lnTo>
                    <a:lnTo>
                      <a:pt x="559" y="516"/>
                    </a:lnTo>
                    <a:lnTo>
                      <a:pt x="557" y="516"/>
                    </a:lnTo>
                    <a:lnTo>
                      <a:pt x="557" y="514"/>
                    </a:lnTo>
                    <a:lnTo>
                      <a:pt x="555" y="514"/>
                    </a:lnTo>
                    <a:lnTo>
                      <a:pt x="555" y="516"/>
                    </a:lnTo>
                    <a:lnTo>
                      <a:pt x="557" y="516"/>
                    </a:lnTo>
                    <a:lnTo>
                      <a:pt x="555" y="516"/>
                    </a:lnTo>
                    <a:lnTo>
                      <a:pt x="555" y="518"/>
                    </a:lnTo>
                    <a:lnTo>
                      <a:pt x="553" y="518"/>
                    </a:lnTo>
                    <a:lnTo>
                      <a:pt x="553" y="520"/>
                    </a:lnTo>
                    <a:lnTo>
                      <a:pt x="551" y="520"/>
                    </a:lnTo>
                    <a:lnTo>
                      <a:pt x="549" y="520"/>
                    </a:lnTo>
                    <a:lnTo>
                      <a:pt x="547" y="520"/>
                    </a:lnTo>
                    <a:lnTo>
                      <a:pt x="547" y="516"/>
                    </a:lnTo>
                    <a:lnTo>
                      <a:pt x="547" y="514"/>
                    </a:lnTo>
                    <a:lnTo>
                      <a:pt x="547" y="512"/>
                    </a:lnTo>
                    <a:lnTo>
                      <a:pt x="547" y="509"/>
                    </a:lnTo>
                    <a:lnTo>
                      <a:pt x="547" y="507"/>
                    </a:lnTo>
                    <a:lnTo>
                      <a:pt x="547" y="505"/>
                    </a:lnTo>
                    <a:lnTo>
                      <a:pt x="547" y="503"/>
                    </a:lnTo>
                    <a:lnTo>
                      <a:pt x="547" y="499"/>
                    </a:lnTo>
                    <a:lnTo>
                      <a:pt x="547" y="493"/>
                    </a:lnTo>
                    <a:lnTo>
                      <a:pt x="546" y="491"/>
                    </a:lnTo>
                    <a:lnTo>
                      <a:pt x="546" y="487"/>
                    </a:lnTo>
                    <a:lnTo>
                      <a:pt x="546" y="486"/>
                    </a:lnTo>
                    <a:lnTo>
                      <a:pt x="546" y="484"/>
                    </a:lnTo>
                    <a:lnTo>
                      <a:pt x="546" y="482"/>
                    </a:lnTo>
                    <a:lnTo>
                      <a:pt x="549" y="482"/>
                    </a:lnTo>
                    <a:lnTo>
                      <a:pt x="555" y="480"/>
                    </a:lnTo>
                    <a:lnTo>
                      <a:pt x="557" y="480"/>
                    </a:lnTo>
                    <a:lnTo>
                      <a:pt x="561" y="480"/>
                    </a:lnTo>
                    <a:lnTo>
                      <a:pt x="561" y="478"/>
                    </a:lnTo>
                    <a:lnTo>
                      <a:pt x="561" y="476"/>
                    </a:lnTo>
                    <a:lnTo>
                      <a:pt x="561" y="474"/>
                    </a:lnTo>
                    <a:lnTo>
                      <a:pt x="561" y="470"/>
                    </a:lnTo>
                    <a:lnTo>
                      <a:pt x="561" y="468"/>
                    </a:lnTo>
                    <a:lnTo>
                      <a:pt x="559" y="464"/>
                    </a:lnTo>
                    <a:lnTo>
                      <a:pt x="559" y="461"/>
                    </a:lnTo>
                    <a:lnTo>
                      <a:pt x="559" y="457"/>
                    </a:lnTo>
                    <a:lnTo>
                      <a:pt x="559" y="455"/>
                    </a:lnTo>
                    <a:lnTo>
                      <a:pt x="553" y="455"/>
                    </a:lnTo>
                    <a:lnTo>
                      <a:pt x="549" y="455"/>
                    </a:lnTo>
                    <a:lnTo>
                      <a:pt x="546" y="455"/>
                    </a:lnTo>
                    <a:lnTo>
                      <a:pt x="544" y="455"/>
                    </a:lnTo>
                    <a:lnTo>
                      <a:pt x="542" y="455"/>
                    </a:lnTo>
                    <a:lnTo>
                      <a:pt x="540" y="457"/>
                    </a:lnTo>
                    <a:lnTo>
                      <a:pt x="538" y="457"/>
                    </a:lnTo>
                    <a:lnTo>
                      <a:pt x="538" y="453"/>
                    </a:lnTo>
                    <a:lnTo>
                      <a:pt x="538" y="447"/>
                    </a:lnTo>
                    <a:lnTo>
                      <a:pt x="536" y="447"/>
                    </a:lnTo>
                    <a:lnTo>
                      <a:pt x="536" y="445"/>
                    </a:lnTo>
                    <a:lnTo>
                      <a:pt x="538" y="445"/>
                    </a:lnTo>
                    <a:lnTo>
                      <a:pt x="536" y="443"/>
                    </a:lnTo>
                    <a:lnTo>
                      <a:pt x="536" y="445"/>
                    </a:lnTo>
                    <a:lnTo>
                      <a:pt x="532" y="445"/>
                    </a:lnTo>
                    <a:lnTo>
                      <a:pt x="530" y="445"/>
                    </a:lnTo>
                    <a:lnTo>
                      <a:pt x="526" y="445"/>
                    </a:lnTo>
                    <a:lnTo>
                      <a:pt x="524" y="445"/>
                    </a:lnTo>
                    <a:lnTo>
                      <a:pt x="524" y="443"/>
                    </a:lnTo>
                    <a:lnTo>
                      <a:pt x="524" y="441"/>
                    </a:lnTo>
                    <a:lnTo>
                      <a:pt x="523" y="441"/>
                    </a:lnTo>
                    <a:lnTo>
                      <a:pt x="523" y="439"/>
                    </a:lnTo>
                    <a:lnTo>
                      <a:pt x="523" y="438"/>
                    </a:lnTo>
                    <a:lnTo>
                      <a:pt x="521" y="438"/>
                    </a:lnTo>
                    <a:lnTo>
                      <a:pt x="519" y="438"/>
                    </a:lnTo>
                    <a:lnTo>
                      <a:pt x="517" y="438"/>
                    </a:lnTo>
                    <a:lnTo>
                      <a:pt x="515" y="438"/>
                    </a:lnTo>
                    <a:lnTo>
                      <a:pt x="513" y="438"/>
                    </a:lnTo>
                    <a:lnTo>
                      <a:pt x="511" y="438"/>
                    </a:lnTo>
                    <a:lnTo>
                      <a:pt x="509" y="438"/>
                    </a:lnTo>
                    <a:lnTo>
                      <a:pt x="509" y="441"/>
                    </a:lnTo>
                    <a:lnTo>
                      <a:pt x="507" y="441"/>
                    </a:lnTo>
                    <a:lnTo>
                      <a:pt x="507" y="443"/>
                    </a:lnTo>
                    <a:lnTo>
                      <a:pt x="507" y="445"/>
                    </a:lnTo>
                    <a:lnTo>
                      <a:pt x="507" y="447"/>
                    </a:lnTo>
                    <a:lnTo>
                      <a:pt x="505" y="449"/>
                    </a:lnTo>
                    <a:lnTo>
                      <a:pt x="503" y="449"/>
                    </a:lnTo>
                    <a:lnTo>
                      <a:pt x="503" y="451"/>
                    </a:lnTo>
                    <a:lnTo>
                      <a:pt x="503" y="449"/>
                    </a:lnTo>
                    <a:lnTo>
                      <a:pt x="501" y="449"/>
                    </a:lnTo>
                    <a:lnTo>
                      <a:pt x="501" y="447"/>
                    </a:lnTo>
                    <a:lnTo>
                      <a:pt x="501" y="445"/>
                    </a:lnTo>
                    <a:lnTo>
                      <a:pt x="499" y="445"/>
                    </a:lnTo>
                    <a:lnTo>
                      <a:pt x="498" y="445"/>
                    </a:lnTo>
                    <a:lnTo>
                      <a:pt x="496" y="445"/>
                    </a:lnTo>
                    <a:lnTo>
                      <a:pt x="496" y="447"/>
                    </a:lnTo>
                    <a:lnTo>
                      <a:pt x="496" y="453"/>
                    </a:lnTo>
                    <a:lnTo>
                      <a:pt x="496" y="459"/>
                    </a:lnTo>
                    <a:lnTo>
                      <a:pt x="498" y="461"/>
                    </a:lnTo>
                    <a:lnTo>
                      <a:pt x="498" y="463"/>
                    </a:lnTo>
                    <a:lnTo>
                      <a:pt x="494" y="463"/>
                    </a:lnTo>
                    <a:lnTo>
                      <a:pt x="490" y="463"/>
                    </a:lnTo>
                    <a:lnTo>
                      <a:pt x="486" y="461"/>
                    </a:lnTo>
                    <a:lnTo>
                      <a:pt x="486" y="463"/>
                    </a:lnTo>
                    <a:lnTo>
                      <a:pt x="486" y="464"/>
                    </a:lnTo>
                    <a:lnTo>
                      <a:pt x="484" y="466"/>
                    </a:lnTo>
                    <a:lnTo>
                      <a:pt x="484" y="468"/>
                    </a:lnTo>
                    <a:lnTo>
                      <a:pt x="482" y="468"/>
                    </a:lnTo>
                    <a:lnTo>
                      <a:pt x="480" y="468"/>
                    </a:lnTo>
                    <a:lnTo>
                      <a:pt x="480" y="466"/>
                    </a:lnTo>
                    <a:lnTo>
                      <a:pt x="478" y="464"/>
                    </a:lnTo>
                    <a:lnTo>
                      <a:pt x="478" y="463"/>
                    </a:lnTo>
                    <a:lnTo>
                      <a:pt x="476" y="463"/>
                    </a:lnTo>
                    <a:lnTo>
                      <a:pt x="475" y="463"/>
                    </a:lnTo>
                    <a:lnTo>
                      <a:pt x="475" y="459"/>
                    </a:lnTo>
                    <a:lnTo>
                      <a:pt x="475" y="457"/>
                    </a:lnTo>
                    <a:lnTo>
                      <a:pt x="475" y="455"/>
                    </a:lnTo>
                    <a:lnTo>
                      <a:pt x="476" y="455"/>
                    </a:lnTo>
                    <a:lnTo>
                      <a:pt x="480" y="455"/>
                    </a:lnTo>
                    <a:lnTo>
                      <a:pt x="482" y="453"/>
                    </a:lnTo>
                    <a:lnTo>
                      <a:pt x="482" y="451"/>
                    </a:lnTo>
                    <a:lnTo>
                      <a:pt x="482" y="449"/>
                    </a:lnTo>
                    <a:lnTo>
                      <a:pt x="482" y="443"/>
                    </a:lnTo>
                    <a:lnTo>
                      <a:pt x="482" y="438"/>
                    </a:lnTo>
                    <a:lnTo>
                      <a:pt x="480" y="436"/>
                    </a:lnTo>
                    <a:lnTo>
                      <a:pt x="478" y="436"/>
                    </a:lnTo>
                    <a:lnTo>
                      <a:pt x="476" y="436"/>
                    </a:lnTo>
                    <a:lnTo>
                      <a:pt x="475" y="436"/>
                    </a:lnTo>
                    <a:lnTo>
                      <a:pt x="471" y="436"/>
                    </a:lnTo>
                    <a:lnTo>
                      <a:pt x="465" y="438"/>
                    </a:lnTo>
                    <a:lnTo>
                      <a:pt x="461" y="438"/>
                    </a:lnTo>
                    <a:lnTo>
                      <a:pt x="461" y="441"/>
                    </a:lnTo>
                    <a:lnTo>
                      <a:pt x="459" y="441"/>
                    </a:lnTo>
                    <a:lnTo>
                      <a:pt x="457" y="441"/>
                    </a:lnTo>
                    <a:lnTo>
                      <a:pt x="455" y="441"/>
                    </a:lnTo>
                    <a:lnTo>
                      <a:pt x="455" y="439"/>
                    </a:lnTo>
                    <a:lnTo>
                      <a:pt x="453" y="438"/>
                    </a:lnTo>
                    <a:lnTo>
                      <a:pt x="453" y="434"/>
                    </a:lnTo>
                    <a:lnTo>
                      <a:pt x="453" y="432"/>
                    </a:lnTo>
                    <a:lnTo>
                      <a:pt x="451" y="432"/>
                    </a:lnTo>
                    <a:lnTo>
                      <a:pt x="451" y="434"/>
                    </a:lnTo>
                    <a:lnTo>
                      <a:pt x="450" y="434"/>
                    </a:lnTo>
                    <a:lnTo>
                      <a:pt x="450" y="436"/>
                    </a:lnTo>
                    <a:lnTo>
                      <a:pt x="448" y="436"/>
                    </a:lnTo>
                    <a:lnTo>
                      <a:pt x="446" y="436"/>
                    </a:lnTo>
                    <a:lnTo>
                      <a:pt x="444" y="436"/>
                    </a:lnTo>
                    <a:lnTo>
                      <a:pt x="442" y="436"/>
                    </a:lnTo>
                    <a:lnTo>
                      <a:pt x="440" y="436"/>
                    </a:lnTo>
                    <a:lnTo>
                      <a:pt x="440" y="438"/>
                    </a:lnTo>
                    <a:lnTo>
                      <a:pt x="438" y="438"/>
                    </a:lnTo>
                    <a:lnTo>
                      <a:pt x="436" y="438"/>
                    </a:lnTo>
                    <a:lnTo>
                      <a:pt x="434" y="432"/>
                    </a:lnTo>
                    <a:lnTo>
                      <a:pt x="434" y="428"/>
                    </a:lnTo>
                    <a:lnTo>
                      <a:pt x="430" y="428"/>
                    </a:lnTo>
                    <a:lnTo>
                      <a:pt x="428" y="430"/>
                    </a:lnTo>
                    <a:lnTo>
                      <a:pt x="426" y="430"/>
                    </a:lnTo>
                    <a:lnTo>
                      <a:pt x="423" y="430"/>
                    </a:lnTo>
                    <a:lnTo>
                      <a:pt x="419" y="432"/>
                    </a:lnTo>
                    <a:lnTo>
                      <a:pt x="415" y="432"/>
                    </a:lnTo>
                    <a:lnTo>
                      <a:pt x="413" y="434"/>
                    </a:lnTo>
                    <a:lnTo>
                      <a:pt x="411" y="434"/>
                    </a:lnTo>
                    <a:lnTo>
                      <a:pt x="409" y="430"/>
                    </a:lnTo>
                    <a:lnTo>
                      <a:pt x="409" y="426"/>
                    </a:lnTo>
                    <a:lnTo>
                      <a:pt x="409" y="422"/>
                    </a:lnTo>
                    <a:lnTo>
                      <a:pt x="409" y="418"/>
                    </a:lnTo>
                    <a:lnTo>
                      <a:pt x="409" y="415"/>
                    </a:lnTo>
                    <a:lnTo>
                      <a:pt x="407" y="411"/>
                    </a:lnTo>
                    <a:lnTo>
                      <a:pt x="403" y="411"/>
                    </a:lnTo>
                    <a:lnTo>
                      <a:pt x="402" y="411"/>
                    </a:lnTo>
                    <a:lnTo>
                      <a:pt x="402" y="409"/>
                    </a:lnTo>
                    <a:lnTo>
                      <a:pt x="400" y="409"/>
                    </a:lnTo>
                    <a:lnTo>
                      <a:pt x="400" y="407"/>
                    </a:lnTo>
                    <a:lnTo>
                      <a:pt x="398" y="407"/>
                    </a:lnTo>
                    <a:lnTo>
                      <a:pt x="398" y="405"/>
                    </a:lnTo>
                    <a:lnTo>
                      <a:pt x="398" y="403"/>
                    </a:lnTo>
                    <a:lnTo>
                      <a:pt x="400" y="403"/>
                    </a:lnTo>
                    <a:lnTo>
                      <a:pt x="400" y="401"/>
                    </a:lnTo>
                    <a:lnTo>
                      <a:pt x="402" y="401"/>
                    </a:lnTo>
                    <a:lnTo>
                      <a:pt x="402" y="399"/>
                    </a:lnTo>
                    <a:lnTo>
                      <a:pt x="400" y="399"/>
                    </a:lnTo>
                    <a:lnTo>
                      <a:pt x="400" y="397"/>
                    </a:lnTo>
                    <a:lnTo>
                      <a:pt x="400" y="395"/>
                    </a:lnTo>
                    <a:lnTo>
                      <a:pt x="398" y="395"/>
                    </a:lnTo>
                    <a:lnTo>
                      <a:pt x="398" y="393"/>
                    </a:lnTo>
                    <a:lnTo>
                      <a:pt x="396" y="393"/>
                    </a:lnTo>
                    <a:lnTo>
                      <a:pt x="396" y="391"/>
                    </a:lnTo>
                    <a:lnTo>
                      <a:pt x="396" y="390"/>
                    </a:lnTo>
                    <a:lnTo>
                      <a:pt x="396" y="388"/>
                    </a:lnTo>
                    <a:lnTo>
                      <a:pt x="394" y="388"/>
                    </a:lnTo>
                    <a:lnTo>
                      <a:pt x="392" y="388"/>
                    </a:lnTo>
                    <a:lnTo>
                      <a:pt x="390" y="388"/>
                    </a:lnTo>
                    <a:lnTo>
                      <a:pt x="388" y="388"/>
                    </a:lnTo>
                    <a:lnTo>
                      <a:pt x="388" y="386"/>
                    </a:lnTo>
                    <a:lnTo>
                      <a:pt x="388" y="384"/>
                    </a:lnTo>
                    <a:lnTo>
                      <a:pt x="386" y="384"/>
                    </a:lnTo>
                    <a:lnTo>
                      <a:pt x="384" y="384"/>
                    </a:lnTo>
                    <a:lnTo>
                      <a:pt x="380" y="384"/>
                    </a:lnTo>
                    <a:lnTo>
                      <a:pt x="375" y="384"/>
                    </a:lnTo>
                    <a:lnTo>
                      <a:pt x="371" y="384"/>
                    </a:lnTo>
                    <a:lnTo>
                      <a:pt x="365" y="386"/>
                    </a:lnTo>
                    <a:lnTo>
                      <a:pt x="363" y="382"/>
                    </a:lnTo>
                    <a:lnTo>
                      <a:pt x="363" y="380"/>
                    </a:lnTo>
                    <a:lnTo>
                      <a:pt x="361" y="380"/>
                    </a:lnTo>
                    <a:lnTo>
                      <a:pt x="359" y="380"/>
                    </a:lnTo>
                    <a:lnTo>
                      <a:pt x="357" y="380"/>
                    </a:lnTo>
                    <a:lnTo>
                      <a:pt x="355" y="380"/>
                    </a:lnTo>
                    <a:lnTo>
                      <a:pt x="354" y="380"/>
                    </a:lnTo>
                    <a:lnTo>
                      <a:pt x="352" y="380"/>
                    </a:lnTo>
                    <a:lnTo>
                      <a:pt x="352" y="382"/>
                    </a:lnTo>
                    <a:lnTo>
                      <a:pt x="350" y="382"/>
                    </a:lnTo>
                    <a:lnTo>
                      <a:pt x="348" y="382"/>
                    </a:lnTo>
                    <a:lnTo>
                      <a:pt x="346" y="382"/>
                    </a:lnTo>
                    <a:lnTo>
                      <a:pt x="344" y="382"/>
                    </a:lnTo>
                    <a:lnTo>
                      <a:pt x="344" y="384"/>
                    </a:lnTo>
                    <a:lnTo>
                      <a:pt x="344" y="386"/>
                    </a:lnTo>
                    <a:lnTo>
                      <a:pt x="344" y="390"/>
                    </a:lnTo>
                    <a:lnTo>
                      <a:pt x="344" y="391"/>
                    </a:lnTo>
                    <a:lnTo>
                      <a:pt x="344" y="393"/>
                    </a:lnTo>
                    <a:lnTo>
                      <a:pt x="344" y="395"/>
                    </a:lnTo>
                    <a:lnTo>
                      <a:pt x="344" y="397"/>
                    </a:lnTo>
                    <a:lnTo>
                      <a:pt x="342" y="397"/>
                    </a:lnTo>
                    <a:lnTo>
                      <a:pt x="340" y="397"/>
                    </a:lnTo>
                    <a:lnTo>
                      <a:pt x="338" y="397"/>
                    </a:lnTo>
                    <a:lnTo>
                      <a:pt x="336" y="397"/>
                    </a:lnTo>
                    <a:lnTo>
                      <a:pt x="334" y="399"/>
                    </a:lnTo>
                    <a:lnTo>
                      <a:pt x="334" y="397"/>
                    </a:lnTo>
                    <a:lnTo>
                      <a:pt x="332" y="397"/>
                    </a:lnTo>
                    <a:lnTo>
                      <a:pt x="330" y="397"/>
                    </a:lnTo>
                    <a:lnTo>
                      <a:pt x="329" y="397"/>
                    </a:lnTo>
                    <a:lnTo>
                      <a:pt x="327" y="397"/>
                    </a:lnTo>
                    <a:lnTo>
                      <a:pt x="327" y="399"/>
                    </a:lnTo>
                    <a:lnTo>
                      <a:pt x="327" y="401"/>
                    </a:lnTo>
                    <a:lnTo>
                      <a:pt x="327" y="403"/>
                    </a:lnTo>
                    <a:lnTo>
                      <a:pt x="325" y="403"/>
                    </a:lnTo>
                    <a:lnTo>
                      <a:pt x="323" y="403"/>
                    </a:lnTo>
                    <a:lnTo>
                      <a:pt x="323" y="405"/>
                    </a:lnTo>
                    <a:lnTo>
                      <a:pt x="321" y="405"/>
                    </a:lnTo>
                    <a:lnTo>
                      <a:pt x="319" y="405"/>
                    </a:lnTo>
                    <a:lnTo>
                      <a:pt x="319" y="403"/>
                    </a:lnTo>
                    <a:lnTo>
                      <a:pt x="319" y="405"/>
                    </a:lnTo>
                    <a:lnTo>
                      <a:pt x="317" y="405"/>
                    </a:lnTo>
                    <a:lnTo>
                      <a:pt x="317" y="407"/>
                    </a:lnTo>
                    <a:lnTo>
                      <a:pt x="317" y="405"/>
                    </a:lnTo>
                    <a:lnTo>
                      <a:pt x="317" y="403"/>
                    </a:lnTo>
                    <a:lnTo>
                      <a:pt x="315" y="403"/>
                    </a:lnTo>
                    <a:lnTo>
                      <a:pt x="313" y="403"/>
                    </a:lnTo>
                    <a:lnTo>
                      <a:pt x="311" y="403"/>
                    </a:lnTo>
                    <a:lnTo>
                      <a:pt x="311" y="405"/>
                    </a:lnTo>
                    <a:lnTo>
                      <a:pt x="309" y="405"/>
                    </a:lnTo>
                    <a:lnTo>
                      <a:pt x="309" y="403"/>
                    </a:lnTo>
                    <a:lnTo>
                      <a:pt x="307" y="403"/>
                    </a:lnTo>
                    <a:lnTo>
                      <a:pt x="306" y="403"/>
                    </a:lnTo>
                    <a:lnTo>
                      <a:pt x="306" y="401"/>
                    </a:lnTo>
                    <a:lnTo>
                      <a:pt x="306" y="397"/>
                    </a:lnTo>
                    <a:lnTo>
                      <a:pt x="304" y="395"/>
                    </a:lnTo>
                    <a:lnTo>
                      <a:pt x="304" y="393"/>
                    </a:lnTo>
                    <a:lnTo>
                      <a:pt x="302" y="393"/>
                    </a:lnTo>
                    <a:lnTo>
                      <a:pt x="300" y="393"/>
                    </a:lnTo>
                    <a:lnTo>
                      <a:pt x="298" y="395"/>
                    </a:lnTo>
                    <a:lnTo>
                      <a:pt x="298" y="393"/>
                    </a:lnTo>
                    <a:lnTo>
                      <a:pt x="298" y="391"/>
                    </a:lnTo>
                    <a:lnTo>
                      <a:pt x="298" y="390"/>
                    </a:lnTo>
                    <a:lnTo>
                      <a:pt x="296" y="391"/>
                    </a:lnTo>
                    <a:lnTo>
                      <a:pt x="296" y="393"/>
                    </a:lnTo>
                    <a:lnTo>
                      <a:pt x="296" y="395"/>
                    </a:lnTo>
                    <a:lnTo>
                      <a:pt x="294" y="395"/>
                    </a:lnTo>
                    <a:lnTo>
                      <a:pt x="294" y="397"/>
                    </a:lnTo>
                    <a:lnTo>
                      <a:pt x="294" y="399"/>
                    </a:lnTo>
                    <a:lnTo>
                      <a:pt x="292" y="399"/>
                    </a:lnTo>
                    <a:lnTo>
                      <a:pt x="290" y="399"/>
                    </a:lnTo>
                    <a:lnTo>
                      <a:pt x="288" y="399"/>
                    </a:lnTo>
                    <a:lnTo>
                      <a:pt x="288" y="397"/>
                    </a:lnTo>
                    <a:lnTo>
                      <a:pt x="288" y="395"/>
                    </a:lnTo>
                    <a:lnTo>
                      <a:pt x="288" y="393"/>
                    </a:lnTo>
                    <a:lnTo>
                      <a:pt x="286" y="390"/>
                    </a:lnTo>
                    <a:lnTo>
                      <a:pt x="282" y="390"/>
                    </a:lnTo>
                    <a:lnTo>
                      <a:pt x="281" y="390"/>
                    </a:lnTo>
                    <a:lnTo>
                      <a:pt x="279" y="390"/>
                    </a:lnTo>
                    <a:lnTo>
                      <a:pt x="277" y="390"/>
                    </a:lnTo>
                    <a:lnTo>
                      <a:pt x="273" y="390"/>
                    </a:lnTo>
                    <a:lnTo>
                      <a:pt x="271" y="390"/>
                    </a:lnTo>
                    <a:lnTo>
                      <a:pt x="267" y="390"/>
                    </a:lnTo>
                    <a:lnTo>
                      <a:pt x="267" y="388"/>
                    </a:lnTo>
                    <a:lnTo>
                      <a:pt x="267" y="386"/>
                    </a:lnTo>
                    <a:lnTo>
                      <a:pt x="263" y="386"/>
                    </a:lnTo>
                    <a:lnTo>
                      <a:pt x="259" y="388"/>
                    </a:lnTo>
                    <a:lnTo>
                      <a:pt x="258" y="388"/>
                    </a:lnTo>
                    <a:lnTo>
                      <a:pt x="256" y="388"/>
                    </a:lnTo>
                    <a:lnTo>
                      <a:pt x="254" y="388"/>
                    </a:lnTo>
                    <a:lnTo>
                      <a:pt x="252" y="388"/>
                    </a:lnTo>
                    <a:lnTo>
                      <a:pt x="250" y="388"/>
                    </a:lnTo>
                    <a:lnTo>
                      <a:pt x="248" y="388"/>
                    </a:lnTo>
                    <a:lnTo>
                      <a:pt x="248" y="390"/>
                    </a:lnTo>
                    <a:lnTo>
                      <a:pt x="248" y="391"/>
                    </a:lnTo>
                    <a:lnTo>
                      <a:pt x="250" y="391"/>
                    </a:lnTo>
                    <a:lnTo>
                      <a:pt x="250" y="393"/>
                    </a:lnTo>
                    <a:lnTo>
                      <a:pt x="248" y="393"/>
                    </a:lnTo>
                    <a:lnTo>
                      <a:pt x="246" y="393"/>
                    </a:lnTo>
                    <a:lnTo>
                      <a:pt x="246" y="395"/>
                    </a:lnTo>
                    <a:lnTo>
                      <a:pt x="244" y="395"/>
                    </a:lnTo>
                    <a:lnTo>
                      <a:pt x="242" y="395"/>
                    </a:lnTo>
                    <a:lnTo>
                      <a:pt x="240" y="395"/>
                    </a:lnTo>
                    <a:lnTo>
                      <a:pt x="238" y="395"/>
                    </a:lnTo>
                    <a:lnTo>
                      <a:pt x="238" y="397"/>
                    </a:lnTo>
                    <a:lnTo>
                      <a:pt x="238" y="399"/>
                    </a:lnTo>
                    <a:lnTo>
                      <a:pt x="236" y="399"/>
                    </a:lnTo>
                    <a:lnTo>
                      <a:pt x="236" y="397"/>
                    </a:lnTo>
                    <a:lnTo>
                      <a:pt x="234" y="397"/>
                    </a:lnTo>
                    <a:lnTo>
                      <a:pt x="233" y="397"/>
                    </a:lnTo>
                    <a:lnTo>
                      <a:pt x="231" y="397"/>
                    </a:lnTo>
                    <a:lnTo>
                      <a:pt x="229" y="397"/>
                    </a:lnTo>
                    <a:lnTo>
                      <a:pt x="223" y="397"/>
                    </a:lnTo>
                    <a:lnTo>
                      <a:pt x="221" y="397"/>
                    </a:lnTo>
                    <a:lnTo>
                      <a:pt x="221" y="395"/>
                    </a:lnTo>
                    <a:lnTo>
                      <a:pt x="221" y="393"/>
                    </a:lnTo>
                    <a:lnTo>
                      <a:pt x="219" y="393"/>
                    </a:lnTo>
                    <a:lnTo>
                      <a:pt x="217" y="390"/>
                    </a:lnTo>
                    <a:lnTo>
                      <a:pt x="215" y="388"/>
                    </a:lnTo>
                    <a:lnTo>
                      <a:pt x="213" y="386"/>
                    </a:lnTo>
                    <a:lnTo>
                      <a:pt x="211" y="388"/>
                    </a:lnTo>
                    <a:lnTo>
                      <a:pt x="210" y="391"/>
                    </a:lnTo>
                    <a:lnTo>
                      <a:pt x="208" y="393"/>
                    </a:lnTo>
                    <a:lnTo>
                      <a:pt x="206" y="395"/>
                    </a:lnTo>
                    <a:lnTo>
                      <a:pt x="206" y="393"/>
                    </a:lnTo>
                    <a:lnTo>
                      <a:pt x="206" y="391"/>
                    </a:lnTo>
                    <a:lnTo>
                      <a:pt x="206" y="390"/>
                    </a:lnTo>
                    <a:lnTo>
                      <a:pt x="204" y="390"/>
                    </a:lnTo>
                    <a:lnTo>
                      <a:pt x="202" y="390"/>
                    </a:lnTo>
                    <a:lnTo>
                      <a:pt x="200" y="390"/>
                    </a:lnTo>
                    <a:lnTo>
                      <a:pt x="198" y="390"/>
                    </a:lnTo>
                    <a:lnTo>
                      <a:pt x="198" y="391"/>
                    </a:lnTo>
                    <a:lnTo>
                      <a:pt x="196" y="391"/>
                    </a:lnTo>
                    <a:lnTo>
                      <a:pt x="196" y="390"/>
                    </a:lnTo>
                    <a:lnTo>
                      <a:pt x="194" y="390"/>
                    </a:lnTo>
                    <a:lnTo>
                      <a:pt x="192" y="390"/>
                    </a:lnTo>
                    <a:lnTo>
                      <a:pt x="192" y="388"/>
                    </a:lnTo>
                    <a:lnTo>
                      <a:pt x="190" y="388"/>
                    </a:lnTo>
                    <a:lnTo>
                      <a:pt x="188" y="388"/>
                    </a:lnTo>
                    <a:lnTo>
                      <a:pt x="188" y="386"/>
                    </a:lnTo>
                    <a:lnTo>
                      <a:pt x="186" y="386"/>
                    </a:lnTo>
                    <a:lnTo>
                      <a:pt x="186" y="388"/>
                    </a:lnTo>
                    <a:lnTo>
                      <a:pt x="186" y="390"/>
                    </a:lnTo>
                    <a:lnTo>
                      <a:pt x="185" y="390"/>
                    </a:lnTo>
                    <a:lnTo>
                      <a:pt x="183" y="390"/>
                    </a:lnTo>
                    <a:lnTo>
                      <a:pt x="181" y="390"/>
                    </a:lnTo>
                    <a:lnTo>
                      <a:pt x="179" y="390"/>
                    </a:lnTo>
                    <a:lnTo>
                      <a:pt x="177" y="388"/>
                    </a:lnTo>
                    <a:lnTo>
                      <a:pt x="175" y="388"/>
                    </a:lnTo>
                    <a:lnTo>
                      <a:pt x="175" y="386"/>
                    </a:lnTo>
                    <a:lnTo>
                      <a:pt x="175" y="384"/>
                    </a:lnTo>
                    <a:lnTo>
                      <a:pt x="173" y="384"/>
                    </a:lnTo>
                    <a:lnTo>
                      <a:pt x="171" y="384"/>
                    </a:lnTo>
                    <a:lnTo>
                      <a:pt x="169" y="384"/>
                    </a:lnTo>
                    <a:lnTo>
                      <a:pt x="167" y="384"/>
                    </a:lnTo>
                    <a:lnTo>
                      <a:pt x="167" y="386"/>
                    </a:lnTo>
                    <a:lnTo>
                      <a:pt x="165" y="386"/>
                    </a:lnTo>
                    <a:lnTo>
                      <a:pt x="163" y="386"/>
                    </a:lnTo>
                    <a:lnTo>
                      <a:pt x="161" y="386"/>
                    </a:lnTo>
                    <a:lnTo>
                      <a:pt x="161" y="388"/>
                    </a:lnTo>
                    <a:lnTo>
                      <a:pt x="160" y="388"/>
                    </a:lnTo>
                    <a:lnTo>
                      <a:pt x="158" y="388"/>
                    </a:lnTo>
                    <a:lnTo>
                      <a:pt x="156" y="388"/>
                    </a:lnTo>
                    <a:lnTo>
                      <a:pt x="156" y="390"/>
                    </a:lnTo>
                    <a:lnTo>
                      <a:pt x="156" y="391"/>
                    </a:lnTo>
                    <a:lnTo>
                      <a:pt x="156" y="393"/>
                    </a:lnTo>
                    <a:lnTo>
                      <a:pt x="156" y="395"/>
                    </a:lnTo>
                    <a:lnTo>
                      <a:pt x="154" y="395"/>
                    </a:lnTo>
                    <a:lnTo>
                      <a:pt x="152" y="395"/>
                    </a:lnTo>
                    <a:lnTo>
                      <a:pt x="150" y="395"/>
                    </a:lnTo>
                    <a:lnTo>
                      <a:pt x="148" y="395"/>
                    </a:lnTo>
                    <a:lnTo>
                      <a:pt x="146" y="395"/>
                    </a:lnTo>
                    <a:lnTo>
                      <a:pt x="144" y="395"/>
                    </a:lnTo>
                    <a:lnTo>
                      <a:pt x="142" y="395"/>
                    </a:lnTo>
                    <a:lnTo>
                      <a:pt x="142" y="393"/>
                    </a:lnTo>
                    <a:lnTo>
                      <a:pt x="140" y="393"/>
                    </a:lnTo>
                    <a:lnTo>
                      <a:pt x="140" y="391"/>
                    </a:lnTo>
                    <a:lnTo>
                      <a:pt x="138" y="391"/>
                    </a:lnTo>
                    <a:lnTo>
                      <a:pt x="137" y="391"/>
                    </a:lnTo>
                    <a:lnTo>
                      <a:pt x="135" y="393"/>
                    </a:lnTo>
                    <a:lnTo>
                      <a:pt x="133" y="393"/>
                    </a:lnTo>
                    <a:lnTo>
                      <a:pt x="131" y="393"/>
                    </a:lnTo>
                    <a:lnTo>
                      <a:pt x="131" y="391"/>
                    </a:lnTo>
                    <a:lnTo>
                      <a:pt x="129" y="391"/>
                    </a:lnTo>
                    <a:lnTo>
                      <a:pt x="127" y="391"/>
                    </a:lnTo>
                    <a:lnTo>
                      <a:pt x="125" y="391"/>
                    </a:lnTo>
                    <a:lnTo>
                      <a:pt x="125" y="390"/>
                    </a:lnTo>
                    <a:lnTo>
                      <a:pt x="123" y="390"/>
                    </a:lnTo>
                    <a:lnTo>
                      <a:pt x="121" y="390"/>
                    </a:lnTo>
                    <a:lnTo>
                      <a:pt x="119" y="390"/>
                    </a:lnTo>
                    <a:lnTo>
                      <a:pt x="119" y="388"/>
                    </a:lnTo>
                    <a:lnTo>
                      <a:pt x="117" y="388"/>
                    </a:lnTo>
                    <a:lnTo>
                      <a:pt x="117" y="386"/>
                    </a:lnTo>
                    <a:lnTo>
                      <a:pt x="115" y="386"/>
                    </a:lnTo>
                    <a:lnTo>
                      <a:pt x="115" y="388"/>
                    </a:lnTo>
                    <a:lnTo>
                      <a:pt x="113" y="388"/>
                    </a:lnTo>
                    <a:lnTo>
                      <a:pt x="112" y="388"/>
                    </a:lnTo>
                    <a:lnTo>
                      <a:pt x="112" y="390"/>
                    </a:lnTo>
                    <a:lnTo>
                      <a:pt x="110" y="390"/>
                    </a:lnTo>
                    <a:lnTo>
                      <a:pt x="108" y="390"/>
                    </a:lnTo>
                    <a:lnTo>
                      <a:pt x="106" y="390"/>
                    </a:lnTo>
                    <a:lnTo>
                      <a:pt x="106" y="388"/>
                    </a:lnTo>
                    <a:lnTo>
                      <a:pt x="104" y="388"/>
                    </a:lnTo>
                    <a:lnTo>
                      <a:pt x="102" y="388"/>
                    </a:lnTo>
                    <a:lnTo>
                      <a:pt x="100" y="388"/>
                    </a:lnTo>
                    <a:lnTo>
                      <a:pt x="98" y="388"/>
                    </a:lnTo>
                    <a:lnTo>
                      <a:pt x="96" y="388"/>
                    </a:lnTo>
                    <a:lnTo>
                      <a:pt x="94" y="388"/>
                    </a:lnTo>
                    <a:lnTo>
                      <a:pt x="94" y="390"/>
                    </a:lnTo>
                    <a:lnTo>
                      <a:pt x="92" y="390"/>
                    </a:lnTo>
                    <a:lnTo>
                      <a:pt x="92" y="388"/>
                    </a:lnTo>
                    <a:lnTo>
                      <a:pt x="90" y="388"/>
                    </a:lnTo>
                    <a:lnTo>
                      <a:pt x="89" y="388"/>
                    </a:lnTo>
                    <a:lnTo>
                      <a:pt x="89" y="386"/>
                    </a:lnTo>
                    <a:lnTo>
                      <a:pt x="87" y="386"/>
                    </a:lnTo>
                    <a:lnTo>
                      <a:pt x="85" y="386"/>
                    </a:lnTo>
                    <a:lnTo>
                      <a:pt x="83" y="386"/>
                    </a:lnTo>
                    <a:lnTo>
                      <a:pt x="83" y="384"/>
                    </a:lnTo>
                    <a:lnTo>
                      <a:pt x="81" y="384"/>
                    </a:lnTo>
                    <a:lnTo>
                      <a:pt x="81" y="382"/>
                    </a:lnTo>
                    <a:lnTo>
                      <a:pt x="81" y="384"/>
                    </a:lnTo>
                    <a:lnTo>
                      <a:pt x="79" y="384"/>
                    </a:lnTo>
                    <a:lnTo>
                      <a:pt x="77" y="382"/>
                    </a:lnTo>
                    <a:lnTo>
                      <a:pt x="77" y="380"/>
                    </a:lnTo>
                    <a:lnTo>
                      <a:pt x="77" y="378"/>
                    </a:lnTo>
                    <a:lnTo>
                      <a:pt x="77" y="376"/>
                    </a:lnTo>
                    <a:lnTo>
                      <a:pt x="75" y="376"/>
                    </a:lnTo>
                    <a:lnTo>
                      <a:pt x="75" y="374"/>
                    </a:lnTo>
                    <a:lnTo>
                      <a:pt x="75" y="372"/>
                    </a:lnTo>
                    <a:lnTo>
                      <a:pt x="75" y="370"/>
                    </a:lnTo>
                    <a:lnTo>
                      <a:pt x="73" y="370"/>
                    </a:lnTo>
                    <a:lnTo>
                      <a:pt x="73" y="368"/>
                    </a:lnTo>
                    <a:lnTo>
                      <a:pt x="73" y="367"/>
                    </a:lnTo>
                    <a:lnTo>
                      <a:pt x="71" y="367"/>
                    </a:lnTo>
                    <a:lnTo>
                      <a:pt x="69" y="367"/>
                    </a:lnTo>
                    <a:lnTo>
                      <a:pt x="69" y="368"/>
                    </a:lnTo>
                    <a:lnTo>
                      <a:pt x="67" y="368"/>
                    </a:lnTo>
                    <a:lnTo>
                      <a:pt x="67" y="367"/>
                    </a:lnTo>
                    <a:lnTo>
                      <a:pt x="65" y="367"/>
                    </a:lnTo>
                    <a:lnTo>
                      <a:pt x="67" y="367"/>
                    </a:lnTo>
                    <a:lnTo>
                      <a:pt x="67" y="365"/>
                    </a:lnTo>
                    <a:lnTo>
                      <a:pt x="67" y="363"/>
                    </a:lnTo>
                    <a:lnTo>
                      <a:pt x="67" y="361"/>
                    </a:lnTo>
                    <a:lnTo>
                      <a:pt x="69" y="361"/>
                    </a:lnTo>
                    <a:lnTo>
                      <a:pt x="69" y="359"/>
                    </a:lnTo>
                    <a:lnTo>
                      <a:pt x="69" y="357"/>
                    </a:lnTo>
                    <a:lnTo>
                      <a:pt x="69" y="355"/>
                    </a:lnTo>
                    <a:lnTo>
                      <a:pt x="67" y="355"/>
                    </a:lnTo>
                    <a:lnTo>
                      <a:pt x="67" y="353"/>
                    </a:lnTo>
                    <a:lnTo>
                      <a:pt x="65" y="353"/>
                    </a:lnTo>
                    <a:lnTo>
                      <a:pt x="65" y="351"/>
                    </a:lnTo>
                    <a:lnTo>
                      <a:pt x="65" y="349"/>
                    </a:lnTo>
                    <a:lnTo>
                      <a:pt x="65" y="347"/>
                    </a:lnTo>
                    <a:lnTo>
                      <a:pt x="64" y="349"/>
                    </a:lnTo>
                    <a:lnTo>
                      <a:pt x="62" y="349"/>
                    </a:lnTo>
                    <a:lnTo>
                      <a:pt x="62" y="351"/>
                    </a:lnTo>
                    <a:lnTo>
                      <a:pt x="60" y="353"/>
                    </a:lnTo>
                    <a:lnTo>
                      <a:pt x="60" y="351"/>
                    </a:lnTo>
                    <a:lnTo>
                      <a:pt x="58" y="349"/>
                    </a:lnTo>
                    <a:lnTo>
                      <a:pt x="54" y="347"/>
                    </a:lnTo>
                    <a:lnTo>
                      <a:pt x="52" y="345"/>
                    </a:lnTo>
                    <a:lnTo>
                      <a:pt x="50" y="345"/>
                    </a:lnTo>
                    <a:lnTo>
                      <a:pt x="48" y="343"/>
                    </a:lnTo>
                    <a:lnTo>
                      <a:pt x="48" y="345"/>
                    </a:lnTo>
                    <a:lnTo>
                      <a:pt x="46" y="347"/>
                    </a:lnTo>
                    <a:lnTo>
                      <a:pt x="44" y="349"/>
                    </a:lnTo>
                    <a:lnTo>
                      <a:pt x="44" y="351"/>
                    </a:lnTo>
                    <a:lnTo>
                      <a:pt x="42" y="353"/>
                    </a:lnTo>
                    <a:lnTo>
                      <a:pt x="41" y="355"/>
                    </a:lnTo>
                    <a:lnTo>
                      <a:pt x="41" y="357"/>
                    </a:lnTo>
                    <a:lnTo>
                      <a:pt x="39" y="359"/>
                    </a:lnTo>
                    <a:lnTo>
                      <a:pt x="37" y="361"/>
                    </a:lnTo>
                    <a:lnTo>
                      <a:pt x="37" y="363"/>
                    </a:lnTo>
                    <a:lnTo>
                      <a:pt x="35" y="363"/>
                    </a:lnTo>
                    <a:lnTo>
                      <a:pt x="33" y="363"/>
                    </a:lnTo>
                    <a:lnTo>
                      <a:pt x="31" y="361"/>
                    </a:lnTo>
                    <a:lnTo>
                      <a:pt x="31" y="359"/>
                    </a:lnTo>
                    <a:lnTo>
                      <a:pt x="29" y="357"/>
                    </a:lnTo>
                    <a:lnTo>
                      <a:pt x="29" y="355"/>
                    </a:lnTo>
                    <a:lnTo>
                      <a:pt x="27" y="355"/>
                    </a:lnTo>
                    <a:lnTo>
                      <a:pt x="27" y="353"/>
                    </a:lnTo>
                    <a:lnTo>
                      <a:pt x="25" y="351"/>
                    </a:lnTo>
                    <a:lnTo>
                      <a:pt x="23" y="351"/>
                    </a:lnTo>
                    <a:lnTo>
                      <a:pt x="23" y="349"/>
                    </a:lnTo>
                    <a:lnTo>
                      <a:pt x="21" y="349"/>
                    </a:lnTo>
                    <a:lnTo>
                      <a:pt x="19" y="349"/>
                    </a:lnTo>
                    <a:lnTo>
                      <a:pt x="19" y="351"/>
                    </a:lnTo>
                    <a:lnTo>
                      <a:pt x="17" y="351"/>
                    </a:lnTo>
                    <a:lnTo>
                      <a:pt x="16" y="351"/>
                    </a:lnTo>
                    <a:lnTo>
                      <a:pt x="14" y="351"/>
                    </a:lnTo>
                    <a:lnTo>
                      <a:pt x="12" y="351"/>
                    </a:lnTo>
                    <a:lnTo>
                      <a:pt x="12" y="353"/>
                    </a:lnTo>
                    <a:lnTo>
                      <a:pt x="10" y="353"/>
                    </a:lnTo>
                    <a:lnTo>
                      <a:pt x="8" y="353"/>
                    </a:lnTo>
                    <a:lnTo>
                      <a:pt x="8" y="351"/>
                    </a:lnTo>
                    <a:lnTo>
                      <a:pt x="6" y="351"/>
                    </a:lnTo>
                    <a:lnTo>
                      <a:pt x="8" y="351"/>
                    </a:lnTo>
                    <a:lnTo>
                      <a:pt x="6" y="351"/>
                    </a:lnTo>
                    <a:lnTo>
                      <a:pt x="6" y="349"/>
                    </a:lnTo>
                    <a:lnTo>
                      <a:pt x="6" y="347"/>
                    </a:lnTo>
                    <a:lnTo>
                      <a:pt x="4" y="347"/>
                    </a:lnTo>
                    <a:lnTo>
                      <a:pt x="4" y="345"/>
                    </a:lnTo>
                    <a:lnTo>
                      <a:pt x="4" y="343"/>
                    </a:lnTo>
                    <a:lnTo>
                      <a:pt x="4" y="342"/>
                    </a:lnTo>
                    <a:lnTo>
                      <a:pt x="6" y="340"/>
                    </a:lnTo>
                    <a:lnTo>
                      <a:pt x="6" y="338"/>
                    </a:lnTo>
                    <a:lnTo>
                      <a:pt x="8" y="338"/>
                    </a:lnTo>
                    <a:lnTo>
                      <a:pt x="8" y="336"/>
                    </a:lnTo>
                    <a:lnTo>
                      <a:pt x="8" y="334"/>
                    </a:lnTo>
                    <a:lnTo>
                      <a:pt x="8" y="332"/>
                    </a:lnTo>
                    <a:lnTo>
                      <a:pt x="6" y="330"/>
                    </a:lnTo>
                    <a:lnTo>
                      <a:pt x="6" y="328"/>
                    </a:lnTo>
                    <a:lnTo>
                      <a:pt x="8" y="328"/>
                    </a:lnTo>
                    <a:lnTo>
                      <a:pt x="6" y="326"/>
                    </a:lnTo>
                    <a:lnTo>
                      <a:pt x="6" y="324"/>
                    </a:lnTo>
                    <a:lnTo>
                      <a:pt x="6" y="322"/>
                    </a:lnTo>
                    <a:lnTo>
                      <a:pt x="6" y="320"/>
                    </a:lnTo>
                    <a:lnTo>
                      <a:pt x="4" y="320"/>
                    </a:lnTo>
                    <a:lnTo>
                      <a:pt x="4" y="319"/>
                    </a:lnTo>
                    <a:lnTo>
                      <a:pt x="2" y="319"/>
                    </a:lnTo>
                    <a:lnTo>
                      <a:pt x="2" y="317"/>
                    </a:lnTo>
                    <a:lnTo>
                      <a:pt x="2" y="315"/>
                    </a:lnTo>
                    <a:lnTo>
                      <a:pt x="0" y="315"/>
                    </a:lnTo>
                    <a:lnTo>
                      <a:pt x="2" y="315"/>
                    </a:lnTo>
                    <a:lnTo>
                      <a:pt x="2" y="313"/>
                    </a:lnTo>
                    <a:lnTo>
                      <a:pt x="2" y="311"/>
                    </a:lnTo>
                    <a:lnTo>
                      <a:pt x="4" y="311"/>
                    </a:lnTo>
                    <a:lnTo>
                      <a:pt x="4" y="313"/>
                    </a:lnTo>
                    <a:lnTo>
                      <a:pt x="6" y="313"/>
                    </a:lnTo>
                    <a:lnTo>
                      <a:pt x="6" y="311"/>
                    </a:lnTo>
                    <a:lnTo>
                      <a:pt x="8" y="311"/>
                    </a:lnTo>
                    <a:lnTo>
                      <a:pt x="8" y="309"/>
                    </a:lnTo>
                    <a:lnTo>
                      <a:pt x="8" y="307"/>
                    </a:lnTo>
                    <a:lnTo>
                      <a:pt x="10" y="307"/>
                    </a:lnTo>
                    <a:lnTo>
                      <a:pt x="10" y="305"/>
                    </a:lnTo>
                    <a:lnTo>
                      <a:pt x="8" y="305"/>
                    </a:lnTo>
                    <a:lnTo>
                      <a:pt x="10" y="305"/>
                    </a:lnTo>
                    <a:lnTo>
                      <a:pt x="12" y="305"/>
                    </a:lnTo>
                    <a:lnTo>
                      <a:pt x="12" y="303"/>
                    </a:lnTo>
                    <a:lnTo>
                      <a:pt x="12" y="299"/>
                    </a:lnTo>
                    <a:lnTo>
                      <a:pt x="14" y="299"/>
                    </a:lnTo>
                    <a:lnTo>
                      <a:pt x="16" y="299"/>
                    </a:lnTo>
                    <a:lnTo>
                      <a:pt x="17" y="299"/>
                    </a:lnTo>
                    <a:lnTo>
                      <a:pt x="17" y="297"/>
                    </a:lnTo>
                    <a:lnTo>
                      <a:pt x="19" y="299"/>
                    </a:lnTo>
                    <a:lnTo>
                      <a:pt x="19" y="297"/>
                    </a:lnTo>
                    <a:lnTo>
                      <a:pt x="19" y="295"/>
                    </a:lnTo>
                    <a:lnTo>
                      <a:pt x="19" y="294"/>
                    </a:lnTo>
                    <a:lnTo>
                      <a:pt x="19" y="292"/>
                    </a:lnTo>
                    <a:lnTo>
                      <a:pt x="21" y="294"/>
                    </a:lnTo>
                    <a:lnTo>
                      <a:pt x="21" y="292"/>
                    </a:lnTo>
                    <a:lnTo>
                      <a:pt x="21" y="290"/>
                    </a:lnTo>
                    <a:lnTo>
                      <a:pt x="19" y="290"/>
                    </a:lnTo>
                    <a:lnTo>
                      <a:pt x="19" y="288"/>
                    </a:lnTo>
                    <a:lnTo>
                      <a:pt x="21" y="288"/>
                    </a:lnTo>
                    <a:lnTo>
                      <a:pt x="21" y="286"/>
                    </a:lnTo>
                    <a:lnTo>
                      <a:pt x="19" y="286"/>
                    </a:lnTo>
                    <a:lnTo>
                      <a:pt x="19" y="284"/>
                    </a:lnTo>
                    <a:lnTo>
                      <a:pt x="17" y="284"/>
                    </a:lnTo>
                    <a:lnTo>
                      <a:pt x="16" y="284"/>
                    </a:lnTo>
                    <a:lnTo>
                      <a:pt x="16" y="282"/>
                    </a:lnTo>
                    <a:lnTo>
                      <a:pt x="17" y="280"/>
                    </a:lnTo>
                    <a:lnTo>
                      <a:pt x="27" y="276"/>
                    </a:lnTo>
                    <a:lnTo>
                      <a:pt x="31" y="272"/>
                    </a:lnTo>
                    <a:lnTo>
                      <a:pt x="37" y="269"/>
                    </a:lnTo>
                    <a:lnTo>
                      <a:pt x="41" y="267"/>
                    </a:lnTo>
                    <a:lnTo>
                      <a:pt x="41" y="265"/>
                    </a:lnTo>
                    <a:lnTo>
                      <a:pt x="42" y="265"/>
                    </a:lnTo>
                    <a:lnTo>
                      <a:pt x="41" y="265"/>
                    </a:lnTo>
                    <a:lnTo>
                      <a:pt x="41" y="263"/>
                    </a:lnTo>
                    <a:lnTo>
                      <a:pt x="41" y="261"/>
                    </a:lnTo>
                    <a:lnTo>
                      <a:pt x="46" y="261"/>
                    </a:lnTo>
                    <a:lnTo>
                      <a:pt x="48" y="261"/>
                    </a:lnTo>
                    <a:lnTo>
                      <a:pt x="52" y="259"/>
                    </a:lnTo>
                    <a:lnTo>
                      <a:pt x="52" y="257"/>
                    </a:lnTo>
                    <a:lnTo>
                      <a:pt x="54" y="257"/>
                    </a:lnTo>
                    <a:lnTo>
                      <a:pt x="58" y="255"/>
                    </a:lnTo>
                    <a:lnTo>
                      <a:pt x="58" y="257"/>
                    </a:lnTo>
                    <a:lnTo>
                      <a:pt x="60" y="257"/>
                    </a:lnTo>
                    <a:lnTo>
                      <a:pt x="62" y="257"/>
                    </a:lnTo>
                    <a:lnTo>
                      <a:pt x="62" y="255"/>
                    </a:lnTo>
                    <a:lnTo>
                      <a:pt x="64" y="255"/>
                    </a:lnTo>
                    <a:lnTo>
                      <a:pt x="65" y="253"/>
                    </a:lnTo>
                    <a:lnTo>
                      <a:pt x="67" y="253"/>
                    </a:lnTo>
                    <a:lnTo>
                      <a:pt x="67" y="251"/>
                    </a:lnTo>
                    <a:lnTo>
                      <a:pt x="67" y="249"/>
                    </a:lnTo>
                    <a:lnTo>
                      <a:pt x="69" y="249"/>
                    </a:lnTo>
                    <a:lnTo>
                      <a:pt x="71" y="247"/>
                    </a:lnTo>
                    <a:lnTo>
                      <a:pt x="71" y="246"/>
                    </a:lnTo>
                    <a:lnTo>
                      <a:pt x="75" y="246"/>
                    </a:lnTo>
                    <a:lnTo>
                      <a:pt x="79" y="246"/>
                    </a:lnTo>
                    <a:lnTo>
                      <a:pt x="81" y="246"/>
                    </a:lnTo>
                    <a:lnTo>
                      <a:pt x="81" y="244"/>
                    </a:lnTo>
                    <a:lnTo>
                      <a:pt x="85" y="244"/>
                    </a:lnTo>
                    <a:lnTo>
                      <a:pt x="89" y="244"/>
                    </a:lnTo>
                    <a:lnTo>
                      <a:pt x="94" y="244"/>
                    </a:lnTo>
                    <a:lnTo>
                      <a:pt x="96" y="246"/>
                    </a:lnTo>
                    <a:lnTo>
                      <a:pt x="98" y="246"/>
                    </a:lnTo>
                    <a:lnTo>
                      <a:pt x="98" y="247"/>
                    </a:lnTo>
                    <a:lnTo>
                      <a:pt x="100" y="249"/>
                    </a:lnTo>
                    <a:lnTo>
                      <a:pt x="102" y="251"/>
                    </a:lnTo>
                    <a:lnTo>
                      <a:pt x="104" y="251"/>
                    </a:lnTo>
                    <a:lnTo>
                      <a:pt x="104" y="253"/>
                    </a:lnTo>
                    <a:lnTo>
                      <a:pt x="104" y="255"/>
                    </a:lnTo>
                    <a:lnTo>
                      <a:pt x="106" y="257"/>
                    </a:lnTo>
                    <a:lnTo>
                      <a:pt x="108" y="257"/>
                    </a:lnTo>
                    <a:lnTo>
                      <a:pt x="110" y="259"/>
                    </a:lnTo>
                    <a:lnTo>
                      <a:pt x="112" y="259"/>
                    </a:lnTo>
                    <a:lnTo>
                      <a:pt x="113" y="259"/>
                    </a:lnTo>
                    <a:lnTo>
                      <a:pt x="113" y="257"/>
                    </a:lnTo>
                    <a:lnTo>
                      <a:pt x="113" y="255"/>
                    </a:lnTo>
                    <a:lnTo>
                      <a:pt x="113" y="253"/>
                    </a:lnTo>
                    <a:lnTo>
                      <a:pt x="115" y="255"/>
                    </a:lnTo>
                    <a:lnTo>
                      <a:pt x="115" y="253"/>
                    </a:lnTo>
                    <a:lnTo>
                      <a:pt x="117" y="253"/>
                    </a:lnTo>
                    <a:lnTo>
                      <a:pt x="117" y="251"/>
                    </a:lnTo>
                    <a:lnTo>
                      <a:pt x="119" y="251"/>
                    </a:lnTo>
                    <a:lnTo>
                      <a:pt x="121" y="251"/>
                    </a:lnTo>
                    <a:lnTo>
                      <a:pt x="121" y="249"/>
                    </a:lnTo>
                    <a:lnTo>
                      <a:pt x="123" y="247"/>
                    </a:lnTo>
                    <a:lnTo>
                      <a:pt x="125" y="246"/>
                    </a:lnTo>
                    <a:lnTo>
                      <a:pt x="123" y="246"/>
                    </a:lnTo>
                    <a:lnTo>
                      <a:pt x="123" y="244"/>
                    </a:lnTo>
                    <a:lnTo>
                      <a:pt x="123" y="242"/>
                    </a:lnTo>
                    <a:lnTo>
                      <a:pt x="123" y="240"/>
                    </a:lnTo>
                    <a:lnTo>
                      <a:pt x="125" y="240"/>
                    </a:lnTo>
                    <a:lnTo>
                      <a:pt x="127" y="240"/>
                    </a:lnTo>
                    <a:lnTo>
                      <a:pt x="127" y="238"/>
                    </a:lnTo>
                    <a:lnTo>
                      <a:pt x="131" y="242"/>
                    </a:lnTo>
                    <a:lnTo>
                      <a:pt x="137" y="246"/>
                    </a:lnTo>
                    <a:lnTo>
                      <a:pt x="140" y="247"/>
                    </a:lnTo>
                    <a:lnTo>
                      <a:pt x="142" y="249"/>
                    </a:lnTo>
                    <a:lnTo>
                      <a:pt x="146" y="249"/>
                    </a:lnTo>
                    <a:lnTo>
                      <a:pt x="150" y="247"/>
                    </a:lnTo>
                    <a:lnTo>
                      <a:pt x="152" y="247"/>
                    </a:lnTo>
                    <a:lnTo>
                      <a:pt x="152" y="244"/>
                    </a:lnTo>
                    <a:lnTo>
                      <a:pt x="154" y="242"/>
                    </a:lnTo>
                    <a:lnTo>
                      <a:pt x="154" y="240"/>
                    </a:lnTo>
                    <a:lnTo>
                      <a:pt x="156" y="240"/>
                    </a:lnTo>
                    <a:lnTo>
                      <a:pt x="165" y="240"/>
                    </a:lnTo>
                    <a:lnTo>
                      <a:pt x="167" y="240"/>
                    </a:lnTo>
                    <a:lnTo>
                      <a:pt x="169" y="238"/>
                    </a:lnTo>
                    <a:lnTo>
                      <a:pt x="171" y="238"/>
                    </a:lnTo>
                    <a:lnTo>
                      <a:pt x="173" y="236"/>
                    </a:lnTo>
                    <a:lnTo>
                      <a:pt x="179" y="236"/>
                    </a:lnTo>
                    <a:lnTo>
                      <a:pt x="181" y="236"/>
                    </a:lnTo>
                    <a:lnTo>
                      <a:pt x="185" y="236"/>
                    </a:lnTo>
                    <a:lnTo>
                      <a:pt x="186" y="236"/>
                    </a:lnTo>
                    <a:lnTo>
                      <a:pt x="190" y="236"/>
                    </a:lnTo>
                    <a:lnTo>
                      <a:pt x="190" y="234"/>
                    </a:lnTo>
                    <a:lnTo>
                      <a:pt x="192" y="232"/>
                    </a:lnTo>
                    <a:lnTo>
                      <a:pt x="192" y="230"/>
                    </a:lnTo>
                    <a:lnTo>
                      <a:pt x="192" y="228"/>
                    </a:lnTo>
                    <a:lnTo>
                      <a:pt x="192" y="226"/>
                    </a:lnTo>
                    <a:lnTo>
                      <a:pt x="194" y="224"/>
                    </a:lnTo>
                    <a:lnTo>
                      <a:pt x="196" y="223"/>
                    </a:lnTo>
                    <a:lnTo>
                      <a:pt x="196" y="221"/>
                    </a:lnTo>
                    <a:lnTo>
                      <a:pt x="196" y="219"/>
                    </a:lnTo>
                    <a:lnTo>
                      <a:pt x="198" y="217"/>
                    </a:lnTo>
                    <a:lnTo>
                      <a:pt x="202" y="215"/>
                    </a:lnTo>
                    <a:lnTo>
                      <a:pt x="204" y="215"/>
                    </a:lnTo>
                    <a:lnTo>
                      <a:pt x="208" y="215"/>
                    </a:lnTo>
                    <a:lnTo>
                      <a:pt x="211" y="215"/>
                    </a:lnTo>
                    <a:lnTo>
                      <a:pt x="213" y="217"/>
                    </a:lnTo>
                    <a:lnTo>
                      <a:pt x="215" y="219"/>
                    </a:lnTo>
                    <a:lnTo>
                      <a:pt x="217" y="221"/>
                    </a:lnTo>
                    <a:lnTo>
                      <a:pt x="217" y="223"/>
                    </a:lnTo>
                    <a:lnTo>
                      <a:pt x="219" y="223"/>
                    </a:lnTo>
                    <a:lnTo>
                      <a:pt x="221" y="223"/>
                    </a:lnTo>
                    <a:lnTo>
                      <a:pt x="221" y="221"/>
                    </a:lnTo>
                    <a:lnTo>
                      <a:pt x="223" y="223"/>
                    </a:lnTo>
                    <a:lnTo>
                      <a:pt x="225" y="223"/>
                    </a:lnTo>
                    <a:lnTo>
                      <a:pt x="225" y="224"/>
                    </a:lnTo>
                    <a:lnTo>
                      <a:pt x="227" y="224"/>
                    </a:lnTo>
                    <a:lnTo>
                      <a:pt x="227" y="223"/>
                    </a:lnTo>
                    <a:lnTo>
                      <a:pt x="229" y="223"/>
                    </a:lnTo>
                    <a:lnTo>
                      <a:pt x="231" y="224"/>
                    </a:lnTo>
                    <a:lnTo>
                      <a:pt x="233" y="224"/>
                    </a:lnTo>
                    <a:lnTo>
                      <a:pt x="233" y="223"/>
                    </a:lnTo>
                    <a:lnTo>
                      <a:pt x="234" y="223"/>
                    </a:lnTo>
                    <a:lnTo>
                      <a:pt x="234" y="224"/>
                    </a:lnTo>
                    <a:lnTo>
                      <a:pt x="234" y="223"/>
                    </a:lnTo>
                    <a:lnTo>
                      <a:pt x="236" y="223"/>
                    </a:lnTo>
                    <a:lnTo>
                      <a:pt x="242" y="224"/>
                    </a:lnTo>
                    <a:lnTo>
                      <a:pt x="244" y="221"/>
                    </a:lnTo>
                    <a:lnTo>
                      <a:pt x="242" y="219"/>
                    </a:lnTo>
                    <a:lnTo>
                      <a:pt x="244" y="219"/>
                    </a:lnTo>
                    <a:lnTo>
                      <a:pt x="244" y="215"/>
                    </a:lnTo>
                    <a:lnTo>
                      <a:pt x="244" y="213"/>
                    </a:lnTo>
                    <a:lnTo>
                      <a:pt x="242" y="213"/>
                    </a:lnTo>
                    <a:lnTo>
                      <a:pt x="244" y="211"/>
                    </a:lnTo>
                    <a:lnTo>
                      <a:pt x="244" y="209"/>
                    </a:lnTo>
                    <a:lnTo>
                      <a:pt x="246" y="209"/>
                    </a:lnTo>
                    <a:lnTo>
                      <a:pt x="244" y="207"/>
                    </a:lnTo>
                    <a:lnTo>
                      <a:pt x="242" y="205"/>
                    </a:lnTo>
                    <a:lnTo>
                      <a:pt x="240" y="201"/>
                    </a:lnTo>
                    <a:lnTo>
                      <a:pt x="238" y="201"/>
                    </a:lnTo>
                    <a:lnTo>
                      <a:pt x="236" y="199"/>
                    </a:lnTo>
                    <a:lnTo>
                      <a:pt x="234" y="198"/>
                    </a:lnTo>
                    <a:lnTo>
                      <a:pt x="236" y="198"/>
                    </a:lnTo>
                    <a:lnTo>
                      <a:pt x="238" y="194"/>
                    </a:lnTo>
                    <a:lnTo>
                      <a:pt x="242" y="188"/>
                    </a:lnTo>
                    <a:lnTo>
                      <a:pt x="244" y="188"/>
                    </a:lnTo>
                    <a:lnTo>
                      <a:pt x="246" y="188"/>
                    </a:lnTo>
                    <a:lnTo>
                      <a:pt x="250" y="186"/>
                    </a:lnTo>
                    <a:lnTo>
                      <a:pt x="256" y="186"/>
                    </a:lnTo>
                    <a:lnTo>
                      <a:pt x="256" y="184"/>
                    </a:lnTo>
                    <a:lnTo>
                      <a:pt x="258" y="184"/>
                    </a:lnTo>
                    <a:lnTo>
                      <a:pt x="258" y="182"/>
                    </a:lnTo>
                    <a:lnTo>
                      <a:pt x="258" y="180"/>
                    </a:lnTo>
                    <a:lnTo>
                      <a:pt x="258" y="178"/>
                    </a:lnTo>
                    <a:lnTo>
                      <a:pt x="258" y="176"/>
                    </a:lnTo>
                    <a:lnTo>
                      <a:pt x="259" y="176"/>
                    </a:lnTo>
                    <a:lnTo>
                      <a:pt x="259" y="175"/>
                    </a:lnTo>
                    <a:lnTo>
                      <a:pt x="261" y="171"/>
                    </a:lnTo>
                    <a:lnTo>
                      <a:pt x="259" y="171"/>
                    </a:lnTo>
                    <a:lnTo>
                      <a:pt x="258" y="169"/>
                    </a:lnTo>
                    <a:lnTo>
                      <a:pt x="258" y="167"/>
                    </a:lnTo>
                    <a:lnTo>
                      <a:pt x="256" y="163"/>
                    </a:lnTo>
                    <a:lnTo>
                      <a:pt x="254" y="161"/>
                    </a:lnTo>
                    <a:lnTo>
                      <a:pt x="252" y="161"/>
                    </a:lnTo>
                    <a:lnTo>
                      <a:pt x="254" y="161"/>
                    </a:lnTo>
                    <a:lnTo>
                      <a:pt x="256" y="161"/>
                    </a:lnTo>
                    <a:lnTo>
                      <a:pt x="256" y="159"/>
                    </a:lnTo>
                    <a:lnTo>
                      <a:pt x="258" y="161"/>
                    </a:lnTo>
                    <a:lnTo>
                      <a:pt x="259" y="161"/>
                    </a:lnTo>
                    <a:lnTo>
                      <a:pt x="261" y="163"/>
                    </a:lnTo>
                    <a:lnTo>
                      <a:pt x="263" y="159"/>
                    </a:lnTo>
                    <a:lnTo>
                      <a:pt x="265" y="155"/>
                    </a:lnTo>
                    <a:lnTo>
                      <a:pt x="267" y="153"/>
                    </a:lnTo>
                    <a:lnTo>
                      <a:pt x="269" y="153"/>
                    </a:lnTo>
                    <a:lnTo>
                      <a:pt x="269" y="155"/>
                    </a:lnTo>
                    <a:lnTo>
                      <a:pt x="271" y="155"/>
                    </a:lnTo>
                    <a:lnTo>
                      <a:pt x="271" y="150"/>
                    </a:lnTo>
                    <a:lnTo>
                      <a:pt x="273" y="150"/>
                    </a:lnTo>
                    <a:lnTo>
                      <a:pt x="284" y="146"/>
                    </a:lnTo>
                    <a:lnTo>
                      <a:pt x="288" y="144"/>
                    </a:lnTo>
                    <a:lnTo>
                      <a:pt x="290" y="146"/>
                    </a:lnTo>
                    <a:lnTo>
                      <a:pt x="292" y="146"/>
                    </a:lnTo>
                    <a:lnTo>
                      <a:pt x="294" y="148"/>
                    </a:lnTo>
                    <a:lnTo>
                      <a:pt x="298" y="148"/>
                    </a:lnTo>
                    <a:lnTo>
                      <a:pt x="300" y="150"/>
                    </a:lnTo>
                    <a:lnTo>
                      <a:pt x="302" y="150"/>
                    </a:lnTo>
                    <a:lnTo>
                      <a:pt x="304" y="150"/>
                    </a:lnTo>
                    <a:lnTo>
                      <a:pt x="304" y="148"/>
                    </a:lnTo>
                    <a:lnTo>
                      <a:pt x="304" y="146"/>
                    </a:lnTo>
                    <a:lnTo>
                      <a:pt x="306" y="146"/>
                    </a:lnTo>
                    <a:lnTo>
                      <a:pt x="307" y="148"/>
                    </a:lnTo>
                    <a:lnTo>
                      <a:pt x="311" y="150"/>
                    </a:lnTo>
                    <a:lnTo>
                      <a:pt x="317" y="152"/>
                    </a:lnTo>
                    <a:lnTo>
                      <a:pt x="319" y="150"/>
                    </a:lnTo>
                    <a:lnTo>
                      <a:pt x="321" y="148"/>
                    </a:lnTo>
                    <a:lnTo>
                      <a:pt x="323" y="148"/>
                    </a:lnTo>
                    <a:lnTo>
                      <a:pt x="323" y="150"/>
                    </a:lnTo>
                    <a:lnTo>
                      <a:pt x="323" y="152"/>
                    </a:lnTo>
                    <a:lnTo>
                      <a:pt x="325" y="152"/>
                    </a:lnTo>
                    <a:lnTo>
                      <a:pt x="325" y="153"/>
                    </a:lnTo>
                    <a:lnTo>
                      <a:pt x="325" y="155"/>
                    </a:lnTo>
                    <a:lnTo>
                      <a:pt x="327" y="155"/>
                    </a:lnTo>
                    <a:lnTo>
                      <a:pt x="327" y="157"/>
                    </a:lnTo>
                    <a:lnTo>
                      <a:pt x="329" y="155"/>
                    </a:lnTo>
                    <a:lnTo>
                      <a:pt x="330" y="155"/>
                    </a:lnTo>
                    <a:lnTo>
                      <a:pt x="332" y="155"/>
                    </a:lnTo>
                    <a:lnTo>
                      <a:pt x="334" y="157"/>
                    </a:lnTo>
                    <a:lnTo>
                      <a:pt x="336" y="157"/>
                    </a:lnTo>
                    <a:lnTo>
                      <a:pt x="338" y="157"/>
                    </a:lnTo>
                    <a:lnTo>
                      <a:pt x="338" y="159"/>
                    </a:lnTo>
                    <a:lnTo>
                      <a:pt x="340" y="159"/>
                    </a:lnTo>
                    <a:lnTo>
                      <a:pt x="342" y="159"/>
                    </a:lnTo>
                    <a:lnTo>
                      <a:pt x="344" y="159"/>
                    </a:lnTo>
                    <a:lnTo>
                      <a:pt x="344" y="157"/>
                    </a:lnTo>
                    <a:lnTo>
                      <a:pt x="342" y="157"/>
                    </a:lnTo>
                    <a:lnTo>
                      <a:pt x="342" y="155"/>
                    </a:lnTo>
                    <a:lnTo>
                      <a:pt x="344" y="155"/>
                    </a:lnTo>
                    <a:lnTo>
                      <a:pt x="344" y="153"/>
                    </a:lnTo>
                    <a:lnTo>
                      <a:pt x="346" y="153"/>
                    </a:lnTo>
                    <a:lnTo>
                      <a:pt x="348" y="153"/>
                    </a:lnTo>
                    <a:lnTo>
                      <a:pt x="350" y="153"/>
                    </a:lnTo>
                    <a:lnTo>
                      <a:pt x="352" y="153"/>
                    </a:lnTo>
                    <a:lnTo>
                      <a:pt x="354" y="153"/>
                    </a:lnTo>
                    <a:lnTo>
                      <a:pt x="355" y="155"/>
                    </a:lnTo>
                    <a:lnTo>
                      <a:pt x="355" y="153"/>
                    </a:lnTo>
                    <a:lnTo>
                      <a:pt x="355" y="155"/>
                    </a:lnTo>
                    <a:lnTo>
                      <a:pt x="357" y="155"/>
                    </a:lnTo>
                    <a:lnTo>
                      <a:pt x="357" y="153"/>
                    </a:lnTo>
                    <a:lnTo>
                      <a:pt x="357" y="152"/>
                    </a:lnTo>
                    <a:lnTo>
                      <a:pt x="357" y="150"/>
                    </a:lnTo>
                    <a:lnTo>
                      <a:pt x="359" y="150"/>
                    </a:lnTo>
                    <a:lnTo>
                      <a:pt x="359" y="152"/>
                    </a:lnTo>
                    <a:lnTo>
                      <a:pt x="361" y="152"/>
                    </a:lnTo>
                    <a:lnTo>
                      <a:pt x="361" y="153"/>
                    </a:lnTo>
                    <a:lnTo>
                      <a:pt x="361" y="155"/>
                    </a:lnTo>
                    <a:lnTo>
                      <a:pt x="363" y="155"/>
                    </a:lnTo>
                    <a:lnTo>
                      <a:pt x="365" y="155"/>
                    </a:lnTo>
                    <a:lnTo>
                      <a:pt x="367" y="155"/>
                    </a:lnTo>
                    <a:lnTo>
                      <a:pt x="369" y="155"/>
                    </a:lnTo>
                    <a:lnTo>
                      <a:pt x="371" y="155"/>
                    </a:lnTo>
                    <a:lnTo>
                      <a:pt x="371" y="153"/>
                    </a:lnTo>
                    <a:lnTo>
                      <a:pt x="371" y="155"/>
                    </a:lnTo>
                    <a:lnTo>
                      <a:pt x="371" y="157"/>
                    </a:lnTo>
                    <a:lnTo>
                      <a:pt x="373" y="157"/>
                    </a:lnTo>
                    <a:lnTo>
                      <a:pt x="375" y="157"/>
                    </a:lnTo>
                    <a:lnTo>
                      <a:pt x="377" y="157"/>
                    </a:lnTo>
                    <a:lnTo>
                      <a:pt x="378" y="157"/>
                    </a:lnTo>
                    <a:lnTo>
                      <a:pt x="380" y="157"/>
                    </a:lnTo>
                    <a:lnTo>
                      <a:pt x="382" y="157"/>
                    </a:lnTo>
                    <a:lnTo>
                      <a:pt x="384" y="157"/>
                    </a:lnTo>
                    <a:lnTo>
                      <a:pt x="384" y="159"/>
                    </a:lnTo>
                    <a:lnTo>
                      <a:pt x="384" y="161"/>
                    </a:lnTo>
                    <a:lnTo>
                      <a:pt x="386" y="161"/>
                    </a:lnTo>
                    <a:lnTo>
                      <a:pt x="388" y="161"/>
                    </a:lnTo>
                    <a:lnTo>
                      <a:pt x="388" y="163"/>
                    </a:lnTo>
                    <a:lnTo>
                      <a:pt x="390" y="163"/>
                    </a:lnTo>
                    <a:lnTo>
                      <a:pt x="390" y="165"/>
                    </a:lnTo>
                    <a:lnTo>
                      <a:pt x="392" y="165"/>
                    </a:lnTo>
                    <a:lnTo>
                      <a:pt x="390" y="167"/>
                    </a:lnTo>
                    <a:lnTo>
                      <a:pt x="390" y="169"/>
                    </a:lnTo>
                    <a:lnTo>
                      <a:pt x="392" y="169"/>
                    </a:lnTo>
                    <a:lnTo>
                      <a:pt x="394" y="169"/>
                    </a:lnTo>
                    <a:lnTo>
                      <a:pt x="394" y="171"/>
                    </a:lnTo>
                    <a:lnTo>
                      <a:pt x="396" y="171"/>
                    </a:lnTo>
                    <a:lnTo>
                      <a:pt x="396" y="169"/>
                    </a:lnTo>
                    <a:lnTo>
                      <a:pt x="396" y="167"/>
                    </a:lnTo>
                    <a:lnTo>
                      <a:pt x="398" y="167"/>
                    </a:lnTo>
                    <a:lnTo>
                      <a:pt x="398" y="169"/>
                    </a:lnTo>
                    <a:lnTo>
                      <a:pt x="400" y="169"/>
                    </a:lnTo>
                    <a:lnTo>
                      <a:pt x="400" y="171"/>
                    </a:lnTo>
                    <a:lnTo>
                      <a:pt x="400" y="173"/>
                    </a:lnTo>
                    <a:lnTo>
                      <a:pt x="402" y="173"/>
                    </a:lnTo>
                    <a:lnTo>
                      <a:pt x="402" y="175"/>
                    </a:lnTo>
                    <a:lnTo>
                      <a:pt x="403" y="175"/>
                    </a:lnTo>
                    <a:lnTo>
                      <a:pt x="403" y="173"/>
                    </a:lnTo>
                    <a:lnTo>
                      <a:pt x="403" y="171"/>
                    </a:lnTo>
                    <a:lnTo>
                      <a:pt x="403" y="169"/>
                    </a:lnTo>
                    <a:lnTo>
                      <a:pt x="405" y="169"/>
                    </a:lnTo>
                    <a:lnTo>
                      <a:pt x="407" y="169"/>
                    </a:lnTo>
                    <a:lnTo>
                      <a:pt x="407" y="171"/>
                    </a:lnTo>
                    <a:lnTo>
                      <a:pt x="407" y="169"/>
                    </a:lnTo>
                    <a:lnTo>
                      <a:pt x="409" y="169"/>
                    </a:lnTo>
                    <a:lnTo>
                      <a:pt x="409" y="167"/>
                    </a:lnTo>
                    <a:lnTo>
                      <a:pt x="411" y="167"/>
                    </a:lnTo>
                    <a:lnTo>
                      <a:pt x="413" y="167"/>
                    </a:lnTo>
                    <a:lnTo>
                      <a:pt x="413" y="169"/>
                    </a:lnTo>
                    <a:lnTo>
                      <a:pt x="415" y="169"/>
                    </a:lnTo>
                    <a:lnTo>
                      <a:pt x="415" y="167"/>
                    </a:lnTo>
                    <a:lnTo>
                      <a:pt x="417" y="165"/>
                    </a:lnTo>
                    <a:lnTo>
                      <a:pt x="417" y="163"/>
                    </a:lnTo>
                    <a:lnTo>
                      <a:pt x="419" y="163"/>
                    </a:lnTo>
                    <a:lnTo>
                      <a:pt x="419" y="161"/>
                    </a:lnTo>
                    <a:lnTo>
                      <a:pt x="421" y="161"/>
                    </a:lnTo>
                    <a:lnTo>
                      <a:pt x="423" y="161"/>
                    </a:lnTo>
                    <a:lnTo>
                      <a:pt x="425" y="161"/>
                    </a:lnTo>
                    <a:lnTo>
                      <a:pt x="426" y="161"/>
                    </a:lnTo>
                    <a:lnTo>
                      <a:pt x="426" y="163"/>
                    </a:lnTo>
                    <a:lnTo>
                      <a:pt x="428" y="163"/>
                    </a:lnTo>
                    <a:lnTo>
                      <a:pt x="428" y="165"/>
                    </a:lnTo>
                    <a:lnTo>
                      <a:pt x="430" y="165"/>
                    </a:lnTo>
                    <a:lnTo>
                      <a:pt x="430" y="163"/>
                    </a:lnTo>
                    <a:lnTo>
                      <a:pt x="430" y="161"/>
                    </a:lnTo>
                    <a:lnTo>
                      <a:pt x="430" y="159"/>
                    </a:lnTo>
                    <a:lnTo>
                      <a:pt x="432" y="159"/>
                    </a:lnTo>
                    <a:lnTo>
                      <a:pt x="434" y="159"/>
                    </a:lnTo>
                    <a:lnTo>
                      <a:pt x="436" y="161"/>
                    </a:lnTo>
                    <a:lnTo>
                      <a:pt x="438" y="161"/>
                    </a:lnTo>
                    <a:lnTo>
                      <a:pt x="440" y="161"/>
                    </a:lnTo>
                    <a:lnTo>
                      <a:pt x="442" y="161"/>
                    </a:lnTo>
                    <a:lnTo>
                      <a:pt x="442" y="163"/>
                    </a:lnTo>
                    <a:lnTo>
                      <a:pt x="442" y="165"/>
                    </a:lnTo>
                    <a:lnTo>
                      <a:pt x="444" y="165"/>
                    </a:lnTo>
                    <a:lnTo>
                      <a:pt x="444" y="167"/>
                    </a:lnTo>
                    <a:lnTo>
                      <a:pt x="444" y="169"/>
                    </a:lnTo>
                    <a:lnTo>
                      <a:pt x="446" y="169"/>
                    </a:lnTo>
                    <a:lnTo>
                      <a:pt x="446" y="167"/>
                    </a:lnTo>
                    <a:lnTo>
                      <a:pt x="448" y="167"/>
                    </a:lnTo>
                    <a:lnTo>
                      <a:pt x="450" y="167"/>
                    </a:lnTo>
                    <a:lnTo>
                      <a:pt x="451" y="167"/>
                    </a:lnTo>
                    <a:lnTo>
                      <a:pt x="451" y="165"/>
                    </a:lnTo>
                    <a:lnTo>
                      <a:pt x="451" y="167"/>
                    </a:lnTo>
                    <a:lnTo>
                      <a:pt x="453" y="167"/>
                    </a:lnTo>
                    <a:lnTo>
                      <a:pt x="455" y="167"/>
                    </a:lnTo>
                    <a:lnTo>
                      <a:pt x="455" y="165"/>
                    </a:lnTo>
                    <a:lnTo>
                      <a:pt x="457" y="165"/>
                    </a:lnTo>
                    <a:lnTo>
                      <a:pt x="457" y="167"/>
                    </a:lnTo>
                    <a:lnTo>
                      <a:pt x="459" y="167"/>
                    </a:lnTo>
                    <a:lnTo>
                      <a:pt x="459" y="169"/>
                    </a:lnTo>
                    <a:lnTo>
                      <a:pt x="459" y="171"/>
                    </a:lnTo>
                    <a:lnTo>
                      <a:pt x="459" y="173"/>
                    </a:lnTo>
                    <a:lnTo>
                      <a:pt x="459" y="175"/>
                    </a:lnTo>
                    <a:lnTo>
                      <a:pt x="461" y="175"/>
                    </a:lnTo>
                    <a:lnTo>
                      <a:pt x="461" y="176"/>
                    </a:lnTo>
                    <a:lnTo>
                      <a:pt x="459" y="178"/>
                    </a:lnTo>
                    <a:lnTo>
                      <a:pt x="461" y="178"/>
                    </a:lnTo>
                    <a:lnTo>
                      <a:pt x="461" y="180"/>
                    </a:lnTo>
                    <a:lnTo>
                      <a:pt x="463" y="180"/>
                    </a:lnTo>
                    <a:lnTo>
                      <a:pt x="465" y="180"/>
                    </a:lnTo>
                    <a:lnTo>
                      <a:pt x="467" y="180"/>
                    </a:lnTo>
                    <a:lnTo>
                      <a:pt x="469" y="180"/>
                    </a:lnTo>
                    <a:lnTo>
                      <a:pt x="469" y="178"/>
                    </a:lnTo>
                    <a:lnTo>
                      <a:pt x="469" y="176"/>
                    </a:lnTo>
                    <a:lnTo>
                      <a:pt x="469" y="175"/>
                    </a:lnTo>
                    <a:lnTo>
                      <a:pt x="471" y="175"/>
                    </a:lnTo>
                    <a:lnTo>
                      <a:pt x="473" y="175"/>
                    </a:lnTo>
                    <a:lnTo>
                      <a:pt x="473" y="176"/>
                    </a:lnTo>
                    <a:lnTo>
                      <a:pt x="475" y="178"/>
                    </a:lnTo>
                    <a:lnTo>
                      <a:pt x="475" y="180"/>
                    </a:lnTo>
                    <a:lnTo>
                      <a:pt x="476" y="180"/>
                    </a:lnTo>
                    <a:lnTo>
                      <a:pt x="478" y="180"/>
                    </a:lnTo>
                    <a:lnTo>
                      <a:pt x="478" y="178"/>
                    </a:lnTo>
                    <a:lnTo>
                      <a:pt x="478" y="176"/>
                    </a:lnTo>
                    <a:lnTo>
                      <a:pt x="478" y="175"/>
                    </a:lnTo>
                    <a:lnTo>
                      <a:pt x="480" y="175"/>
                    </a:lnTo>
                    <a:lnTo>
                      <a:pt x="480" y="173"/>
                    </a:lnTo>
                    <a:lnTo>
                      <a:pt x="482" y="173"/>
                    </a:lnTo>
                    <a:lnTo>
                      <a:pt x="482" y="175"/>
                    </a:lnTo>
                    <a:lnTo>
                      <a:pt x="482" y="176"/>
                    </a:lnTo>
                    <a:lnTo>
                      <a:pt x="480" y="176"/>
                    </a:lnTo>
                    <a:lnTo>
                      <a:pt x="480" y="178"/>
                    </a:lnTo>
                    <a:lnTo>
                      <a:pt x="482" y="178"/>
                    </a:lnTo>
                    <a:lnTo>
                      <a:pt x="482" y="176"/>
                    </a:lnTo>
                    <a:lnTo>
                      <a:pt x="484" y="176"/>
                    </a:lnTo>
                    <a:lnTo>
                      <a:pt x="484" y="175"/>
                    </a:lnTo>
                    <a:lnTo>
                      <a:pt x="486" y="175"/>
                    </a:lnTo>
                    <a:lnTo>
                      <a:pt x="486" y="173"/>
                    </a:lnTo>
                    <a:lnTo>
                      <a:pt x="486" y="171"/>
                    </a:lnTo>
                    <a:lnTo>
                      <a:pt x="488" y="171"/>
                    </a:lnTo>
                    <a:lnTo>
                      <a:pt x="488" y="173"/>
                    </a:lnTo>
                    <a:lnTo>
                      <a:pt x="490" y="173"/>
                    </a:lnTo>
                    <a:lnTo>
                      <a:pt x="490" y="175"/>
                    </a:lnTo>
                    <a:lnTo>
                      <a:pt x="488" y="175"/>
                    </a:lnTo>
                    <a:lnTo>
                      <a:pt x="488" y="176"/>
                    </a:lnTo>
                    <a:lnTo>
                      <a:pt x="490" y="176"/>
                    </a:lnTo>
                    <a:lnTo>
                      <a:pt x="490" y="175"/>
                    </a:lnTo>
                    <a:lnTo>
                      <a:pt x="492" y="175"/>
                    </a:lnTo>
                    <a:lnTo>
                      <a:pt x="492" y="173"/>
                    </a:lnTo>
                    <a:lnTo>
                      <a:pt x="494" y="173"/>
                    </a:lnTo>
                    <a:lnTo>
                      <a:pt x="492" y="171"/>
                    </a:lnTo>
                    <a:lnTo>
                      <a:pt x="490" y="169"/>
                    </a:lnTo>
                    <a:lnTo>
                      <a:pt x="490" y="167"/>
                    </a:lnTo>
                    <a:lnTo>
                      <a:pt x="498" y="161"/>
                    </a:lnTo>
                    <a:lnTo>
                      <a:pt x="503" y="159"/>
                    </a:lnTo>
                    <a:lnTo>
                      <a:pt x="503" y="157"/>
                    </a:lnTo>
                    <a:lnTo>
                      <a:pt x="507" y="157"/>
                    </a:lnTo>
                    <a:lnTo>
                      <a:pt x="509" y="157"/>
                    </a:lnTo>
                    <a:lnTo>
                      <a:pt x="509" y="155"/>
                    </a:lnTo>
                    <a:lnTo>
                      <a:pt x="513" y="155"/>
                    </a:lnTo>
                    <a:lnTo>
                      <a:pt x="517" y="153"/>
                    </a:lnTo>
                    <a:lnTo>
                      <a:pt x="521" y="153"/>
                    </a:lnTo>
                    <a:lnTo>
                      <a:pt x="521" y="152"/>
                    </a:lnTo>
                    <a:lnTo>
                      <a:pt x="521" y="148"/>
                    </a:lnTo>
                    <a:lnTo>
                      <a:pt x="526" y="146"/>
                    </a:lnTo>
                    <a:lnTo>
                      <a:pt x="528" y="144"/>
                    </a:lnTo>
                    <a:lnTo>
                      <a:pt x="530" y="144"/>
                    </a:lnTo>
                    <a:lnTo>
                      <a:pt x="530" y="142"/>
                    </a:lnTo>
                    <a:lnTo>
                      <a:pt x="532" y="142"/>
                    </a:lnTo>
                    <a:lnTo>
                      <a:pt x="530" y="140"/>
                    </a:lnTo>
                    <a:lnTo>
                      <a:pt x="532" y="136"/>
                    </a:lnTo>
                    <a:lnTo>
                      <a:pt x="532" y="134"/>
                    </a:lnTo>
                    <a:lnTo>
                      <a:pt x="534" y="132"/>
                    </a:lnTo>
                    <a:lnTo>
                      <a:pt x="532" y="130"/>
                    </a:lnTo>
                    <a:lnTo>
                      <a:pt x="532" y="128"/>
                    </a:lnTo>
                    <a:lnTo>
                      <a:pt x="536" y="127"/>
                    </a:lnTo>
                    <a:lnTo>
                      <a:pt x="538" y="127"/>
                    </a:lnTo>
                    <a:lnTo>
                      <a:pt x="538" y="125"/>
                    </a:lnTo>
                    <a:lnTo>
                      <a:pt x="538" y="123"/>
                    </a:lnTo>
                    <a:lnTo>
                      <a:pt x="536" y="123"/>
                    </a:lnTo>
                    <a:lnTo>
                      <a:pt x="538" y="123"/>
                    </a:lnTo>
                    <a:lnTo>
                      <a:pt x="538" y="121"/>
                    </a:lnTo>
                    <a:lnTo>
                      <a:pt x="536" y="119"/>
                    </a:lnTo>
                    <a:lnTo>
                      <a:pt x="536" y="117"/>
                    </a:lnTo>
                    <a:lnTo>
                      <a:pt x="538" y="117"/>
                    </a:lnTo>
                    <a:lnTo>
                      <a:pt x="538" y="115"/>
                    </a:lnTo>
                    <a:lnTo>
                      <a:pt x="536" y="115"/>
                    </a:lnTo>
                    <a:lnTo>
                      <a:pt x="536" y="113"/>
                    </a:lnTo>
                    <a:lnTo>
                      <a:pt x="540" y="109"/>
                    </a:lnTo>
                    <a:lnTo>
                      <a:pt x="544" y="113"/>
                    </a:lnTo>
                    <a:lnTo>
                      <a:pt x="542" y="113"/>
                    </a:lnTo>
                    <a:lnTo>
                      <a:pt x="540" y="117"/>
                    </a:lnTo>
                    <a:lnTo>
                      <a:pt x="538" y="117"/>
                    </a:lnTo>
                    <a:lnTo>
                      <a:pt x="538" y="119"/>
                    </a:lnTo>
                    <a:lnTo>
                      <a:pt x="540" y="119"/>
                    </a:lnTo>
                    <a:lnTo>
                      <a:pt x="542" y="119"/>
                    </a:lnTo>
                    <a:lnTo>
                      <a:pt x="544" y="119"/>
                    </a:lnTo>
                    <a:lnTo>
                      <a:pt x="544" y="117"/>
                    </a:lnTo>
                    <a:lnTo>
                      <a:pt x="546" y="117"/>
                    </a:lnTo>
                    <a:lnTo>
                      <a:pt x="544" y="115"/>
                    </a:lnTo>
                    <a:lnTo>
                      <a:pt x="546" y="113"/>
                    </a:lnTo>
                    <a:lnTo>
                      <a:pt x="546" y="115"/>
                    </a:lnTo>
                    <a:lnTo>
                      <a:pt x="547" y="115"/>
                    </a:lnTo>
                    <a:lnTo>
                      <a:pt x="549" y="115"/>
                    </a:lnTo>
                    <a:lnTo>
                      <a:pt x="549" y="113"/>
                    </a:lnTo>
                    <a:lnTo>
                      <a:pt x="551" y="113"/>
                    </a:lnTo>
                    <a:lnTo>
                      <a:pt x="553" y="113"/>
                    </a:lnTo>
                    <a:lnTo>
                      <a:pt x="555" y="113"/>
                    </a:lnTo>
                    <a:lnTo>
                      <a:pt x="555" y="115"/>
                    </a:lnTo>
                    <a:lnTo>
                      <a:pt x="557" y="115"/>
                    </a:lnTo>
                    <a:lnTo>
                      <a:pt x="559" y="115"/>
                    </a:lnTo>
                    <a:lnTo>
                      <a:pt x="561" y="115"/>
                    </a:lnTo>
                    <a:lnTo>
                      <a:pt x="561" y="117"/>
                    </a:lnTo>
                    <a:lnTo>
                      <a:pt x="563" y="117"/>
                    </a:lnTo>
                    <a:lnTo>
                      <a:pt x="565" y="117"/>
                    </a:lnTo>
                    <a:lnTo>
                      <a:pt x="567" y="117"/>
                    </a:lnTo>
                    <a:lnTo>
                      <a:pt x="567" y="119"/>
                    </a:lnTo>
                    <a:lnTo>
                      <a:pt x="569" y="119"/>
                    </a:lnTo>
                    <a:lnTo>
                      <a:pt x="571" y="115"/>
                    </a:lnTo>
                    <a:lnTo>
                      <a:pt x="571" y="113"/>
                    </a:lnTo>
                    <a:lnTo>
                      <a:pt x="572" y="113"/>
                    </a:lnTo>
                    <a:lnTo>
                      <a:pt x="572" y="109"/>
                    </a:lnTo>
                    <a:lnTo>
                      <a:pt x="572" y="107"/>
                    </a:lnTo>
                    <a:lnTo>
                      <a:pt x="572" y="105"/>
                    </a:lnTo>
                    <a:lnTo>
                      <a:pt x="574" y="104"/>
                    </a:lnTo>
                    <a:lnTo>
                      <a:pt x="578" y="104"/>
                    </a:lnTo>
                    <a:lnTo>
                      <a:pt x="580" y="104"/>
                    </a:lnTo>
                    <a:lnTo>
                      <a:pt x="588" y="107"/>
                    </a:lnTo>
                    <a:lnTo>
                      <a:pt x="590" y="107"/>
                    </a:lnTo>
                    <a:lnTo>
                      <a:pt x="590" y="105"/>
                    </a:lnTo>
                    <a:lnTo>
                      <a:pt x="592" y="105"/>
                    </a:lnTo>
                    <a:lnTo>
                      <a:pt x="594" y="105"/>
                    </a:lnTo>
                    <a:lnTo>
                      <a:pt x="595" y="104"/>
                    </a:lnTo>
                    <a:lnTo>
                      <a:pt x="597" y="104"/>
                    </a:lnTo>
                    <a:lnTo>
                      <a:pt x="599" y="104"/>
                    </a:lnTo>
                    <a:lnTo>
                      <a:pt x="601" y="104"/>
                    </a:lnTo>
                    <a:lnTo>
                      <a:pt x="601" y="102"/>
                    </a:lnTo>
                    <a:lnTo>
                      <a:pt x="603" y="102"/>
                    </a:lnTo>
                    <a:lnTo>
                      <a:pt x="603" y="100"/>
                    </a:lnTo>
                    <a:lnTo>
                      <a:pt x="605" y="100"/>
                    </a:lnTo>
                    <a:lnTo>
                      <a:pt x="603" y="102"/>
                    </a:lnTo>
                    <a:lnTo>
                      <a:pt x="605" y="102"/>
                    </a:lnTo>
                    <a:lnTo>
                      <a:pt x="605" y="104"/>
                    </a:lnTo>
                    <a:lnTo>
                      <a:pt x="607" y="104"/>
                    </a:lnTo>
                    <a:lnTo>
                      <a:pt x="607" y="105"/>
                    </a:lnTo>
                    <a:lnTo>
                      <a:pt x="609" y="105"/>
                    </a:lnTo>
                    <a:lnTo>
                      <a:pt x="611" y="107"/>
                    </a:lnTo>
                    <a:lnTo>
                      <a:pt x="611" y="105"/>
                    </a:lnTo>
                    <a:lnTo>
                      <a:pt x="613" y="105"/>
                    </a:lnTo>
                    <a:lnTo>
                      <a:pt x="613" y="107"/>
                    </a:lnTo>
                    <a:lnTo>
                      <a:pt x="615" y="109"/>
                    </a:lnTo>
                    <a:lnTo>
                      <a:pt x="617" y="109"/>
                    </a:lnTo>
                    <a:lnTo>
                      <a:pt x="617" y="111"/>
                    </a:lnTo>
                    <a:lnTo>
                      <a:pt x="619" y="111"/>
                    </a:lnTo>
                    <a:lnTo>
                      <a:pt x="620" y="113"/>
                    </a:lnTo>
                    <a:lnTo>
                      <a:pt x="622" y="115"/>
                    </a:lnTo>
                    <a:lnTo>
                      <a:pt x="626" y="117"/>
                    </a:lnTo>
                    <a:lnTo>
                      <a:pt x="628" y="117"/>
                    </a:lnTo>
                    <a:lnTo>
                      <a:pt x="628" y="119"/>
                    </a:lnTo>
                    <a:lnTo>
                      <a:pt x="632" y="121"/>
                    </a:lnTo>
                    <a:lnTo>
                      <a:pt x="632" y="125"/>
                    </a:lnTo>
                    <a:lnTo>
                      <a:pt x="632" y="127"/>
                    </a:lnTo>
                    <a:lnTo>
                      <a:pt x="630" y="128"/>
                    </a:lnTo>
                    <a:lnTo>
                      <a:pt x="632" y="132"/>
                    </a:lnTo>
                    <a:lnTo>
                      <a:pt x="634" y="130"/>
                    </a:lnTo>
                    <a:lnTo>
                      <a:pt x="634" y="128"/>
                    </a:lnTo>
                    <a:lnTo>
                      <a:pt x="636" y="128"/>
                    </a:lnTo>
                    <a:lnTo>
                      <a:pt x="636" y="127"/>
                    </a:lnTo>
                    <a:lnTo>
                      <a:pt x="638" y="127"/>
                    </a:lnTo>
                    <a:lnTo>
                      <a:pt x="638" y="125"/>
                    </a:lnTo>
                    <a:lnTo>
                      <a:pt x="640" y="125"/>
                    </a:lnTo>
                    <a:lnTo>
                      <a:pt x="640" y="123"/>
                    </a:lnTo>
                    <a:lnTo>
                      <a:pt x="642" y="123"/>
                    </a:lnTo>
                    <a:lnTo>
                      <a:pt x="642" y="121"/>
                    </a:lnTo>
                    <a:lnTo>
                      <a:pt x="643" y="121"/>
                    </a:lnTo>
                    <a:lnTo>
                      <a:pt x="645" y="123"/>
                    </a:lnTo>
                    <a:lnTo>
                      <a:pt x="645" y="121"/>
                    </a:lnTo>
                    <a:lnTo>
                      <a:pt x="649" y="121"/>
                    </a:lnTo>
                    <a:lnTo>
                      <a:pt x="653" y="121"/>
                    </a:lnTo>
                    <a:lnTo>
                      <a:pt x="653" y="119"/>
                    </a:lnTo>
                    <a:lnTo>
                      <a:pt x="655" y="119"/>
                    </a:lnTo>
                    <a:lnTo>
                      <a:pt x="657" y="119"/>
                    </a:lnTo>
                    <a:lnTo>
                      <a:pt x="657" y="121"/>
                    </a:lnTo>
                    <a:lnTo>
                      <a:pt x="657" y="119"/>
                    </a:lnTo>
                    <a:lnTo>
                      <a:pt x="659" y="119"/>
                    </a:lnTo>
                    <a:lnTo>
                      <a:pt x="659" y="117"/>
                    </a:lnTo>
                    <a:lnTo>
                      <a:pt x="661" y="117"/>
                    </a:lnTo>
                    <a:lnTo>
                      <a:pt x="661" y="115"/>
                    </a:lnTo>
                    <a:lnTo>
                      <a:pt x="663" y="115"/>
                    </a:lnTo>
                    <a:lnTo>
                      <a:pt x="665" y="113"/>
                    </a:lnTo>
                    <a:lnTo>
                      <a:pt x="667" y="117"/>
                    </a:lnTo>
                    <a:lnTo>
                      <a:pt x="668" y="117"/>
                    </a:lnTo>
                    <a:lnTo>
                      <a:pt x="670" y="119"/>
                    </a:lnTo>
                    <a:lnTo>
                      <a:pt x="674" y="119"/>
                    </a:lnTo>
                    <a:lnTo>
                      <a:pt x="676" y="119"/>
                    </a:lnTo>
                    <a:lnTo>
                      <a:pt x="678" y="119"/>
                    </a:lnTo>
                    <a:lnTo>
                      <a:pt x="680" y="121"/>
                    </a:lnTo>
                    <a:lnTo>
                      <a:pt x="682" y="121"/>
                    </a:lnTo>
                    <a:lnTo>
                      <a:pt x="682" y="123"/>
                    </a:lnTo>
                    <a:lnTo>
                      <a:pt x="682" y="125"/>
                    </a:lnTo>
                    <a:lnTo>
                      <a:pt x="680" y="125"/>
                    </a:lnTo>
                    <a:lnTo>
                      <a:pt x="682" y="125"/>
                    </a:lnTo>
                    <a:lnTo>
                      <a:pt x="682" y="127"/>
                    </a:lnTo>
                    <a:lnTo>
                      <a:pt x="684" y="127"/>
                    </a:lnTo>
                    <a:lnTo>
                      <a:pt x="686" y="123"/>
                    </a:lnTo>
                    <a:lnTo>
                      <a:pt x="688" y="123"/>
                    </a:lnTo>
                    <a:lnTo>
                      <a:pt x="692" y="123"/>
                    </a:lnTo>
                    <a:lnTo>
                      <a:pt x="695" y="125"/>
                    </a:lnTo>
                    <a:lnTo>
                      <a:pt x="697" y="123"/>
                    </a:lnTo>
                    <a:lnTo>
                      <a:pt x="697" y="121"/>
                    </a:lnTo>
                    <a:lnTo>
                      <a:pt x="697" y="119"/>
                    </a:lnTo>
                    <a:lnTo>
                      <a:pt x="699" y="119"/>
                    </a:lnTo>
                    <a:lnTo>
                      <a:pt x="699" y="117"/>
                    </a:lnTo>
                    <a:lnTo>
                      <a:pt x="699" y="113"/>
                    </a:lnTo>
                    <a:lnTo>
                      <a:pt x="699" y="111"/>
                    </a:lnTo>
                    <a:lnTo>
                      <a:pt x="699" y="109"/>
                    </a:lnTo>
                    <a:lnTo>
                      <a:pt x="697" y="109"/>
                    </a:lnTo>
                    <a:lnTo>
                      <a:pt x="697" y="107"/>
                    </a:lnTo>
                    <a:lnTo>
                      <a:pt x="693" y="107"/>
                    </a:lnTo>
                    <a:lnTo>
                      <a:pt x="695" y="105"/>
                    </a:lnTo>
                    <a:lnTo>
                      <a:pt x="695" y="104"/>
                    </a:lnTo>
                    <a:lnTo>
                      <a:pt x="695" y="102"/>
                    </a:lnTo>
                    <a:lnTo>
                      <a:pt x="697" y="100"/>
                    </a:lnTo>
                    <a:lnTo>
                      <a:pt x="699" y="100"/>
                    </a:lnTo>
                    <a:lnTo>
                      <a:pt x="701" y="100"/>
                    </a:lnTo>
                    <a:lnTo>
                      <a:pt x="703" y="100"/>
                    </a:lnTo>
                    <a:lnTo>
                      <a:pt x="705" y="100"/>
                    </a:lnTo>
                    <a:lnTo>
                      <a:pt x="707" y="100"/>
                    </a:lnTo>
                    <a:lnTo>
                      <a:pt x="709" y="98"/>
                    </a:lnTo>
                    <a:lnTo>
                      <a:pt x="709" y="96"/>
                    </a:lnTo>
                    <a:lnTo>
                      <a:pt x="709" y="94"/>
                    </a:lnTo>
                    <a:lnTo>
                      <a:pt x="709" y="92"/>
                    </a:lnTo>
                    <a:lnTo>
                      <a:pt x="709" y="90"/>
                    </a:lnTo>
                    <a:lnTo>
                      <a:pt x="711" y="90"/>
                    </a:lnTo>
                    <a:lnTo>
                      <a:pt x="713" y="90"/>
                    </a:lnTo>
                    <a:lnTo>
                      <a:pt x="713" y="92"/>
                    </a:lnTo>
                    <a:lnTo>
                      <a:pt x="715" y="92"/>
                    </a:lnTo>
                    <a:lnTo>
                      <a:pt x="716" y="92"/>
                    </a:lnTo>
                    <a:lnTo>
                      <a:pt x="718" y="94"/>
                    </a:lnTo>
                    <a:lnTo>
                      <a:pt x="720" y="92"/>
                    </a:lnTo>
                    <a:lnTo>
                      <a:pt x="720" y="88"/>
                    </a:lnTo>
                    <a:lnTo>
                      <a:pt x="720" y="86"/>
                    </a:lnTo>
                    <a:lnTo>
                      <a:pt x="722" y="86"/>
                    </a:lnTo>
                    <a:lnTo>
                      <a:pt x="724" y="77"/>
                    </a:lnTo>
                    <a:lnTo>
                      <a:pt x="726" y="69"/>
                    </a:lnTo>
                    <a:lnTo>
                      <a:pt x="726" y="67"/>
                    </a:lnTo>
                    <a:lnTo>
                      <a:pt x="726" y="65"/>
                    </a:lnTo>
                    <a:lnTo>
                      <a:pt x="728" y="63"/>
                    </a:lnTo>
                    <a:lnTo>
                      <a:pt x="730" y="63"/>
                    </a:lnTo>
                    <a:lnTo>
                      <a:pt x="730" y="65"/>
                    </a:lnTo>
                    <a:lnTo>
                      <a:pt x="732" y="65"/>
                    </a:lnTo>
                    <a:lnTo>
                      <a:pt x="734" y="65"/>
                    </a:lnTo>
                    <a:lnTo>
                      <a:pt x="734" y="63"/>
                    </a:lnTo>
                    <a:lnTo>
                      <a:pt x="736" y="63"/>
                    </a:lnTo>
                    <a:lnTo>
                      <a:pt x="736" y="61"/>
                    </a:lnTo>
                    <a:lnTo>
                      <a:pt x="734" y="61"/>
                    </a:lnTo>
                    <a:lnTo>
                      <a:pt x="732" y="61"/>
                    </a:lnTo>
                    <a:lnTo>
                      <a:pt x="734" y="61"/>
                    </a:lnTo>
                    <a:lnTo>
                      <a:pt x="734" y="59"/>
                    </a:lnTo>
                    <a:lnTo>
                      <a:pt x="734" y="57"/>
                    </a:lnTo>
                    <a:lnTo>
                      <a:pt x="736" y="57"/>
                    </a:lnTo>
                    <a:lnTo>
                      <a:pt x="736" y="56"/>
                    </a:lnTo>
                    <a:lnTo>
                      <a:pt x="738" y="56"/>
                    </a:lnTo>
                    <a:lnTo>
                      <a:pt x="738" y="57"/>
                    </a:lnTo>
                    <a:lnTo>
                      <a:pt x="740" y="57"/>
                    </a:lnTo>
                    <a:lnTo>
                      <a:pt x="740" y="56"/>
                    </a:lnTo>
                    <a:lnTo>
                      <a:pt x="741" y="56"/>
                    </a:lnTo>
                    <a:lnTo>
                      <a:pt x="741" y="57"/>
                    </a:lnTo>
                    <a:lnTo>
                      <a:pt x="743" y="57"/>
                    </a:lnTo>
                    <a:lnTo>
                      <a:pt x="743" y="59"/>
                    </a:lnTo>
                    <a:lnTo>
                      <a:pt x="745" y="59"/>
                    </a:lnTo>
                    <a:lnTo>
                      <a:pt x="747" y="59"/>
                    </a:lnTo>
                    <a:lnTo>
                      <a:pt x="749" y="59"/>
                    </a:lnTo>
                    <a:lnTo>
                      <a:pt x="749" y="57"/>
                    </a:lnTo>
                    <a:lnTo>
                      <a:pt x="753" y="57"/>
                    </a:lnTo>
                    <a:lnTo>
                      <a:pt x="755" y="57"/>
                    </a:lnTo>
                    <a:lnTo>
                      <a:pt x="759" y="59"/>
                    </a:lnTo>
                    <a:lnTo>
                      <a:pt x="759" y="61"/>
                    </a:lnTo>
                    <a:lnTo>
                      <a:pt x="759" y="63"/>
                    </a:lnTo>
                    <a:lnTo>
                      <a:pt x="761" y="63"/>
                    </a:lnTo>
                    <a:lnTo>
                      <a:pt x="763" y="63"/>
                    </a:lnTo>
                    <a:lnTo>
                      <a:pt x="764" y="67"/>
                    </a:lnTo>
                    <a:lnTo>
                      <a:pt x="764" y="71"/>
                    </a:lnTo>
                    <a:lnTo>
                      <a:pt x="764" y="73"/>
                    </a:lnTo>
                    <a:lnTo>
                      <a:pt x="763" y="73"/>
                    </a:lnTo>
                    <a:lnTo>
                      <a:pt x="763" y="75"/>
                    </a:lnTo>
                    <a:lnTo>
                      <a:pt x="763" y="77"/>
                    </a:lnTo>
                    <a:lnTo>
                      <a:pt x="764" y="77"/>
                    </a:lnTo>
                    <a:lnTo>
                      <a:pt x="764" y="79"/>
                    </a:lnTo>
                    <a:lnTo>
                      <a:pt x="764" y="77"/>
                    </a:lnTo>
                    <a:lnTo>
                      <a:pt x="764" y="79"/>
                    </a:lnTo>
                    <a:lnTo>
                      <a:pt x="766" y="79"/>
                    </a:lnTo>
                    <a:lnTo>
                      <a:pt x="764" y="79"/>
                    </a:lnTo>
                    <a:lnTo>
                      <a:pt x="766" y="79"/>
                    </a:lnTo>
                    <a:lnTo>
                      <a:pt x="766" y="80"/>
                    </a:lnTo>
                    <a:lnTo>
                      <a:pt x="768" y="80"/>
                    </a:lnTo>
                    <a:lnTo>
                      <a:pt x="770" y="80"/>
                    </a:lnTo>
                    <a:lnTo>
                      <a:pt x="770" y="82"/>
                    </a:lnTo>
                    <a:lnTo>
                      <a:pt x="772" y="82"/>
                    </a:lnTo>
                    <a:lnTo>
                      <a:pt x="774" y="82"/>
                    </a:lnTo>
                    <a:lnTo>
                      <a:pt x="776" y="82"/>
                    </a:lnTo>
                    <a:lnTo>
                      <a:pt x="776" y="80"/>
                    </a:lnTo>
                    <a:lnTo>
                      <a:pt x="778" y="80"/>
                    </a:lnTo>
                    <a:lnTo>
                      <a:pt x="778" y="79"/>
                    </a:lnTo>
                    <a:lnTo>
                      <a:pt x="778" y="77"/>
                    </a:lnTo>
                    <a:lnTo>
                      <a:pt x="780" y="77"/>
                    </a:lnTo>
                    <a:lnTo>
                      <a:pt x="780" y="79"/>
                    </a:lnTo>
                    <a:lnTo>
                      <a:pt x="782" y="75"/>
                    </a:lnTo>
                    <a:lnTo>
                      <a:pt x="784" y="73"/>
                    </a:lnTo>
                    <a:lnTo>
                      <a:pt x="784" y="75"/>
                    </a:lnTo>
                    <a:lnTo>
                      <a:pt x="784" y="77"/>
                    </a:lnTo>
                    <a:lnTo>
                      <a:pt x="786" y="77"/>
                    </a:lnTo>
                    <a:lnTo>
                      <a:pt x="786" y="79"/>
                    </a:lnTo>
                    <a:lnTo>
                      <a:pt x="788" y="79"/>
                    </a:lnTo>
                    <a:lnTo>
                      <a:pt x="789" y="79"/>
                    </a:lnTo>
                    <a:lnTo>
                      <a:pt x="789" y="80"/>
                    </a:lnTo>
                    <a:lnTo>
                      <a:pt x="791" y="80"/>
                    </a:lnTo>
                    <a:lnTo>
                      <a:pt x="789" y="80"/>
                    </a:lnTo>
                    <a:lnTo>
                      <a:pt x="789" y="82"/>
                    </a:lnTo>
                    <a:lnTo>
                      <a:pt x="789" y="84"/>
                    </a:lnTo>
                    <a:lnTo>
                      <a:pt x="789" y="88"/>
                    </a:lnTo>
                    <a:lnTo>
                      <a:pt x="791" y="88"/>
                    </a:lnTo>
                    <a:lnTo>
                      <a:pt x="791" y="90"/>
                    </a:lnTo>
                    <a:lnTo>
                      <a:pt x="789" y="90"/>
                    </a:lnTo>
                    <a:lnTo>
                      <a:pt x="789" y="92"/>
                    </a:lnTo>
                    <a:lnTo>
                      <a:pt x="791" y="92"/>
                    </a:lnTo>
                    <a:lnTo>
                      <a:pt x="793" y="92"/>
                    </a:lnTo>
                    <a:lnTo>
                      <a:pt x="795" y="90"/>
                    </a:lnTo>
                    <a:lnTo>
                      <a:pt x="797" y="90"/>
                    </a:lnTo>
                    <a:lnTo>
                      <a:pt x="797" y="92"/>
                    </a:lnTo>
                    <a:lnTo>
                      <a:pt x="797" y="94"/>
                    </a:lnTo>
                    <a:lnTo>
                      <a:pt x="797" y="96"/>
                    </a:lnTo>
                    <a:lnTo>
                      <a:pt x="797" y="98"/>
                    </a:lnTo>
                    <a:lnTo>
                      <a:pt x="799" y="100"/>
                    </a:lnTo>
                    <a:lnTo>
                      <a:pt x="797" y="100"/>
                    </a:lnTo>
                    <a:lnTo>
                      <a:pt x="797" y="102"/>
                    </a:lnTo>
                    <a:lnTo>
                      <a:pt x="799" y="102"/>
                    </a:lnTo>
                    <a:lnTo>
                      <a:pt x="797" y="102"/>
                    </a:lnTo>
                    <a:lnTo>
                      <a:pt x="799" y="102"/>
                    </a:lnTo>
                    <a:lnTo>
                      <a:pt x="801" y="104"/>
                    </a:lnTo>
                    <a:lnTo>
                      <a:pt x="801" y="105"/>
                    </a:lnTo>
                    <a:lnTo>
                      <a:pt x="801" y="107"/>
                    </a:lnTo>
                    <a:lnTo>
                      <a:pt x="799" y="107"/>
                    </a:lnTo>
                    <a:lnTo>
                      <a:pt x="801" y="109"/>
                    </a:lnTo>
                    <a:lnTo>
                      <a:pt x="799" y="111"/>
                    </a:lnTo>
                    <a:lnTo>
                      <a:pt x="801" y="111"/>
                    </a:lnTo>
                    <a:lnTo>
                      <a:pt x="799" y="111"/>
                    </a:lnTo>
                    <a:lnTo>
                      <a:pt x="799" y="113"/>
                    </a:lnTo>
                    <a:lnTo>
                      <a:pt x="799" y="115"/>
                    </a:lnTo>
                    <a:lnTo>
                      <a:pt x="801" y="115"/>
                    </a:lnTo>
                    <a:lnTo>
                      <a:pt x="801" y="117"/>
                    </a:lnTo>
                    <a:lnTo>
                      <a:pt x="801" y="119"/>
                    </a:lnTo>
                    <a:lnTo>
                      <a:pt x="803" y="121"/>
                    </a:lnTo>
                    <a:lnTo>
                      <a:pt x="801" y="121"/>
                    </a:lnTo>
                    <a:lnTo>
                      <a:pt x="801" y="123"/>
                    </a:lnTo>
                    <a:lnTo>
                      <a:pt x="803" y="123"/>
                    </a:lnTo>
                    <a:lnTo>
                      <a:pt x="807" y="123"/>
                    </a:lnTo>
                    <a:lnTo>
                      <a:pt x="809" y="123"/>
                    </a:lnTo>
                    <a:lnTo>
                      <a:pt x="809" y="121"/>
                    </a:lnTo>
                    <a:lnTo>
                      <a:pt x="809" y="119"/>
                    </a:lnTo>
                    <a:lnTo>
                      <a:pt x="807" y="119"/>
                    </a:lnTo>
                    <a:lnTo>
                      <a:pt x="809" y="117"/>
                    </a:lnTo>
                    <a:lnTo>
                      <a:pt x="807" y="117"/>
                    </a:lnTo>
                    <a:lnTo>
                      <a:pt x="807" y="115"/>
                    </a:lnTo>
                    <a:lnTo>
                      <a:pt x="809" y="115"/>
                    </a:lnTo>
                    <a:lnTo>
                      <a:pt x="809" y="113"/>
                    </a:lnTo>
                    <a:lnTo>
                      <a:pt x="807" y="113"/>
                    </a:lnTo>
                    <a:lnTo>
                      <a:pt x="807" y="111"/>
                    </a:lnTo>
                    <a:lnTo>
                      <a:pt x="809" y="111"/>
                    </a:lnTo>
                    <a:lnTo>
                      <a:pt x="811" y="111"/>
                    </a:lnTo>
                    <a:lnTo>
                      <a:pt x="811" y="113"/>
                    </a:lnTo>
                    <a:lnTo>
                      <a:pt x="812" y="113"/>
                    </a:lnTo>
                    <a:lnTo>
                      <a:pt x="812" y="115"/>
                    </a:lnTo>
                    <a:lnTo>
                      <a:pt x="814" y="115"/>
                    </a:lnTo>
                    <a:lnTo>
                      <a:pt x="816" y="115"/>
                    </a:lnTo>
                    <a:lnTo>
                      <a:pt x="818" y="115"/>
                    </a:lnTo>
                    <a:lnTo>
                      <a:pt x="816" y="117"/>
                    </a:lnTo>
                    <a:lnTo>
                      <a:pt x="818" y="119"/>
                    </a:lnTo>
                    <a:lnTo>
                      <a:pt x="820" y="119"/>
                    </a:lnTo>
                    <a:lnTo>
                      <a:pt x="820" y="117"/>
                    </a:lnTo>
                    <a:lnTo>
                      <a:pt x="822" y="117"/>
                    </a:lnTo>
                    <a:lnTo>
                      <a:pt x="822" y="115"/>
                    </a:lnTo>
                    <a:lnTo>
                      <a:pt x="824" y="115"/>
                    </a:lnTo>
                    <a:lnTo>
                      <a:pt x="824" y="113"/>
                    </a:lnTo>
                    <a:lnTo>
                      <a:pt x="824" y="115"/>
                    </a:lnTo>
                    <a:lnTo>
                      <a:pt x="826" y="113"/>
                    </a:lnTo>
                    <a:lnTo>
                      <a:pt x="826" y="115"/>
                    </a:lnTo>
                    <a:lnTo>
                      <a:pt x="826" y="117"/>
                    </a:lnTo>
                    <a:lnTo>
                      <a:pt x="828" y="117"/>
                    </a:lnTo>
                    <a:lnTo>
                      <a:pt x="830" y="117"/>
                    </a:lnTo>
                    <a:lnTo>
                      <a:pt x="834" y="117"/>
                    </a:lnTo>
                    <a:lnTo>
                      <a:pt x="836" y="117"/>
                    </a:lnTo>
                    <a:lnTo>
                      <a:pt x="836" y="119"/>
                    </a:lnTo>
                    <a:lnTo>
                      <a:pt x="837" y="119"/>
                    </a:lnTo>
                    <a:lnTo>
                      <a:pt x="841" y="119"/>
                    </a:lnTo>
                    <a:lnTo>
                      <a:pt x="841" y="117"/>
                    </a:lnTo>
                    <a:lnTo>
                      <a:pt x="843" y="117"/>
                    </a:lnTo>
                    <a:lnTo>
                      <a:pt x="845" y="117"/>
                    </a:lnTo>
                    <a:lnTo>
                      <a:pt x="845" y="119"/>
                    </a:lnTo>
                    <a:lnTo>
                      <a:pt x="845" y="117"/>
                    </a:lnTo>
                    <a:lnTo>
                      <a:pt x="843" y="113"/>
                    </a:lnTo>
                    <a:lnTo>
                      <a:pt x="843" y="111"/>
                    </a:lnTo>
                    <a:lnTo>
                      <a:pt x="843" y="109"/>
                    </a:lnTo>
                    <a:lnTo>
                      <a:pt x="843" y="107"/>
                    </a:lnTo>
                    <a:lnTo>
                      <a:pt x="845" y="107"/>
                    </a:lnTo>
                    <a:lnTo>
                      <a:pt x="845" y="105"/>
                    </a:lnTo>
                    <a:lnTo>
                      <a:pt x="847" y="107"/>
                    </a:lnTo>
                    <a:lnTo>
                      <a:pt x="851" y="107"/>
                    </a:lnTo>
                    <a:lnTo>
                      <a:pt x="851" y="111"/>
                    </a:lnTo>
                    <a:lnTo>
                      <a:pt x="860" y="111"/>
                    </a:lnTo>
                    <a:lnTo>
                      <a:pt x="860" y="117"/>
                    </a:lnTo>
                    <a:lnTo>
                      <a:pt x="864" y="115"/>
                    </a:lnTo>
                    <a:lnTo>
                      <a:pt x="868" y="115"/>
                    </a:lnTo>
                    <a:lnTo>
                      <a:pt x="874" y="115"/>
                    </a:lnTo>
                    <a:lnTo>
                      <a:pt x="878" y="115"/>
                    </a:lnTo>
                    <a:lnTo>
                      <a:pt x="878" y="113"/>
                    </a:lnTo>
                    <a:lnTo>
                      <a:pt x="884" y="113"/>
                    </a:lnTo>
                    <a:lnTo>
                      <a:pt x="891" y="111"/>
                    </a:lnTo>
                    <a:lnTo>
                      <a:pt x="891" y="107"/>
                    </a:lnTo>
                    <a:lnTo>
                      <a:pt x="895" y="107"/>
                    </a:lnTo>
                    <a:lnTo>
                      <a:pt x="901" y="107"/>
                    </a:lnTo>
                    <a:lnTo>
                      <a:pt x="901" y="104"/>
                    </a:lnTo>
                    <a:lnTo>
                      <a:pt x="899" y="105"/>
                    </a:lnTo>
                    <a:lnTo>
                      <a:pt x="897" y="105"/>
                    </a:lnTo>
                    <a:lnTo>
                      <a:pt x="895" y="105"/>
                    </a:lnTo>
                    <a:lnTo>
                      <a:pt x="895" y="104"/>
                    </a:lnTo>
                    <a:lnTo>
                      <a:pt x="893" y="104"/>
                    </a:lnTo>
                    <a:lnTo>
                      <a:pt x="893" y="102"/>
                    </a:lnTo>
                    <a:lnTo>
                      <a:pt x="893" y="100"/>
                    </a:lnTo>
                    <a:lnTo>
                      <a:pt x="893" y="98"/>
                    </a:lnTo>
                    <a:lnTo>
                      <a:pt x="893" y="100"/>
                    </a:lnTo>
                    <a:lnTo>
                      <a:pt x="891" y="100"/>
                    </a:lnTo>
                    <a:lnTo>
                      <a:pt x="889" y="100"/>
                    </a:lnTo>
                    <a:lnTo>
                      <a:pt x="887" y="98"/>
                    </a:lnTo>
                    <a:lnTo>
                      <a:pt x="889" y="96"/>
                    </a:lnTo>
                    <a:lnTo>
                      <a:pt x="889" y="98"/>
                    </a:lnTo>
                    <a:lnTo>
                      <a:pt x="891" y="98"/>
                    </a:lnTo>
                    <a:lnTo>
                      <a:pt x="891" y="96"/>
                    </a:lnTo>
                    <a:lnTo>
                      <a:pt x="891" y="98"/>
                    </a:lnTo>
                    <a:lnTo>
                      <a:pt x="891" y="96"/>
                    </a:lnTo>
                    <a:lnTo>
                      <a:pt x="891" y="94"/>
                    </a:lnTo>
                    <a:lnTo>
                      <a:pt x="893" y="94"/>
                    </a:lnTo>
                    <a:lnTo>
                      <a:pt x="893" y="92"/>
                    </a:lnTo>
                    <a:lnTo>
                      <a:pt x="891" y="92"/>
                    </a:lnTo>
                    <a:lnTo>
                      <a:pt x="891" y="88"/>
                    </a:lnTo>
                    <a:lnTo>
                      <a:pt x="891" y="86"/>
                    </a:lnTo>
                    <a:lnTo>
                      <a:pt x="891" y="82"/>
                    </a:lnTo>
                    <a:lnTo>
                      <a:pt x="891" y="80"/>
                    </a:lnTo>
                    <a:lnTo>
                      <a:pt x="891" y="75"/>
                    </a:lnTo>
                    <a:lnTo>
                      <a:pt x="889" y="75"/>
                    </a:lnTo>
                    <a:lnTo>
                      <a:pt x="887" y="73"/>
                    </a:lnTo>
                    <a:lnTo>
                      <a:pt x="887" y="71"/>
                    </a:lnTo>
                    <a:lnTo>
                      <a:pt x="889" y="71"/>
                    </a:lnTo>
                    <a:lnTo>
                      <a:pt x="897" y="67"/>
                    </a:lnTo>
                    <a:lnTo>
                      <a:pt x="901" y="65"/>
                    </a:lnTo>
                    <a:lnTo>
                      <a:pt x="905" y="65"/>
                    </a:lnTo>
                    <a:lnTo>
                      <a:pt x="908" y="65"/>
                    </a:lnTo>
                    <a:lnTo>
                      <a:pt x="908" y="63"/>
                    </a:lnTo>
                    <a:lnTo>
                      <a:pt x="908" y="61"/>
                    </a:lnTo>
                    <a:lnTo>
                      <a:pt x="908" y="59"/>
                    </a:lnTo>
                    <a:lnTo>
                      <a:pt x="908" y="57"/>
                    </a:lnTo>
                    <a:lnTo>
                      <a:pt x="908" y="54"/>
                    </a:lnTo>
                    <a:lnTo>
                      <a:pt x="899" y="50"/>
                    </a:lnTo>
                    <a:lnTo>
                      <a:pt x="891" y="46"/>
                    </a:lnTo>
                    <a:lnTo>
                      <a:pt x="882" y="44"/>
                    </a:lnTo>
                    <a:lnTo>
                      <a:pt x="880" y="42"/>
                    </a:lnTo>
                    <a:lnTo>
                      <a:pt x="878" y="42"/>
                    </a:lnTo>
                    <a:lnTo>
                      <a:pt x="878" y="40"/>
                    </a:lnTo>
                    <a:lnTo>
                      <a:pt x="876" y="40"/>
                    </a:lnTo>
                    <a:lnTo>
                      <a:pt x="876" y="38"/>
                    </a:lnTo>
                    <a:lnTo>
                      <a:pt x="874" y="36"/>
                    </a:lnTo>
                    <a:lnTo>
                      <a:pt x="874" y="34"/>
                    </a:lnTo>
                    <a:lnTo>
                      <a:pt x="874" y="32"/>
                    </a:lnTo>
                    <a:lnTo>
                      <a:pt x="876" y="31"/>
                    </a:lnTo>
                    <a:lnTo>
                      <a:pt x="878" y="31"/>
                    </a:lnTo>
                    <a:lnTo>
                      <a:pt x="878" y="29"/>
                    </a:lnTo>
                    <a:lnTo>
                      <a:pt x="878" y="27"/>
                    </a:lnTo>
                    <a:lnTo>
                      <a:pt x="880" y="27"/>
                    </a:lnTo>
                    <a:lnTo>
                      <a:pt x="880" y="25"/>
                    </a:lnTo>
                    <a:lnTo>
                      <a:pt x="882" y="23"/>
                    </a:lnTo>
                    <a:lnTo>
                      <a:pt x="884" y="21"/>
                    </a:lnTo>
                    <a:lnTo>
                      <a:pt x="887" y="17"/>
                    </a:lnTo>
                    <a:lnTo>
                      <a:pt x="889" y="15"/>
                    </a:lnTo>
                    <a:lnTo>
                      <a:pt x="891" y="13"/>
                    </a:lnTo>
                    <a:lnTo>
                      <a:pt x="893" y="13"/>
                    </a:lnTo>
                    <a:lnTo>
                      <a:pt x="893" y="11"/>
                    </a:lnTo>
                    <a:lnTo>
                      <a:pt x="897" y="11"/>
                    </a:lnTo>
                    <a:lnTo>
                      <a:pt x="897" y="9"/>
                    </a:lnTo>
                    <a:lnTo>
                      <a:pt x="899" y="9"/>
                    </a:lnTo>
                    <a:lnTo>
                      <a:pt x="901" y="8"/>
                    </a:lnTo>
                    <a:lnTo>
                      <a:pt x="901" y="6"/>
                    </a:lnTo>
                    <a:lnTo>
                      <a:pt x="903" y="6"/>
                    </a:lnTo>
                    <a:lnTo>
                      <a:pt x="903" y="2"/>
                    </a:lnTo>
                    <a:lnTo>
                      <a:pt x="905" y="0"/>
                    </a:lnTo>
                    <a:lnTo>
                      <a:pt x="905" y="2"/>
                    </a:lnTo>
                    <a:lnTo>
                      <a:pt x="907" y="2"/>
                    </a:lnTo>
                    <a:lnTo>
                      <a:pt x="912" y="6"/>
                    </a:lnTo>
                    <a:lnTo>
                      <a:pt x="920" y="8"/>
                    </a:lnTo>
                    <a:lnTo>
                      <a:pt x="922" y="8"/>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79" name="Freeform 163">
                <a:extLst>
                  <a:ext uri="{FF2B5EF4-FFF2-40B4-BE49-F238E27FC236}">
                    <a16:creationId xmlns:a16="http://schemas.microsoft.com/office/drawing/2014/main" id="{70E96618-0546-4725-9407-0FFDB65E86F6}"/>
                  </a:ext>
                </a:extLst>
              </p:cNvPr>
              <p:cNvSpPr>
                <a:spLocks noEditPoints="1"/>
              </p:cNvSpPr>
              <p:nvPr/>
            </p:nvSpPr>
            <p:spPr bwMode="auto">
              <a:xfrm>
                <a:off x="5816075" y="3999372"/>
                <a:ext cx="1203537" cy="1188698"/>
              </a:xfrm>
              <a:custGeom>
                <a:avLst/>
                <a:gdLst>
                  <a:gd name="T0" fmla="*/ 367 w 811"/>
                  <a:gd name="T1" fmla="*/ 785 h 801"/>
                  <a:gd name="T2" fmla="*/ 346 w 811"/>
                  <a:gd name="T3" fmla="*/ 730 h 801"/>
                  <a:gd name="T4" fmla="*/ 394 w 811"/>
                  <a:gd name="T5" fmla="*/ 737 h 801"/>
                  <a:gd name="T6" fmla="*/ 371 w 811"/>
                  <a:gd name="T7" fmla="*/ 751 h 801"/>
                  <a:gd name="T8" fmla="*/ 354 w 811"/>
                  <a:gd name="T9" fmla="*/ 772 h 801"/>
                  <a:gd name="T10" fmla="*/ 325 w 811"/>
                  <a:gd name="T11" fmla="*/ 733 h 801"/>
                  <a:gd name="T12" fmla="*/ 317 w 811"/>
                  <a:gd name="T13" fmla="*/ 722 h 801"/>
                  <a:gd name="T14" fmla="*/ 279 w 811"/>
                  <a:gd name="T15" fmla="*/ 13 h 801"/>
                  <a:gd name="T16" fmla="*/ 319 w 811"/>
                  <a:gd name="T17" fmla="*/ 58 h 801"/>
                  <a:gd name="T18" fmla="*/ 356 w 811"/>
                  <a:gd name="T19" fmla="*/ 77 h 801"/>
                  <a:gd name="T20" fmla="*/ 388 w 811"/>
                  <a:gd name="T21" fmla="*/ 61 h 801"/>
                  <a:gd name="T22" fmla="*/ 440 w 811"/>
                  <a:gd name="T23" fmla="*/ 81 h 801"/>
                  <a:gd name="T24" fmla="*/ 436 w 811"/>
                  <a:gd name="T25" fmla="*/ 134 h 801"/>
                  <a:gd name="T26" fmla="*/ 465 w 811"/>
                  <a:gd name="T27" fmla="*/ 175 h 801"/>
                  <a:gd name="T28" fmla="*/ 475 w 811"/>
                  <a:gd name="T29" fmla="*/ 207 h 801"/>
                  <a:gd name="T30" fmla="*/ 524 w 811"/>
                  <a:gd name="T31" fmla="*/ 228 h 801"/>
                  <a:gd name="T32" fmla="*/ 576 w 811"/>
                  <a:gd name="T33" fmla="*/ 205 h 801"/>
                  <a:gd name="T34" fmla="*/ 611 w 811"/>
                  <a:gd name="T35" fmla="*/ 219 h 801"/>
                  <a:gd name="T36" fmla="*/ 684 w 811"/>
                  <a:gd name="T37" fmla="*/ 207 h 801"/>
                  <a:gd name="T38" fmla="*/ 695 w 811"/>
                  <a:gd name="T39" fmla="*/ 157 h 801"/>
                  <a:gd name="T40" fmla="*/ 749 w 811"/>
                  <a:gd name="T41" fmla="*/ 134 h 801"/>
                  <a:gd name="T42" fmla="*/ 780 w 811"/>
                  <a:gd name="T43" fmla="*/ 179 h 801"/>
                  <a:gd name="T44" fmla="*/ 789 w 811"/>
                  <a:gd name="T45" fmla="*/ 240 h 801"/>
                  <a:gd name="T46" fmla="*/ 768 w 811"/>
                  <a:gd name="T47" fmla="*/ 309 h 801"/>
                  <a:gd name="T48" fmla="*/ 809 w 811"/>
                  <a:gd name="T49" fmla="*/ 347 h 801"/>
                  <a:gd name="T50" fmla="*/ 776 w 811"/>
                  <a:gd name="T51" fmla="*/ 390 h 801"/>
                  <a:gd name="T52" fmla="*/ 791 w 811"/>
                  <a:gd name="T53" fmla="*/ 443 h 801"/>
                  <a:gd name="T54" fmla="*/ 795 w 811"/>
                  <a:gd name="T55" fmla="*/ 480 h 801"/>
                  <a:gd name="T56" fmla="*/ 774 w 811"/>
                  <a:gd name="T57" fmla="*/ 486 h 801"/>
                  <a:gd name="T58" fmla="*/ 743 w 811"/>
                  <a:gd name="T59" fmla="*/ 493 h 801"/>
                  <a:gd name="T60" fmla="*/ 753 w 811"/>
                  <a:gd name="T61" fmla="*/ 545 h 801"/>
                  <a:gd name="T62" fmla="*/ 772 w 811"/>
                  <a:gd name="T63" fmla="*/ 561 h 801"/>
                  <a:gd name="T64" fmla="*/ 703 w 811"/>
                  <a:gd name="T65" fmla="*/ 614 h 801"/>
                  <a:gd name="T66" fmla="*/ 678 w 811"/>
                  <a:gd name="T67" fmla="*/ 634 h 801"/>
                  <a:gd name="T68" fmla="*/ 609 w 811"/>
                  <a:gd name="T69" fmla="*/ 620 h 801"/>
                  <a:gd name="T70" fmla="*/ 549 w 811"/>
                  <a:gd name="T71" fmla="*/ 635 h 801"/>
                  <a:gd name="T72" fmla="*/ 503 w 811"/>
                  <a:gd name="T73" fmla="*/ 651 h 801"/>
                  <a:gd name="T74" fmla="*/ 448 w 811"/>
                  <a:gd name="T75" fmla="*/ 685 h 801"/>
                  <a:gd name="T76" fmla="*/ 384 w 811"/>
                  <a:gd name="T77" fmla="*/ 695 h 801"/>
                  <a:gd name="T78" fmla="*/ 332 w 811"/>
                  <a:gd name="T79" fmla="*/ 685 h 801"/>
                  <a:gd name="T80" fmla="*/ 302 w 811"/>
                  <a:gd name="T81" fmla="*/ 687 h 801"/>
                  <a:gd name="T82" fmla="*/ 252 w 811"/>
                  <a:gd name="T83" fmla="*/ 691 h 801"/>
                  <a:gd name="T84" fmla="*/ 213 w 811"/>
                  <a:gd name="T85" fmla="*/ 668 h 801"/>
                  <a:gd name="T86" fmla="*/ 215 w 811"/>
                  <a:gd name="T87" fmla="*/ 616 h 801"/>
                  <a:gd name="T88" fmla="*/ 192 w 811"/>
                  <a:gd name="T89" fmla="*/ 562 h 801"/>
                  <a:gd name="T90" fmla="*/ 215 w 811"/>
                  <a:gd name="T91" fmla="*/ 528 h 801"/>
                  <a:gd name="T92" fmla="*/ 265 w 811"/>
                  <a:gd name="T93" fmla="*/ 488 h 801"/>
                  <a:gd name="T94" fmla="*/ 219 w 811"/>
                  <a:gd name="T95" fmla="*/ 445 h 801"/>
                  <a:gd name="T96" fmla="*/ 185 w 811"/>
                  <a:gd name="T97" fmla="*/ 403 h 801"/>
                  <a:gd name="T98" fmla="*/ 158 w 811"/>
                  <a:gd name="T99" fmla="*/ 351 h 801"/>
                  <a:gd name="T100" fmla="*/ 156 w 811"/>
                  <a:gd name="T101" fmla="*/ 284 h 801"/>
                  <a:gd name="T102" fmla="*/ 139 w 811"/>
                  <a:gd name="T103" fmla="*/ 250 h 801"/>
                  <a:gd name="T104" fmla="*/ 108 w 811"/>
                  <a:gd name="T105" fmla="*/ 242 h 801"/>
                  <a:gd name="T106" fmla="*/ 37 w 811"/>
                  <a:gd name="T107" fmla="*/ 200 h 801"/>
                  <a:gd name="T108" fmla="*/ 31 w 811"/>
                  <a:gd name="T109" fmla="*/ 155 h 801"/>
                  <a:gd name="T110" fmla="*/ 16 w 811"/>
                  <a:gd name="T111" fmla="*/ 94 h 801"/>
                  <a:gd name="T112" fmla="*/ 10 w 811"/>
                  <a:gd name="T113" fmla="*/ 38 h 801"/>
                  <a:gd name="T114" fmla="*/ 35 w 811"/>
                  <a:gd name="T115" fmla="*/ 15 h 801"/>
                  <a:gd name="T116" fmla="*/ 77 w 811"/>
                  <a:gd name="T117" fmla="*/ 10 h 801"/>
                  <a:gd name="T118" fmla="*/ 127 w 811"/>
                  <a:gd name="T119" fmla="*/ 15 h 801"/>
                  <a:gd name="T120" fmla="*/ 177 w 811"/>
                  <a:gd name="T121" fmla="*/ 15 h 801"/>
                  <a:gd name="T122" fmla="*/ 208 w 811"/>
                  <a:gd name="T123" fmla="*/ 19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1" h="801">
                    <a:moveTo>
                      <a:pt x="373" y="795"/>
                    </a:moveTo>
                    <a:lnTo>
                      <a:pt x="373" y="797"/>
                    </a:lnTo>
                    <a:lnTo>
                      <a:pt x="373" y="795"/>
                    </a:lnTo>
                    <a:lnTo>
                      <a:pt x="371" y="795"/>
                    </a:lnTo>
                    <a:lnTo>
                      <a:pt x="371" y="797"/>
                    </a:lnTo>
                    <a:lnTo>
                      <a:pt x="373" y="799"/>
                    </a:lnTo>
                    <a:lnTo>
                      <a:pt x="373" y="797"/>
                    </a:lnTo>
                    <a:lnTo>
                      <a:pt x="373" y="799"/>
                    </a:lnTo>
                    <a:lnTo>
                      <a:pt x="375" y="799"/>
                    </a:lnTo>
                    <a:lnTo>
                      <a:pt x="375" y="801"/>
                    </a:lnTo>
                    <a:lnTo>
                      <a:pt x="373" y="801"/>
                    </a:lnTo>
                    <a:lnTo>
                      <a:pt x="373" y="799"/>
                    </a:lnTo>
                    <a:lnTo>
                      <a:pt x="371" y="799"/>
                    </a:lnTo>
                    <a:lnTo>
                      <a:pt x="371" y="801"/>
                    </a:lnTo>
                    <a:lnTo>
                      <a:pt x="373" y="801"/>
                    </a:lnTo>
                    <a:lnTo>
                      <a:pt x="371" y="801"/>
                    </a:lnTo>
                    <a:lnTo>
                      <a:pt x="371" y="799"/>
                    </a:lnTo>
                    <a:lnTo>
                      <a:pt x="369" y="797"/>
                    </a:lnTo>
                    <a:lnTo>
                      <a:pt x="369" y="795"/>
                    </a:lnTo>
                    <a:lnTo>
                      <a:pt x="367" y="793"/>
                    </a:lnTo>
                    <a:lnTo>
                      <a:pt x="367" y="791"/>
                    </a:lnTo>
                    <a:lnTo>
                      <a:pt x="367" y="789"/>
                    </a:lnTo>
                    <a:lnTo>
                      <a:pt x="365" y="787"/>
                    </a:lnTo>
                    <a:lnTo>
                      <a:pt x="365" y="785"/>
                    </a:lnTo>
                    <a:lnTo>
                      <a:pt x="365" y="783"/>
                    </a:lnTo>
                    <a:lnTo>
                      <a:pt x="365" y="781"/>
                    </a:lnTo>
                    <a:lnTo>
                      <a:pt x="363" y="781"/>
                    </a:lnTo>
                    <a:lnTo>
                      <a:pt x="363" y="779"/>
                    </a:lnTo>
                    <a:lnTo>
                      <a:pt x="363" y="778"/>
                    </a:lnTo>
                    <a:lnTo>
                      <a:pt x="363" y="779"/>
                    </a:lnTo>
                    <a:lnTo>
                      <a:pt x="365" y="779"/>
                    </a:lnTo>
                    <a:lnTo>
                      <a:pt x="365" y="781"/>
                    </a:lnTo>
                    <a:lnTo>
                      <a:pt x="365" y="783"/>
                    </a:lnTo>
                    <a:lnTo>
                      <a:pt x="367" y="785"/>
                    </a:lnTo>
                    <a:lnTo>
                      <a:pt x="367" y="787"/>
                    </a:lnTo>
                    <a:lnTo>
                      <a:pt x="369" y="787"/>
                    </a:lnTo>
                    <a:lnTo>
                      <a:pt x="369" y="789"/>
                    </a:lnTo>
                    <a:lnTo>
                      <a:pt x="371" y="789"/>
                    </a:lnTo>
                    <a:lnTo>
                      <a:pt x="371" y="791"/>
                    </a:lnTo>
                    <a:lnTo>
                      <a:pt x="371" y="793"/>
                    </a:lnTo>
                    <a:lnTo>
                      <a:pt x="373" y="793"/>
                    </a:lnTo>
                    <a:lnTo>
                      <a:pt x="373" y="795"/>
                    </a:lnTo>
                    <a:close/>
                    <a:moveTo>
                      <a:pt x="363" y="778"/>
                    </a:moveTo>
                    <a:lnTo>
                      <a:pt x="361" y="778"/>
                    </a:lnTo>
                    <a:lnTo>
                      <a:pt x="361" y="776"/>
                    </a:lnTo>
                    <a:lnTo>
                      <a:pt x="361" y="778"/>
                    </a:lnTo>
                    <a:lnTo>
                      <a:pt x="363" y="778"/>
                    </a:lnTo>
                    <a:close/>
                    <a:moveTo>
                      <a:pt x="321" y="712"/>
                    </a:moveTo>
                    <a:lnTo>
                      <a:pt x="319" y="712"/>
                    </a:lnTo>
                    <a:lnTo>
                      <a:pt x="319" y="710"/>
                    </a:lnTo>
                    <a:lnTo>
                      <a:pt x="321" y="710"/>
                    </a:lnTo>
                    <a:lnTo>
                      <a:pt x="319" y="710"/>
                    </a:lnTo>
                    <a:lnTo>
                      <a:pt x="319" y="712"/>
                    </a:lnTo>
                    <a:lnTo>
                      <a:pt x="321" y="712"/>
                    </a:lnTo>
                    <a:close/>
                    <a:moveTo>
                      <a:pt x="325" y="728"/>
                    </a:moveTo>
                    <a:lnTo>
                      <a:pt x="327" y="728"/>
                    </a:lnTo>
                    <a:lnTo>
                      <a:pt x="329" y="728"/>
                    </a:lnTo>
                    <a:lnTo>
                      <a:pt x="331" y="728"/>
                    </a:lnTo>
                    <a:lnTo>
                      <a:pt x="332" y="728"/>
                    </a:lnTo>
                    <a:lnTo>
                      <a:pt x="332" y="726"/>
                    </a:lnTo>
                    <a:lnTo>
                      <a:pt x="334" y="726"/>
                    </a:lnTo>
                    <a:lnTo>
                      <a:pt x="334" y="728"/>
                    </a:lnTo>
                    <a:lnTo>
                      <a:pt x="336" y="728"/>
                    </a:lnTo>
                    <a:lnTo>
                      <a:pt x="340" y="728"/>
                    </a:lnTo>
                    <a:lnTo>
                      <a:pt x="342" y="728"/>
                    </a:lnTo>
                    <a:lnTo>
                      <a:pt x="344" y="728"/>
                    </a:lnTo>
                    <a:lnTo>
                      <a:pt x="346" y="728"/>
                    </a:lnTo>
                    <a:lnTo>
                      <a:pt x="346" y="730"/>
                    </a:lnTo>
                    <a:lnTo>
                      <a:pt x="348" y="730"/>
                    </a:lnTo>
                    <a:lnTo>
                      <a:pt x="350" y="730"/>
                    </a:lnTo>
                    <a:lnTo>
                      <a:pt x="352" y="730"/>
                    </a:lnTo>
                    <a:lnTo>
                      <a:pt x="350" y="730"/>
                    </a:lnTo>
                    <a:lnTo>
                      <a:pt x="352" y="730"/>
                    </a:lnTo>
                    <a:lnTo>
                      <a:pt x="352" y="728"/>
                    </a:lnTo>
                    <a:lnTo>
                      <a:pt x="354" y="728"/>
                    </a:lnTo>
                    <a:lnTo>
                      <a:pt x="356" y="728"/>
                    </a:lnTo>
                    <a:lnTo>
                      <a:pt x="357" y="728"/>
                    </a:lnTo>
                    <a:lnTo>
                      <a:pt x="359" y="728"/>
                    </a:lnTo>
                    <a:lnTo>
                      <a:pt x="361" y="728"/>
                    </a:lnTo>
                    <a:lnTo>
                      <a:pt x="363" y="728"/>
                    </a:lnTo>
                    <a:lnTo>
                      <a:pt x="365" y="728"/>
                    </a:lnTo>
                    <a:lnTo>
                      <a:pt x="367" y="728"/>
                    </a:lnTo>
                    <a:lnTo>
                      <a:pt x="369" y="728"/>
                    </a:lnTo>
                    <a:lnTo>
                      <a:pt x="371" y="728"/>
                    </a:lnTo>
                    <a:lnTo>
                      <a:pt x="369" y="728"/>
                    </a:lnTo>
                    <a:lnTo>
                      <a:pt x="371" y="728"/>
                    </a:lnTo>
                    <a:lnTo>
                      <a:pt x="373" y="728"/>
                    </a:lnTo>
                    <a:lnTo>
                      <a:pt x="375" y="728"/>
                    </a:lnTo>
                    <a:lnTo>
                      <a:pt x="377" y="728"/>
                    </a:lnTo>
                    <a:lnTo>
                      <a:pt x="377" y="730"/>
                    </a:lnTo>
                    <a:lnTo>
                      <a:pt x="379" y="730"/>
                    </a:lnTo>
                    <a:lnTo>
                      <a:pt x="380" y="730"/>
                    </a:lnTo>
                    <a:lnTo>
                      <a:pt x="380" y="731"/>
                    </a:lnTo>
                    <a:lnTo>
                      <a:pt x="382" y="733"/>
                    </a:lnTo>
                    <a:lnTo>
                      <a:pt x="384" y="733"/>
                    </a:lnTo>
                    <a:lnTo>
                      <a:pt x="386" y="733"/>
                    </a:lnTo>
                    <a:lnTo>
                      <a:pt x="386" y="735"/>
                    </a:lnTo>
                    <a:lnTo>
                      <a:pt x="388" y="735"/>
                    </a:lnTo>
                    <a:lnTo>
                      <a:pt x="388" y="737"/>
                    </a:lnTo>
                    <a:lnTo>
                      <a:pt x="390" y="737"/>
                    </a:lnTo>
                    <a:lnTo>
                      <a:pt x="392" y="737"/>
                    </a:lnTo>
                    <a:lnTo>
                      <a:pt x="394" y="737"/>
                    </a:lnTo>
                    <a:lnTo>
                      <a:pt x="394" y="739"/>
                    </a:lnTo>
                    <a:lnTo>
                      <a:pt x="396" y="739"/>
                    </a:lnTo>
                    <a:lnTo>
                      <a:pt x="396" y="741"/>
                    </a:lnTo>
                    <a:lnTo>
                      <a:pt x="398" y="741"/>
                    </a:lnTo>
                    <a:lnTo>
                      <a:pt x="398" y="739"/>
                    </a:lnTo>
                    <a:lnTo>
                      <a:pt x="398" y="741"/>
                    </a:lnTo>
                    <a:lnTo>
                      <a:pt x="400" y="741"/>
                    </a:lnTo>
                    <a:lnTo>
                      <a:pt x="402" y="741"/>
                    </a:lnTo>
                    <a:lnTo>
                      <a:pt x="402" y="743"/>
                    </a:lnTo>
                    <a:lnTo>
                      <a:pt x="402" y="741"/>
                    </a:lnTo>
                    <a:lnTo>
                      <a:pt x="404" y="741"/>
                    </a:lnTo>
                    <a:lnTo>
                      <a:pt x="404" y="743"/>
                    </a:lnTo>
                    <a:lnTo>
                      <a:pt x="400" y="749"/>
                    </a:lnTo>
                    <a:lnTo>
                      <a:pt x="400" y="751"/>
                    </a:lnTo>
                    <a:lnTo>
                      <a:pt x="398" y="749"/>
                    </a:lnTo>
                    <a:lnTo>
                      <a:pt x="396" y="749"/>
                    </a:lnTo>
                    <a:lnTo>
                      <a:pt x="394" y="749"/>
                    </a:lnTo>
                    <a:lnTo>
                      <a:pt x="394" y="751"/>
                    </a:lnTo>
                    <a:lnTo>
                      <a:pt x="392" y="751"/>
                    </a:lnTo>
                    <a:lnTo>
                      <a:pt x="390" y="753"/>
                    </a:lnTo>
                    <a:lnTo>
                      <a:pt x="388" y="754"/>
                    </a:lnTo>
                    <a:lnTo>
                      <a:pt x="388" y="756"/>
                    </a:lnTo>
                    <a:lnTo>
                      <a:pt x="386" y="756"/>
                    </a:lnTo>
                    <a:lnTo>
                      <a:pt x="384" y="756"/>
                    </a:lnTo>
                    <a:lnTo>
                      <a:pt x="384" y="754"/>
                    </a:lnTo>
                    <a:lnTo>
                      <a:pt x="382" y="754"/>
                    </a:lnTo>
                    <a:lnTo>
                      <a:pt x="380" y="754"/>
                    </a:lnTo>
                    <a:lnTo>
                      <a:pt x="379" y="754"/>
                    </a:lnTo>
                    <a:lnTo>
                      <a:pt x="379" y="753"/>
                    </a:lnTo>
                    <a:lnTo>
                      <a:pt x="377" y="753"/>
                    </a:lnTo>
                    <a:lnTo>
                      <a:pt x="375" y="753"/>
                    </a:lnTo>
                    <a:lnTo>
                      <a:pt x="373" y="753"/>
                    </a:lnTo>
                    <a:lnTo>
                      <a:pt x="371" y="753"/>
                    </a:lnTo>
                    <a:lnTo>
                      <a:pt x="371" y="751"/>
                    </a:lnTo>
                    <a:lnTo>
                      <a:pt x="369" y="751"/>
                    </a:lnTo>
                    <a:lnTo>
                      <a:pt x="369" y="753"/>
                    </a:lnTo>
                    <a:lnTo>
                      <a:pt x="367" y="753"/>
                    </a:lnTo>
                    <a:lnTo>
                      <a:pt x="365" y="753"/>
                    </a:lnTo>
                    <a:lnTo>
                      <a:pt x="363" y="753"/>
                    </a:lnTo>
                    <a:lnTo>
                      <a:pt x="363" y="754"/>
                    </a:lnTo>
                    <a:lnTo>
                      <a:pt x="361" y="754"/>
                    </a:lnTo>
                    <a:lnTo>
                      <a:pt x="359" y="754"/>
                    </a:lnTo>
                    <a:lnTo>
                      <a:pt x="359" y="756"/>
                    </a:lnTo>
                    <a:lnTo>
                      <a:pt x="357" y="756"/>
                    </a:lnTo>
                    <a:lnTo>
                      <a:pt x="357" y="758"/>
                    </a:lnTo>
                    <a:lnTo>
                      <a:pt x="356" y="758"/>
                    </a:lnTo>
                    <a:lnTo>
                      <a:pt x="356" y="760"/>
                    </a:lnTo>
                    <a:lnTo>
                      <a:pt x="356" y="762"/>
                    </a:lnTo>
                    <a:lnTo>
                      <a:pt x="356" y="764"/>
                    </a:lnTo>
                    <a:lnTo>
                      <a:pt x="356" y="766"/>
                    </a:lnTo>
                    <a:lnTo>
                      <a:pt x="354" y="766"/>
                    </a:lnTo>
                    <a:lnTo>
                      <a:pt x="354" y="768"/>
                    </a:lnTo>
                    <a:lnTo>
                      <a:pt x="356" y="768"/>
                    </a:lnTo>
                    <a:lnTo>
                      <a:pt x="356" y="770"/>
                    </a:lnTo>
                    <a:lnTo>
                      <a:pt x="357" y="770"/>
                    </a:lnTo>
                    <a:lnTo>
                      <a:pt x="357" y="772"/>
                    </a:lnTo>
                    <a:lnTo>
                      <a:pt x="356" y="772"/>
                    </a:lnTo>
                    <a:lnTo>
                      <a:pt x="356" y="770"/>
                    </a:lnTo>
                    <a:lnTo>
                      <a:pt x="354" y="770"/>
                    </a:lnTo>
                    <a:lnTo>
                      <a:pt x="356" y="770"/>
                    </a:lnTo>
                    <a:lnTo>
                      <a:pt x="356" y="772"/>
                    </a:lnTo>
                    <a:lnTo>
                      <a:pt x="357" y="772"/>
                    </a:lnTo>
                    <a:lnTo>
                      <a:pt x="357" y="774"/>
                    </a:lnTo>
                    <a:lnTo>
                      <a:pt x="357" y="776"/>
                    </a:lnTo>
                    <a:lnTo>
                      <a:pt x="357" y="774"/>
                    </a:lnTo>
                    <a:lnTo>
                      <a:pt x="356" y="774"/>
                    </a:lnTo>
                    <a:lnTo>
                      <a:pt x="356" y="772"/>
                    </a:lnTo>
                    <a:lnTo>
                      <a:pt x="354" y="772"/>
                    </a:lnTo>
                    <a:lnTo>
                      <a:pt x="354" y="770"/>
                    </a:lnTo>
                    <a:lnTo>
                      <a:pt x="354" y="768"/>
                    </a:lnTo>
                    <a:lnTo>
                      <a:pt x="352" y="768"/>
                    </a:lnTo>
                    <a:lnTo>
                      <a:pt x="352" y="766"/>
                    </a:lnTo>
                    <a:lnTo>
                      <a:pt x="350" y="766"/>
                    </a:lnTo>
                    <a:lnTo>
                      <a:pt x="350" y="764"/>
                    </a:lnTo>
                    <a:lnTo>
                      <a:pt x="348" y="764"/>
                    </a:lnTo>
                    <a:lnTo>
                      <a:pt x="348" y="762"/>
                    </a:lnTo>
                    <a:lnTo>
                      <a:pt x="348" y="760"/>
                    </a:lnTo>
                    <a:lnTo>
                      <a:pt x="346" y="760"/>
                    </a:lnTo>
                    <a:lnTo>
                      <a:pt x="346" y="758"/>
                    </a:lnTo>
                    <a:lnTo>
                      <a:pt x="344" y="756"/>
                    </a:lnTo>
                    <a:lnTo>
                      <a:pt x="344" y="754"/>
                    </a:lnTo>
                    <a:lnTo>
                      <a:pt x="342" y="754"/>
                    </a:lnTo>
                    <a:lnTo>
                      <a:pt x="342" y="753"/>
                    </a:lnTo>
                    <a:lnTo>
                      <a:pt x="340" y="753"/>
                    </a:lnTo>
                    <a:lnTo>
                      <a:pt x="340" y="751"/>
                    </a:lnTo>
                    <a:lnTo>
                      <a:pt x="340" y="749"/>
                    </a:lnTo>
                    <a:lnTo>
                      <a:pt x="338" y="749"/>
                    </a:lnTo>
                    <a:lnTo>
                      <a:pt x="338" y="747"/>
                    </a:lnTo>
                    <a:lnTo>
                      <a:pt x="336" y="747"/>
                    </a:lnTo>
                    <a:lnTo>
                      <a:pt x="336" y="745"/>
                    </a:lnTo>
                    <a:lnTo>
                      <a:pt x="334" y="745"/>
                    </a:lnTo>
                    <a:lnTo>
                      <a:pt x="334" y="743"/>
                    </a:lnTo>
                    <a:lnTo>
                      <a:pt x="332" y="743"/>
                    </a:lnTo>
                    <a:lnTo>
                      <a:pt x="332" y="741"/>
                    </a:lnTo>
                    <a:lnTo>
                      <a:pt x="331" y="741"/>
                    </a:lnTo>
                    <a:lnTo>
                      <a:pt x="331" y="739"/>
                    </a:lnTo>
                    <a:lnTo>
                      <a:pt x="329" y="739"/>
                    </a:lnTo>
                    <a:lnTo>
                      <a:pt x="329" y="737"/>
                    </a:lnTo>
                    <a:lnTo>
                      <a:pt x="327" y="737"/>
                    </a:lnTo>
                    <a:lnTo>
                      <a:pt x="327" y="735"/>
                    </a:lnTo>
                    <a:lnTo>
                      <a:pt x="325" y="735"/>
                    </a:lnTo>
                    <a:lnTo>
                      <a:pt x="325" y="733"/>
                    </a:lnTo>
                    <a:lnTo>
                      <a:pt x="323" y="733"/>
                    </a:lnTo>
                    <a:lnTo>
                      <a:pt x="323" y="731"/>
                    </a:lnTo>
                    <a:lnTo>
                      <a:pt x="321" y="731"/>
                    </a:lnTo>
                    <a:lnTo>
                      <a:pt x="321" y="730"/>
                    </a:lnTo>
                    <a:lnTo>
                      <a:pt x="319" y="730"/>
                    </a:lnTo>
                    <a:lnTo>
                      <a:pt x="319" y="728"/>
                    </a:lnTo>
                    <a:lnTo>
                      <a:pt x="317" y="728"/>
                    </a:lnTo>
                    <a:lnTo>
                      <a:pt x="317" y="726"/>
                    </a:lnTo>
                    <a:lnTo>
                      <a:pt x="315" y="726"/>
                    </a:lnTo>
                    <a:lnTo>
                      <a:pt x="315" y="724"/>
                    </a:lnTo>
                    <a:lnTo>
                      <a:pt x="313" y="722"/>
                    </a:lnTo>
                    <a:lnTo>
                      <a:pt x="313" y="720"/>
                    </a:lnTo>
                    <a:lnTo>
                      <a:pt x="311" y="720"/>
                    </a:lnTo>
                    <a:lnTo>
                      <a:pt x="311" y="718"/>
                    </a:lnTo>
                    <a:lnTo>
                      <a:pt x="309" y="716"/>
                    </a:lnTo>
                    <a:lnTo>
                      <a:pt x="309" y="714"/>
                    </a:lnTo>
                    <a:lnTo>
                      <a:pt x="307" y="714"/>
                    </a:lnTo>
                    <a:lnTo>
                      <a:pt x="307" y="712"/>
                    </a:lnTo>
                    <a:lnTo>
                      <a:pt x="307" y="710"/>
                    </a:lnTo>
                    <a:lnTo>
                      <a:pt x="307" y="708"/>
                    </a:lnTo>
                    <a:lnTo>
                      <a:pt x="306" y="708"/>
                    </a:lnTo>
                    <a:lnTo>
                      <a:pt x="307" y="708"/>
                    </a:lnTo>
                    <a:lnTo>
                      <a:pt x="307" y="710"/>
                    </a:lnTo>
                    <a:lnTo>
                      <a:pt x="307" y="712"/>
                    </a:lnTo>
                    <a:lnTo>
                      <a:pt x="309" y="712"/>
                    </a:lnTo>
                    <a:lnTo>
                      <a:pt x="309" y="714"/>
                    </a:lnTo>
                    <a:lnTo>
                      <a:pt x="309" y="716"/>
                    </a:lnTo>
                    <a:lnTo>
                      <a:pt x="311" y="716"/>
                    </a:lnTo>
                    <a:lnTo>
                      <a:pt x="311" y="718"/>
                    </a:lnTo>
                    <a:lnTo>
                      <a:pt x="313" y="718"/>
                    </a:lnTo>
                    <a:lnTo>
                      <a:pt x="313" y="720"/>
                    </a:lnTo>
                    <a:lnTo>
                      <a:pt x="315" y="720"/>
                    </a:lnTo>
                    <a:lnTo>
                      <a:pt x="315" y="722"/>
                    </a:lnTo>
                    <a:lnTo>
                      <a:pt x="317" y="722"/>
                    </a:lnTo>
                    <a:lnTo>
                      <a:pt x="317" y="724"/>
                    </a:lnTo>
                    <a:lnTo>
                      <a:pt x="319" y="724"/>
                    </a:lnTo>
                    <a:lnTo>
                      <a:pt x="321" y="724"/>
                    </a:lnTo>
                    <a:lnTo>
                      <a:pt x="321" y="726"/>
                    </a:lnTo>
                    <a:lnTo>
                      <a:pt x="323" y="726"/>
                    </a:lnTo>
                    <a:lnTo>
                      <a:pt x="325" y="726"/>
                    </a:lnTo>
                    <a:lnTo>
                      <a:pt x="325" y="728"/>
                    </a:lnTo>
                    <a:close/>
                    <a:moveTo>
                      <a:pt x="279" y="695"/>
                    </a:moveTo>
                    <a:lnTo>
                      <a:pt x="279" y="697"/>
                    </a:lnTo>
                    <a:lnTo>
                      <a:pt x="279" y="699"/>
                    </a:lnTo>
                    <a:lnTo>
                      <a:pt x="279" y="697"/>
                    </a:lnTo>
                    <a:lnTo>
                      <a:pt x="277" y="697"/>
                    </a:lnTo>
                    <a:lnTo>
                      <a:pt x="279" y="697"/>
                    </a:lnTo>
                    <a:lnTo>
                      <a:pt x="277" y="697"/>
                    </a:lnTo>
                    <a:lnTo>
                      <a:pt x="277" y="695"/>
                    </a:lnTo>
                    <a:lnTo>
                      <a:pt x="279" y="695"/>
                    </a:lnTo>
                    <a:close/>
                    <a:moveTo>
                      <a:pt x="244" y="2"/>
                    </a:moveTo>
                    <a:lnTo>
                      <a:pt x="246" y="6"/>
                    </a:lnTo>
                    <a:lnTo>
                      <a:pt x="252" y="4"/>
                    </a:lnTo>
                    <a:lnTo>
                      <a:pt x="256" y="4"/>
                    </a:lnTo>
                    <a:lnTo>
                      <a:pt x="261" y="4"/>
                    </a:lnTo>
                    <a:lnTo>
                      <a:pt x="265" y="4"/>
                    </a:lnTo>
                    <a:lnTo>
                      <a:pt x="267" y="4"/>
                    </a:lnTo>
                    <a:lnTo>
                      <a:pt x="269" y="4"/>
                    </a:lnTo>
                    <a:lnTo>
                      <a:pt x="269" y="6"/>
                    </a:lnTo>
                    <a:lnTo>
                      <a:pt x="269" y="8"/>
                    </a:lnTo>
                    <a:lnTo>
                      <a:pt x="271" y="8"/>
                    </a:lnTo>
                    <a:lnTo>
                      <a:pt x="273" y="8"/>
                    </a:lnTo>
                    <a:lnTo>
                      <a:pt x="275" y="8"/>
                    </a:lnTo>
                    <a:lnTo>
                      <a:pt x="277" y="8"/>
                    </a:lnTo>
                    <a:lnTo>
                      <a:pt x="277" y="10"/>
                    </a:lnTo>
                    <a:lnTo>
                      <a:pt x="277" y="11"/>
                    </a:lnTo>
                    <a:lnTo>
                      <a:pt x="277" y="13"/>
                    </a:lnTo>
                    <a:lnTo>
                      <a:pt x="279" y="13"/>
                    </a:lnTo>
                    <a:lnTo>
                      <a:pt x="279" y="15"/>
                    </a:lnTo>
                    <a:lnTo>
                      <a:pt x="281" y="15"/>
                    </a:lnTo>
                    <a:lnTo>
                      <a:pt x="281" y="17"/>
                    </a:lnTo>
                    <a:lnTo>
                      <a:pt x="281" y="19"/>
                    </a:lnTo>
                    <a:lnTo>
                      <a:pt x="283" y="19"/>
                    </a:lnTo>
                    <a:lnTo>
                      <a:pt x="283" y="21"/>
                    </a:lnTo>
                    <a:lnTo>
                      <a:pt x="281" y="21"/>
                    </a:lnTo>
                    <a:lnTo>
                      <a:pt x="281" y="23"/>
                    </a:lnTo>
                    <a:lnTo>
                      <a:pt x="279" y="23"/>
                    </a:lnTo>
                    <a:lnTo>
                      <a:pt x="279" y="25"/>
                    </a:lnTo>
                    <a:lnTo>
                      <a:pt x="279" y="27"/>
                    </a:lnTo>
                    <a:lnTo>
                      <a:pt x="281" y="27"/>
                    </a:lnTo>
                    <a:lnTo>
                      <a:pt x="281" y="29"/>
                    </a:lnTo>
                    <a:lnTo>
                      <a:pt x="283" y="29"/>
                    </a:lnTo>
                    <a:lnTo>
                      <a:pt x="283" y="31"/>
                    </a:lnTo>
                    <a:lnTo>
                      <a:pt x="284" y="31"/>
                    </a:lnTo>
                    <a:lnTo>
                      <a:pt x="288" y="31"/>
                    </a:lnTo>
                    <a:lnTo>
                      <a:pt x="290" y="35"/>
                    </a:lnTo>
                    <a:lnTo>
                      <a:pt x="290" y="38"/>
                    </a:lnTo>
                    <a:lnTo>
                      <a:pt x="290" y="42"/>
                    </a:lnTo>
                    <a:lnTo>
                      <a:pt x="290" y="46"/>
                    </a:lnTo>
                    <a:lnTo>
                      <a:pt x="290" y="50"/>
                    </a:lnTo>
                    <a:lnTo>
                      <a:pt x="292" y="54"/>
                    </a:lnTo>
                    <a:lnTo>
                      <a:pt x="294" y="54"/>
                    </a:lnTo>
                    <a:lnTo>
                      <a:pt x="296" y="52"/>
                    </a:lnTo>
                    <a:lnTo>
                      <a:pt x="300" y="52"/>
                    </a:lnTo>
                    <a:lnTo>
                      <a:pt x="304" y="50"/>
                    </a:lnTo>
                    <a:lnTo>
                      <a:pt x="307" y="50"/>
                    </a:lnTo>
                    <a:lnTo>
                      <a:pt x="309" y="50"/>
                    </a:lnTo>
                    <a:lnTo>
                      <a:pt x="311" y="48"/>
                    </a:lnTo>
                    <a:lnTo>
                      <a:pt x="315" y="48"/>
                    </a:lnTo>
                    <a:lnTo>
                      <a:pt x="315" y="52"/>
                    </a:lnTo>
                    <a:lnTo>
                      <a:pt x="317" y="58"/>
                    </a:lnTo>
                    <a:lnTo>
                      <a:pt x="319" y="58"/>
                    </a:lnTo>
                    <a:lnTo>
                      <a:pt x="321" y="58"/>
                    </a:lnTo>
                    <a:lnTo>
                      <a:pt x="321" y="56"/>
                    </a:lnTo>
                    <a:lnTo>
                      <a:pt x="323" y="56"/>
                    </a:lnTo>
                    <a:lnTo>
                      <a:pt x="325" y="56"/>
                    </a:lnTo>
                    <a:lnTo>
                      <a:pt x="327" y="56"/>
                    </a:lnTo>
                    <a:lnTo>
                      <a:pt x="329" y="56"/>
                    </a:lnTo>
                    <a:lnTo>
                      <a:pt x="331" y="56"/>
                    </a:lnTo>
                    <a:lnTo>
                      <a:pt x="331" y="54"/>
                    </a:lnTo>
                    <a:lnTo>
                      <a:pt x="332" y="54"/>
                    </a:lnTo>
                    <a:lnTo>
                      <a:pt x="332" y="52"/>
                    </a:lnTo>
                    <a:lnTo>
                      <a:pt x="334" y="52"/>
                    </a:lnTo>
                    <a:lnTo>
                      <a:pt x="334" y="54"/>
                    </a:lnTo>
                    <a:lnTo>
                      <a:pt x="334" y="58"/>
                    </a:lnTo>
                    <a:lnTo>
                      <a:pt x="336" y="59"/>
                    </a:lnTo>
                    <a:lnTo>
                      <a:pt x="336" y="61"/>
                    </a:lnTo>
                    <a:lnTo>
                      <a:pt x="338" y="61"/>
                    </a:lnTo>
                    <a:lnTo>
                      <a:pt x="340" y="61"/>
                    </a:lnTo>
                    <a:lnTo>
                      <a:pt x="342" y="61"/>
                    </a:lnTo>
                    <a:lnTo>
                      <a:pt x="342" y="58"/>
                    </a:lnTo>
                    <a:lnTo>
                      <a:pt x="346" y="58"/>
                    </a:lnTo>
                    <a:lnTo>
                      <a:pt x="352" y="56"/>
                    </a:lnTo>
                    <a:lnTo>
                      <a:pt x="356" y="56"/>
                    </a:lnTo>
                    <a:lnTo>
                      <a:pt x="357" y="56"/>
                    </a:lnTo>
                    <a:lnTo>
                      <a:pt x="359" y="56"/>
                    </a:lnTo>
                    <a:lnTo>
                      <a:pt x="361" y="56"/>
                    </a:lnTo>
                    <a:lnTo>
                      <a:pt x="363" y="58"/>
                    </a:lnTo>
                    <a:lnTo>
                      <a:pt x="363" y="63"/>
                    </a:lnTo>
                    <a:lnTo>
                      <a:pt x="363" y="69"/>
                    </a:lnTo>
                    <a:lnTo>
                      <a:pt x="363" y="71"/>
                    </a:lnTo>
                    <a:lnTo>
                      <a:pt x="363" y="73"/>
                    </a:lnTo>
                    <a:lnTo>
                      <a:pt x="361" y="75"/>
                    </a:lnTo>
                    <a:lnTo>
                      <a:pt x="357" y="75"/>
                    </a:lnTo>
                    <a:lnTo>
                      <a:pt x="356" y="75"/>
                    </a:lnTo>
                    <a:lnTo>
                      <a:pt x="356" y="77"/>
                    </a:lnTo>
                    <a:lnTo>
                      <a:pt x="356" y="79"/>
                    </a:lnTo>
                    <a:lnTo>
                      <a:pt x="356" y="83"/>
                    </a:lnTo>
                    <a:lnTo>
                      <a:pt x="357" y="83"/>
                    </a:lnTo>
                    <a:lnTo>
                      <a:pt x="359" y="83"/>
                    </a:lnTo>
                    <a:lnTo>
                      <a:pt x="359" y="84"/>
                    </a:lnTo>
                    <a:lnTo>
                      <a:pt x="361" y="86"/>
                    </a:lnTo>
                    <a:lnTo>
                      <a:pt x="361" y="88"/>
                    </a:lnTo>
                    <a:lnTo>
                      <a:pt x="363" y="88"/>
                    </a:lnTo>
                    <a:lnTo>
                      <a:pt x="365" y="88"/>
                    </a:lnTo>
                    <a:lnTo>
                      <a:pt x="365" y="86"/>
                    </a:lnTo>
                    <a:lnTo>
                      <a:pt x="367" y="84"/>
                    </a:lnTo>
                    <a:lnTo>
                      <a:pt x="367" y="83"/>
                    </a:lnTo>
                    <a:lnTo>
                      <a:pt x="367" y="81"/>
                    </a:lnTo>
                    <a:lnTo>
                      <a:pt x="371" y="83"/>
                    </a:lnTo>
                    <a:lnTo>
                      <a:pt x="375" y="83"/>
                    </a:lnTo>
                    <a:lnTo>
                      <a:pt x="379" y="83"/>
                    </a:lnTo>
                    <a:lnTo>
                      <a:pt x="379" y="81"/>
                    </a:lnTo>
                    <a:lnTo>
                      <a:pt x="377" y="79"/>
                    </a:lnTo>
                    <a:lnTo>
                      <a:pt x="377" y="73"/>
                    </a:lnTo>
                    <a:lnTo>
                      <a:pt x="377" y="67"/>
                    </a:lnTo>
                    <a:lnTo>
                      <a:pt x="377" y="65"/>
                    </a:lnTo>
                    <a:lnTo>
                      <a:pt x="379" y="65"/>
                    </a:lnTo>
                    <a:lnTo>
                      <a:pt x="380" y="65"/>
                    </a:lnTo>
                    <a:lnTo>
                      <a:pt x="382" y="65"/>
                    </a:lnTo>
                    <a:lnTo>
                      <a:pt x="382" y="67"/>
                    </a:lnTo>
                    <a:lnTo>
                      <a:pt x="382" y="69"/>
                    </a:lnTo>
                    <a:lnTo>
                      <a:pt x="384" y="69"/>
                    </a:lnTo>
                    <a:lnTo>
                      <a:pt x="384" y="71"/>
                    </a:lnTo>
                    <a:lnTo>
                      <a:pt x="384" y="69"/>
                    </a:lnTo>
                    <a:lnTo>
                      <a:pt x="386" y="69"/>
                    </a:lnTo>
                    <a:lnTo>
                      <a:pt x="388" y="67"/>
                    </a:lnTo>
                    <a:lnTo>
                      <a:pt x="388" y="65"/>
                    </a:lnTo>
                    <a:lnTo>
                      <a:pt x="388" y="63"/>
                    </a:lnTo>
                    <a:lnTo>
                      <a:pt x="388" y="61"/>
                    </a:lnTo>
                    <a:lnTo>
                      <a:pt x="390" y="61"/>
                    </a:lnTo>
                    <a:lnTo>
                      <a:pt x="390" y="58"/>
                    </a:lnTo>
                    <a:lnTo>
                      <a:pt x="392" y="58"/>
                    </a:lnTo>
                    <a:lnTo>
                      <a:pt x="394" y="58"/>
                    </a:lnTo>
                    <a:lnTo>
                      <a:pt x="396" y="58"/>
                    </a:lnTo>
                    <a:lnTo>
                      <a:pt x="398" y="58"/>
                    </a:lnTo>
                    <a:lnTo>
                      <a:pt x="400" y="58"/>
                    </a:lnTo>
                    <a:lnTo>
                      <a:pt x="402" y="58"/>
                    </a:lnTo>
                    <a:lnTo>
                      <a:pt x="404" y="58"/>
                    </a:lnTo>
                    <a:lnTo>
                      <a:pt x="404" y="59"/>
                    </a:lnTo>
                    <a:lnTo>
                      <a:pt x="404" y="61"/>
                    </a:lnTo>
                    <a:lnTo>
                      <a:pt x="405" y="61"/>
                    </a:lnTo>
                    <a:lnTo>
                      <a:pt x="405" y="63"/>
                    </a:lnTo>
                    <a:lnTo>
                      <a:pt x="405" y="65"/>
                    </a:lnTo>
                    <a:lnTo>
                      <a:pt x="407" y="65"/>
                    </a:lnTo>
                    <a:lnTo>
                      <a:pt x="411" y="65"/>
                    </a:lnTo>
                    <a:lnTo>
                      <a:pt x="413" y="65"/>
                    </a:lnTo>
                    <a:lnTo>
                      <a:pt x="417" y="65"/>
                    </a:lnTo>
                    <a:lnTo>
                      <a:pt x="417" y="63"/>
                    </a:lnTo>
                    <a:lnTo>
                      <a:pt x="419" y="65"/>
                    </a:lnTo>
                    <a:lnTo>
                      <a:pt x="417" y="65"/>
                    </a:lnTo>
                    <a:lnTo>
                      <a:pt x="417" y="67"/>
                    </a:lnTo>
                    <a:lnTo>
                      <a:pt x="419" y="67"/>
                    </a:lnTo>
                    <a:lnTo>
                      <a:pt x="419" y="73"/>
                    </a:lnTo>
                    <a:lnTo>
                      <a:pt x="419" y="77"/>
                    </a:lnTo>
                    <a:lnTo>
                      <a:pt x="421" y="77"/>
                    </a:lnTo>
                    <a:lnTo>
                      <a:pt x="423" y="75"/>
                    </a:lnTo>
                    <a:lnTo>
                      <a:pt x="425" y="75"/>
                    </a:lnTo>
                    <a:lnTo>
                      <a:pt x="427" y="75"/>
                    </a:lnTo>
                    <a:lnTo>
                      <a:pt x="430" y="75"/>
                    </a:lnTo>
                    <a:lnTo>
                      <a:pt x="434" y="75"/>
                    </a:lnTo>
                    <a:lnTo>
                      <a:pt x="440" y="75"/>
                    </a:lnTo>
                    <a:lnTo>
                      <a:pt x="440" y="77"/>
                    </a:lnTo>
                    <a:lnTo>
                      <a:pt x="440" y="81"/>
                    </a:lnTo>
                    <a:lnTo>
                      <a:pt x="440" y="84"/>
                    </a:lnTo>
                    <a:lnTo>
                      <a:pt x="442" y="88"/>
                    </a:lnTo>
                    <a:lnTo>
                      <a:pt x="442" y="90"/>
                    </a:lnTo>
                    <a:lnTo>
                      <a:pt x="442" y="94"/>
                    </a:lnTo>
                    <a:lnTo>
                      <a:pt x="442" y="96"/>
                    </a:lnTo>
                    <a:lnTo>
                      <a:pt x="442" y="98"/>
                    </a:lnTo>
                    <a:lnTo>
                      <a:pt x="442" y="100"/>
                    </a:lnTo>
                    <a:lnTo>
                      <a:pt x="438" y="100"/>
                    </a:lnTo>
                    <a:lnTo>
                      <a:pt x="436" y="100"/>
                    </a:lnTo>
                    <a:lnTo>
                      <a:pt x="430" y="102"/>
                    </a:lnTo>
                    <a:lnTo>
                      <a:pt x="427" y="102"/>
                    </a:lnTo>
                    <a:lnTo>
                      <a:pt x="427" y="104"/>
                    </a:lnTo>
                    <a:lnTo>
                      <a:pt x="427" y="106"/>
                    </a:lnTo>
                    <a:lnTo>
                      <a:pt x="427" y="107"/>
                    </a:lnTo>
                    <a:lnTo>
                      <a:pt x="427" y="111"/>
                    </a:lnTo>
                    <a:lnTo>
                      <a:pt x="428" y="113"/>
                    </a:lnTo>
                    <a:lnTo>
                      <a:pt x="428" y="119"/>
                    </a:lnTo>
                    <a:lnTo>
                      <a:pt x="428" y="123"/>
                    </a:lnTo>
                    <a:lnTo>
                      <a:pt x="428" y="125"/>
                    </a:lnTo>
                    <a:lnTo>
                      <a:pt x="428" y="127"/>
                    </a:lnTo>
                    <a:lnTo>
                      <a:pt x="428" y="129"/>
                    </a:lnTo>
                    <a:lnTo>
                      <a:pt x="428" y="132"/>
                    </a:lnTo>
                    <a:lnTo>
                      <a:pt x="428" y="134"/>
                    </a:lnTo>
                    <a:lnTo>
                      <a:pt x="428" y="136"/>
                    </a:lnTo>
                    <a:lnTo>
                      <a:pt x="428" y="140"/>
                    </a:lnTo>
                    <a:lnTo>
                      <a:pt x="430" y="140"/>
                    </a:lnTo>
                    <a:lnTo>
                      <a:pt x="432" y="140"/>
                    </a:lnTo>
                    <a:lnTo>
                      <a:pt x="434" y="140"/>
                    </a:lnTo>
                    <a:lnTo>
                      <a:pt x="434" y="138"/>
                    </a:lnTo>
                    <a:lnTo>
                      <a:pt x="436" y="138"/>
                    </a:lnTo>
                    <a:lnTo>
                      <a:pt x="436" y="136"/>
                    </a:lnTo>
                    <a:lnTo>
                      <a:pt x="438" y="136"/>
                    </a:lnTo>
                    <a:lnTo>
                      <a:pt x="436" y="136"/>
                    </a:lnTo>
                    <a:lnTo>
                      <a:pt x="436" y="134"/>
                    </a:lnTo>
                    <a:lnTo>
                      <a:pt x="438" y="134"/>
                    </a:lnTo>
                    <a:lnTo>
                      <a:pt x="438" y="136"/>
                    </a:lnTo>
                    <a:lnTo>
                      <a:pt x="440" y="136"/>
                    </a:lnTo>
                    <a:lnTo>
                      <a:pt x="442" y="136"/>
                    </a:lnTo>
                    <a:lnTo>
                      <a:pt x="444" y="136"/>
                    </a:lnTo>
                    <a:lnTo>
                      <a:pt x="444" y="134"/>
                    </a:lnTo>
                    <a:lnTo>
                      <a:pt x="446" y="134"/>
                    </a:lnTo>
                    <a:lnTo>
                      <a:pt x="448" y="134"/>
                    </a:lnTo>
                    <a:lnTo>
                      <a:pt x="450" y="134"/>
                    </a:lnTo>
                    <a:lnTo>
                      <a:pt x="452" y="134"/>
                    </a:lnTo>
                    <a:lnTo>
                      <a:pt x="453" y="134"/>
                    </a:lnTo>
                    <a:lnTo>
                      <a:pt x="455" y="134"/>
                    </a:lnTo>
                    <a:lnTo>
                      <a:pt x="455" y="136"/>
                    </a:lnTo>
                    <a:lnTo>
                      <a:pt x="457" y="144"/>
                    </a:lnTo>
                    <a:lnTo>
                      <a:pt x="457" y="148"/>
                    </a:lnTo>
                    <a:lnTo>
                      <a:pt x="457" y="155"/>
                    </a:lnTo>
                    <a:lnTo>
                      <a:pt x="459" y="155"/>
                    </a:lnTo>
                    <a:lnTo>
                      <a:pt x="459" y="154"/>
                    </a:lnTo>
                    <a:lnTo>
                      <a:pt x="461" y="154"/>
                    </a:lnTo>
                    <a:lnTo>
                      <a:pt x="463" y="154"/>
                    </a:lnTo>
                    <a:lnTo>
                      <a:pt x="463" y="155"/>
                    </a:lnTo>
                    <a:lnTo>
                      <a:pt x="463" y="157"/>
                    </a:lnTo>
                    <a:lnTo>
                      <a:pt x="463" y="159"/>
                    </a:lnTo>
                    <a:lnTo>
                      <a:pt x="463" y="161"/>
                    </a:lnTo>
                    <a:lnTo>
                      <a:pt x="465" y="161"/>
                    </a:lnTo>
                    <a:lnTo>
                      <a:pt x="465" y="163"/>
                    </a:lnTo>
                    <a:lnTo>
                      <a:pt x="465" y="165"/>
                    </a:lnTo>
                    <a:lnTo>
                      <a:pt x="463" y="165"/>
                    </a:lnTo>
                    <a:lnTo>
                      <a:pt x="463" y="167"/>
                    </a:lnTo>
                    <a:lnTo>
                      <a:pt x="463" y="169"/>
                    </a:lnTo>
                    <a:lnTo>
                      <a:pt x="463" y="171"/>
                    </a:lnTo>
                    <a:lnTo>
                      <a:pt x="465" y="171"/>
                    </a:lnTo>
                    <a:lnTo>
                      <a:pt x="465" y="173"/>
                    </a:lnTo>
                    <a:lnTo>
                      <a:pt x="465" y="175"/>
                    </a:lnTo>
                    <a:lnTo>
                      <a:pt x="465" y="177"/>
                    </a:lnTo>
                    <a:lnTo>
                      <a:pt x="467" y="177"/>
                    </a:lnTo>
                    <a:lnTo>
                      <a:pt x="465" y="177"/>
                    </a:lnTo>
                    <a:lnTo>
                      <a:pt x="463" y="177"/>
                    </a:lnTo>
                    <a:lnTo>
                      <a:pt x="455" y="177"/>
                    </a:lnTo>
                    <a:lnTo>
                      <a:pt x="455" y="179"/>
                    </a:lnTo>
                    <a:lnTo>
                      <a:pt x="455" y="182"/>
                    </a:lnTo>
                    <a:lnTo>
                      <a:pt x="453" y="182"/>
                    </a:lnTo>
                    <a:lnTo>
                      <a:pt x="455" y="184"/>
                    </a:lnTo>
                    <a:lnTo>
                      <a:pt x="455" y="188"/>
                    </a:lnTo>
                    <a:lnTo>
                      <a:pt x="455" y="190"/>
                    </a:lnTo>
                    <a:lnTo>
                      <a:pt x="457" y="190"/>
                    </a:lnTo>
                    <a:lnTo>
                      <a:pt x="457" y="192"/>
                    </a:lnTo>
                    <a:lnTo>
                      <a:pt x="459" y="192"/>
                    </a:lnTo>
                    <a:lnTo>
                      <a:pt x="459" y="194"/>
                    </a:lnTo>
                    <a:lnTo>
                      <a:pt x="457" y="194"/>
                    </a:lnTo>
                    <a:lnTo>
                      <a:pt x="453" y="196"/>
                    </a:lnTo>
                    <a:lnTo>
                      <a:pt x="450" y="196"/>
                    </a:lnTo>
                    <a:lnTo>
                      <a:pt x="448" y="196"/>
                    </a:lnTo>
                    <a:lnTo>
                      <a:pt x="446" y="196"/>
                    </a:lnTo>
                    <a:lnTo>
                      <a:pt x="446" y="198"/>
                    </a:lnTo>
                    <a:lnTo>
                      <a:pt x="446" y="200"/>
                    </a:lnTo>
                    <a:lnTo>
                      <a:pt x="446" y="202"/>
                    </a:lnTo>
                    <a:lnTo>
                      <a:pt x="446" y="205"/>
                    </a:lnTo>
                    <a:lnTo>
                      <a:pt x="448" y="205"/>
                    </a:lnTo>
                    <a:lnTo>
                      <a:pt x="448" y="209"/>
                    </a:lnTo>
                    <a:lnTo>
                      <a:pt x="448" y="211"/>
                    </a:lnTo>
                    <a:lnTo>
                      <a:pt x="452" y="211"/>
                    </a:lnTo>
                    <a:lnTo>
                      <a:pt x="455" y="209"/>
                    </a:lnTo>
                    <a:lnTo>
                      <a:pt x="457" y="209"/>
                    </a:lnTo>
                    <a:lnTo>
                      <a:pt x="463" y="209"/>
                    </a:lnTo>
                    <a:lnTo>
                      <a:pt x="469" y="209"/>
                    </a:lnTo>
                    <a:lnTo>
                      <a:pt x="471" y="207"/>
                    </a:lnTo>
                    <a:lnTo>
                      <a:pt x="475" y="207"/>
                    </a:lnTo>
                    <a:lnTo>
                      <a:pt x="478" y="207"/>
                    </a:lnTo>
                    <a:lnTo>
                      <a:pt x="482" y="207"/>
                    </a:lnTo>
                    <a:lnTo>
                      <a:pt x="484" y="207"/>
                    </a:lnTo>
                    <a:lnTo>
                      <a:pt x="482" y="202"/>
                    </a:lnTo>
                    <a:lnTo>
                      <a:pt x="486" y="202"/>
                    </a:lnTo>
                    <a:lnTo>
                      <a:pt x="488" y="202"/>
                    </a:lnTo>
                    <a:lnTo>
                      <a:pt x="492" y="202"/>
                    </a:lnTo>
                    <a:lnTo>
                      <a:pt x="494" y="202"/>
                    </a:lnTo>
                    <a:lnTo>
                      <a:pt x="496" y="202"/>
                    </a:lnTo>
                    <a:lnTo>
                      <a:pt x="498" y="202"/>
                    </a:lnTo>
                    <a:lnTo>
                      <a:pt x="500" y="202"/>
                    </a:lnTo>
                    <a:lnTo>
                      <a:pt x="498" y="202"/>
                    </a:lnTo>
                    <a:lnTo>
                      <a:pt x="500" y="202"/>
                    </a:lnTo>
                    <a:lnTo>
                      <a:pt x="501" y="202"/>
                    </a:lnTo>
                    <a:lnTo>
                      <a:pt x="503" y="202"/>
                    </a:lnTo>
                    <a:lnTo>
                      <a:pt x="505" y="202"/>
                    </a:lnTo>
                    <a:lnTo>
                      <a:pt x="507" y="202"/>
                    </a:lnTo>
                    <a:lnTo>
                      <a:pt x="509" y="202"/>
                    </a:lnTo>
                    <a:lnTo>
                      <a:pt x="511" y="203"/>
                    </a:lnTo>
                    <a:lnTo>
                      <a:pt x="511" y="205"/>
                    </a:lnTo>
                    <a:lnTo>
                      <a:pt x="511" y="207"/>
                    </a:lnTo>
                    <a:lnTo>
                      <a:pt x="513" y="207"/>
                    </a:lnTo>
                    <a:lnTo>
                      <a:pt x="515" y="207"/>
                    </a:lnTo>
                    <a:lnTo>
                      <a:pt x="517" y="211"/>
                    </a:lnTo>
                    <a:lnTo>
                      <a:pt x="519" y="211"/>
                    </a:lnTo>
                    <a:lnTo>
                      <a:pt x="519" y="213"/>
                    </a:lnTo>
                    <a:lnTo>
                      <a:pt x="519" y="215"/>
                    </a:lnTo>
                    <a:lnTo>
                      <a:pt x="519" y="217"/>
                    </a:lnTo>
                    <a:lnTo>
                      <a:pt x="523" y="217"/>
                    </a:lnTo>
                    <a:lnTo>
                      <a:pt x="524" y="217"/>
                    </a:lnTo>
                    <a:lnTo>
                      <a:pt x="524" y="221"/>
                    </a:lnTo>
                    <a:lnTo>
                      <a:pt x="524" y="223"/>
                    </a:lnTo>
                    <a:lnTo>
                      <a:pt x="524" y="225"/>
                    </a:lnTo>
                    <a:lnTo>
                      <a:pt x="524" y="228"/>
                    </a:lnTo>
                    <a:lnTo>
                      <a:pt x="526" y="228"/>
                    </a:lnTo>
                    <a:lnTo>
                      <a:pt x="528" y="228"/>
                    </a:lnTo>
                    <a:lnTo>
                      <a:pt x="530" y="228"/>
                    </a:lnTo>
                    <a:lnTo>
                      <a:pt x="530" y="230"/>
                    </a:lnTo>
                    <a:lnTo>
                      <a:pt x="532" y="230"/>
                    </a:lnTo>
                    <a:lnTo>
                      <a:pt x="530" y="230"/>
                    </a:lnTo>
                    <a:lnTo>
                      <a:pt x="532" y="232"/>
                    </a:lnTo>
                    <a:lnTo>
                      <a:pt x="534" y="232"/>
                    </a:lnTo>
                    <a:lnTo>
                      <a:pt x="534" y="230"/>
                    </a:lnTo>
                    <a:lnTo>
                      <a:pt x="536" y="230"/>
                    </a:lnTo>
                    <a:lnTo>
                      <a:pt x="536" y="228"/>
                    </a:lnTo>
                    <a:lnTo>
                      <a:pt x="538" y="228"/>
                    </a:lnTo>
                    <a:lnTo>
                      <a:pt x="538" y="230"/>
                    </a:lnTo>
                    <a:lnTo>
                      <a:pt x="538" y="232"/>
                    </a:lnTo>
                    <a:lnTo>
                      <a:pt x="542" y="232"/>
                    </a:lnTo>
                    <a:lnTo>
                      <a:pt x="544" y="230"/>
                    </a:lnTo>
                    <a:lnTo>
                      <a:pt x="548" y="230"/>
                    </a:lnTo>
                    <a:lnTo>
                      <a:pt x="551" y="230"/>
                    </a:lnTo>
                    <a:lnTo>
                      <a:pt x="555" y="230"/>
                    </a:lnTo>
                    <a:lnTo>
                      <a:pt x="557" y="230"/>
                    </a:lnTo>
                    <a:lnTo>
                      <a:pt x="557" y="225"/>
                    </a:lnTo>
                    <a:lnTo>
                      <a:pt x="557" y="223"/>
                    </a:lnTo>
                    <a:lnTo>
                      <a:pt x="557" y="219"/>
                    </a:lnTo>
                    <a:lnTo>
                      <a:pt x="557" y="217"/>
                    </a:lnTo>
                    <a:lnTo>
                      <a:pt x="561" y="217"/>
                    </a:lnTo>
                    <a:lnTo>
                      <a:pt x="561" y="213"/>
                    </a:lnTo>
                    <a:lnTo>
                      <a:pt x="561" y="211"/>
                    </a:lnTo>
                    <a:lnTo>
                      <a:pt x="561" y="209"/>
                    </a:lnTo>
                    <a:lnTo>
                      <a:pt x="561" y="207"/>
                    </a:lnTo>
                    <a:lnTo>
                      <a:pt x="563" y="207"/>
                    </a:lnTo>
                    <a:lnTo>
                      <a:pt x="565" y="207"/>
                    </a:lnTo>
                    <a:lnTo>
                      <a:pt x="571" y="205"/>
                    </a:lnTo>
                    <a:lnTo>
                      <a:pt x="573" y="205"/>
                    </a:lnTo>
                    <a:lnTo>
                      <a:pt x="576" y="205"/>
                    </a:lnTo>
                    <a:lnTo>
                      <a:pt x="578" y="205"/>
                    </a:lnTo>
                    <a:lnTo>
                      <a:pt x="580" y="205"/>
                    </a:lnTo>
                    <a:lnTo>
                      <a:pt x="582" y="205"/>
                    </a:lnTo>
                    <a:lnTo>
                      <a:pt x="582" y="207"/>
                    </a:lnTo>
                    <a:lnTo>
                      <a:pt x="584" y="207"/>
                    </a:lnTo>
                    <a:lnTo>
                      <a:pt x="586" y="207"/>
                    </a:lnTo>
                    <a:lnTo>
                      <a:pt x="586" y="209"/>
                    </a:lnTo>
                    <a:lnTo>
                      <a:pt x="588" y="209"/>
                    </a:lnTo>
                    <a:lnTo>
                      <a:pt x="588" y="211"/>
                    </a:lnTo>
                    <a:lnTo>
                      <a:pt x="588" y="213"/>
                    </a:lnTo>
                    <a:lnTo>
                      <a:pt x="588" y="215"/>
                    </a:lnTo>
                    <a:lnTo>
                      <a:pt x="590" y="215"/>
                    </a:lnTo>
                    <a:lnTo>
                      <a:pt x="590" y="217"/>
                    </a:lnTo>
                    <a:lnTo>
                      <a:pt x="592" y="217"/>
                    </a:lnTo>
                    <a:lnTo>
                      <a:pt x="592" y="219"/>
                    </a:lnTo>
                    <a:lnTo>
                      <a:pt x="594" y="219"/>
                    </a:lnTo>
                    <a:lnTo>
                      <a:pt x="594" y="221"/>
                    </a:lnTo>
                    <a:lnTo>
                      <a:pt x="596" y="221"/>
                    </a:lnTo>
                    <a:lnTo>
                      <a:pt x="597" y="221"/>
                    </a:lnTo>
                    <a:lnTo>
                      <a:pt x="597" y="219"/>
                    </a:lnTo>
                    <a:lnTo>
                      <a:pt x="599" y="219"/>
                    </a:lnTo>
                    <a:lnTo>
                      <a:pt x="601" y="219"/>
                    </a:lnTo>
                    <a:lnTo>
                      <a:pt x="601" y="217"/>
                    </a:lnTo>
                    <a:lnTo>
                      <a:pt x="603" y="217"/>
                    </a:lnTo>
                    <a:lnTo>
                      <a:pt x="603" y="219"/>
                    </a:lnTo>
                    <a:lnTo>
                      <a:pt x="605" y="217"/>
                    </a:lnTo>
                    <a:lnTo>
                      <a:pt x="607" y="217"/>
                    </a:lnTo>
                    <a:lnTo>
                      <a:pt x="609" y="217"/>
                    </a:lnTo>
                    <a:lnTo>
                      <a:pt x="607" y="219"/>
                    </a:lnTo>
                    <a:lnTo>
                      <a:pt x="607" y="217"/>
                    </a:lnTo>
                    <a:lnTo>
                      <a:pt x="605" y="219"/>
                    </a:lnTo>
                    <a:lnTo>
                      <a:pt x="607" y="219"/>
                    </a:lnTo>
                    <a:lnTo>
                      <a:pt x="609" y="219"/>
                    </a:lnTo>
                    <a:lnTo>
                      <a:pt x="611" y="219"/>
                    </a:lnTo>
                    <a:lnTo>
                      <a:pt x="613" y="219"/>
                    </a:lnTo>
                    <a:lnTo>
                      <a:pt x="613" y="217"/>
                    </a:lnTo>
                    <a:lnTo>
                      <a:pt x="615" y="217"/>
                    </a:lnTo>
                    <a:lnTo>
                      <a:pt x="615" y="219"/>
                    </a:lnTo>
                    <a:lnTo>
                      <a:pt x="615" y="221"/>
                    </a:lnTo>
                    <a:lnTo>
                      <a:pt x="615" y="223"/>
                    </a:lnTo>
                    <a:lnTo>
                      <a:pt x="617" y="223"/>
                    </a:lnTo>
                    <a:lnTo>
                      <a:pt x="619" y="223"/>
                    </a:lnTo>
                    <a:lnTo>
                      <a:pt x="621" y="223"/>
                    </a:lnTo>
                    <a:lnTo>
                      <a:pt x="622" y="221"/>
                    </a:lnTo>
                    <a:lnTo>
                      <a:pt x="624" y="221"/>
                    </a:lnTo>
                    <a:lnTo>
                      <a:pt x="626" y="221"/>
                    </a:lnTo>
                    <a:lnTo>
                      <a:pt x="628" y="221"/>
                    </a:lnTo>
                    <a:lnTo>
                      <a:pt x="630" y="221"/>
                    </a:lnTo>
                    <a:lnTo>
                      <a:pt x="634" y="221"/>
                    </a:lnTo>
                    <a:lnTo>
                      <a:pt x="636" y="221"/>
                    </a:lnTo>
                    <a:lnTo>
                      <a:pt x="640" y="221"/>
                    </a:lnTo>
                    <a:lnTo>
                      <a:pt x="645" y="219"/>
                    </a:lnTo>
                    <a:lnTo>
                      <a:pt x="649" y="219"/>
                    </a:lnTo>
                    <a:lnTo>
                      <a:pt x="655" y="219"/>
                    </a:lnTo>
                    <a:lnTo>
                      <a:pt x="657" y="219"/>
                    </a:lnTo>
                    <a:lnTo>
                      <a:pt x="659" y="219"/>
                    </a:lnTo>
                    <a:lnTo>
                      <a:pt x="663" y="219"/>
                    </a:lnTo>
                    <a:lnTo>
                      <a:pt x="665" y="217"/>
                    </a:lnTo>
                    <a:lnTo>
                      <a:pt x="667" y="217"/>
                    </a:lnTo>
                    <a:lnTo>
                      <a:pt x="670" y="217"/>
                    </a:lnTo>
                    <a:lnTo>
                      <a:pt x="672" y="215"/>
                    </a:lnTo>
                    <a:lnTo>
                      <a:pt x="674" y="215"/>
                    </a:lnTo>
                    <a:lnTo>
                      <a:pt x="678" y="215"/>
                    </a:lnTo>
                    <a:lnTo>
                      <a:pt x="680" y="215"/>
                    </a:lnTo>
                    <a:lnTo>
                      <a:pt x="680" y="213"/>
                    </a:lnTo>
                    <a:lnTo>
                      <a:pt x="680" y="211"/>
                    </a:lnTo>
                    <a:lnTo>
                      <a:pt x="682" y="211"/>
                    </a:lnTo>
                    <a:lnTo>
                      <a:pt x="684" y="207"/>
                    </a:lnTo>
                    <a:lnTo>
                      <a:pt x="686" y="205"/>
                    </a:lnTo>
                    <a:lnTo>
                      <a:pt x="688" y="203"/>
                    </a:lnTo>
                    <a:lnTo>
                      <a:pt x="688" y="202"/>
                    </a:lnTo>
                    <a:lnTo>
                      <a:pt x="688" y="200"/>
                    </a:lnTo>
                    <a:lnTo>
                      <a:pt x="686" y="202"/>
                    </a:lnTo>
                    <a:lnTo>
                      <a:pt x="686" y="200"/>
                    </a:lnTo>
                    <a:lnTo>
                      <a:pt x="684" y="198"/>
                    </a:lnTo>
                    <a:lnTo>
                      <a:pt x="684" y="194"/>
                    </a:lnTo>
                    <a:lnTo>
                      <a:pt x="690" y="194"/>
                    </a:lnTo>
                    <a:lnTo>
                      <a:pt x="690" y="186"/>
                    </a:lnTo>
                    <a:lnTo>
                      <a:pt x="690" y="184"/>
                    </a:lnTo>
                    <a:lnTo>
                      <a:pt x="690" y="182"/>
                    </a:lnTo>
                    <a:lnTo>
                      <a:pt x="690" y="179"/>
                    </a:lnTo>
                    <a:lnTo>
                      <a:pt x="688" y="179"/>
                    </a:lnTo>
                    <a:lnTo>
                      <a:pt x="686" y="179"/>
                    </a:lnTo>
                    <a:lnTo>
                      <a:pt x="684" y="179"/>
                    </a:lnTo>
                    <a:lnTo>
                      <a:pt x="682" y="175"/>
                    </a:lnTo>
                    <a:lnTo>
                      <a:pt x="682" y="173"/>
                    </a:lnTo>
                    <a:lnTo>
                      <a:pt x="688" y="171"/>
                    </a:lnTo>
                    <a:lnTo>
                      <a:pt x="692" y="171"/>
                    </a:lnTo>
                    <a:lnTo>
                      <a:pt x="693" y="171"/>
                    </a:lnTo>
                    <a:lnTo>
                      <a:pt x="695" y="171"/>
                    </a:lnTo>
                    <a:lnTo>
                      <a:pt x="697" y="171"/>
                    </a:lnTo>
                    <a:lnTo>
                      <a:pt x="701" y="171"/>
                    </a:lnTo>
                    <a:lnTo>
                      <a:pt x="705" y="171"/>
                    </a:lnTo>
                    <a:lnTo>
                      <a:pt x="709" y="169"/>
                    </a:lnTo>
                    <a:lnTo>
                      <a:pt x="709" y="167"/>
                    </a:lnTo>
                    <a:lnTo>
                      <a:pt x="709" y="165"/>
                    </a:lnTo>
                    <a:lnTo>
                      <a:pt x="707" y="165"/>
                    </a:lnTo>
                    <a:lnTo>
                      <a:pt x="707" y="163"/>
                    </a:lnTo>
                    <a:lnTo>
                      <a:pt x="707" y="161"/>
                    </a:lnTo>
                    <a:lnTo>
                      <a:pt x="695" y="163"/>
                    </a:lnTo>
                    <a:lnTo>
                      <a:pt x="695" y="161"/>
                    </a:lnTo>
                    <a:lnTo>
                      <a:pt x="695" y="157"/>
                    </a:lnTo>
                    <a:lnTo>
                      <a:pt x="695" y="155"/>
                    </a:lnTo>
                    <a:lnTo>
                      <a:pt x="695" y="152"/>
                    </a:lnTo>
                    <a:lnTo>
                      <a:pt x="695" y="148"/>
                    </a:lnTo>
                    <a:lnTo>
                      <a:pt x="701" y="148"/>
                    </a:lnTo>
                    <a:lnTo>
                      <a:pt x="717" y="146"/>
                    </a:lnTo>
                    <a:lnTo>
                      <a:pt x="720" y="146"/>
                    </a:lnTo>
                    <a:lnTo>
                      <a:pt x="722" y="146"/>
                    </a:lnTo>
                    <a:lnTo>
                      <a:pt x="724" y="146"/>
                    </a:lnTo>
                    <a:lnTo>
                      <a:pt x="726" y="146"/>
                    </a:lnTo>
                    <a:lnTo>
                      <a:pt x="726" y="148"/>
                    </a:lnTo>
                    <a:lnTo>
                      <a:pt x="724" y="148"/>
                    </a:lnTo>
                    <a:lnTo>
                      <a:pt x="724" y="150"/>
                    </a:lnTo>
                    <a:lnTo>
                      <a:pt x="726" y="152"/>
                    </a:lnTo>
                    <a:lnTo>
                      <a:pt x="726" y="150"/>
                    </a:lnTo>
                    <a:lnTo>
                      <a:pt x="726" y="152"/>
                    </a:lnTo>
                    <a:lnTo>
                      <a:pt x="726" y="154"/>
                    </a:lnTo>
                    <a:lnTo>
                      <a:pt x="728" y="154"/>
                    </a:lnTo>
                    <a:lnTo>
                      <a:pt x="730" y="154"/>
                    </a:lnTo>
                    <a:lnTo>
                      <a:pt x="730" y="152"/>
                    </a:lnTo>
                    <a:lnTo>
                      <a:pt x="734" y="152"/>
                    </a:lnTo>
                    <a:lnTo>
                      <a:pt x="736" y="152"/>
                    </a:lnTo>
                    <a:lnTo>
                      <a:pt x="741" y="152"/>
                    </a:lnTo>
                    <a:lnTo>
                      <a:pt x="743" y="150"/>
                    </a:lnTo>
                    <a:lnTo>
                      <a:pt x="745" y="150"/>
                    </a:lnTo>
                    <a:lnTo>
                      <a:pt x="745" y="152"/>
                    </a:lnTo>
                    <a:lnTo>
                      <a:pt x="747" y="152"/>
                    </a:lnTo>
                    <a:lnTo>
                      <a:pt x="751" y="152"/>
                    </a:lnTo>
                    <a:lnTo>
                      <a:pt x="753" y="152"/>
                    </a:lnTo>
                    <a:lnTo>
                      <a:pt x="753" y="144"/>
                    </a:lnTo>
                    <a:lnTo>
                      <a:pt x="753" y="138"/>
                    </a:lnTo>
                    <a:lnTo>
                      <a:pt x="751" y="138"/>
                    </a:lnTo>
                    <a:lnTo>
                      <a:pt x="751" y="136"/>
                    </a:lnTo>
                    <a:lnTo>
                      <a:pt x="749" y="136"/>
                    </a:lnTo>
                    <a:lnTo>
                      <a:pt x="749" y="134"/>
                    </a:lnTo>
                    <a:lnTo>
                      <a:pt x="747" y="131"/>
                    </a:lnTo>
                    <a:lnTo>
                      <a:pt x="751" y="131"/>
                    </a:lnTo>
                    <a:lnTo>
                      <a:pt x="751" y="132"/>
                    </a:lnTo>
                    <a:lnTo>
                      <a:pt x="755" y="132"/>
                    </a:lnTo>
                    <a:lnTo>
                      <a:pt x="761" y="132"/>
                    </a:lnTo>
                    <a:lnTo>
                      <a:pt x="761" y="129"/>
                    </a:lnTo>
                    <a:lnTo>
                      <a:pt x="766" y="129"/>
                    </a:lnTo>
                    <a:lnTo>
                      <a:pt x="768" y="129"/>
                    </a:lnTo>
                    <a:lnTo>
                      <a:pt x="770" y="129"/>
                    </a:lnTo>
                    <a:lnTo>
                      <a:pt x="770" y="131"/>
                    </a:lnTo>
                    <a:lnTo>
                      <a:pt x="772" y="131"/>
                    </a:lnTo>
                    <a:lnTo>
                      <a:pt x="774" y="131"/>
                    </a:lnTo>
                    <a:lnTo>
                      <a:pt x="776" y="129"/>
                    </a:lnTo>
                    <a:lnTo>
                      <a:pt x="778" y="129"/>
                    </a:lnTo>
                    <a:lnTo>
                      <a:pt x="780" y="127"/>
                    </a:lnTo>
                    <a:lnTo>
                      <a:pt x="782" y="127"/>
                    </a:lnTo>
                    <a:lnTo>
                      <a:pt x="782" y="131"/>
                    </a:lnTo>
                    <a:lnTo>
                      <a:pt x="784" y="138"/>
                    </a:lnTo>
                    <a:lnTo>
                      <a:pt x="784" y="142"/>
                    </a:lnTo>
                    <a:lnTo>
                      <a:pt x="784" y="148"/>
                    </a:lnTo>
                    <a:lnTo>
                      <a:pt x="784" y="152"/>
                    </a:lnTo>
                    <a:lnTo>
                      <a:pt x="784" y="154"/>
                    </a:lnTo>
                    <a:lnTo>
                      <a:pt x="782" y="154"/>
                    </a:lnTo>
                    <a:lnTo>
                      <a:pt x="782" y="155"/>
                    </a:lnTo>
                    <a:lnTo>
                      <a:pt x="782" y="161"/>
                    </a:lnTo>
                    <a:lnTo>
                      <a:pt x="784" y="161"/>
                    </a:lnTo>
                    <a:lnTo>
                      <a:pt x="784" y="167"/>
                    </a:lnTo>
                    <a:lnTo>
                      <a:pt x="784" y="169"/>
                    </a:lnTo>
                    <a:lnTo>
                      <a:pt x="784" y="171"/>
                    </a:lnTo>
                    <a:lnTo>
                      <a:pt x="784" y="175"/>
                    </a:lnTo>
                    <a:lnTo>
                      <a:pt x="782" y="175"/>
                    </a:lnTo>
                    <a:lnTo>
                      <a:pt x="780" y="175"/>
                    </a:lnTo>
                    <a:lnTo>
                      <a:pt x="780" y="177"/>
                    </a:lnTo>
                    <a:lnTo>
                      <a:pt x="780" y="179"/>
                    </a:lnTo>
                    <a:lnTo>
                      <a:pt x="780" y="180"/>
                    </a:lnTo>
                    <a:lnTo>
                      <a:pt x="782" y="180"/>
                    </a:lnTo>
                    <a:lnTo>
                      <a:pt x="782" y="182"/>
                    </a:lnTo>
                    <a:lnTo>
                      <a:pt x="782" y="184"/>
                    </a:lnTo>
                    <a:lnTo>
                      <a:pt x="784" y="184"/>
                    </a:lnTo>
                    <a:lnTo>
                      <a:pt x="786" y="184"/>
                    </a:lnTo>
                    <a:lnTo>
                      <a:pt x="789" y="184"/>
                    </a:lnTo>
                    <a:lnTo>
                      <a:pt x="793" y="184"/>
                    </a:lnTo>
                    <a:lnTo>
                      <a:pt x="795" y="184"/>
                    </a:lnTo>
                    <a:lnTo>
                      <a:pt x="797" y="182"/>
                    </a:lnTo>
                    <a:lnTo>
                      <a:pt x="799" y="182"/>
                    </a:lnTo>
                    <a:lnTo>
                      <a:pt x="801" y="182"/>
                    </a:lnTo>
                    <a:lnTo>
                      <a:pt x="803" y="182"/>
                    </a:lnTo>
                    <a:lnTo>
                      <a:pt x="803" y="184"/>
                    </a:lnTo>
                    <a:lnTo>
                      <a:pt x="803" y="186"/>
                    </a:lnTo>
                    <a:lnTo>
                      <a:pt x="803" y="194"/>
                    </a:lnTo>
                    <a:lnTo>
                      <a:pt x="805" y="198"/>
                    </a:lnTo>
                    <a:lnTo>
                      <a:pt x="799" y="198"/>
                    </a:lnTo>
                    <a:lnTo>
                      <a:pt x="799" y="200"/>
                    </a:lnTo>
                    <a:lnTo>
                      <a:pt x="799" y="202"/>
                    </a:lnTo>
                    <a:lnTo>
                      <a:pt x="801" y="209"/>
                    </a:lnTo>
                    <a:lnTo>
                      <a:pt x="801" y="213"/>
                    </a:lnTo>
                    <a:lnTo>
                      <a:pt x="801" y="217"/>
                    </a:lnTo>
                    <a:lnTo>
                      <a:pt x="801" y="219"/>
                    </a:lnTo>
                    <a:lnTo>
                      <a:pt x="799" y="219"/>
                    </a:lnTo>
                    <a:lnTo>
                      <a:pt x="793" y="219"/>
                    </a:lnTo>
                    <a:lnTo>
                      <a:pt x="795" y="223"/>
                    </a:lnTo>
                    <a:lnTo>
                      <a:pt x="795" y="228"/>
                    </a:lnTo>
                    <a:lnTo>
                      <a:pt x="795" y="230"/>
                    </a:lnTo>
                    <a:lnTo>
                      <a:pt x="795" y="236"/>
                    </a:lnTo>
                    <a:lnTo>
                      <a:pt x="795" y="238"/>
                    </a:lnTo>
                    <a:lnTo>
                      <a:pt x="795" y="240"/>
                    </a:lnTo>
                    <a:lnTo>
                      <a:pt x="793" y="240"/>
                    </a:lnTo>
                    <a:lnTo>
                      <a:pt x="789" y="240"/>
                    </a:lnTo>
                    <a:lnTo>
                      <a:pt x="791" y="242"/>
                    </a:lnTo>
                    <a:lnTo>
                      <a:pt x="791" y="244"/>
                    </a:lnTo>
                    <a:lnTo>
                      <a:pt x="791" y="248"/>
                    </a:lnTo>
                    <a:lnTo>
                      <a:pt x="795" y="248"/>
                    </a:lnTo>
                    <a:lnTo>
                      <a:pt x="795" y="250"/>
                    </a:lnTo>
                    <a:lnTo>
                      <a:pt x="795" y="253"/>
                    </a:lnTo>
                    <a:lnTo>
                      <a:pt x="795" y="259"/>
                    </a:lnTo>
                    <a:lnTo>
                      <a:pt x="791" y="259"/>
                    </a:lnTo>
                    <a:lnTo>
                      <a:pt x="789" y="259"/>
                    </a:lnTo>
                    <a:lnTo>
                      <a:pt x="786" y="259"/>
                    </a:lnTo>
                    <a:lnTo>
                      <a:pt x="784" y="259"/>
                    </a:lnTo>
                    <a:lnTo>
                      <a:pt x="776" y="259"/>
                    </a:lnTo>
                    <a:lnTo>
                      <a:pt x="776" y="261"/>
                    </a:lnTo>
                    <a:lnTo>
                      <a:pt x="776" y="263"/>
                    </a:lnTo>
                    <a:lnTo>
                      <a:pt x="772" y="263"/>
                    </a:lnTo>
                    <a:lnTo>
                      <a:pt x="770" y="263"/>
                    </a:lnTo>
                    <a:lnTo>
                      <a:pt x="766" y="263"/>
                    </a:lnTo>
                    <a:lnTo>
                      <a:pt x="766" y="267"/>
                    </a:lnTo>
                    <a:lnTo>
                      <a:pt x="768" y="276"/>
                    </a:lnTo>
                    <a:lnTo>
                      <a:pt x="768" y="278"/>
                    </a:lnTo>
                    <a:lnTo>
                      <a:pt x="768" y="282"/>
                    </a:lnTo>
                    <a:lnTo>
                      <a:pt x="768" y="284"/>
                    </a:lnTo>
                    <a:lnTo>
                      <a:pt x="768" y="288"/>
                    </a:lnTo>
                    <a:lnTo>
                      <a:pt x="768" y="292"/>
                    </a:lnTo>
                    <a:lnTo>
                      <a:pt x="768" y="296"/>
                    </a:lnTo>
                    <a:lnTo>
                      <a:pt x="768" y="298"/>
                    </a:lnTo>
                    <a:lnTo>
                      <a:pt x="770" y="301"/>
                    </a:lnTo>
                    <a:lnTo>
                      <a:pt x="770" y="303"/>
                    </a:lnTo>
                    <a:lnTo>
                      <a:pt x="770" y="305"/>
                    </a:lnTo>
                    <a:lnTo>
                      <a:pt x="770" y="307"/>
                    </a:lnTo>
                    <a:lnTo>
                      <a:pt x="770" y="309"/>
                    </a:lnTo>
                    <a:lnTo>
                      <a:pt x="768" y="309"/>
                    </a:lnTo>
                    <a:lnTo>
                      <a:pt x="768" y="307"/>
                    </a:lnTo>
                    <a:lnTo>
                      <a:pt x="768" y="309"/>
                    </a:lnTo>
                    <a:lnTo>
                      <a:pt x="766" y="309"/>
                    </a:lnTo>
                    <a:lnTo>
                      <a:pt x="766" y="311"/>
                    </a:lnTo>
                    <a:lnTo>
                      <a:pt x="768" y="311"/>
                    </a:lnTo>
                    <a:lnTo>
                      <a:pt x="768" y="313"/>
                    </a:lnTo>
                    <a:lnTo>
                      <a:pt x="766" y="313"/>
                    </a:lnTo>
                    <a:lnTo>
                      <a:pt x="765" y="313"/>
                    </a:lnTo>
                    <a:lnTo>
                      <a:pt x="763" y="313"/>
                    </a:lnTo>
                    <a:lnTo>
                      <a:pt x="761" y="313"/>
                    </a:lnTo>
                    <a:lnTo>
                      <a:pt x="761" y="315"/>
                    </a:lnTo>
                    <a:lnTo>
                      <a:pt x="759" y="315"/>
                    </a:lnTo>
                    <a:lnTo>
                      <a:pt x="759" y="317"/>
                    </a:lnTo>
                    <a:lnTo>
                      <a:pt x="759" y="319"/>
                    </a:lnTo>
                    <a:lnTo>
                      <a:pt x="761" y="319"/>
                    </a:lnTo>
                    <a:lnTo>
                      <a:pt x="766" y="319"/>
                    </a:lnTo>
                    <a:lnTo>
                      <a:pt x="770" y="319"/>
                    </a:lnTo>
                    <a:lnTo>
                      <a:pt x="776" y="319"/>
                    </a:lnTo>
                    <a:lnTo>
                      <a:pt x="780" y="319"/>
                    </a:lnTo>
                    <a:lnTo>
                      <a:pt x="782" y="319"/>
                    </a:lnTo>
                    <a:lnTo>
                      <a:pt x="788" y="319"/>
                    </a:lnTo>
                    <a:lnTo>
                      <a:pt x="793" y="319"/>
                    </a:lnTo>
                    <a:lnTo>
                      <a:pt x="797" y="319"/>
                    </a:lnTo>
                    <a:lnTo>
                      <a:pt x="797" y="321"/>
                    </a:lnTo>
                    <a:lnTo>
                      <a:pt x="797" y="323"/>
                    </a:lnTo>
                    <a:lnTo>
                      <a:pt x="795" y="326"/>
                    </a:lnTo>
                    <a:lnTo>
                      <a:pt x="795" y="332"/>
                    </a:lnTo>
                    <a:lnTo>
                      <a:pt x="795" y="334"/>
                    </a:lnTo>
                    <a:lnTo>
                      <a:pt x="793" y="338"/>
                    </a:lnTo>
                    <a:lnTo>
                      <a:pt x="795" y="340"/>
                    </a:lnTo>
                    <a:lnTo>
                      <a:pt x="795" y="344"/>
                    </a:lnTo>
                    <a:lnTo>
                      <a:pt x="795" y="347"/>
                    </a:lnTo>
                    <a:lnTo>
                      <a:pt x="801" y="346"/>
                    </a:lnTo>
                    <a:lnTo>
                      <a:pt x="809" y="342"/>
                    </a:lnTo>
                    <a:lnTo>
                      <a:pt x="809" y="344"/>
                    </a:lnTo>
                    <a:lnTo>
                      <a:pt x="809" y="347"/>
                    </a:lnTo>
                    <a:lnTo>
                      <a:pt x="809" y="349"/>
                    </a:lnTo>
                    <a:lnTo>
                      <a:pt x="809" y="355"/>
                    </a:lnTo>
                    <a:lnTo>
                      <a:pt x="805" y="355"/>
                    </a:lnTo>
                    <a:lnTo>
                      <a:pt x="803" y="357"/>
                    </a:lnTo>
                    <a:lnTo>
                      <a:pt x="803" y="363"/>
                    </a:lnTo>
                    <a:lnTo>
                      <a:pt x="803" y="367"/>
                    </a:lnTo>
                    <a:lnTo>
                      <a:pt x="803" y="369"/>
                    </a:lnTo>
                    <a:lnTo>
                      <a:pt x="803" y="370"/>
                    </a:lnTo>
                    <a:lnTo>
                      <a:pt x="803" y="372"/>
                    </a:lnTo>
                    <a:lnTo>
                      <a:pt x="803" y="378"/>
                    </a:lnTo>
                    <a:lnTo>
                      <a:pt x="803" y="384"/>
                    </a:lnTo>
                    <a:lnTo>
                      <a:pt x="803" y="386"/>
                    </a:lnTo>
                    <a:lnTo>
                      <a:pt x="803" y="394"/>
                    </a:lnTo>
                    <a:lnTo>
                      <a:pt x="801" y="394"/>
                    </a:lnTo>
                    <a:lnTo>
                      <a:pt x="797" y="395"/>
                    </a:lnTo>
                    <a:lnTo>
                      <a:pt x="793" y="395"/>
                    </a:lnTo>
                    <a:lnTo>
                      <a:pt x="788" y="395"/>
                    </a:lnTo>
                    <a:lnTo>
                      <a:pt x="784" y="395"/>
                    </a:lnTo>
                    <a:lnTo>
                      <a:pt x="786" y="394"/>
                    </a:lnTo>
                    <a:lnTo>
                      <a:pt x="786" y="390"/>
                    </a:lnTo>
                    <a:lnTo>
                      <a:pt x="786" y="384"/>
                    </a:lnTo>
                    <a:lnTo>
                      <a:pt x="786" y="382"/>
                    </a:lnTo>
                    <a:lnTo>
                      <a:pt x="786" y="378"/>
                    </a:lnTo>
                    <a:lnTo>
                      <a:pt x="786" y="374"/>
                    </a:lnTo>
                    <a:lnTo>
                      <a:pt x="786" y="372"/>
                    </a:lnTo>
                    <a:lnTo>
                      <a:pt x="786" y="369"/>
                    </a:lnTo>
                    <a:lnTo>
                      <a:pt x="784" y="370"/>
                    </a:lnTo>
                    <a:lnTo>
                      <a:pt x="780" y="372"/>
                    </a:lnTo>
                    <a:lnTo>
                      <a:pt x="780" y="376"/>
                    </a:lnTo>
                    <a:lnTo>
                      <a:pt x="780" y="380"/>
                    </a:lnTo>
                    <a:lnTo>
                      <a:pt x="780" y="382"/>
                    </a:lnTo>
                    <a:lnTo>
                      <a:pt x="774" y="382"/>
                    </a:lnTo>
                    <a:lnTo>
                      <a:pt x="774" y="386"/>
                    </a:lnTo>
                    <a:lnTo>
                      <a:pt x="776" y="390"/>
                    </a:lnTo>
                    <a:lnTo>
                      <a:pt x="774" y="390"/>
                    </a:lnTo>
                    <a:lnTo>
                      <a:pt x="772" y="390"/>
                    </a:lnTo>
                    <a:lnTo>
                      <a:pt x="772" y="392"/>
                    </a:lnTo>
                    <a:lnTo>
                      <a:pt x="774" y="394"/>
                    </a:lnTo>
                    <a:lnTo>
                      <a:pt x="774" y="395"/>
                    </a:lnTo>
                    <a:lnTo>
                      <a:pt x="774" y="397"/>
                    </a:lnTo>
                    <a:lnTo>
                      <a:pt x="774" y="399"/>
                    </a:lnTo>
                    <a:lnTo>
                      <a:pt x="774" y="401"/>
                    </a:lnTo>
                    <a:lnTo>
                      <a:pt x="774" y="403"/>
                    </a:lnTo>
                    <a:lnTo>
                      <a:pt x="774" y="405"/>
                    </a:lnTo>
                    <a:lnTo>
                      <a:pt x="774" y="409"/>
                    </a:lnTo>
                    <a:lnTo>
                      <a:pt x="786" y="407"/>
                    </a:lnTo>
                    <a:lnTo>
                      <a:pt x="788" y="407"/>
                    </a:lnTo>
                    <a:lnTo>
                      <a:pt x="793" y="407"/>
                    </a:lnTo>
                    <a:lnTo>
                      <a:pt x="799" y="407"/>
                    </a:lnTo>
                    <a:lnTo>
                      <a:pt x="799" y="409"/>
                    </a:lnTo>
                    <a:lnTo>
                      <a:pt x="799" y="411"/>
                    </a:lnTo>
                    <a:lnTo>
                      <a:pt x="799" y="413"/>
                    </a:lnTo>
                    <a:lnTo>
                      <a:pt x="799" y="418"/>
                    </a:lnTo>
                    <a:lnTo>
                      <a:pt x="799" y="422"/>
                    </a:lnTo>
                    <a:lnTo>
                      <a:pt x="799" y="424"/>
                    </a:lnTo>
                    <a:lnTo>
                      <a:pt x="799" y="426"/>
                    </a:lnTo>
                    <a:lnTo>
                      <a:pt x="801" y="426"/>
                    </a:lnTo>
                    <a:lnTo>
                      <a:pt x="801" y="428"/>
                    </a:lnTo>
                    <a:lnTo>
                      <a:pt x="801" y="430"/>
                    </a:lnTo>
                    <a:lnTo>
                      <a:pt x="799" y="430"/>
                    </a:lnTo>
                    <a:lnTo>
                      <a:pt x="799" y="432"/>
                    </a:lnTo>
                    <a:lnTo>
                      <a:pt x="797" y="432"/>
                    </a:lnTo>
                    <a:lnTo>
                      <a:pt x="797" y="434"/>
                    </a:lnTo>
                    <a:lnTo>
                      <a:pt x="795" y="434"/>
                    </a:lnTo>
                    <a:lnTo>
                      <a:pt x="791" y="434"/>
                    </a:lnTo>
                    <a:lnTo>
                      <a:pt x="791" y="438"/>
                    </a:lnTo>
                    <a:lnTo>
                      <a:pt x="791" y="442"/>
                    </a:lnTo>
                    <a:lnTo>
                      <a:pt x="791" y="443"/>
                    </a:lnTo>
                    <a:lnTo>
                      <a:pt x="791" y="445"/>
                    </a:lnTo>
                    <a:lnTo>
                      <a:pt x="791" y="447"/>
                    </a:lnTo>
                    <a:lnTo>
                      <a:pt x="789" y="447"/>
                    </a:lnTo>
                    <a:lnTo>
                      <a:pt x="789" y="451"/>
                    </a:lnTo>
                    <a:lnTo>
                      <a:pt x="789" y="453"/>
                    </a:lnTo>
                    <a:lnTo>
                      <a:pt x="793" y="451"/>
                    </a:lnTo>
                    <a:lnTo>
                      <a:pt x="793" y="453"/>
                    </a:lnTo>
                    <a:lnTo>
                      <a:pt x="797" y="455"/>
                    </a:lnTo>
                    <a:lnTo>
                      <a:pt x="799" y="455"/>
                    </a:lnTo>
                    <a:lnTo>
                      <a:pt x="799" y="457"/>
                    </a:lnTo>
                    <a:lnTo>
                      <a:pt x="799" y="459"/>
                    </a:lnTo>
                    <a:lnTo>
                      <a:pt x="801" y="461"/>
                    </a:lnTo>
                    <a:lnTo>
                      <a:pt x="803" y="463"/>
                    </a:lnTo>
                    <a:lnTo>
                      <a:pt x="807" y="466"/>
                    </a:lnTo>
                    <a:lnTo>
                      <a:pt x="809" y="468"/>
                    </a:lnTo>
                    <a:lnTo>
                      <a:pt x="811" y="470"/>
                    </a:lnTo>
                    <a:lnTo>
                      <a:pt x="811" y="472"/>
                    </a:lnTo>
                    <a:lnTo>
                      <a:pt x="809" y="470"/>
                    </a:lnTo>
                    <a:lnTo>
                      <a:pt x="809" y="472"/>
                    </a:lnTo>
                    <a:lnTo>
                      <a:pt x="807" y="472"/>
                    </a:lnTo>
                    <a:lnTo>
                      <a:pt x="805" y="472"/>
                    </a:lnTo>
                    <a:lnTo>
                      <a:pt x="805" y="474"/>
                    </a:lnTo>
                    <a:lnTo>
                      <a:pt x="805" y="472"/>
                    </a:lnTo>
                    <a:lnTo>
                      <a:pt x="803" y="472"/>
                    </a:lnTo>
                    <a:lnTo>
                      <a:pt x="801" y="472"/>
                    </a:lnTo>
                    <a:lnTo>
                      <a:pt x="801" y="474"/>
                    </a:lnTo>
                    <a:lnTo>
                      <a:pt x="799" y="474"/>
                    </a:lnTo>
                    <a:lnTo>
                      <a:pt x="799" y="472"/>
                    </a:lnTo>
                    <a:lnTo>
                      <a:pt x="797" y="472"/>
                    </a:lnTo>
                    <a:lnTo>
                      <a:pt x="795" y="472"/>
                    </a:lnTo>
                    <a:lnTo>
                      <a:pt x="795" y="474"/>
                    </a:lnTo>
                    <a:lnTo>
                      <a:pt x="795" y="476"/>
                    </a:lnTo>
                    <a:lnTo>
                      <a:pt x="795" y="478"/>
                    </a:lnTo>
                    <a:lnTo>
                      <a:pt x="795" y="480"/>
                    </a:lnTo>
                    <a:lnTo>
                      <a:pt x="797" y="482"/>
                    </a:lnTo>
                    <a:lnTo>
                      <a:pt x="799" y="482"/>
                    </a:lnTo>
                    <a:lnTo>
                      <a:pt x="797" y="482"/>
                    </a:lnTo>
                    <a:lnTo>
                      <a:pt x="797" y="484"/>
                    </a:lnTo>
                    <a:lnTo>
                      <a:pt x="795" y="484"/>
                    </a:lnTo>
                    <a:lnTo>
                      <a:pt x="795" y="486"/>
                    </a:lnTo>
                    <a:lnTo>
                      <a:pt x="793" y="484"/>
                    </a:lnTo>
                    <a:lnTo>
                      <a:pt x="793" y="486"/>
                    </a:lnTo>
                    <a:lnTo>
                      <a:pt x="793" y="484"/>
                    </a:lnTo>
                    <a:lnTo>
                      <a:pt x="791" y="484"/>
                    </a:lnTo>
                    <a:lnTo>
                      <a:pt x="789" y="484"/>
                    </a:lnTo>
                    <a:lnTo>
                      <a:pt x="789" y="482"/>
                    </a:lnTo>
                    <a:lnTo>
                      <a:pt x="788" y="482"/>
                    </a:lnTo>
                    <a:lnTo>
                      <a:pt x="788" y="480"/>
                    </a:lnTo>
                    <a:lnTo>
                      <a:pt x="788" y="478"/>
                    </a:lnTo>
                    <a:lnTo>
                      <a:pt x="788" y="476"/>
                    </a:lnTo>
                    <a:lnTo>
                      <a:pt x="786" y="476"/>
                    </a:lnTo>
                    <a:lnTo>
                      <a:pt x="784" y="476"/>
                    </a:lnTo>
                    <a:lnTo>
                      <a:pt x="782" y="476"/>
                    </a:lnTo>
                    <a:lnTo>
                      <a:pt x="780" y="476"/>
                    </a:lnTo>
                    <a:lnTo>
                      <a:pt x="780" y="474"/>
                    </a:lnTo>
                    <a:lnTo>
                      <a:pt x="778" y="474"/>
                    </a:lnTo>
                    <a:lnTo>
                      <a:pt x="778" y="476"/>
                    </a:lnTo>
                    <a:lnTo>
                      <a:pt x="780" y="476"/>
                    </a:lnTo>
                    <a:lnTo>
                      <a:pt x="780" y="478"/>
                    </a:lnTo>
                    <a:lnTo>
                      <a:pt x="778" y="478"/>
                    </a:lnTo>
                    <a:lnTo>
                      <a:pt x="778" y="476"/>
                    </a:lnTo>
                    <a:lnTo>
                      <a:pt x="776" y="476"/>
                    </a:lnTo>
                    <a:lnTo>
                      <a:pt x="776" y="478"/>
                    </a:lnTo>
                    <a:lnTo>
                      <a:pt x="776" y="480"/>
                    </a:lnTo>
                    <a:lnTo>
                      <a:pt x="776" y="482"/>
                    </a:lnTo>
                    <a:lnTo>
                      <a:pt x="776" y="484"/>
                    </a:lnTo>
                    <a:lnTo>
                      <a:pt x="776" y="486"/>
                    </a:lnTo>
                    <a:lnTo>
                      <a:pt x="774" y="486"/>
                    </a:lnTo>
                    <a:lnTo>
                      <a:pt x="774" y="488"/>
                    </a:lnTo>
                    <a:lnTo>
                      <a:pt x="772" y="488"/>
                    </a:lnTo>
                    <a:lnTo>
                      <a:pt x="770" y="488"/>
                    </a:lnTo>
                    <a:lnTo>
                      <a:pt x="768" y="488"/>
                    </a:lnTo>
                    <a:lnTo>
                      <a:pt x="768" y="490"/>
                    </a:lnTo>
                    <a:lnTo>
                      <a:pt x="766" y="490"/>
                    </a:lnTo>
                    <a:lnTo>
                      <a:pt x="766" y="491"/>
                    </a:lnTo>
                    <a:lnTo>
                      <a:pt x="768" y="491"/>
                    </a:lnTo>
                    <a:lnTo>
                      <a:pt x="768" y="493"/>
                    </a:lnTo>
                    <a:lnTo>
                      <a:pt x="766" y="493"/>
                    </a:lnTo>
                    <a:lnTo>
                      <a:pt x="765" y="493"/>
                    </a:lnTo>
                    <a:lnTo>
                      <a:pt x="763" y="493"/>
                    </a:lnTo>
                    <a:lnTo>
                      <a:pt x="763" y="491"/>
                    </a:lnTo>
                    <a:lnTo>
                      <a:pt x="761" y="491"/>
                    </a:lnTo>
                    <a:lnTo>
                      <a:pt x="761" y="490"/>
                    </a:lnTo>
                    <a:lnTo>
                      <a:pt x="761" y="488"/>
                    </a:lnTo>
                    <a:lnTo>
                      <a:pt x="761" y="486"/>
                    </a:lnTo>
                    <a:lnTo>
                      <a:pt x="759" y="486"/>
                    </a:lnTo>
                    <a:lnTo>
                      <a:pt x="759" y="484"/>
                    </a:lnTo>
                    <a:lnTo>
                      <a:pt x="757" y="484"/>
                    </a:lnTo>
                    <a:lnTo>
                      <a:pt x="757" y="486"/>
                    </a:lnTo>
                    <a:lnTo>
                      <a:pt x="757" y="488"/>
                    </a:lnTo>
                    <a:lnTo>
                      <a:pt x="759" y="488"/>
                    </a:lnTo>
                    <a:lnTo>
                      <a:pt x="757" y="488"/>
                    </a:lnTo>
                    <a:lnTo>
                      <a:pt x="755" y="488"/>
                    </a:lnTo>
                    <a:lnTo>
                      <a:pt x="753" y="488"/>
                    </a:lnTo>
                    <a:lnTo>
                      <a:pt x="755" y="488"/>
                    </a:lnTo>
                    <a:lnTo>
                      <a:pt x="755" y="486"/>
                    </a:lnTo>
                    <a:lnTo>
                      <a:pt x="753" y="486"/>
                    </a:lnTo>
                    <a:lnTo>
                      <a:pt x="751" y="486"/>
                    </a:lnTo>
                    <a:lnTo>
                      <a:pt x="745" y="488"/>
                    </a:lnTo>
                    <a:lnTo>
                      <a:pt x="745" y="490"/>
                    </a:lnTo>
                    <a:lnTo>
                      <a:pt x="743" y="491"/>
                    </a:lnTo>
                    <a:lnTo>
                      <a:pt x="743" y="493"/>
                    </a:lnTo>
                    <a:lnTo>
                      <a:pt x="743" y="495"/>
                    </a:lnTo>
                    <a:lnTo>
                      <a:pt x="741" y="495"/>
                    </a:lnTo>
                    <a:lnTo>
                      <a:pt x="741" y="497"/>
                    </a:lnTo>
                    <a:lnTo>
                      <a:pt x="741" y="499"/>
                    </a:lnTo>
                    <a:lnTo>
                      <a:pt x="740" y="499"/>
                    </a:lnTo>
                    <a:lnTo>
                      <a:pt x="738" y="501"/>
                    </a:lnTo>
                    <a:lnTo>
                      <a:pt x="736" y="503"/>
                    </a:lnTo>
                    <a:lnTo>
                      <a:pt x="734" y="503"/>
                    </a:lnTo>
                    <a:lnTo>
                      <a:pt x="734" y="505"/>
                    </a:lnTo>
                    <a:lnTo>
                      <a:pt x="732" y="505"/>
                    </a:lnTo>
                    <a:lnTo>
                      <a:pt x="732" y="507"/>
                    </a:lnTo>
                    <a:lnTo>
                      <a:pt x="732" y="509"/>
                    </a:lnTo>
                    <a:lnTo>
                      <a:pt x="732" y="511"/>
                    </a:lnTo>
                    <a:lnTo>
                      <a:pt x="730" y="511"/>
                    </a:lnTo>
                    <a:lnTo>
                      <a:pt x="730" y="513"/>
                    </a:lnTo>
                    <a:lnTo>
                      <a:pt x="728" y="514"/>
                    </a:lnTo>
                    <a:lnTo>
                      <a:pt x="728" y="516"/>
                    </a:lnTo>
                    <a:lnTo>
                      <a:pt x="730" y="516"/>
                    </a:lnTo>
                    <a:lnTo>
                      <a:pt x="730" y="518"/>
                    </a:lnTo>
                    <a:lnTo>
                      <a:pt x="730" y="520"/>
                    </a:lnTo>
                    <a:lnTo>
                      <a:pt x="730" y="522"/>
                    </a:lnTo>
                    <a:lnTo>
                      <a:pt x="728" y="522"/>
                    </a:lnTo>
                    <a:lnTo>
                      <a:pt x="728" y="524"/>
                    </a:lnTo>
                    <a:lnTo>
                      <a:pt x="728" y="526"/>
                    </a:lnTo>
                    <a:lnTo>
                      <a:pt x="728" y="528"/>
                    </a:lnTo>
                    <a:lnTo>
                      <a:pt x="730" y="528"/>
                    </a:lnTo>
                    <a:lnTo>
                      <a:pt x="730" y="530"/>
                    </a:lnTo>
                    <a:lnTo>
                      <a:pt x="732" y="530"/>
                    </a:lnTo>
                    <a:lnTo>
                      <a:pt x="732" y="532"/>
                    </a:lnTo>
                    <a:lnTo>
                      <a:pt x="740" y="536"/>
                    </a:lnTo>
                    <a:lnTo>
                      <a:pt x="740" y="538"/>
                    </a:lnTo>
                    <a:lnTo>
                      <a:pt x="741" y="538"/>
                    </a:lnTo>
                    <a:lnTo>
                      <a:pt x="743" y="539"/>
                    </a:lnTo>
                    <a:lnTo>
                      <a:pt x="753" y="545"/>
                    </a:lnTo>
                    <a:lnTo>
                      <a:pt x="755" y="549"/>
                    </a:lnTo>
                    <a:lnTo>
                      <a:pt x="757" y="549"/>
                    </a:lnTo>
                    <a:lnTo>
                      <a:pt x="761" y="551"/>
                    </a:lnTo>
                    <a:lnTo>
                      <a:pt x="761" y="549"/>
                    </a:lnTo>
                    <a:lnTo>
                      <a:pt x="763" y="545"/>
                    </a:lnTo>
                    <a:lnTo>
                      <a:pt x="766" y="543"/>
                    </a:lnTo>
                    <a:lnTo>
                      <a:pt x="768" y="539"/>
                    </a:lnTo>
                    <a:lnTo>
                      <a:pt x="774" y="543"/>
                    </a:lnTo>
                    <a:lnTo>
                      <a:pt x="776" y="539"/>
                    </a:lnTo>
                    <a:lnTo>
                      <a:pt x="776" y="538"/>
                    </a:lnTo>
                    <a:lnTo>
                      <a:pt x="780" y="536"/>
                    </a:lnTo>
                    <a:lnTo>
                      <a:pt x="782" y="532"/>
                    </a:lnTo>
                    <a:lnTo>
                      <a:pt x="782" y="530"/>
                    </a:lnTo>
                    <a:lnTo>
                      <a:pt x="784" y="528"/>
                    </a:lnTo>
                    <a:lnTo>
                      <a:pt x="782" y="526"/>
                    </a:lnTo>
                    <a:lnTo>
                      <a:pt x="780" y="526"/>
                    </a:lnTo>
                    <a:lnTo>
                      <a:pt x="778" y="524"/>
                    </a:lnTo>
                    <a:lnTo>
                      <a:pt x="780" y="522"/>
                    </a:lnTo>
                    <a:lnTo>
                      <a:pt x="780" y="520"/>
                    </a:lnTo>
                    <a:lnTo>
                      <a:pt x="782" y="518"/>
                    </a:lnTo>
                    <a:lnTo>
                      <a:pt x="786" y="513"/>
                    </a:lnTo>
                    <a:lnTo>
                      <a:pt x="788" y="513"/>
                    </a:lnTo>
                    <a:lnTo>
                      <a:pt x="788" y="514"/>
                    </a:lnTo>
                    <a:lnTo>
                      <a:pt x="791" y="514"/>
                    </a:lnTo>
                    <a:lnTo>
                      <a:pt x="791" y="516"/>
                    </a:lnTo>
                    <a:lnTo>
                      <a:pt x="793" y="516"/>
                    </a:lnTo>
                    <a:lnTo>
                      <a:pt x="797" y="518"/>
                    </a:lnTo>
                    <a:lnTo>
                      <a:pt x="799" y="522"/>
                    </a:lnTo>
                    <a:lnTo>
                      <a:pt x="797" y="526"/>
                    </a:lnTo>
                    <a:lnTo>
                      <a:pt x="789" y="538"/>
                    </a:lnTo>
                    <a:lnTo>
                      <a:pt x="784" y="547"/>
                    </a:lnTo>
                    <a:lnTo>
                      <a:pt x="780" y="553"/>
                    </a:lnTo>
                    <a:lnTo>
                      <a:pt x="778" y="553"/>
                    </a:lnTo>
                    <a:lnTo>
                      <a:pt x="772" y="561"/>
                    </a:lnTo>
                    <a:lnTo>
                      <a:pt x="770" y="559"/>
                    </a:lnTo>
                    <a:lnTo>
                      <a:pt x="766" y="566"/>
                    </a:lnTo>
                    <a:lnTo>
                      <a:pt x="763" y="570"/>
                    </a:lnTo>
                    <a:lnTo>
                      <a:pt x="757" y="578"/>
                    </a:lnTo>
                    <a:lnTo>
                      <a:pt x="757" y="580"/>
                    </a:lnTo>
                    <a:lnTo>
                      <a:pt x="747" y="572"/>
                    </a:lnTo>
                    <a:lnTo>
                      <a:pt x="741" y="568"/>
                    </a:lnTo>
                    <a:lnTo>
                      <a:pt x="738" y="564"/>
                    </a:lnTo>
                    <a:lnTo>
                      <a:pt x="732" y="570"/>
                    </a:lnTo>
                    <a:lnTo>
                      <a:pt x="732" y="572"/>
                    </a:lnTo>
                    <a:lnTo>
                      <a:pt x="732" y="574"/>
                    </a:lnTo>
                    <a:lnTo>
                      <a:pt x="734" y="578"/>
                    </a:lnTo>
                    <a:lnTo>
                      <a:pt x="734" y="586"/>
                    </a:lnTo>
                    <a:lnTo>
                      <a:pt x="734" y="589"/>
                    </a:lnTo>
                    <a:lnTo>
                      <a:pt x="740" y="589"/>
                    </a:lnTo>
                    <a:lnTo>
                      <a:pt x="741" y="587"/>
                    </a:lnTo>
                    <a:lnTo>
                      <a:pt x="743" y="591"/>
                    </a:lnTo>
                    <a:lnTo>
                      <a:pt x="743" y="595"/>
                    </a:lnTo>
                    <a:lnTo>
                      <a:pt x="740" y="595"/>
                    </a:lnTo>
                    <a:lnTo>
                      <a:pt x="734" y="595"/>
                    </a:lnTo>
                    <a:lnTo>
                      <a:pt x="728" y="595"/>
                    </a:lnTo>
                    <a:lnTo>
                      <a:pt x="726" y="597"/>
                    </a:lnTo>
                    <a:lnTo>
                      <a:pt x="726" y="601"/>
                    </a:lnTo>
                    <a:lnTo>
                      <a:pt x="726" y="603"/>
                    </a:lnTo>
                    <a:lnTo>
                      <a:pt x="720" y="605"/>
                    </a:lnTo>
                    <a:lnTo>
                      <a:pt x="713" y="605"/>
                    </a:lnTo>
                    <a:lnTo>
                      <a:pt x="707" y="605"/>
                    </a:lnTo>
                    <a:lnTo>
                      <a:pt x="703" y="607"/>
                    </a:lnTo>
                    <a:lnTo>
                      <a:pt x="701" y="607"/>
                    </a:lnTo>
                    <a:lnTo>
                      <a:pt x="701" y="609"/>
                    </a:lnTo>
                    <a:lnTo>
                      <a:pt x="701" y="610"/>
                    </a:lnTo>
                    <a:lnTo>
                      <a:pt x="701" y="612"/>
                    </a:lnTo>
                    <a:lnTo>
                      <a:pt x="699" y="612"/>
                    </a:lnTo>
                    <a:lnTo>
                      <a:pt x="703" y="614"/>
                    </a:lnTo>
                    <a:lnTo>
                      <a:pt x="705" y="614"/>
                    </a:lnTo>
                    <a:lnTo>
                      <a:pt x="705" y="616"/>
                    </a:lnTo>
                    <a:lnTo>
                      <a:pt x="707" y="616"/>
                    </a:lnTo>
                    <a:lnTo>
                      <a:pt x="711" y="616"/>
                    </a:lnTo>
                    <a:lnTo>
                      <a:pt x="713" y="616"/>
                    </a:lnTo>
                    <a:lnTo>
                      <a:pt x="717" y="614"/>
                    </a:lnTo>
                    <a:lnTo>
                      <a:pt x="718" y="614"/>
                    </a:lnTo>
                    <a:lnTo>
                      <a:pt x="720" y="614"/>
                    </a:lnTo>
                    <a:lnTo>
                      <a:pt x="722" y="614"/>
                    </a:lnTo>
                    <a:lnTo>
                      <a:pt x="722" y="616"/>
                    </a:lnTo>
                    <a:lnTo>
                      <a:pt x="724" y="618"/>
                    </a:lnTo>
                    <a:lnTo>
                      <a:pt x="724" y="622"/>
                    </a:lnTo>
                    <a:lnTo>
                      <a:pt x="726" y="622"/>
                    </a:lnTo>
                    <a:lnTo>
                      <a:pt x="732" y="622"/>
                    </a:lnTo>
                    <a:lnTo>
                      <a:pt x="732" y="626"/>
                    </a:lnTo>
                    <a:lnTo>
                      <a:pt x="730" y="626"/>
                    </a:lnTo>
                    <a:lnTo>
                      <a:pt x="726" y="626"/>
                    </a:lnTo>
                    <a:lnTo>
                      <a:pt x="722" y="628"/>
                    </a:lnTo>
                    <a:lnTo>
                      <a:pt x="718" y="628"/>
                    </a:lnTo>
                    <a:lnTo>
                      <a:pt x="715" y="628"/>
                    </a:lnTo>
                    <a:lnTo>
                      <a:pt x="709" y="628"/>
                    </a:lnTo>
                    <a:lnTo>
                      <a:pt x="705" y="630"/>
                    </a:lnTo>
                    <a:lnTo>
                      <a:pt x="699" y="630"/>
                    </a:lnTo>
                    <a:lnTo>
                      <a:pt x="695" y="630"/>
                    </a:lnTo>
                    <a:lnTo>
                      <a:pt x="692" y="630"/>
                    </a:lnTo>
                    <a:lnTo>
                      <a:pt x="692" y="634"/>
                    </a:lnTo>
                    <a:lnTo>
                      <a:pt x="682" y="634"/>
                    </a:lnTo>
                    <a:lnTo>
                      <a:pt x="680" y="634"/>
                    </a:lnTo>
                    <a:lnTo>
                      <a:pt x="682" y="635"/>
                    </a:lnTo>
                    <a:lnTo>
                      <a:pt x="680" y="635"/>
                    </a:lnTo>
                    <a:lnTo>
                      <a:pt x="680" y="637"/>
                    </a:lnTo>
                    <a:lnTo>
                      <a:pt x="678" y="637"/>
                    </a:lnTo>
                    <a:lnTo>
                      <a:pt x="678" y="635"/>
                    </a:lnTo>
                    <a:lnTo>
                      <a:pt x="678" y="634"/>
                    </a:lnTo>
                    <a:lnTo>
                      <a:pt x="674" y="635"/>
                    </a:lnTo>
                    <a:lnTo>
                      <a:pt x="672" y="635"/>
                    </a:lnTo>
                    <a:lnTo>
                      <a:pt x="672" y="634"/>
                    </a:lnTo>
                    <a:lnTo>
                      <a:pt x="669" y="634"/>
                    </a:lnTo>
                    <a:lnTo>
                      <a:pt x="663" y="635"/>
                    </a:lnTo>
                    <a:lnTo>
                      <a:pt x="661" y="635"/>
                    </a:lnTo>
                    <a:lnTo>
                      <a:pt x="659" y="635"/>
                    </a:lnTo>
                    <a:lnTo>
                      <a:pt x="657" y="632"/>
                    </a:lnTo>
                    <a:lnTo>
                      <a:pt x="657" y="630"/>
                    </a:lnTo>
                    <a:lnTo>
                      <a:pt x="657" y="620"/>
                    </a:lnTo>
                    <a:lnTo>
                      <a:pt x="657" y="618"/>
                    </a:lnTo>
                    <a:lnTo>
                      <a:pt x="645" y="618"/>
                    </a:lnTo>
                    <a:lnTo>
                      <a:pt x="644" y="620"/>
                    </a:lnTo>
                    <a:lnTo>
                      <a:pt x="640" y="620"/>
                    </a:lnTo>
                    <a:lnTo>
                      <a:pt x="636" y="620"/>
                    </a:lnTo>
                    <a:lnTo>
                      <a:pt x="634" y="620"/>
                    </a:lnTo>
                    <a:lnTo>
                      <a:pt x="634" y="618"/>
                    </a:lnTo>
                    <a:lnTo>
                      <a:pt x="628" y="618"/>
                    </a:lnTo>
                    <a:lnTo>
                      <a:pt x="626" y="618"/>
                    </a:lnTo>
                    <a:lnTo>
                      <a:pt x="626" y="616"/>
                    </a:lnTo>
                    <a:lnTo>
                      <a:pt x="624" y="616"/>
                    </a:lnTo>
                    <a:lnTo>
                      <a:pt x="624" y="614"/>
                    </a:lnTo>
                    <a:lnTo>
                      <a:pt x="622" y="614"/>
                    </a:lnTo>
                    <a:lnTo>
                      <a:pt x="624" y="612"/>
                    </a:lnTo>
                    <a:lnTo>
                      <a:pt x="622" y="610"/>
                    </a:lnTo>
                    <a:lnTo>
                      <a:pt x="621" y="610"/>
                    </a:lnTo>
                    <a:lnTo>
                      <a:pt x="617" y="612"/>
                    </a:lnTo>
                    <a:lnTo>
                      <a:pt x="617" y="609"/>
                    </a:lnTo>
                    <a:lnTo>
                      <a:pt x="617" y="607"/>
                    </a:lnTo>
                    <a:lnTo>
                      <a:pt x="613" y="607"/>
                    </a:lnTo>
                    <a:lnTo>
                      <a:pt x="613" y="609"/>
                    </a:lnTo>
                    <a:lnTo>
                      <a:pt x="613" y="612"/>
                    </a:lnTo>
                    <a:lnTo>
                      <a:pt x="615" y="620"/>
                    </a:lnTo>
                    <a:lnTo>
                      <a:pt x="609" y="620"/>
                    </a:lnTo>
                    <a:lnTo>
                      <a:pt x="609" y="622"/>
                    </a:lnTo>
                    <a:lnTo>
                      <a:pt x="609" y="626"/>
                    </a:lnTo>
                    <a:lnTo>
                      <a:pt x="609" y="628"/>
                    </a:lnTo>
                    <a:lnTo>
                      <a:pt x="611" y="632"/>
                    </a:lnTo>
                    <a:lnTo>
                      <a:pt x="609" y="632"/>
                    </a:lnTo>
                    <a:lnTo>
                      <a:pt x="607" y="632"/>
                    </a:lnTo>
                    <a:lnTo>
                      <a:pt x="603" y="632"/>
                    </a:lnTo>
                    <a:lnTo>
                      <a:pt x="601" y="632"/>
                    </a:lnTo>
                    <a:lnTo>
                      <a:pt x="599" y="632"/>
                    </a:lnTo>
                    <a:lnTo>
                      <a:pt x="597" y="632"/>
                    </a:lnTo>
                    <a:lnTo>
                      <a:pt x="596" y="632"/>
                    </a:lnTo>
                    <a:lnTo>
                      <a:pt x="592" y="632"/>
                    </a:lnTo>
                    <a:lnTo>
                      <a:pt x="592" y="630"/>
                    </a:lnTo>
                    <a:lnTo>
                      <a:pt x="592" y="624"/>
                    </a:lnTo>
                    <a:lnTo>
                      <a:pt x="592" y="622"/>
                    </a:lnTo>
                    <a:lnTo>
                      <a:pt x="588" y="622"/>
                    </a:lnTo>
                    <a:lnTo>
                      <a:pt x="582" y="622"/>
                    </a:lnTo>
                    <a:lnTo>
                      <a:pt x="580" y="622"/>
                    </a:lnTo>
                    <a:lnTo>
                      <a:pt x="578" y="622"/>
                    </a:lnTo>
                    <a:lnTo>
                      <a:pt x="576" y="622"/>
                    </a:lnTo>
                    <a:lnTo>
                      <a:pt x="574" y="624"/>
                    </a:lnTo>
                    <a:lnTo>
                      <a:pt x="571" y="624"/>
                    </a:lnTo>
                    <a:lnTo>
                      <a:pt x="563" y="624"/>
                    </a:lnTo>
                    <a:lnTo>
                      <a:pt x="563" y="628"/>
                    </a:lnTo>
                    <a:lnTo>
                      <a:pt x="563" y="632"/>
                    </a:lnTo>
                    <a:lnTo>
                      <a:pt x="563" y="634"/>
                    </a:lnTo>
                    <a:lnTo>
                      <a:pt x="563" y="635"/>
                    </a:lnTo>
                    <a:lnTo>
                      <a:pt x="563" y="637"/>
                    </a:lnTo>
                    <a:lnTo>
                      <a:pt x="559" y="637"/>
                    </a:lnTo>
                    <a:lnTo>
                      <a:pt x="557" y="637"/>
                    </a:lnTo>
                    <a:lnTo>
                      <a:pt x="555" y="637"/>
                    </a:lnTo>
                    <a:lnTo>
                      <a:pt x="553" y="637"/>
                    </a:lnTo>
                    <a:lnTo>
                      <a:pt x="551" y="635"/>
                    </a:lnTo>
                    <a:lnTo>
                      <a:pt x="549" y="635"/>
                    </a:lnTo>
                    <a:lnTo>
                      <a:pt x="548" y="634"/>
                    </a:lnTo>
                    <a:lnTo>
                      <a:pt x="544" y="632"/>
                    </a:lnTo>
                    <a:lnTo>
                      <a:pt x="544" y="630"/>
                    </a:lnTo>
                    <a:lnTo>
                      <a:pt x="542" y="630"/>
                    </a:lnTo>
                    <a:lnTo>
                      <a:pt x="540" y="628"/>
                    </a:lnTo>
                    <a:lnTo>
                      <a:pt x="540" y="626"/>
                    </a:lnTo>
                    <a:lnTo>
                      <a:pt x="536" y="624"/>
                    </a:lnTo>
                    <a:lnTo>
                      <a:pt x="532" y="622"/>
                    </a:lnTo>
                    <a:lnTo>
                      <a:pt x="528" y="618"/>
                    </a:lnTo>
                    <a:lnTo>
                      <a:pt x="526" y="618"/>
                    </a:lnTo>
                    <a:lnTo>
                      <a:pt x="526" y="616"/>
                    </a:lnTo>
                    <a:lnTo>
                      <a:pt x="524" y="616"/>
                    </a:lnTo>
                    <a:lnTo>
                      <a:pt x="524" y="614"/>
                    </a:lnTo>
                    <a:lnTo>
                      <a:pt x="524" y="616"/>
                    </a:lnTo>
                    <a:lnTo>
                      <a:pt x="524" y="618"/>
                    </a:lnTo>
                    <a:lnTo>
                      <a:pt x="526" y="620"/>
                    </a:lnTo>
                    <a:lnTo>
                      <a:pt x="526" y="622"/>
                    </a:lnTo>
                    <a:lnTo>
                      <a:pt x="528" y="624"/>
                    </a:lnTo>
                    <a:lnTo>
                      <a:pt x="530" y="626"/>
                    </a:lnTo>
                    <a:lnTo>
                      <a:pt x="528" y="626"/>
                    </a:lnTo>
                    <a:lnTo>
                      <a:pt x="524" y="628"/>
                    </a:lnTo>
                    <a:lnTo>
                      <a:pt x="523" y="630"/>
                    </a:lnTo>
                    <a:lnTo>
                      <a:pt x="521" y="630"/>
                    </a:lnTo>
                    <a:lnTo>
                      <a:pt x="519" y="630"/>
                    </a:lnTo>
                    <a:lnTo>
                      <a:pt x="517" y="630"/>
                    </a:lnTo>
                    <a:lnTo>
                      <a:pt x="517" y="634"/>
                    </a:lnTo>
                    <a:lnTo>
                      <a:pt x="517" y="637"/>
                    </a:lnTo>
                    <a:lnTo>
                      <a:pt x="517" y="641"/>
                    </a:lnTo>
                    <a:lnTo>
                      <a:pt x="519" y="643"/>
                    </a:lnTo>
                    <a:lnTo>
                      <a:pt x="519" y="645"/>
                    </a:lnTo>
                    <a:lnTo>
                      <a:pt x="515" y="645"/>
                    </a:lnTo>
                    <a:lnTo>
                      <a:pt x="511" y="645"/>
                    </a:lnTo>
                    <a:lnTo>
                      <a:pt x="503" y="647"/>
                    </a:lnTo>
                    <a:lnTo>
                      <a:pt x="503" y="651"/>
                    </a:lnTo>
                    <a:lnTo>
                      <a:pt x="501" y="653"/>
                    </a:lnTo>
                    <a:lnTo>
                      <a:pt x="496" y="653"/>
                    </a:lnTo>
                    <a:lnTo>
                      <a:pt x="492" y="653"/>
                    </a:lnTo>
                    <a:lnTo>
                      <a:pt x="486" y="653"/>
                    </a:lnTo>
                    <a:lnTo>
                      <a:pt x="486" y="651"/>
                    </a:lnTo>
                    <a:lnTo>
                      <a:pt x="486" y="653"/>
                    </a:lnTo>
                    <a:lnTo>
                      <a:pt x="486" y="651"/>
                    </a:lnTo>
                    <a:lnTo>
                      <a:pt x="482" y="651"/>
                    </a:lnTo>
                    <a:lnTo>
                      <a:pt x="478" y="651"/>
                    </a:lnTo>
                    <a:lnTo>
                      <a:pt x="471" y="653"/>
                    </a:lnTo>
                    <a:lnTo>
                      <a:pt x="471" y="658"/>
                    </a:lnTo>
                    <a:lnTo>
                      <a:pt x="475" y="658"/>
                    </a:lnTo>
                    <a:lnTo>
                      <a:pt x="475" y="660"/>
                    </a:lnTo>
                    <a:lnTo>
                      <a:pt x="475" y="662"/>
                    </a:lnTo>
                    <a:lnTo>
                      <a:pt x="476" y="666"/>
                    </a:lnTo>
                    <a:lnTo>
                      <a:pt x="476" y="668"/>
                    </a:lnTo>
                    <a:lnTo>
                      <a:pt x="476" y="670"/>
                    </a:lnTo>
                    <a:lnTo>
                      <a:pt x="476" y="678"/>
                    </a:lnTo>
                    <a:lnTo>
                      <a:pt x="473" y="680"/>
                    </a:lnTo>
                    <a:lnTo>
                      <a:pt x="473" y="678"/>
                    </a:lnTo>
                    <a:lnTo>
                      <a:pt x="471" y="678"/>
                    </a:lnTo>
                    <a:lnTo>
                      <a:pt x="469" y="678"/>
                    </a:lnTo>
                    <a:lnTo>
                      <a:pt x="465" y="678"/>
                    </a:lnTo>
                    <a:lnTo>
                      <a:pt x="463" y="680"/>
                    </a:lnTo>
                    <a:lnTo>
                      <a:pt x="459" y="680"/>
                    </a:lnTo>
                    <a:lnTo>
                      <a:pt x="457" y="680"/>
                    </a:lnTo>
                    <a:lnTo>
                      <a:pt x="459" y="683"/>
                    </a:lnTo>
                    <a:lnTo>
                      <a:pt x="461" y="683"/>
                    </a:lnTo>
                    <a:lnTo>
                      <a:pt x="457" y="683"/>
                    </a:lnTo>
                    <a:lnTo>
                      <a:pt x="455" y="683"/>
                    </a:lnTo>
                    <a:lnTo>
                      <a:pt x="453" y="683"/>
                    </a:lnTo>
                    <a:lnTo>
                      <a:pt x="450" y="683"/>
                    </a:lnTo>
                    <a:lnTo>
                      <a:pt x="448" y="683"/>
                    </a:lnTo>
                    <a:lnTo>
                      <a:pt x="448" y="685"/>
                    </a:lnTo>
                    <a:lnTo>
                      <a:pt x="446" y="685"/>
                    </a:lnTo>
                    <a:lnTo>
                      <a:pt x="446" y="687"/>
                    </a:lnTo>
                    <a:lnTo>
                      <a:pt x="432" y="687"/>
                    </a:lnTo>
                    <a:lnTo>
                      <a:pt x="428" y="687"/>
                    </a:lnTo>
                    <a:lnTo>
                      <a:pt x="423" y="687"/>
                    </a:lnTo>
                    <a:lnTo>
                      <a:pt x="423" y="689"/>
                    </a:lnTo>
                    <a:lnTo>
                      <a:pt x="421" y="689"/>
                    </a:lnTo>
                    <a:lnTo>
                      <a:pt x="421" y="691"/>
                    </a:lnTo>
                    <a:lnTo>
                      <a:pt x="419" y="691"/>
                    </a:lnTo>
                    <a:lnTo>
                      <a:pt x="419" y="693"/>
                    </a:lnTo>
                    <a:lnTo>
                      <a:pt x="417" y="693"/>
                    </a:lnTo>
                    <a:lnTo>
                      <a:pt x="415" y="693"/>
                    </a:lnTo>
                    <a:lnTo>
                      <a:pt x="415" y="695"/>
                    </a:lnTo>
                    <a:lnTo>
                      <a:pt x="413" y="695"/>
                    </a:lnTo>
                    <a:lnTo>
                      <a:pt x="411" y="695"/>
                    </a:lnTo>
                    <a:lnTo>
                      <a:pt x="409" y="695"/>
                    </a:lnTo>
                    <a:lnTo>
                      <a:pt x="407" y="697"/>
                    </a:lnTo>
                    <a:lnTo>
                      <a:pt x="405" y="697"/>
                    </a:lnTo>
                    <a:lnTo>
                      <a:pt x="404" y="697"/>
                    </a:lnTo>
                    <a:lnTo>
                      <a:pt x="402" y="697"/>
                    </a:lnTo>
                    <a:lnTo>
                      <a:pt x="400" y="697"/>
                    </a:lnTo>
                    <a:lnTo>
                      <a:pt x="398" y="699"/>
                    </a:lnTo>
                    <a:lnTo>
                      <a:pt x="396" y="699"/>
                    </a:lnTo>
                    <a:lnTo>
                      <a:pt x="394" y="699"/>
                    </a:lnTo>
                    <a:lnTo>
                      <a:pt x="394" y="701"/>
                    </a:lnTo>
                    <a:lnTo>
                      <a:pt x="392" y="701"/>
                    </a:lnTo>
                    <a:lnTo>
                      <a:pt x="390" y="703"/>
                    </a:lnTo>
                    <a:lnTo>
                      <a:pt x="390" y="701"/>
                    </a:lnTo>
                    <a:lnTo>
                      <a:pt x="388" y="701"/>
                    </a:lnTo>
                    <a:lnTo>
                      <a:pt x="388" y="699"/>
                    </a:lnTo>
                    <a:lnTo>
                      <a:pt x="386" y="699"/>
                    </a:lnTo>
                    <a:lnTo>
                      <a:pt x="386" y="697"/>
                    </a:lnTo>
                    <a:lnTo>
                      <a:pt x="384" y="697"/>
                    </a:lnTo>
                    <a:lnTo>
                      <a:pt x="384" y="695"/>
                    </a:lnTo>
                    <a:lnTo>
                      <a:pt x="382" y="695"/>
                    </a:lnTo>
                    <a:lnTo>
                      <a:pt x="380" y="695"/>
                    </a:lnTo>
                    <a:lnTo>
                      <a:pt x="380" y="693"/>
                    </a:lnTo>
                    <a:lnTo>
                      <a:pt x="379" y="693"/>
                    </a:lnTo>
                    <a:lnTo>
                      <a:pt x="377" y="693"/>
                    </a:lnTo>
                    <a:lnTo>
                      <a:pt x="375" y="693"/>
                    </a:lnTo>
                    <a:lnTo>
                      <a:pt x="373" y="693"/>
                    </a:lnTo>
                    <a:lnTo>
                      <a:pt x="371" y="693"/>
                    </a:lnTo>
                    <a:lnTo>
                      <a:pt x="371" y="691"/>
                    </a:lnTo>
                    <a:lnTo>
                      <a:pt x="369" y="691"/>
                    </a:lnTo>
                    <a:lnTo>
                      <a:pt x="367" y="689"/>
                    </a:lnTo>
                    <a:lnTo>
                      <a:pt x="365" y="689"/>
                    </a:lnTo>
                    <a:lnTo>
                      <a:pt x="365" y="687"/>
                    </a:lnTo>
                    <a:lnTo>
                      <a:pt x="363" y="687"/>
                    </a:lnTo>
                    <a:lnTo>
                      <a:pt x="361" y="685"/>
                    </a:lnTo>
                    <a:lnTo>
                      <a:pt x="359" y="685"/>
                    </a:lnTo>
                    <a:lnTo>
                      <a:pt x="357" y="685"/>
                    </a:lnTo>
                    <a:lnTo>
                      <a:pt x="357" y="683"/>
                    </a:lnTo>
                    <a:lnTo>
                      <a:pt x="356" y="683"/>
                    </a:lnTo>
                    <a:lnTo>
                      <a:pt x="354" y="683"/>
                    </a:lnTo>
                    <a:lnTo>
                      <a:pt x="354" y="682"/>
                    </a:lnTo>
                    <a:lnTo>
                      <a:pt x="352" y="682"/>
                    </a:lnTo>
                    <a:lnTo>
                      <a:pt x="350" y="682"/>
                    </a:lnTo>
                    <a:lnTo>
                      <a:pt x="348" y="682"/>
                    </a:lnTo>
                    <a:lnTo>
                      <a:pt x="346" y="682"/>
                    </a:lnTo>
                    <a:lnTo>
                      <a:pt x="344" y="682"/>
                    </a:lnTo>
                    <a:lnTo>
                      <a:pt x="342" y="682"/>
                    </a:lnTo>
                    <a:lnTo>
                      <a:pt x="340" y="682"/>
                    </a:lnTo>
                    <a:lnTo>
                      <a:pt x="338" y="682"/>
                    </a:lnTo>
                    <a:lnTo>
                      <a:pt x="336" y="682"/>
                    </a:lnTo>
                    <a:lnTo>
                      <a:pt x="334" y="682"/>
                    </a:lnTo>
                    <a:lnTo>
                      <a:pt x="334" y="683"/>
                    </a:lnTo>
                    <a:lnTo>
                      <a:pt x="332" y="683"/>
                    </a:lnTo>
                    <a:lnTo>
                      <a:pt x="332" y="685"/>
                    </a:lnTo>
                    <a:lnTo>
                      <a:pt x="331" y="685"/>
                    </a:lnTo>
                    <a:lnTo>
                      <a:pt x="331" y="687"/>
                    </a:lnTo>
                    <a:lnTo>
                      <a:pt x="329" y="685"/>
                    </a:lnTo>
                    <a:lnTo>
                      <a:pt x="329" y="687"/>
                    </a:lnTo>
                    <a:lnTo>
                      <a:pt x="327" y="687"/>
                    </a:lnTo>
                    <a:lnTo>
                      <a:pt x="327" y="689"/>
                    </a:lnTo>
                    <a:lnTo>
                      <a:pt x="325" y="689"/>
                    </a:lnTo>
                    <a:lnTo>
                      <a:pt x="325" y="691"/>
                    </a:lnTo>
                    <a:lnTo>
                      <a:pt x="323" y="691"/>
                    </a:lnTo>
                    <a:lnTo>
                      <a:pt x="323" y="693"/>
                    </a:lnTo>
                    <a:lnTo>
                      <a:pt x="325" y="693"/>
                    </a:lnTo>
                    <a:lnTo>
                      <a:pt x="323" y="693"/>
                    </a:lnTo>
                    <a:lnTo>
                      <a:pt x="323" y="691"/>
                    </a:lnTo>
                    <a:lnTo>
                      <a:pt x="323" y="693"/>
                    </a:lnTo>
                    <a:lnTo>
                      <a:pt x="321" y="693"/>
                    </a:lnTo>
                    <a:lnTo>
                      <a:pt x="321" y="695"/>
                    </a:lnTo>
                    <a:lnTo>
                      <a:pt x="321" y="697"/>
                    </a:lnTo>
                    <a:lnTo>
                      <a:pt x="321" y="699"/>
                    </a:lnTo>
                    <a:lnTo>
                      <a:pt x="319" y="699"/>
                    </a:lnTo>
                    <a:lnTo>
                      <a:pt x="317" y="699"/>
                    </a:lnTo>
                    <a:lnTo>
                      <a:pt x="317" y="697"/>
                    </a:lnTo>
                    <a:lnTo>
                      <a:pt x="315" y="697"/>
                    </a:lnTo>
                    <a:lnTo>
                      <a:pt x="315" y="695"/>
                    </a:lnTo>
                    <a:lnTo>
                      <a:pt x="313" y="695"/>
                    </a:lnTo>
                    <a:lnTo>
                      <a:pt x="313" y="693"/>
                    </a:lnTo>
                    <a:lnTo>
                      <a:pt x="311" y="693"/>
                    </a:lnTo>
                    <a:lnTo>
                      <a:pt x="311" y="691"/>
                    </a:lnTo>
                    <a:lnTo>
                      <a:pt x="309" y="691"/>
                    </a:lnTo>
                    <a:lnTo>
                      <a:pt x="309" y="689"/>
                    </a:lnTo>
                    <a:lnTo>
                      <a:pt x="307" y="689"/>
                    </a:lnTo>
                    <a:lnTo>
                      <a:pt x="306" y="689"/>
                    </a:lnTo>
                    <a:lnTo>
                      <a:pt x="306" y="687"/>
                    </a:lnTo>
                    <a:lnTo>
                      <a:pt x="304" y="687"/>
                    </a:lnTo>
                    <a:lnTo>
                      <a:pt x="302" y="687"/>
                    </a:lnTo>
                    <a:lnTo>
                      <a:pt x="300" y="687"/>
                    </a:lnTo>
                    <a:lnTo>
                      <a:pt x="300" y="685"/>
                    </a:lnTo>
                    <a:lnTo>
                      <a:pt x="298" y="685"/>
                    </a:lnTo>
                    <a:lnTo>
                      <a:pt x="296" y="685"/>
                    </a:lnTo>
                    <a:lnTo>
                      <a:pt x="294" y="685"/>
                    </a:lnTo>
                    <a:lnTo>
                      <a:pt x="292" y="685"/>
                    </a:lnTo>
                    <a:lnTo>
                      <a:pt x="290" y="685"/>
                    </a:lnTo>
                    <a:lnTo>
                      <a:pt x="288" y="685"/>
                    </a:lnTo>
                    <a:lnTo>
                      <a:pt x="286" y="685"/>
                    </a:lnTo>
                    <a:lnTo>
                      <a:pt x="284" y="685"/>
                    </a:lnTo>
                    <a:lnTo>
                      <a:pt x="283" y="685"/>
                    </a:lnTo>
                    <a:lnTo>
                      <a:pt x="283" y="683"/>
                    </a:lnTo>
                    <a:lnTo>
                      <a:pt x="281" y="683"/>
                    </a:lnTo>
                    <a:lnTo>
                      <a:pt x="281" y="685"/>
                    </a:lnTo>
                    <a:lnTo>
                      <a:pt x="279" y="687"/>
                    </a:lnTo>
                    <a:lnTo>
                      <a:pt x="277" y="687"/>
                    </a:lnTo>
                    <a:lnTo>
                      <a:pt x="275" y="685"/>
                    </a:lnTo>
                    <a:lnTo>
                      <a:pt x="273" y="685"/>
                    </a:lnTo>
                    <a:lnTo>
                      <a:pt x="271" y="685"/>
                    </a:lnTo>
                    <a:lnTo>
                      <a:pt x="269" y="685"/>
                    </a:lnTo>
                    <a:lnTo>
                      <a:pt x="267" y="685"/>
                    </a:lnTo>
                    <a:lnTo>
                      <a:pt x="265" y="685"/>
                    </a:lnTo>
                    <a:lnTo>
                      <a:pt x="263" y="685"/>
                    </a:lnTo>
                    <a:lnTo>
                      <a:pt x="263" y="687"/>
                    </a:lnTo>
                    <a:lnTo>
                      <a:pt x="261" y="687"/>
                    </a:lnTo>
                    <a:lnTo>
                      <a:pt x="261" y="689"/>
                    </a:lnTo>
                    <a:lnTo>
                      <a:pt x="261" y="691"/>
                    </a:lnTo>
                    <a:lnTo>
                      <a:pt x="261" y="693"/>
                    </a:lnTo>
                    <a:lnTo>
                      <a:pt x="259" y="693"/>
                    </a:lnTo>
                    <a:lnTo>
                      <a:pt x="258" y="693"/>
                    </a:lnTo>
                    <a:lnTo>
                      <a:pt x="258" y="691"/>
                    </a:lnTo>
                    <a:lnTo>
                      <a:pt x="256" y="691"/>
                    </a:lnTo>
                    <a:lnTo>
                      <a:pt x="254" y="691"/>
                    </a:lnTo>
                    <a:lnTo>
                      <a:pt x="252" y="691"/>
                    </a:lnTo>
                    <a:lnTo>
                      <a:pt x="252" y="689"/>
                    </a:lnTo>
                    <a:lnTo>
                      <a:pt x="250" y="689"/>
                    </a:lnTo>
                    <a:lnTo>
                      <a:pt x="248" y="689"/>
                    </a:lnTo>
                    <a:lnTo>
                      <a:pt x="246" y="689"/>
                    </a:lnTo>
                    <a:lnTo>
                      <a:pt x="246" y="687"/>
                    </a:lnTo>
                    <a:lnTo>
                      <a:pt x="244" y="687"/>
                    </a:lnTo>
                    <a:lnTo>
                      <a:pt x="242" y="687"/>
                    </a:lnTo>
                    <a:lnTo>
                      <a:pt x="240" y="687"/>
                    </a:lnTo>
                    <a:lnTo>
                      <a:pt x="238" y="687"/>
                    </a:lnTo>
                    <a:lnTo>
                      <a:pt x="236" y="687"/>
                    </a:lnTo>
                    <a:lnTo>
                      <a:pt x="235" y="687"/>
                    </a:lnTo>
                    <a:lnTo>
                      <a:pt x="233" y="687"/>
                    </a:lnTo>
                    <a:lnTo>
                      <a:pt x="231" y="687"/>
                    </a:lnTo>
                    <a:lnTo>
                      <a:pt x="229" y="687"/>
                    </a:lnTo>
                    <a:lnTo>
                      <a:pt x="229" y="685"/>
                    </a:lnTo>
                    <a:lnTo>
                      <a:pt x="227" y="685"/>
                    </a:lnTo>
                    <a:lnTo>
                      <a:pt x="225" y="685"/>
                    </a:lnTo>
                    <a:lnTo>
                      <a:pt x="225" y="683"/>
                    </a:lnTo>
                    <a:lnTo>
                      <a:pt x="223" y="683"/>
                    </a:lnTo>
                    <a:lnTo>
                      <a:pt x="223" y="682"/>
                    </a:lnTo>
                    <a:lnTo>
                      <a:pt x="221" y="682"/>
                    </a:lnTo>
                    <a:lnTo>
                      <a:pt x="219" y="680"/>
                    </a:lnTo>
                    <a:lnTo>
                      <a:pt x="217" y="680"/>
                    </a:lnTo>
                    <a:lnTo>
                      <a:pt x="215" y="680"/>
                    </a:lnTo>
                    <a:lnTo>
                      <a:pt x="213" y="678"/>
                    </a:lnTo>
                    <a:lnTo>
                      <a:pt x="211" y="678"/>
                    </a:lnTo>
                    <a:lnTo>
                      <a:pt x="211" y="676"/>
                    </a:lnTo>
                    <a:lnTo>
                      <a:pt x="211" y="674"/>
                    </a:lnTo>
                    <a:lnTo>
                      <a:pt x="213" y="674"/>
                    </a:lnTo>
                    <a:lnTo>
                      <a:pt x="215" y="674"/>
                    </a:lnTo>
                    <a:lnTo>
                      <a:pt x="215" y="672"/>
                    </a:lnTo>
                    <a:lnTo>
                      <a:pt x="215" y="670"/>
                    </a:lnTo>
                    <a:lnTo>
                      <a:pt x="215" y="668"/>
                    </a:lnTo>
                    <a:lnTo>
                      <a:pt x="213" y="668"/>
                    </a:lnTo>
                    <a:lnTo>
                      <a:pt x="211" y="668"/>
                    </a:lnTo>
                    <a:lnTo>
                      <a:pt x="211" y="666"/>
                    </a:lnTo>
                    <a:lnTo>
                      <a:pt x="213" y="666"/>
                    </a:lnTo>
                    <a:lnTo>
                      <a:pt x="215" y="666"/>
                    </a:lnTo>
                    <a:lnTo>
                      <a:pt x="217" y="666"/>
                    </a:lnTo>
                    <a:lnTo>
                      <a:pt x="219" y="664"/>
                    </a:lnTo>
                    <a:lnTo>
                      <a:pt x="215" y="662"/>
                    </a:lnTo>
                    <a:lnTo>
                      <a:pt x="215" y="660"/>
                    </a:lnTo>
                    <a:lnTo>
                      <a:pt x="215" y="658"/>
                    </a:lnTo>
                    <a:lnTo>
                      <a:pt x="215" y="657"/>
                    </a:lnTo>
                    <a:lnTo>
                      <a:pt x="213" y="657"/>
                    </a:lnTo>
                    <a:lnTo>
                      <a:pt x="213" y="655"/>
                    </a:lnTo>
                    <a:lnTo>
                      <a:pt x="213" y="653"/>
                    </a:lnTo>
                    <a:lnTo>
                      <a:pt x="215" y="651"/>
                    </a:lnTo>
                    <a:lnTo>
                      <a:pt x="215" y="649"/>
                    </a:lnTo>
                    <a:lnTo>
                      <a:pt x="215" y="645"/>
                    </a:lnTo>
                    <a:lnTo>
                      <a:pt x="215" y="643"/>
                    </a:lnTo>
                    <a:lnTo>
                      <a:pt x="211" y="641"/>
                    </a:lnTo>
                    <a:lnTo>
                      <a:pt x="211" y="639"/>
                    </a:lnTo>
                    <a:lnTo>
                      <a:pt x="210" y="639"/>
                    </a:lnTo>
                    <a:lnTo>
                      <a:pt x="210" y="637"/>
                    </a:lnTo>
                    <a:lnTo>
                      <a:pt x="210" y="635"/>
                    </a:lnTo>
                    <a:lnTo>
                      <a:pt x="210" y="634"/>
                    </a:lnTo>
                    <a:lnTo>
                      <a:pt x="210" y="632"/>
                    </a:lnTo>
                    <a:lnTo>
                      <a:pt x="210" y="630"/>
                    </a:lnTo>
                    <a:lnTo>
                      <a:pt x="210" y="628"/>
                    </a:lnTo>
                    <a:lnTo>
                      <a:pt x="210" y="626"/>
                    </a:lnTo>
                    <a:lnTo>
                      <a:pt x="211" y="626"/>
                    </a:lnTo>
                    <a:lnTo>
                      <a:pt x="213" y="624"/>
                    </a:lnTo>
                    <a:lnTo>
                      <a:pt x="215" y="622"/>
                    </a:lnTo>
                    <a:lnTo>
                      <a:pt x="217" y="620"/>
                    </a:lnTo>
                    <a:lnTo>
                      <a:pt x="217" y="618"/>
                    </a:lnTo>
                    <a:lnTo>
                      <a:pt x="217" y="616"/>
                    </a:lnTo>
                    <a:lnTo>
                      <a:pt x="215" y="616"/>
                    </a:lnTo>
                    <a:lnTo>
                      <a:pt x="215" y="614"/>
                    </a:lnTo>
                    <a:lnTo>
                      <a:pt x="213" y="612"/>
                    </a:lnTo>
                    <a:lnTo>
                      <a:pt x="213" y="609"/>
                    </a:lnTo>
                    <a:lnTo>
                      <a:pt x="211" y="609"/>
                    </a:lnTo>
                    <a:lnTo>
                      <a:pt x="211" y="607"/>
                    </a:lnTo>
                    <a:lnTo>
                      <a:pt x="211" y="605"/>
                    </a:lnTo>
                    <a:lnTo>
                      <a:pt x="211" y="603"/>
                    </a:lnTo>
                    <a:lnTo>
                      <a:pt x="211" y="601"/>
                    </a:lnTo>
                    <a:lnTo>
                      <a:pt x="211" y="599"/>
                    </a:lnTo>
                    <a:lnTo>
                      <a:pt x="213" y="595"/>
                    </a:lnTo>
                    <a:lnTo>
                      <a:pt x="213" y="593"/>
                    </a:lnTo>
                    <a:lnTo>
                      <a:pt x="213" y="591"/>
                    </a:lnTo>
                    <a:lnTo>
                      <a:pt x="213" y="589"/>
                    </a:lnTo>
                    <a:lnTo>
                      <a:pt x="213" y="587"/>
                    </a:lnTo>
                    <a:lnTo>
                      <a:pt x="211" y="586"/>
                    </a:lnTo>
                    <a:lnTo>
                      <a:pt x="210" y="586"/>
                    </a:lnTo>
                    <a:lnTo>
                      <a:pt x="208" y="584"/>
                    </a:lnTo>
                    <a:lnTo>
                      <a:pt x="206" y="584"/>
                    </a:lnTo>
                    <a:lnTo>
                      <a:pt x="204" y="584"/>
                    </a:lnTo>
                    <a:lnTo>
                      <a:pt x="202" y="584"/>
                    </a:lnTo>
                    <a:lnTo>
                      <a:pt x="202" y="582"/>
                    </a:lnTo>
                    <a:lnTo>
                      <a:pt x="202" y="580"/>
                    </a:lnTo>
                    <a:lnTo>
                      <a:pt x="200" y="580"/>
                    </a:lnTo>
                    <a:lnTo>
                      <a:pt x="200" y="578"/>
                    </a:lnTo>
                    <a:lnTo>
                      <a:pt x="200" y="576"/>
                    </a:lnTo>
                    <a:lnTo>
                      <a:pt x="202" y="576"/>
                    </a:lnTo>
                    <a:lnTo>
                      <a:pt x="200" y="574"/>
                    </a:lnTo>
                    <a:lnTo>
                      <a:pt x="200" y="572"/>
                    </a:lnTo>
                    <a:lnTo>
                      <a:pt x="200" y="570"/>
                    </a:lnTo>
                    <a:lnTo>
                      <a:pt x="198" y="570"/>
                    </a:lnTo>
                    <a:lnTo>
                      <a:pt x="198" y="568"/>
                    </a:lnTo>
                    <a:lnTo>
                      <a:pt x="196" y="566"/>
                    </a:lnTo>
                    <a:lnTo>
                      <a:pt x="194" y="564"/>
                    </a:lnTo>
                    <a:lnTo>
                      <a:pt x="192" y="562"/>
                    </a:lnTo>
                    <a:lnTo>
                      <a:pt x="190" y="562"/>
                    </a:lnTo>
                    <a:lnTo>
                      <a:pt x="190" y="561"/>
                    </a:lnTo>
                    <a:lnTo>
                      <a:pt x="188" y="561"/>
                    </a:lnTo>
                    <a:lnTo>
                      <a:pt x="187" y="561"/>
                    </a:lnTo>
                    <a:lnTo>
                      <a:pt x="187" y="559"/>
                    </a:lnTo>
                    <a:lnTo>
                      <a:pt x="185" y="561"/>
                    </a:lnTo>
                    <a:lnTo>
                      <a:pt x="185" y="559"/>
                    </a:lnTo>
                    <a:lnTo>
                      <a:pt x="185" y="557"/>
                    </a:lnTo>
                    <a:lnTo>
                      <a:pt x="185" y="555"/>
                    </a:lnTo>
                    <a:lnTo>
                      <a:pt x="185" y="553"/>
                    </a:lnTo>
                    <a:lnTo>
                      <a:pt x="185" y="551"/>
                    </a:lnTo>
                    <a:lnTo>
                      <a:pt x="185" y="549"/>
                    </a:lnTo>
                    <a:lnTo>
                      <a:pt x="183" y="547"/>
                    </a:lnTo>
                    <a:lnTo>
                      <a:pt x="183" y="545"/>
                    </a:lnTo>
                    <a:lnTo>
                      <a:pt x="181" y="543"/>
                    </a:lnTo>
                    <a:lnTo>
                      <a:pt x="179" y="541"/>
                    </a:lnTo>
                    <a:lnTo>
                      <a:pt x="179" y="539"/>
                    </a:lnTo>
                    <a:lnTo>
                      <a:pt x="179" y="538"/>
                    </a:lnTo>
                    <a:lnTo>
                      <a:pt x="179" y="536"/>
                    </a:lnTo>
                    <a:lnTo>
                      <a:pt x="179" y="534"/>
                    </a:lnTo>
                    <a:lnTo>
                      <a:pt x="179" y="532"/>
                    </a:lnTo>
                    <a:lnTo>
                      <a:pt x="181" y="532"/>
                    </a:lnTo>
                    <a:lnTo>
                      <a:pt x="183" y="532"/>
                    </a:lnTo>
                    <a:lnTo>
                      <a:pt x="185" y="530"/>
                    </a:lnTo>
                    <a:lnTo>
                      <a:pt x="187" y="530"/>
                    </a:lnTo>
                    <a:lnTo>
                      <a:pt x="188" y="530"/>
                    </a:lnTo>
                    <a:lnTo>
                      <a:pt x="198" y="530"/>
                    </a:lnTo>
                    <a:lnTo>
                      <a:pt x="200" y="530"/>
                    </a:lnTo>
                    <a:lnTo>
                      <a:pt x="200" y="526"/>
                    </a:lnTo>
                    <a:lnTo>
                      <a:pt x="206" y="526"/>
                    </a:lnTo>
                    <a:lnTo>
                      <a:pt x="208" y="524"/>
                    </a:lnTo>
                    <a:lnTo>
                      <a:pt x="211" y="524"/>
                    </a:lnTo>
                    <a:lnTo>
                      <a:pt x="215" y="524"/>
                    </a:lnTo>
                    <a:lnTo>
                      <a:pt x="215" y="528"/>
                    </a:lnTo>
                    <a:lnTo>
                      <a:pt x="219" y="528"/>
                    </a:lnTo>
                    <a:lnTo>
                      <a:pt x="231" y="528"/>
                    </a:lnTo>
                    <a:lnTo>
                      <a:pt x="233" y="528"/>
                    </a:lnTo>
                    <a:lnTo>
                      <a:pt x="236" y="528"/>
                    </a:lnTo>
                    <a:lnTo>
                      <a:pt x="240" y="526"/>
                    </a:lnTo>
                    <a:lnTo>
                      <a:pt x="244" y="526"/>
                    </a:lnTo>
                    <a:lnTo>
                      <a:pt x="246" y="526"/>
                    </a:lnTo>
                    <a:lnTo>
                      <a:pt x="244" y="524"/>
                    </a:lnTo>
                    <a:lnTo>
                      <a:pt x="244" y="522"/>
                    </a:lnTo>
                    <a:lnTo>
                      <a:pt x="244" y="520"/>
                    </a:lnTo>
                    <a:lnTo>
                      <a:pt x="244" y="514"/>
                    </a:lnTo>
                    <a:lnTo>
                      <a:pt x="242" y="514"/>
                    </a:lnTo>
                    <a:lnTo>
                      <a:pt x="242" y="513"/>
                    </a:lnTo>
                    <a:lnTo>
                      <a:pt x="244" y="513"/>
                    </a:lnTo>
                    <a:lnTo>
                      <a:pt x="254" y="513"/>
                    </a:lnTo>
                    <a:lnTo>
                      <a:pt x="254" y="514"/>
                    </a:lnTo>
                    <a:lnTo>
                      <a:pt x="256" y="514"/>
                    </a:lnTo>
                    <a:lnTo>
                      <a:pt x="258" y="514"/>
                    </a:lnTo>
                    <a:lnTo>
                      <a:pt x="261" y="514"/>
                    </a:lnTo>
                    <a:lnTo>
                      <a:pt x="261" y="511"/>
                    </a:lnTo>
                    <a:lnTo>
                      <a:pt x="263" y="511"/>
                    </a:lnTo>
                    <a:lnTo>
                      <a:pt x="263" y="509"/>
                    </a:lnTo>
                    <a:lnTo>
                      <a:pt x="263" y="505"/>
                    </a:lnTo>
                    <a:lnTo>
                      <a:pt x="265" y="505"/>
                    </a:lnTo>
                    <a:lnTo>
                      <a:pt x="265" y="503"/>
                    </a:lnTo>
                    <a:lnTo>
                      <a:pt x="265" y="501"/>
                    </a:lnTo>
                    <a:lnTo>
                      <a:pt x="265" y="499"/>
                    </a:lnTo>
                    <a:lnTo>
                      <a:pt x="265" y="497"/>
                    </a:lnTo>
                    <a:lnTo>
                      <a:pt x="265" y="495"/>
                    </a:lnTo>
                    <a:lnTo>
                      <a:pt x="265" y="493"/>
                    </a:lnTo>
                    <a:lnTo>
                      <a:pt x="263" y="491"/>
                    </a:lnTo>
                    <a:lnTo>
                      <a:pt x="263" y="490"/>
                    </a:lnTo>
                    <a:lnTo>
                      <a:pt x="267" y="490"/>
                    </a:lnTo>
                    <a:lnTo>
                      <a:pt x="265" y="488"/>
                    </a:lnTo>
                    <a:lnTo>
                      <a:pt x="265" y="486"/>
                    </a:lnTo>
                    <a:lnTo>
                      <a:pt x="263" y="486"/>
                    </a:lnTo>
                    <a:lnTo>
                      <a:pt x="263" y="484"/>
                    </a:lnTo>
                    <a:lnTo>
                      <a:pt x="263" y="482"/>
                    </a:lnTo>
                    <a:lnTo>
                      <a:pt x="263" y="476"/>
                    </a:lnTo>
                    <a:lnTo>
                      <a:pt x="263" y="474"/>
                    </a:lnTo>
                    <a:lnTo>
                      <a:pt x="261" y="466"/>
                    </a:lnTo>
                    <a:lnTo>
                      <a:pt x="261" y="457"/>
                    </a:lnTo>
                    <a:lnTo>
                      <a:pt x="261" y="455"/>
                    </a:lnTo>
                    <a:lnTo>
                      <a:pt x="261" y="451"/>
                    </a:lnTo>
                    <a:lnTo>
                      <a:pt x="258" y="451"/>
                    </a:lnTo>
                    <a:lnTo>
                      <a:pt x="256" y="451"/>
                    </a:lnTo>
                    <a:lnTo>
                      <a:pt x="254" y="447"/>
                    </a:lnTo>
                    <a:lnTo>
                      <a:pt x="246" y="449"/>
                    </a:lnTo>
                    <a:lnTo>
                      <a:pt x="240" y="449"/>
                    </a:lnTo>
                    <a:lnTo>
                      <a:pt x="240" y="455"/>
                    </a:lnTo>
                    <a:lnTo>
                      <a:pt x="240" y="457"/>
                    </a:lnTo>
                    <a:lnTo>
                      <a:pt x="238" y="457"/>
                    </a:lnTo>
                    <a:lnTo>
                      <a:pt x="236" y="455"/>
                    </a:lnTo>
                    <a:lnTo>
                      <a:pt x="233" y="455"/>
                    </a:lnTo>
                    <a:lnTo>
                      <a:pt x="231" y="455"/>
                    </a:lnTo>
                    <a:lnTo>
                      <a:pt x="229" y="455"/>
                    </a:lnTo>
                    <a:lnTo>
                      <a:pt x="225" y="455"/>
                    </a:lnTo>
                    <a:lnTo>
                      <a:pt x="219" y="455"/>
                    </a:lnTo>
                    <a:lnTo>
                      <a:pt x="219" y="453"/>
                    </a:lnTo>
                    <a:lnTo>
                      <a:pt x="215" y="453"/>
                    </a:lnTo>
                    <a:lnTo>
                      <a:pt x="213" y="455"/>
                    </a:lnTo>
                    <a:lnTo>
                      <a:pt x="213" y="453"/>
                    </a:lnTo>
                    <a:lnTo>
                      <a:pt x="213" y="449"/>
                    </a:lnTo>
                    <a:lnTo>
                      <a:pt x="217" y="449"/>
                    </a:lnTo>
                    <a:lnTo>
                      <a:pt x="215" y="445"/>
                    </a:lnTo>
                    <a:lnTo>
                      <a:pt x="215" y="440"/>
                    </a:lnTo>
                    <a:lnTo>
                      <a:pt x="219" y="440"/>
                    </a:lnTo>
                    <a:lnTo>
                      <a:pt x="219" y="445"/>
                    </a:lnTo>
                    <a:lnTo>
                      <a:pt x="223" y="445"/>
                    </a:lnTo>
                    <a:lnTo>
                      <a:pt x="229" y="443"/>
                    </a:lnTo>
                    <a:lnTo>
                      <a:pt x="229" y="442"/>
                    </a:lnTo>
                    <a:lnTo>
                      <a:pt x="229" y="438"/>
                    </a:lnTo>
                    <a:lnTo>
                      <a:pt x="227" y="432"/>
                    </a:lnTo>
                    <a:lnTo>
                      <a:pt x="227" y="428"/>
                    </a:lnTo>
                    <a:lnTo>
                      <a:pt x="235" y="428"/>
                    </a:lnTo>
                    <a:lnTo>
                      <a:pt x="236" y="428"/>
                    </a:lnTo>
                    <a:lnTo>
                      <a:pt x="236" y="426"/>
                    </a:lnTo>
                    <a:lnTo>
                      <a:pt x="236" y="420"/>
                    </a:lnTo>
                    <a:lnTo>
                      <a:pt x="236" y="418"/>
                    </a:lnTo>
                    <a:lnTo>
                      <a:pt x="236" y="417"/>
                    </a:lnTo>
                    <a:lnTo>
                      <a:pt x="235" y="413"/>
                    </a:lnTo>
                    <a:lnTo>
                      <a:pt x="238" y="413"/>
                    </a:lnTo>
                    <a:lnTo>
                      <a:pt x="236" y="409"/>
                    </a:lnTo>
                    <a:lnTo>
                      <a:pt x="233" y="409"/>
                    </a:lnTo>
                    <a:lnTo>
                      <a:pt x="229" y="409"/>
                    </a:lnTo>
                    <a:lnTo>
                      <a:pt x="221" y="411"/>
                    </a:lnTo>
                    <a:lnTo>
                      <a:pt x="219" y="411"/>
                    </a:lnTo>
                    <a:lnTo>
                      <a:pt x="215" y="411"/>
                    </a:lnTo>
                    <a:lnTo>
                      <a:pt x="211" y="411"/>
                    </a:lnTo>
                    <a:lnTo>
                      <a:pt x="210" y="413"/>
                    </a:lnTo>
                    <a:lnTo>
                      <a:pt x="210" y="415"/>
                    </a:lnTo>
                    <a:lnTo>
                      <a:pt x="206" y="415"/>
                    </a:lnTo>
                    <a:lnTo>
                      <a:pt x="204" y="415"/>
                    </a:lnTo>
                    <a:lnTo>
                      <a:pt x="200" y="415"/>
                    </a:lnTo>
                    <a:lnTo>
                      <a:pt x="192" y="417"/>
                    </a:lnTo>
                    <a:lnTo>
                      <a:pt x="192" y="415"/>
                    </a:lnTo>
                    <a:lnTo>
                      <a:pt x="190" y="411"/>
                    </a:lnTo>
                    <a:lnTo>
                      <a:pt x="190" y="405"/>
                    </a:lnTo>
                    <a:lnTo>
                      <a:pt x="190" y="403"/>
                    </a:lnTo>
                    <a:lnTo>
                      <a:pt x="188" y="403"/>
                    </a:lnTo>
                    <a:lnTo>
                      <a:pt x="187" y="403"/>
                    </a:lnTo>
                    <a:lnTo>
                      <a:pt x="185" y="403"/>
                    </a:lnTo>
                    <a:lnTo>
                      <a:pt x="187" y="397"/>
                    </a:lnTo>
                    <a:lnTo>
                      <a:pt x="188" y="394"/>
                    </a:lnTo>
                    <a:lnTo>
                      <a:pt x="187" y="394"/>
                    </a:lnTo>
                    <a:lnTo>
                      <a:pt x="181" y="395"/>
                    </a:lnTo>
                    <a:lnTo>
                      <a:pt x="175" y="395"/>
                    </a:lnTo>
                    <a:lnTo>
                      <a:pt x="169" y="395"/>
                    </a:lnTo>
                    <a:lnTo>
                      <a:pt x="165" y="395"/>
                    </a:lnTo>
                    <a:lnTo>
                      <a:pt x="163" y="397"/>
                    </a:lnTo>
                    <a:lnTo>
                      <a:pt x="162" y="397"/>
                    </a:lnTo>
                    <a:lnTo>
                      <a:pt x="162" y="395"/>
                    </a:lnTo>
                    <a:lnTo>
                      <a:pt x="162" y="394"/>
                    </a:lnTo>
                    <a:lnTo>
                      <a:pt x="162" y="392"/>
                    </a:lnTo>
                    <a:lnTo>
                      <a:pt x="162" y="390"/>
                    </a:lnTo>
                    <a:lnTo>
                      <a:pt x="160" y="386"/>
                    </a:lnTo>
                    <a:lnTo>
                      <a:pt x="160" y="378"/>
                    </a:lnTo>
                    <a:lnTo>
                      <a:pt x="156" y="378"/>
                    </a:lnTo>
                    <a:lnTo>
                      <a:pt x="154" y="378"/>
                    </a:lnTo>
                    <a:lnTo>
                      <a:pt x="154" y="376"/>
                    </a:lnTo>
                    <a:lnTo>
                      <a:pt x="152" y="374"/>
                    </a:lnTo>
                    <a:lnTo>
                      <a:pt x="152" y="372"/>
                    </a:lnTo>
                    <a:lnTo>
                      <a:pt x="154" y="370"/>
                    </a:lnTo>
                    <a:lnTo>
                      <a:pt x="160" y="370"/>
                    </a:lnTo>
                    <a:lnTo>
                      <a:pt x="160" y="369"/>
                    </a:lnTo>
                    <a:lnTo>
                      <a:pt x="163" y="369"/>
                    </a:lnTo>
                    <a:lnTo>
                      <a:pt x="165" y="369"/>
                    </a:lnTo>
                    <a:lnTo>
                      <a:pt x="163" y="363"/>
                    </a:lnTo>
                    <a:lnTo>
                      <a:pt x="163" y="361"/>
                    </a:lnTo>
                    <a:lnTo>
                      <a:pt x="160" y="361"/>
                    </a:lnTo>
                    <a:lnTo>
                      <a:pt x="160" y="359"/>
                    </a:lnTo>
                    <a:lnTo>
                      <a:pt x="158" y="359"/>
                    </a:lnTo>
                    <a:lnTo>
                      <a:pt x="158" y="357"/>
                    </a:lnTo>
                    <a:lnTo>
                      <a:pt x="158" y="355"/>
                    </a:lnTo>
                    <a:lnTo>
                      <a:pt x="158" y="353"/>
                    </a:lnTo>
                    <a:lnTo>
                      <a:pt x="158" y="351"/>
                    </a:lnTo>
                    <a:lnTo>
                      <a:pt x="158" y="349"/>
                    </a:lnTo>
                    <a:lnTo>
                      <a:pt x="158" y="346"/>
                    </a:lnTo>
                    <a:lnTo>
                      <a:pt x="158" y="344"/>
                    </a:lnTo>
                    <a:lnTo>
                      <a:pt x="163" y="344"/>
                    </a:lnTo>
                    <a:lnTo>
                      <a:pt x="163" y="342"/>
                    </a:lnTo>
                    <a:lnTo>
                      <a:pt x="163" y="338"/>
                    </a:lnTo>
                    <a:lnTo>
                      <a:pt x="163" y="336"/>
                    </a:lnTo>
                    <a:lnTo>
                      <a:pt x="162" y="334"/>
                    </a:lnTo>
                    <a:lnTo>
                      <a:pt x="160" y="334"/>
                    </a:lnTo>
                    <a:lnTo>
                      <a:pt x="158" y="334"/>
                    </a:lnTo>
                    <a:lnTo>
                      <a:pt x="152" y="334"/>
                    </a:lnTo>
                    <a:lnTo>
                      <a:pt x="152" y="332"/>
                    </a:lnTo>
                    <a:lnTo>
                      <a:pt x="152" y="328"/>
                    </a:lnTo>
                    <a:lnTo>
                      <a:pt x="152" y="326"/>
                    </a:lnTo>
                    <a:lnTo>
                      <a:pt x="152" y="324"/>
                    </a:lnTo>
                    <a:lnTo>
                      <a:pt x="154" y="324"/>
                    </a:lnTo>
                    <a:lnTo>
                      <a:pt x="156" y="324"/>
                    </a:lnTo>
                    <a:lnTo>
                      <a:pt x="158" y="324"/>
                    </a:lnTo>
                    <a:lnTo>
                      <a:pt x="156" y="321"/>
                    </a:lnTo>
                    <a:lnTo>
                      <a:pt x="156" y="309"/>
                    </a:lnTo>
                    <a:lnTo>
                      <a:pt x="158" y="309"/>
                    </a:lnTo>
                    <a:lnTo>
                      <a:pt x="156" y="305"/>
                    </a:lnTo>
                    <a:lnTo>
                      <a:pt x="156" y="303"/>
                    </a:lnTo>
                    <a:lnTo>
                      <a:pt x="156" y="299"/>
                    </a:lnTo>
                    <a:lnTo>
                      <a:pt x="162" y="299"/>
                    </a:lnTo>
                    <a:lnTo>
                      <a:pt x="165" y="299"/>
                    </a:lnTo>
                    <a:lnTo>
                      <a:pt x="165" y="298"/>
                    </a:lnTo>
                    <a:lnTo>
                      <a:pt x="163" y="294"/>
                    </a:lnTo>
                    <a:lnTo>
                      <a:pt x="163" y="288"/>
                    </a:lnTo>
                    <a:lnTo>
                      <a:pt x="165" y="288"/>
                    </a:lnTo>
                    <a:lnTo>
                      <a:pt x="165" y="284"/>
                    </a:lnTo>
                    <a:lnTo>
                      <a:pt x="163" y="284"/>
                    </a:lnTo>
                    <a:lnTo>
                      <a:pt x="158" y="284"/>
                    </a:lnTo>
                    <a:lnTo>
                      <a:pt x="156" y="284"/>
                    </a:lnTo>
                    <a:lnTo>
                      <a:pt x="154" y="286"/>
                    </a:lnTo>
                    <a:lnTo>
                      <a:pt x="152" y="286"/>
                    </a:lnTo>
                    <a:lnTo>
                      <a:pt x="152" y="284"/>
                    </a:lnTo>
                    <a:lnTo>
                      <a:pt x="152" y="280"/>
                    </a:lnTo>
                    <a:lnTo>
                      <a:pt x="150" y="280"/>
                    </a:lnTo>
                    <a:lnTo>
                      <a:pt x="148" y="280"/>
                    </a:lnTo>
                    <a:lnTo>
                      <a:pt x="146" y="280"/>
                    </a:lnTo>
                    <a:lnTo>
                      <a:pt x="144" y="280"/>
                    </a:lnTo>
                    <a:lnTo>
                      <a:pt x="144" y="276"/>
                    </a:lnTo>
                    <a:lnTo>
                      <a:pt x="142" y="278"/>
                    </a:lnTo>
                    <a:lnTo>
                      <a:pt x="140" y="278"/>
                    </a:lnTo>
                    <a:lnTo>
                      <a:pt x="139" y="278"/>
                    </a:lnTo>
                    <a:lnTo>
                      <a:pt x="139" y="280"/>
                    </a:lnTo>
                    <a:lnTo>
                      <a:pt x="135" y="280"/>
                    </a:lnTo>
                    <a:lnTo>
                      <a:pt x="135" y="278"/>
                    </a:lnTo>
                    <a:lnTo>
                      <a:pt x="135" y="276"/>
                    </a:lnTo>
                    <a:lnTo>
                      <a:pt x="133" y="276"/>
                    </a:lnTo>
                    <a:lnTo>
                      <a:pt x="133" y="275"/>
                    </a:lnTo>
                    <a:lnTo>
                      <a:pt x="131" y="275"/>
                    </a:lnTo>
                    <a:lnTo>
                      <a:pt x="131" y="273"/>
                    </a:lnTo>
                    <a:lnTo>
                      <a:pt x="129" y="273"/>
                    </a:lnTo>
                    <a:lnTo>
                      <a:pt x="129" y="269"/>
                    </a:lnTo>
                    <a:lnTo>
                      <a:pt x="129" y="267"/>
                    </a:lnTo>
                    <a:lnTo>
                      <a:pt x="129" y="265"/>
                    </a:lnTo>
                    <a:lnTo>
                      <a:pt x="131" y="265"/>
                    </a:lnTo>
                    <a:lnTo>
                      <a:pt x="133" y="265"/>
                    </a:lnTo>
                    <a:lnTo>
                      <a:pt x="135" y="265"/>
                    </a:lnTo>
                    <a:lnTo>
                      <a:pt x="137" y="265"/>
                    </a:lnTo>
                    <a:lnTo>
                      <a:pt x="139" y="263"/>
                    </a:lnTo>
                    <a:lnTo>
                      <a:pt x="139" y="261"/>
                    </a:lnTo>
                    <a:lnTo>
                      <a:pt x="139" y="257"/>
                    </a:lnTo>
                    <a:lnTo>
                      <a:pt x="139" y="255"/>
                    </a:lnTo>
                    <a:lnTo>
                      <a:pt x="139" y="251"/>
                    </a:lnTo>
                    <a:lnTo>
                      <a:pt x="139" y="250"/>
                    </a:lnTo>
                    <a:lnTo>
                      <a:pt x="139" y="248"/>
                    </a:lnTo>
                    <a:lnTo>
                      <a:pt x="140" y="248"/>
                    </a:lnTo>
                    <a:lnTo>
                      <a:pt x="140" y="244"/>
                    </a:lnTo>
                    <a:lnTo>
                      <a:pt x="142" y="244"/>
                    </a:lnTo>
                    <a:lnTo>
                      <a:pt x="142" y="242"/>
                    </a:lnTo>
                    <a:lnTo>
                      <a:pt x="144" y="242"/>
                    </a:lnTo>
                    <a:lnTo>
                      <a:pt x="144" y="240"/>
                    </a:lnTo>
                    <a:lnTo>
                      <a:pt x="144" y="238"/>
                    </a:lnTo>
                    <a:lnTo>
                      <a:pt x="144" y="236"/>
                    </a:lnTo>
                    <a:lnTo>
                      <a:pt x="142" y="236"/>
                    </a:lnTo>
                    <a:lnTo>
                      <a:pt x="140" y="238"/>
                    </a:lnTo>
                    <a:lnTo>
                      <a:pt x="137" y="238"/>
                    </a:lnTo>
                    <a:lnTo>
                      <a:pt x="135" y="238"/>
                    </a:lnTo>
                    <a:lnTo>
                      <a:pt x="131" y="238"/>
                    </a:lnTo>
                    <a:lnTo>
                      <a:pt x="127" y="238"/>
                    </a:lnTo>
                    <a:lnTo>
                      <a:pt x="123" y="238"/>
                    </a:lnTo>
                    <a:lnTo>
                      <a:pt x="121" y="238"/>
                    </a:lnTo>
                    <a:lnTo>
                      <a:pt x="121" y="240"/>
                    </a:lnTo>
                    <a:lnTo>
                      <a:pt x="121" y="244"/>
                    </a:lnTo>
                    <a:lnTo>
                      <a:pt x="123" y="248"/>
                    </a:lnTo>
                    <a:lnTo>
                      <a:pt x="123" y="251"/>
                    </a:lnTo>
                    <a:lnTo>
                      <a:pt x="121" y="251"/>
                    </a:lnTo>
                    <a:lnTo>
                      <a:pt x="121" y="253"/>
                    </a:lnTo>
                    <a:lnTo>
                      <a:pt x="119" y="253"/>
                    </a:lnTo>
                    <a:lnTo>
                      <a:pt x="117" y="253"/>
                    </a:lnTo>
                    <a:lnTo>
                      <a:pt x="115" y="253"/>
                    </a:lnTo>
                    <a:lnTo>
                      <a:pt x="108" y="253"/>
                    </a:lnTo>
                    <a:lnTo>
                      <a:pt x="106" y="253"/>
                    </a:lnTo>
                    <a:lnTo>
                      <a:pt x="106" y="251"/>
                    </a:lnTo>
                    <a:lnTo>
                      <a:pt x="106" y="248"/>
                    </a:lnTo>
                    <a:lnTo>
                      <a:pt x="106" y="246"/>
                    </a:lnTo>
                    <a:lnTo>
                      <a:pt x="108" y="246"/>
                    </a:lnTo>
                    <a:lnTo>
                      <a:pt x="108" y="244"/>
                    </a:lnTo>
                    <a:lnTo>
                      <a:pt x="108" y="242"/>
                    </a:lnTo>
                    <a:lnTo>
                      <a:pt x="108" y="240"/>
                    </a:lnTo>
                    <a:lnTo>
                      <a:pt x="104" y="240"/>
                    </a:lnTo>
                    <a:lnTo>
                      <a:pt x="100" y="240"/>
                    </a:lnTo>
                    <a:lnTo>
                      <a:pt x="98" y="242"/>
                    </a:lnTo>
                    <a:lnTo>
                      <a:pt x="94" y="242"/>
                    </a:lnTo>
                    <a:lnTo>
                      <a:pt x="94" y="240"/>
                    </a:lnTo>
                    <a:lnTo>
                      <a:pt x="94" y="238"/>
                    </a:lnTo>
                    <a:lnTo>
                      <a:pt x="89" y="238"/>
                    </a:lnTo>
                    <a:lnTo>
                      <a:pt x="87" y="238"/>
                    </a:lnTo>
                    <a:lnTo>
                      <a:pt x="83" y="240"/>
                    </a:lnTo>
                    <a:lnTo>
                      <a:pt x="81" y="240"/>
                    </a:lnTo>
                    <a:lnTo>
                      <a:pt x="79" y="240"/>
                    </a:lnTo>
                    <a:lnTo>
                      <a:pt x="79" y="238"/>
                    </a:lnTo>
                    <a:lnTo>
                      <a:pt x="77" y="238"/>
                    </a:lnTo>
                    <a:lnTo>
                      <a:pt x="69" y="238"/>
                    </a:lnTo>
                    <a:lnTo>
                      <a:pt x="62" y="240"/>
                    </a:lnTo>
                    <a:lnTo>
                      <a:pt x="52" y="240"/>
                    </a:lnTo>
                    <a:lnTo>
                      <a:pt x="52" y="236"/>
                    </a:lnTo>
                    <a:lnTo>
                      <a:pt x="52" y="232"/>
                    </a:lnTo>
                    <a:lnTo>
                      <a:pt x="52" y="230"/>
                    </a:lnTo>
                    <a:lnTo>
                      <a:pt x="46" y="230"/>
                    </a:lnTo>
                    <a:lnTo>
                      <a:pt x="44" y="230"/>
                    </a:lnTo>
                    <a:lnTo>
                      <a:pt x="41" y="232"/>
                    </a:lnTo>
                    <a:lnTo>
                      <a:pt x="39" y="232"/>
                    </a:lnTo>
                    <a:lnTo>
                      <a:pt x="39" y="228"/>
                    </a:lnTo>
                    <a:lnTo>
                      <a:pt x="39" y="225"/>
                    </a:lnTo>
                    <a:lnTo>
                      <a:pt x="39" y="223"/>
                    </a:lnTo>
                    <a:lnTo>
                      <a:pt x="39" y="219"/>
                    </a:lnTo>
                    <a:lnTo>
                      <a:pt x="39" y="217"/>
                    </a:lnTo>
                    <a:lnTo>
                      <a:pt x="39" y="215"/>
                    </a:lnTo>
                    <a:lnTo>
                      <a:pt x="39" y="211"/>
                    </a:lnTo>
                    <a:lnTo>
                      <a:pt x="39" y="207"/>
                    </a:lnTo>
                    <a:lnTo>
                      <a:pt x="37" y="202"/>
                    </a:lnTo>
                    <a:lnTo>
                      <a:pt x="37" y="200"/>
                    </a:lnTo>
                    <a:lnTo>
                      <a:pt x="37" y="198"/>
                    </a:lnTo>
                    <a:lnTo>
                      <a:pt x="37" y="194"/>
                    </a:lnTo>
                    <a:lnTo>
                      <a:pt x="37" y="192"/>
                    </a:lnTo>
                    <a:lnTo>
                      <a:pt x="37" y="190"/>
                    </a:lnTo>
                    <a:lnTo>
                      <a:pt x="37" y="188"/>
                    </a:lnTo>
                    <a:lnTo>
                      <a:pt x="37" y="184"/>
                    </a:lnTo>
                    <a:lnTo>
                      <a:pt x="35" y="182"/>
                    </a:lnTo>
                    <a:lnTo>
                      <a:pt x="35" y="180"/>
                    </a:lnTo>
                    <a:lnTo>
                      <a:pt x="37" y="180"/>
                    </a:lnTo>
                    <a:lnTo>
                      <a:pt x="39" y="180"/>
                    </a:lnTo>
                    <a:lnTo>
                      <a:pt x="39" y="179"/>
                    </a:lnTo>
                    <a:lnTo>
                      <a:pt x="41" y="179"/>
                    </a:lnTo>
                    <a:lnTo>
                      <a:pt x="42" y="179"/>
                    </a:lnTo>
                    <a:lnTo>
                      <a:pt x="44" y="179"/>
                    </a:lnTo>
                    <a:lnTo>
                      <a:pt x="46" y="179"/>
                    </a:lnTo>
                    <a:lnTo>
                      <a:pt x="46" y="177"/>
                    </a:lnTo>
                    <a:lnTo>
                      <a:pt x="46" y="173"/>
                    </a:lnTo>
                    <a:lnTo>
                      <a:pt x="44" y="169"/>
                    </a:lnTo>
                    <a:lnTo>
                      <a:pt x="44" y="167"/>
                    </a:lnTo>
                    <a:lnTo>
                      <a:pt x="46" y="167"/>
                    </a:lnTo>
                    <a:lnTo>
                      <a:pt x="48" y="167"/>
                    </a:lnTo>
                    <a:lnTo>
                      <a:pt x="50" y="167"/>
                    </a:lnTo>
                    <a:lnTo>
                      <a:pt x="52" y="167"/>
                    </a:lnTo>
                    <a:lnTo>
                      <a:pt x="52" y="163"/>
                    </a:lnTo>
                    <a:lnTo>
                      <a:pt x="48" y="163"/>
                    </a:lnTo>
                    <a:lnTo>
                      <a:pt x="48" y="161"/>
                    </a:lnTo>
                    <a:lnTo>
                      <a:pt x="48" y="159"/>
                    </a:lnTo>
                    <a:lnTo>
                      <a:pt x="48" y="154"/>
                    </a:lnTo>
                    <a:lnTo>
                      <a:pt x="46" y="154"/>
                    </a:lnTo>
                    <a:lnTo>
                      <a:pt x="44" y="154"/>
                    </a:lnTo>
                    <a:lnTo>
                      <a:pt x="39" y="154"/>
                    </a:lnTo>
                    <a:lnTo>
                      <a:pt x="37" y="154"/>
                    </a:lnTo>
                    <a:lnTo>
                      <a:pt x="35" y="154"/>
                    </a:lnTo>
                    <a:lnTo>
                      <a:pt x="31" y="155"/>
                    </a:lnTo>
                    <a:lnTo>
                      <a:pt x="27" y="155"/>
                    </a:lnTo>
                    <a:lnTo>
                      <a:pt x="25" y="155"/>
                    </a:lnTo>
                    <a:lnTo>
                      <a:pt x="23" y="155"/>
                    </a:lnTo>
                    <a:lnTo>
                      <a:pt x="21" y="155"/>
                    </a:lnTo>
                    <a:lnTo>
                      <a:pt x="21" y="152"/>
                    </a:lnTo>
                    <a:lnTo>
                      <a:pt x="21" y="150"/>
                    </a:lnTo>
                    <a:lnTo>
                      <a:pt x="21" y="148"/>
                    </a:lnTo>
                    <a:lnTo>
                      <a:pt x="21" y="146"/>
                    </a:lnTo>
                    <a:lnTo>
                      <a:pt x="21" y="144"/>
                    </a:lnTo>
                    <a:lnTo>
                      <a:pt x="21" y="142"/>
                    </a:lnTo>
                    <a:lnTo>
                      <a:pt x="19" y="142"/>
                    </a:lnTo>
                    <a:lnTo>
                      <a:pt x="19" y="140"/>
                    </a:lnTo>
                    <a:lnTo>
                      <a:pt x="19" y="136"/>
                    </a:lnTo>
                    <a:lnTo>
                      <a:pt x="19" y="134"/>
                    </a:lnTo>
                    <a:lnTo>
                      <a:pt x="19" y="132"/>
                    </a:lnTo>
                    <a:lnTo>
                      <a:pt x="19" y="131"/>
                    </a:lnTo>
                    <a:lnTo>
                      <a:pt x="19" y="129"/>
                    </a:lnTo>
                    <a:lnTo>
                      <a:pt x="19" y="127"/>
                    </a:lnTo>
                    <a:lnTo>
                      <a:pt x="19" y="125"/>
                    </a:lnTo>
                    <a:lnTo>
                      <a:pt x="19" y="123"/>
                    </a:lnTo>
                    <a:lnTo>
                      <a:pt x="19" y="121"/>
                    </a:lnTo>
                    <a:lnTo>
                      <a:pt x="19" y="119"/>
                    </a:lnTo>
                    <a:lnTo>
                      <a:pt x="19" y="111"/>
                    </a:lnTo>
                    <a:lnTo>
                      <a:pt x="18" y="111"/>
                    </a:lnTo>
                    <a:lnTo>
                      <a:pt x="18" y="109"/>
                    </a:lnTo>
                    <a:lnTo>
                      <a:pt x="18" y="107"/>
                    </a:lnTo>
                    <a:lnTo>
                      <a:pt x="18" y="106"/>
                    </a:lnTo>
                    <a:lnTo>
                      <a:pt x="19" y="106"/>
                    </a:lnTo>
                    <a:lnTo>
                      <a:pt x="19" y="104"/>
                    </a:lnTo>
                    <a:lnTo>
                      <a:pt x="21" y="104"/>
                    </a:lnTo>
                    <a:lnTo>
                      <a:pt x="19" y="104"/>
                    </a:lnTo>
                    <a:lnTo>
                      <a:pt x="19" y="102"/>
                    </a:lnTo>
                    <a:lnTo>
                      <a:pt x="18" y="98"/>
                    </a:lnTo>
                    <a:lnTo>
                      <a:pt x="16" y="94"/>
                    </a:lnTo>
                    <a:lnTo>
                      <a:pt x="14" y="94"/>
                    </a:lnTo>
                    <a:lnTo>
                      <a:pt x="12" y="92"/>
                    </a:lnTo>
                    <a:lnTo>
                      <a:pt x="8" y="88"/>
                    </a:lnTo>
                    <a:lnTo>
                      <a:pt x="6" y="86"/>
                    </a:lnTo>
                    <a:lnTo>
                      <a:pt x="6" y="84"/>
                    </a:lnTo>
                    <a:lnTo>
                      <a:pt x="6" y="83"/>
                    </a:lnTo>
                    <a:lnTo>
                      <a:pt x="6" y="81"/>
                    </a:lnTo>
                    <a:lnTo>
                      <a:pt x="8" y="81"/>
                    </a:lnTo>
                    <a:lnTo>
                      <a:pt x="6" y="79"/>
                    </a:lnTo>
                    <a:lnTo>
                      <a:pt x="6" y="77"/>
                    </a:lnTo>
                    <a:lnTo>
                      <a:pt x="4" y="73"/>
                    </a:lnTo>
                    <a:lnTo>
                      <a:pt x="2" y="69"/>
                    </a:lnTo>
                    <a:lnTo>
                      <a:pt x="2" y="67"/>
                    </a:lnTo>
                    <a:lnTo>
                      <a:pt x="6" y="65"/>
                    </a:lnTo>
                    <a:lnTo>
                      <a:pt x="8" y="65"/>
                    </a:lnTo>
                    <a:lnTo>
                      <a:pt x="10" y="65"/>
                    </a:lnTo>
                    <a:lnTo>
                      <a:pt x="12" y="63"/>
                    </a:lnTo>
                    <a:lnTo>
                      <a:pt x="12" y="61"/>
                    </a:lnTo>
                    <a:lnTo>
                      <a:pt x="10" y="59"/>
                    </a:lnTo>
                    <a:lnTo>
                      <a:pt x="10" y="54"/>
                    </a:lnTo>
                    <a:lnTo>
                      <a:pt x="8" y="52"/>
                    </a:lnTo>
                    <a:lnTo>
                      <a:pt x="6" y="46"/>
                    </a:lnTo>
                    <a:lnTo>
                      <a:pt x="6" y="48"/>
                    </a:lnTo>
                    <a:lnTo>
                      <a:pt x="4" y="48"/>
                    </a:lnTo>
                    <a:lnTo>
                      <a:pt x="2" y="46"/>
                    </a:lnTo>
                    <a:lnTo>
                      <a:pt x="0" y="42"/>
                    </a:lnTo>
                    <a:lnTo>
                      <a:pt x="2" y="42"/>
                    </a:lnTo>
                    <a:lnTo>
                      <a:pt x="4" y="42"/>
                    </a:lnTo>
                    <a:lnTo>
                      <a:pt x="6" y="42"/>
                    </a:lnTo>
                    <a:lnTo>
                      <a:pt x="8" y="42"/>
                    </a:lnTo>
                    <a:lnTo>
                      <a:pt x="8" y="40"/>
                    </a:lnTo>
                    <a:lnTo>
                      <a:pt x="8" y="42"/>
                    </a:lnTo>
                    <a:lnTo>
                      <a:pt x="10" y="40"/>
                    </a:lnTo>
                    <a:lnTo>
                      <a:pt x="10" y="38"/>
                    </a:lnTo>
                    <a:lnTo>
                      <a:pt x="12" y="36"/>
                    </a:lnTo>
                    <a:lnTo>
                      <a:pt x="12" y="35"/>
                    </a:lnTo>
                    <a:lnTo>
                      <a:pt x="16" y="36"/>
                    </a:lnTo>
                    <a:lnTo>
                      <a:pt x="18" y="36"/>
                    </a:lnTo>
                    <a:lnTo>
                      <a:pt x="19" y="36"/>
                    </a:lnTo>
                    <a:lnTo>
                      <a:pt x="21" y="38"/>
                    </a:lnTo>
                    <a:lnTo>
                      <a:pt x="21" y="36"/>
                    </a:lnTo>
                    <a:lnTo>
                      <a:pt x="21" y="35"/>
                    </a:lnTo>
                    <a:lnTo>
                      <a:pt x="23" y="35"/>
                    </a:lnTo>
                    <a:lnTo>
                      <a:pt x="23" y="33"/>
                    </a:lnTo>
                    <a:lnTo>
                      <a:pt x="25" y="33"/>
                    </a:lnTo>
                    <a:lnTo>
                      <a:pt x="27" y="35"/>
                    </a:lnTo>
                    <a:lnTo>
                      <a:pt x="29" y="35"/>
                    </a:lnTo>
                    <a:lnTo>
                      <a:pt x="31" y="35"/>
                    </a:lnTo>
                    <a:lnTo>
                      <a:pt x="33" y="35"/>
                    </a:lnTo>
                    <a:lnTo>
                      <a:pt x="35" y="35"/>
                    </a:lnTo>
                    <a:lnTo>
                      <a:pt x="33" y="35"/>
                    </a:lnTo>
                    <a:lnTo>
                      <a:pt x="33" y="33"/>
                    </a:lnTo>
                    <a:lnTo>
                      <a:pt x="31" y="33"/>
                    </a:lnTo>
                    <a:lnTo>
                      <a:pt x="31" y="31"/>
                    </a:lnTo>
                    <a:lnTo>
                      <a:pt x="33" y="31"/>
                    </a:lnTo>
                    <a:lnTo>
                      <a:pt x="35" y="33"/>
                    </a:lnTo>
                    <a:lnTo>
                      <a:pt x="35" y="35"/>
                    </a:lnTo>
                    <a:lnTo>
                      <a:pt x="42" y="35"/>
                    </a:lnTo>
                    <a:lnTo>
                      <a:pt x="42" y="33"/>
                    </a:lnTo>
                    <a:lnTo>
                      <a:pt x="44" y="29"/>
                    </a:lnTo>
                    <a:lnTo>
                      <a:pt x="37" y="27"/>
                    </a:lnTo>
                    <a:lnTo>
                      <a:pt x="33" y="25"/>
                    </a:lnTo>
                    <a:lnTo>
                      <a:pt x="33" y="21"/>
                    </a:lnTo>
                    <a:lnTo>
                      <a:pt x="31" y="19"/>
                    </a:lnTo>
                    <a:lnTo>
                      <a:pt x="31" y="17"/>
                    </a:lnTo>
                    <a:lnTo>
                      <a:pt x="31" y="15"/>
                    </a:lnTo>
                    <a:lnTo>
                      <a:pt x="33" y="15"/>
                    </a:lnTo>
                    <a:lnTo>
                      <a:pt x="35" y="15"/>
                    </a:lnTo>
                    <a:lnTo>
                      <a:pt x="37" y="15"/>
                    </a:lnTo>
                    <a:lnTo>
                      <a:pt x="37" y="13"/>
                    </a:lnTo>
                    <a:lnTo>
                      <a:pt x="37" y="11"/>
                    </a:lnTo>
                    <a:lnTo>
                      <a:pt x="37" y="10"/>
                    </a:lnTo>
                    <a:lnTo>
                      <a:pt x="37" y="8"/>
                    </a:lnTo>
                    <a:lnTo>
                      <a:pt x="39" y="8"/>
                    </a:lnTo>
                    <a:lnTo>
                      <a:pt x="41" y="8"/>
                    </a:lnTo>
                    <a:lnTo>
                      <a:pt x="42" y="8"/>
                    </a:lnTo>
                    <a:lnTo>
                      <a:pt x="42" y="6"/>
                    </a:lnTo>
                    <a:lnTo>
                      <a:pt x="44" y="6"/>
                    </a:lnTo>
                    <a:lnTo>
                      <a:pt x="46" y="6"/>
                    </a:lnTo>
                    <a:lnTo>
                      <a:pt x="48" y="6"/>
                    </a:lnTo>
                    <a:lnTo>
                      <a:pt x="48" y="4"/>
                    </a:lnTo>
                    <a:lnTo>
                      <a:pt x="50" y="4"/>
                    </a:lnTo>
                    <a:lnTo>
                      <a:pt x="52" y="4"/>
                    </a:lnTo>
                    <a:lnTo>
                      <a:pt x="54" y="4"/>
                    </a:lnTo>
                    <a:lnTo>
                      <a:pt x="56" y="4"/>
                    </a:lnTo>
                    <a:lnTo>
                      <a:pt x="56" y="6"/>
                    </a:lnTo>
                    <a:lnTo>
                      <a:pt x="56" y="8"/>
                    </a:lnTo>
                    <a:lnTo>
                      <a:pt x="58" y="8"/>
                    </a:lnTo>
                    <a:lnTo>
                      <a:pt x="60" y="10"/>
                    </a:lnTo>
                    <a:lnTo>
                      <a:pt x="62" y="10"/>
                    </a:lnTo>
                    <a:lnTo>
                      <a:pt x="64" y="10"/>
                    </a:lnTo>
                    <a:lnTo>
                      <a:pt x="66" y="10"/>
                    </a:lnTo>
                    <a:lnTo>
                      <a:pt x="67" y="10"/>
                    </a:lnTo>
                    <a:lnTo>
                      <a:pt x="67" y="8"/>
                    </a:lnTo>
                    <a:lnTo>
                      <a:pt x="67" y="6"/>
                    </a:lnTo>
                    <a:lnTo>
                      <a:pt x="69" y="6"/>
                    </a:lnTo>
                    <a:lnTo>
                      <a:pt x="69" y="8"/>
                    </a:lnTo>
                    <a:lnTo>
                      <a:pt x="71" y="8"/>
                    </a:lnTo>
                    <a:lnTo>
                      <a:pt x="73" y="8"/>
                    </a:lnTo>
                    <a:lnTo>
                      <a:pt x="73" y="10"/>
                    </a:lnTo>
                    <a:lnTo>
                      <a:pt x="75" y="10"/>
                    </a:lnTo>
                    <a:lnTo>
                      <a:pt x="77" y="10"/>
                    </a:lnTo>
                    <a:lnTo>
                      <a:pt x="77" y="11"/>
                    </a:lnTo>
                    <a:lnTo>
                      <a:pt x="79" y="11"/>
                    </a:lnTo>
                    <a:lnTo>
                      <a:pt x="79" y="10"/>
                    </a:lnTo>
                    <a:lnTo>
                      <a:pt x="81" y="10"/>
                    </a:lnTo>
                    <a:lnTo>
                      <a:pt x="83" y="10"/>
                    </a:lnTo>
                    <a:lnTo>
                      <a:pt x="85" y="10"/>
                    </a:lnTo>
                    <a:lnTo>
                      <a:pt x="87" y="10"/>
                    </a:lnTo>
                    <a:lnTo>
                      <a:pt x="87" y="11"/>
                    </a:lnTo>
                    <a:lnTo>
                      <a:pt x="87" y="13"/>
                    </a:lnTo>
                    <a:lnTo>
                      <a:pt x="87" y="15"/>
                    </a:lnTo>
                    <a:lnTo>
                      <a:pt x="89" y="13"/>
                    </a:lnTo>
                    <a:lnTo>
                      <a:pt x="91" y="11"/>
                    </a:lnTo>
                    <a:lnTo>
                      <a:pt x="92" y="8"/>
                    </a:lnTo>
                    <a:lnTo>
                      <a:pt x="94" y="6"/>
                    </a:lnTo>
                    <a:lnTo>
                      <a:pt x="96" y="8"/>
                    </a:lnTo>
                    <a:lnTo>
                      <a:pt x="98" y="10"/>
                    </a:lnTo>
                    <a:lnTo>
                      <a:pt x="100" y="13"/>
                    </a:lnTo>
                    <a:lnTo>
                      <a:pt x="102" y="13"/>
                    </a:lnTo>
                    <a:lnTo>
                      <a:pt x="102" y="15"/>
                    </a:lnTo>
                    <a:lnTo>
                      <a:pt x="102" y="17"/>
                    </a:lnTo>
                    <a:lnTo>
                      <a:pt x="104" y="17"/>
                    </a:lnTo>
                    <a:lnTo>
                      <a:pt x="110" y="17"/>
                    </a:lnTo>
                    <a:lnTo>
                      <a:pt x="112" y="17"/>
                    </a:lnTo>
                    <a:lnTo>
                      <a:pt x="114" y="17"/>
                    </a:lnTo>
                    <a:lnTo>
                      <a:pt x="115" y="17"/>
                    </a:lnTo>
                    <a:lnTo>
                      <a:pt x="117" y="17"/>
                    </a:lnTo>
                    <a:lnTo>
                      <a:pt x="117" y="19"/>
                    </a:lnTo>
                    <a:lnTo>
                      <a:pt x="119" y="19"/>
                    </a:lnTo>
                    <a:lnTo>
                      <a:pt x="119" y="17"/>
                    </a:lnTo>
                    <a:lnTo>
                      <a:pt x="119" y="15"/>
                    </a:lnTo>
                    <a:lnTo>
                      <a:pt x="121" y="15"/>
                    </a:lnTo>
                    <a:lnTo>
                      <a:pt x="123" y="15"/>
                    </a:lnTo>
                    <a:lnTo>
                      <a:pt x="125" y="15"/>
                    </a:lnTo>
                    <a:lnTo>
                      <a:pt x="127" y="15"/>
                    </a:lnTo>
                    <a:lnTo>
                      <a:pt x="127" y="13"/>
                    </a:lnTo>
                    <a:lnTo>
                      <a:pt x="129" y="13"/>
                    </a:lnTo>
                    <a:lnTo>
                      <a:pt x="131" y="13"/>
                    </a:lnTo>
                    <a:lnTo>
                      <a:pt x="131" y="11"/>
                    </a:lnTo>
                    <a:lnTo>
                      <a:pt x="129" y="11"/>
                    </a:lnTo>
                    <a:lnTo>
                      <a:pt x="129" y="10"/>
                    </a:lnTo>
                    <a:lnTo>
                      <a:pt x="129" y="8"/>
                    </a:lnTo>
                    <a:lnTo>
                      <a:pt x="131" y="8"/>
                    </a:lnTo>
                    <a:lnTo>
                      <a:pt x="133" y="8"/>
                    </a:lnTo>
                    <a:lnTo>
                      <a:pt x="135" y="8"/>
                    </a:lnTo>
                    <a:lnTo>
                      <a:pt x="137" y="8"/>
                    </a:lnTo>
                    <a:lnTo>
                      <a:pt x="139" y="8"/>
                    </a:lnTo>
                    <a:lnTo>
                      <a:pt x="140" y="8"/>
                    </a:lnTo>
                    <a:lnTo>
                      <a:pt x="144" y="6"/>
                    </a:lnTo>
                    <a:lnTo>
                      <a:pt x="148" y="6"/>
                    </a:lnTo>
                    <a:lnTo>
                      <a:pt x="148" y="8"/>
                    </a:lnTo>
                    <a:lnTo>
                      <a:pt x="148" y="10"/>
                    </a:lnTo>
                    <a:lnTo>
                      <a:pt x="152" y="10"/>
                    </a:lnTo>
                    <a:lnTo>
                      <a:pt x="154" y="10"/>
                    </a:lnTo>
                    <a:lnTo>
                      <a:pt x="158" y="10"/>
                    </a:lnTo>
                    <a:lnTo>
                      <a:pt x="160" y="10"/>
                    </a:lnTo>
                    <a:lnTo>
                      <a:pt x="162" y="10"/>
                    </a:lnTo>
                    <a:lnTo>
                      <a:pt x="163" y="10"/>
                    </a:lnTo>
                    <a:lnTo>
                      <a:pt x="167" y="10"/>
                    </a:lnTo>
                    <a:lnTo>
                      <a:pt x="169" y="13"/>
                    </a:lnTo>
                    <a:lnTo>
                      <a:pt x="169" y="15"/>
                    </a:lnTo>
                    <a:lnTo>
                      <a:pt x="169" y="17"/>
                    </a:lnTo>
                    <a:lnTo>
                      <a:pt x="169" y="19"/>
                    </a:lnTo>
                    <a:lnTo>
                      <a:pt x="171" y="19"/>
                    </a:lnTo>
                    <a:lnTo>
                      <a:pt x="173" y="19"/>
                    </a:lnTo>
                    <a:lnTo>
                      <a:pt x="175" y="19"/>
                    </a:lnTo>
                    <a:lnTo>
                      <a:pt x="175" y="17"/>
                    </a:lnTo>
                    <a:lnTo>
                      <a:pt x="175" y="15"/>
                    </a:lnTo>
                    <a:lnTo>
                      <a:pt x="177" y="15"/>
                    </a:lnTo>
                    <a:lnTo>
                      <a:pt x="177" y="13"/>
                    </a:lnTo>
                    <a:lnTo>
                      <a:pt x="177" y="11"/>
                    </a:lnTo>
                    <a:lnTo>
                      <a:pt x="179" y="10"/>
                    </a:lnTo>
                    <a:lnTo>
                      <a:pt x="179" y="11"/>
                    </a:lnTo>
                    <a:lnTo>
                      <a:pt x="179" y="13"/>
                    </a:lnTo>
                    <a:lnTo>
                      <a:pt x="179" y="15"/>
                    </a:lnTo>
                    <a:lnTo>
                      <a:pt x="181" y="13"/>
                    </a:lnTo>
                    <a:lnTo>
                      <a:pt x="183" y="13"/>
                    </a:lnTo>
                    <a:lnTo>
                      <a:pt x="185" y="13"/>
                    </a:lnTo>
                    <a:lnTo>
                      <a:pt x="185" y="15"/>
                    </a:lnTo>
                    <a:lnTo>
                      <a:pt x="187" y="17"/>
                    </a:lnTo>
                    <a:lnTo>
                      <a:pt x="187" y="21"/>
                    </a:lnTo>
                    <a:lnTo>
                      <a:pt x="187" y="23"/>
                    </a:lnTo>
                    <a:lnTo>
                      <a:pt x="188" y="23"/>
                    </a:lnTo>
                    <a:lnTo>
                      <a:pt x="190" y="23"/>
                    </a:lnTo>
                    <a:lnTo>
                      <a:pt x="190" y="25"/>
                    </a:lnTo>
                    <a:lnTo>
                      <a:pt x="192" y="25"/>
                    </a:lnTo>
                    <a:lnTo>
                      <a:pt x="192" y="23"/>
                    </a:lnTo>
                    <a:lnTo>
                      <a:pt x="194" y="23"/>
                    </a:lnTo>
                    <a:lnTo>
                      <a:pt x="196" y="23"/>
                    </a:lnTo>
                    <a:lnTo>
                      <a:pt x="198" y="23"/>
                    </a:lnTo>
                    <a:lnTo>
                      <a:pt x="198" y="25"/>
                    </a:lnTo>
                    <a:lnTo>
                      <a:pt x="198" y="27"/>
                    </a:lnTo>
                    <a:lnTo>
                      <a:pt x="198" y="25"/>
                    </a:lnTo>
                    <a:lnTo>
                      <a:pt x="200" y="25"/>
                    </a:lnTo>
                    <a:lnTo>
                      <a:pt x="200" y="23"/>
                    </a:lnTo>
                    <a:lnTo>
                      <a:pt x="200" y="25"/>
                    </a:lnTo>
                    <a:lnTo>
                      <a:pt x="202" y="25"/>
                    </a:lnTo>
                    <a:lnTo>
                      <a:pt x="204" y="25"/>
                    </a:lnTo>
                    <a:lnTo>
                      <a:pt x="204" y="23"/>
                    </a:lnTo>
                    <a:lnTo>
                      <a:pt x="206" y="23"/>
                    </a:lnTo>
                    <a:lnTo>
                      <a:pt x="208" y="23"/>
                    </a:lnTo>
                    <a:lnTo>
                      <a:pt x="208" y="21"/>
                    </a:lnTo>
                    <a:lnTo>
                      <a:pt x="208" y="19"/>
                    </a:lnTo>
                    <a:lnTo>
                      <a:pt x="208" y="17"/>
                    </a:lnTo>
                    <a:lnTo>
                      <a:pt x="210" y="17"/>
                    </a:lnTo>
                    <a:lnTo>
                      <a:pt x="211" y="17"/>
                    </a:lnTo>
                    <a:lnTo>
                      <a:pt x="213" y="17"/>
                    </a:lnTo>
                    <a:lnTo>
                      <a:pt x="215" y="17"/>
                    </a:lnTo>
                    <a:lnTo>
                      <a:pt x="215" y="19"/>
                    </a:lnTo>
                    <a:lnTo>
                      <a:pt x="217" y="17"/>
                    </a:lnTo>
                    <a:lnTo>
                      <a:pt x="219" y="17"/>
                    </a:lnTo>
                    <a:lnTo>
                      <a:pt x="221" y="17"/>
                    </a:lnTo>
                    <a:lnTo>
                      <a:pt x="223" y="17"/>
                    </a:lnTo>
                    <a:lnTo>
                      <a:pt x="225" y="17"/>
                    </a:lnTo>
                    <a:lnTo>
                      <a:pt x="225" y="15"/>
                    </a:lnTo>
                    <a:lnTo>
                      <a:pt x="225" y="13"/>
                    </a:lnTo>
                    <a:lnTo>
                      <a:pt x="225" y="11"/>
                    </a:lnTo>
                    <a:lnTo>
                      <a:pt x="225" y="10"/>
                    </a:lnTo>
                    <a:lnTo>
                      <a:pt x="225" y="6"/>
                    </a:lnTo>
                    <a:lnTo>
                      <a:pt x="225" y="4"/>
                    </a:lnTo>
                    <a:lnTo>
                      <a:pt x="225" y="2"/>
                    </a:lnTo>
                    <a:lnTo>
                      <a:pt x="227" y="2"/>
                    </a:lnTo>
                    <a:lnTo>
                      <a:pt x="229" y="2"/>
                    </a:lnTo>
                    <a:lnTo>
                      <a:pt x="231" y="2"/>
                    </a:lnTo>
                    <a:lnTo>
                      <a:pt x="233" y="2"/>
                    </a:lnTo>
                    <a:lnTo>
                      <a:pt x="233" y="0"/>
                    </a:lnTo>
                    <a:lnTo>
                      <a:pt x="235" y="0"/>
                    </a:lnTo>
                    <a:lnTo>
                      <a:pt x="236" y="0"/>
                    </a:lnTo>
                    <a:lnTo>
                      <a:pt x="238" y="0"/>
                    </a:lnTo>
                    <a:lnTo>
                      <a:pt x="240" y="0"/>
                    </a:lnTo>
                    <a:lnTo>
                      <a:pt x="242" y="0"/>
                    </a:lnTo>
                    <a:lnTo>
                      <a:pt x="244" y="0"/>
                    </a:lnTo>
                    <a:lnTo>
                      <a:pt x="244"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80" name="Freeform 194">
                <a:extLst>
                  <a:ext uri="{FF2B5EF4-FFF2-40B4-BE49-F238E27FC236}">
                    <a16:creationId xmlns:a16="http://schemas.microsoft.com/office/drawing/2014/main" id="{F3816797-0F46-4737-802D-A0F76D419B9D}"/>
                  </a:ext>
                </a:extLst>
              </p:cNvPr>
              <p:cNvSpPr>
                <a:spLocks/>
              </p:cNvSpPr>
              <p:nvPr/>
            </p:nvSpPr>
            <p:spPr bwMode="auto">
              <a:xfrm>
                <a:off x="7822464" y="2763185"/>
                <a:ext cx="1302965" cy="1202053"/>
              </a:xfrm>
              <a:custGeom>
                <a:avLst/>
                <a:gdLst>
                  <a:gd name="T0" fmla="*/ 728 w 878"/>
                  <a:gd name="T1" fmla="*/ 61 h 810"/>
                  <a:gd name="T2" fmla="*/ 753 w 878"/>
                  <a:gd name="T3" fmla="*/ 96 h 810"/>
                  <a:gd name="T4" fmla="*/ 772 w 878"/>
                  <a:gd name="T5" fmla="*/ 144 h 810"/>
                  <a:gd name="T6" fmla="*/ 811 w 878"/>
                  <a:gd name="T7" fmla="*/ 176 h 810"/>
                  <a:gd name="T8" fmla="*/ 849 w 878"/>
                  <a:gd name="T9" fmla="*/ 215 h 810"/>
                  <a:gd name="T10" fmla="*/ 876 w 878"/>
                  <a:gd name="T11" fmla="*/ 267 h 810"/>
                  <a:gd name="T12" fmla="*/ 847 w 878"/>
                  <a:gd name="T13" fmla="*/ 303 h 810"/>
                  <a:gd name="T14" fmla="*/ 860 w 878"/>
                  <a:gd name="T15" fmla="*/ 347 h 810"/>
                  <a:gd name="T16" fmla="*/ 830 w 878"/>
                  <a:gd name="T17" fmla="*/ 386 h 810"/>
                  <a:gd name="T18" fmla="*/ 809 w 878"/>
                  <a:gd name="T19" fmla="*/ 420 h 810"/>
                  <a:gd name="T20" fmla="*/ 822 w 878"/>
                  <a:gd name="T21" fmla="*/ 493 h 810"/>
                  <a:gd name="T22" fmla="*/ 807 w 878"/>
                  <a:gd name="T23" fmla="*/ 532 h 810"/>
                  <a:gd name="T24" fmla="*/ 722 w 878"/>
                  <a:gd name="T25" fmla="*/ 533 h 810"/>
                  <a:gd name="T26" fmla="*/ 722 w 878"/>
                  <a:gd name="T27" fmla="*/ 576 h 810"/>
                  <a:gd name="T28" fmla="*/ 690 w 878"/>
                  <a:gd name="T29" fmla="*/ 597 h 810"/>
                  <a:gd name="T30" fmla="*/ 659 w 878"/>
                  <a:gd name="T31" fmla="*/ 628 h 810"/>
                  <a:gd name="T32" fmla="*/ 661 w 878"/>
                  <a:gd name="T33" fmla="*/ 651 h 810"/>
                  <a:gd name="T34" fmla="*/ 618 w 878"/>
                  <a:gd name="T35" fmla="*/ 697 h 810"/>
                  <a:gd name="T36" fmla="*/ 574 w 878"/>
                  <a:gd name="T37" fmla="*/ 716 h 810"/>
                  <a:gd name="T38" fmla="*/ 526 w 878"/>
                  <a:gd name="T39" fmla="*/ 704 h 810"/>
                  <a:gd name="T40" fmla="*/ 482 w 878"/>
                  <a:gd name="T41" fmla="*/ 714 h 810"/>
                  <a:gd name="T42" fmla="*/ 492 w 878"/>
                  <a:gd name="T43" fmla="*/ 762 h 810"/>
                  <a:gd name="T44" fmla="*/ 426 w 878"/>
                  <a:gd name="T45" fmla="*/ 760 h 810"/>
                  <a:gd name="T46" fmla="*/ 390 w 878"/>
                  <a:gd name="T47" fmla="*/ 804 h 810"/>
                  <a:gd name="T48" fmla="*/ 363 w 878"/>
                  <a:gd name="T49" fmla="*/ 762 h 810"/>
                  <a:gd name="T50" fmla="*/ 321 w 878"/>
                  <a:gd name="T51" fmla="*/ 693 h 810"/>
                  <a:gd name="T52" fmla="*/ 298 w 878"/>
                  <a:gd name="T53" fmla="*/ 652 h 810"/>
                  <a:gd name="T54" fmla="*/ 259 w 878"/>
                  <a:gd name="T55" fmla="*/ 624 h 810"/>
                  <a:gd name="T56" fmla="*/ 233 w 878"/>
                  <a:gd name="T57" fmla="*/ 628 h 810"/>
                  <a:gd name="T58" fmla="*/ 208 w 878"/>
                  <a:gd name="T59" fmla="*/ 624 h 810"/>
                  <a:gd name="T60" fmla="*/ 175 w 878"/>
                  <a:gd name="T61" fmla="*/ 614 h 810"/>
                  <a:gd name="T62" fmla="*/ 140 w 878"/>
                  <a:gd name="T63" fmla="*/ 603 h 810"/>
                  <a:gd name="T64" fmla="*/ 113 w 878"/>
                  <a:gd name="T65" fmla="*/ 581 h 810"/>
                  <a:gd name="T66" fmla="*/ 98 w 878"/>
                  <a:gd name="T67" fmla="*/ 560 h 810"/>
                  <a:gd name="T68" fmla="*/ 77 w 878"/>
                  <a:gd name="T69" fmla="*/ 549 h 810"/>
                  <a:gd name="T70" fmla="*/ 56 w 878"/>
                  <a:gd name="T71" fmla="*/ 532 h 810"/>
                  <a:gd name="T72" fmla="*/ 27 w 878"/>
                  <a:gd name="T73" fmla="*/ 533 h 810"/>
                  <a:gd name="T74" fmla="*/ 39 w 878"/>
                  <a:gd name="T75" fmla="*/ 461 h 810"/>
                  <a:gd name="T76" fmla="*/ 102 w 878"/>
                  <a:gd name="T77" fmla="*/ 480 h 810"/>
                  <a:gd name="T78" fmla="*/ 117 w 878"/>
                  <a:gd name="T79" fmla="*/ 395 h 810"/>
                  <a:gd name="T80" fmla="*/ 142 w 878"/>
                  <a:gd name="T81" fmla="*/ 370 h 810"/>
                  <a:gd name="T82" fmla="*/ 148 w 878"/>
                  <a:gd name="T83" fmla="*/ 328 h 810"/>
                  <a:gd name="T84" fmla="*/ 104 w 878"/>
                  <a:gd name="T85" fmla="*/ 301 h 810"/>
                  <a:gd name="T86" fmla="*/ 94 w 878"/>
                  <a:gd name="T87" fmla="*/ 257 h 810"/>
                  <a:gd name="T88" fmla="*/ 44 w 878"/>
                  <a:gd name="T89" fmla="*/ 224 h 810"/>
                  <a:gd name="T90" fmla="*/ 2 w 878"/>
                  <a:gd name="T91" fmla="*/ 188 h 810"/>
                  <a:gd name="T92" fmla="*/ 35 w 878"/>
                  <a:gd name="T93" fmla="*/ 109 h 810"/>
                  <a:gd name="T94" fmla="*/ 79 w 878"/>
                  <a:gd name="T95" fmla="*/ 82 h 810"/>
                  <a:gd name="T96" fmla="*/ 133 w 878"/>
                  <a:gd name="T97" fmla="*/ 50 h 810"/>
                  <a:gd name="T98" fmla="*/ 190 w 878"/>
                  <a:gd name="T99" fmla="*/ 59 h 810"/>
                  <a:gd name="T100" fmla="*/ 233 w 878"/>
                  <a:gd name="T101" fmla="*/ 40 h 810"/>
                  <a:gd name="T102" fmla="*/ 263 w 878"/>
                  <a:gd name="T103" fmla="*/ 15 h 810"/>
                  <a:gd name="T104" fmla="*/ 311 w 878"/>
                  <a:gd name="T105" fmla="*/ 4 h 810"/>
                  <a:gd name="T106" fmla="*/ 363 w 878"/>
                  <a:gd name="T107" fmla="*/ 17 h 810"/>
                  <a:gd name="T108" fmla="*/ 392 w 878"/>
                  <a:gd name="T109" fmla="*/ 59 h 810"/>
                  <a:gd name="T110" fmla="*/ 428 w 878"/>
                  <a:gd name="T111" fmla="*/ 59 h 810"/>
                  <a:gd name="T112" fmla="*/ 474 w 878"/>
                  <a:gd name="T113" fmla="*/ 77 h 810"/>
                  <a:gd name="T114" fmla="*/ 496 w 878"/>
                  <a:gd name="T115" fmla="*/ 100 h 810"/>
                  <a:gd name="T116" fmla="*/ 530 w 878"/>
                  <a:gd name="T117" fmla="*/ 69 h 810"/>
                  <a:gd name="T118" fmla="*/ 586 w 878"/>
                  <a:gd name="T119" fmla="*/ 52 h 810"/>
                  <a:gd name="T120" fmla="*/ 642 w 878"/>
                  <a:gd name="T121" fmla="*/ 44 h 810"/>
                  <a:gd name="T122" fmla="*/ 690 w 878"/>
                  <a:gd name="T123" fmla="*/ 19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8" h="810">
                    <a:moveTo>
                      <a:pt x="716" y="19"/>
                    </a:moveTo>
                    <a:lnTo>
                      <a:pt x="716" y="21"/>
                    </a:lnTo>
                    <a:lnTo>
                      <a:pt x="715" y="19"/>
                    </a:lnTo>
                    <a:lnTo>
                      <a:pt x="715" y="21"/>
                    </a:lnTo>
                    <a:lnTo>
                      <a:pt x="713" y="21"/>
                    </a:lnTo>
                    <a:lnTo>
                      <a:pt x="711" y="21"/>
                    </a:lnTo>
                    <a:lnTo>
                      <a:pt x="711" y="23"/>
                    </a:lnTo>
                    <a:lnTo>
                      <a:pt x="711" y="25"/>
                    </a:lnTo>
                    <a:lnTo>
                      <a:pt x="713" y="25"/>
                    </a:lnTo>
                    <a:lnTo>
                      <a:pt x="713" y="27"/>
                    </a:lnTo>
                    <a:lnTo>
                      <a:pt x="711" y="27"/>
                    </a:lnTo>
                    <a:lnTo>
                      <a:pt x="711" y="29"/>
                    </a:lnTo>
                    <a:lnTo>
                      <a:pt x="713" y="29"/>
                    </a:lnTo>
                    <a:lnTo>
                      <a:pt x="713" y="30"/>
                    </a:lnTo>
                    <a:lnTo>
                      <a:pt x="713" y="32"/>
                    </a:lnTo>
                    <a:lnTo>
                      <a:pt x="713" y="34"/>
                    </a:lnTo>
                    <a:lnTo>
                      <a:pt x="711" y="34"/>
                    </a:lnTo>
                    <a:lnTo>
                      <a:pt x="711" y="36"/>
                    </a:lnTo>
                    <a:lnTo>
                      <a:pt x="711" y="38"/>
                    </a:lnTo>
                    <a:lnTo>
                      <a:pt x="711" y="40"/>
                    </a:lnTo>
                    <a:lnTo>
                      <a:pt x="711" y="42"/>
                    </a:lnTo>
                    <a:lnTo>
                      <a:pt x="713" y="42"/>
                    </a:lnTo>
                    <a:lnTo>
                      <a:pt x="713" y="44"/>
                    </a:lnTo>
                    <a:lnTo>
                      <a:pt x="713" y="46"/>
                    </a:lnTo>
                    <a:lnTo>
                      <a:pt x="713" y="48"/>
                    </a:lnTo>
                    <a:lnTo>
                      <a:pt x="715" y="48"/>
                    </a:lnTo>
                    <a:lnTo>
                      <a:pt x="715" y="50"/>
                    </a:lnTo>
                    <a:lnTo>
                      <a:pt x="716" y="52"/>
                    </a:lnTo>
                    <a:lnTo>
                      <a:pt x="718" y="52"/>
                    </a:lnTo>
                    <a:lnTo>
                      <a:pt x="720" y="54"/>
                    </a:lnTo>
                    <a:lnTo>
                      <a:pt x="722" y="54"/>
                    </a:lnTo>
                    <a:lnTo>
                      <a:pt x="722" y="55"/>
                    </a:lnTo>
                    <a:lnTo>
                      <a:pt x="724" y="55"/>
                    </a:lnTo>
                    <a:lnTo>
                      <a:pt x="724" y="57"/>
                    </a:lnTo>
                    <a:lnTo>
                      <a:pt x="726" y="59"/>
                    </a:lnTo>
                    <a:lnTo>
                      <a:pt x="726" y="61"/>
                    </a:lnTo>
                    <a:lnTo>
                      <a:pt x="728" y="61"/>
                    </a:lnTo>
                    <a:lnTo>
                      <a:pt x="730" y="61"/>
                    </a:lnTo>
                    <a:lnTo>
                      <a:pt x="732" y="61"/>
                    </a:lnTo>
                    <a:lnTo>
                      <a:pt x="732" y="63"/>
                    </a:lnTo>
                    <a:lnTo>
                      <a:pt x="734" y="63"/>
                    </a:lnTo>
                    <a:lnTo>
                      <a:pt x="736" y="63"/>
                    </a:lnTo>
                    <a:lnTo>
                      <a:pt x="736" y="65"/>
                    </a:lnTo>
                    <a:lnTo>
                      <a:pt x="738" y="67"/>
                    </a:lnTo>
                    <a:lnTo>
                      <a:pt x="738" y="69"/>
                    </a:lnTo>
                    <a:lnTo>
                      <a:pt x="739" y="69"/>
                    </a:lnTo>
                    <a:lnTo>
                      <a:pt x="739" y="71"/>
                    </a:lnTo>
                    <a:lnTo>
                      <a:pt x="741" y="73"/>
                    </a:lnTo>
                    <a:lnTo>
                      <a:pt x="741" y="71"/>
                    </a:lnTo>
                    <a:lnTo>
                      <a:pt x="743" y="71"/>
                    </a:lnTo>
                    <a:lnTo>
                      <a:pt x="743" y="69"/>
                    </a:lnTo>
                    <a:lnTo>
                      <a:pt x="745" y="69"/>
                    </a:lnTo>
                    <a:lnTo>
                      <a:pt x="747" y="69"/>
                    </a:lnTo>
                    <a:lnTo>
                      <a:pt x="749" y="69"/>
                    </a:lnTo>
                    <a:lnTo>
                      <a:pt x="751" y="69"/>
                    </a:lnTo>
                    <a:lnTo>
                      <a:pt x="753" y="69"/>
                    </a:lnTo>
                    <a:lnTo>
                      <a:pt x="753" y="71"/>
                    </a:lnTo>
                    <a:lnTo>
                      <a:pt x="755" y="71"/>
                    </a:lnTo>
                    <a:lnTo>
                      <a:pt x="757" y="71"/>
                    </a:lnTo>
                    <a:lnTo>
                      <a:pt x="757" y="73"/>
                    </a:lnTo>
                    <a:lnTo>
                      <a:pt x="757" y="75"/>
                    </a:lnTo>
                    <a:lnTo>
                      <a:pt x="757" y="77"/>
                    </a:lnTo>
                    <a:lnTo>
                      <a:pt x="755" y="77"/>
                    </a:lnTo>
                    <a:lnTo>
                      <a:pt x="755" y="78"/>
                    </a:lnTo>
                    <a:lnTo>
                      <a:pt x="753" y="80"/>
                    </a:lnTo>
                    <a:lnTo>
                      <a:pt x="753" y="84"/>
                    </a:lnTo>
                    <a:lnTo>
                      <a:pt x="755" y="84"/>
                    </a:lnTo>
                    <a:lnTo>
                      <a:pt x="755" y="86"/>
                    </a:lnTo>
                    <a:lnTo>
                      <a:pt x="755" y="88"/>
                    </a:lnTo>
                    <a:lnTo>
                      <a:pt x="755" y="90"/>
                    </a:lnTo>
                    <a:lnTo>
                      <a:pt x="753" y="90"/>
                    </a:lnTo>
                    <a:lnTo>
                      <a:pt x="755" y="92"/>
                    </a:lnTo>
                    <a:lnTo>
                      <a:pt x="753" y="94"/>
                    </a:lnTo>
                    <a:lnTo>
                      <a:pt x="753" y="96"/>
                    </a:lnTo>
                    <a:lnTo>
                      <a:pt x="753" y="98"/>
                    </a:lnTo>
                    <a:lnTo>
                      <a:pt x="753" y="100"/>
                    </a:lnTo>
                    <a:lnTo>
                      <a:pt x="753" y="101"/>
                    </a:lnTo>
                    <a:lnTo>
                      <a:pt x="753" y="103"/>
                    </a:lnTo>
                    <a:lnTo>
                      <a:pt x="753" y="105"/>
                    </a:lnTo>
                    <a:lnTo>
                      <a:pt x="751" y="105"/>
                    </a:lnTo>
                    <a:lnTo>
                      <a:pt x="751" y="107"/>
                    </a:lnTo>
                    <a:lnTo>
                      <a:pt x="751" y="109"/>
                    </a:lnTo>
                    <a:lnTo>
                      <a:pt x="751" y="111"/>
                    </a:lnTo>
                    <a:lnTo>
                      <a:pt x="751" y="113"/>
                    </a:lnTo>
                    <a:lnTo>
                      <a:pt x="753" y="113"/>
                    </a:lnTo>
                    <a:lnTo>
                      <a:pt x="753" y="115"/>
                    </a:lnTo>
                    <a:lnTo>
                      <a:pt x="753" y="117"/>
                    </a:lnTo>
                    <a:lnTo>
                      <a:pt x="755" y="117"/>
                    </a:lnTo>
                    <a:lnTo>
                      <a:pt x="755" y="119"/>
                    </a:lnTo>
                    <a:lnTo>
                      <a:pt x="757" y="119"/>
                    </a:lnTo>
                    <a:lnTo>
                      <a:pt x="757" y="121"/>
                    </a:lnTo>
                    <a:lnTo>
                      <a:pt x="757" y="123"/>
                    </a:lnTo>
                    <a:lnTo>
                      <a:pt x="757" y="125"/>
                    </a:lnTo>
                    <a:lnTo>
                      <a:pt x="757" y="126"/>
                    </a:lnTo>
                    <a:lnTo>
                      <a:pt x="757" y="128"/>
                    </a:lnTo>
                    <a:lnTo>
                      <a:pt x="759" y="128"/>
                    </a:lnTo>
                    <a:lnTo>
                      <a:pt x="759" y="130"/>
                    </a:lnTo>
                    <a:lnTo>
                      <a:pt x="761" y="130"/>
                    </a:lnTo>
                    <a:lnTo>
                      <a:pt x="761" y="132"/>
                    </a:lnTo>
                    <a:lnTo>
                      <a:pt x="761" y="134"/>
                    </a:lnTo>
                    <a:lnTo>
                      <a:pt x="763" y="134"/>
                    </a:lnTo>
                    <a:lnTo>
                      <a:pt x="763" y="136"/>
                    </a:lnTo>
                    <a:lnTo>
                      <a:pt x="764" y="136"/>
                    </a:lnTo>
                    <a:lnTo>
                      <a:pt x="764" y="138"/>
                    </a:lnTo>
                    <a:lnTo>
                      <a:pt x="766" y="138"/>
                    </a:lnTo>
                    <a:lnTo>
                      <a:pt x="766" y="140"/>
                    </a:lnTo>
                    <a:lnTo>
                      <a:pt x="768" y="140"/>
                    </a:lnTo>
                    <a:lnTo>
                      <a:pt x="768" y="142"/>
                    </a:lnTo>
                    <a:lnTo>
                      <a:pt x="770" y="142"/>
                    </a:lnTo>
                    <a:lnTo>
                      <a:pt x="770" y="144"/>
                    </a:lnTo>
                    <a:lnTo>
                      <a:pt x="772" y="144"/>
                    </a:lnTo>
                    <a:lnTo>
                      <a:pt x="772" y="146"/>
                    </a:lnTo>
                    <a:lnTo>
                      <a:pt x="774" y="146"/>
                    </a:lnTo>
                    <a:lnTo>
                      <a:pt x="774" y="148"/>
                    </a:lnTo>
                    <a:lnTo>
                      <a:pt x="774" y="149"/>
                    </a:lnTo>
                    <a:lnTo>
                      <a:pt x="776" y="149"/>
                    </a:lnTo>
                    <a:lnTo>
                      <a:pt x="776" y="151"/>
                    </a:lnTo>
                    <a:lnTo>
                      <a:pt x="776" y="153"/>
                    </a:lnTo>
                    <a:lnTo>
                      <a:pt x="778" y="153"/>
                    </a:lnTo>
                    <a:lnTo>
                      <a:pt x="778" y="155"/>
                    </a:lnTo>
                    <a:lnTo>
                      <a:pt x="778" y="157"/>
                    </a:lnTo>
                    <a:lnTo>
                      <a:pt x="780" y="157"/>
                    </a:lnTo>
                    <a:lnTo>
                      <a:pt x="780" y="159"/>
                    </a:lnTo>
                    <a:lnTo>
                      <a:pt x="782" y="159"/>
                    </a:lnTo>
                    <a:lnTo>
                      <a:pt x="782" y="161"/>
                    </a:lnTo>
                    <a:lnTo>
                      <a:pt x="784" y="161"/>
                    </a:lnTo>
                    <a:lnTo>
                      <a:pt x="784" y="163"/>
                    </a:lnTo>
                    <a:lnTo>
                      <a:pt x="786" y="165"/>
                    </a:lnTo>
                    <a:lnTo>
                      <a:pt x="786" y="167"/>
                    </a:lnTo>
                    <a:lnTo>
                      <a:pt x="787" y="171"/>
                    </a:lnTo>
                    <a:lnTo>
                      <a:pt x="787" y="169"/>
                    </a:lnTo>
                    <a:lnTo>
                      <a:pt x="789" y="169"/>
                    </a:lnTo>
                    <a:lnTo>
                      <a:pt x="791" y="169"/>
                    </a:lnTo>
                    <a:lnTo>
                      <a:pt x="793" y="169"/>
                    </a:lnTo>
                    <a:lnTo>
                      <a:pt x="795" y="169"/>
                    </a:lnTo>
                    <a:lnTo>
                      <a:pt x="797" y="169"/>
                    </a:lnTo>
                    <a:lnTo>
                      <a:pt x="797" y="167"/>
                    </a:lnTo>
                    <a:lnTo>
                      <a:pt x="799" y="167"/>
                    </a:lnTo>
                    <a:lnTo>
                      <a:pt x="799" y="169"/>
                    </a:lnTo>
                    <a:lnTo>
                      <a:pt x="801" y="169"/>
                    </a:lnTo>
                    <a:lnTo>
                      <a:pt x="801" y="171"/>
                    </a:lnTo>
                    <a:lnTo>
                      <a:pt x="803" y="171"/>
                    </a:lnTo>
                    <a:lnTo>
                      <a:pt x="803" y="173"/>
                    </a:lnTo>
                    <a:lnTo>
                      <a:pt x="805" y="173"/>
                    </a:lnTo>
                    <a:lnTo>
                      <a:pt x="805" y="174"/>
                    </a:lnTo>
                    <a:lnTo>
                      <a:pt x="807" y="174"/>
                    </a:lnTo>
                    <a:lnTo>
                      <a:pt x="809" y="176"/>
                    </a:lnTo>
                    <a:lnTo>
                      <a:pt x="811" y="176"/>
                    </a:lnTo>
                    <a:lnTo>
                      <a:pt x="811" y="178"/>
                    </a:lnTo>
                    <a:lnTo>
                      <a:pt x="812" y="178"/>
                    </a:lnTo>
                    <a:lnTo>
                      <a:pt x="814" y="178"/>
                    </a:lnTo>
                    <a:lnTo>
                      <a:pt x="814" y="180"/>
                    </a:lnTo>
                    <a:lnTo>
                      <a:pt x="816" y="180"/>
                    </a:lnTo>
                    <a:lnTo>
                      <a:pt x="818" y="180"/>
                    </a:lnTo>
                    <a:lnTo>
                      <a:pt x="820" y="180"/>
                    </a:lnTo>
                    <a:lnTo>
                      <a:pt x="822" y="180"/>
                    </a:lnTo>
                    <a:lnTo>
                      <a:pt x="822" y="182"/>
                    </a:lnTo>
                    <a:lnTo>
                      <a:pt x="824" y="182"/>
                    </a:lnTo>
                    <a:lnTo>
                      <a:pt x="826" y="182"/>
                    </a:lnTo>
                    <a:lnTo>
                      <a:pt x="826" y="184"/>
                    </a:lnTo>
                    <a:lnTo>
                      <a:pt x="828" y="184"/>
                    </a:lnTo>
                    <a:lnTo>
                      <a:pt x="828" y="186"/>
                    </a:lnTo>
                    <a:lnTo>
                      <a:pt x="830" y="186"/>
                    </a:lnTo>
                    <a:lnTo>
                      <a:pt x="832" y="186"/>
                    </a:lnTo>
                    <a:lnTo>
                      <a:pt x="832" y="188"/>
                    </a:lnTo>
                    <a:lnTo>
                      <a:pt x="834" y="188"/>
                    </a:lnTo>
                    <a:lnTo>
                      <a:pt x="834" y="190"/>
                    </a:lnTo>
                    <a:lnTo>
                      <a:pt x="834" y="192"/>
                    </a:lnTo>
                    <a:lnTo>
                      <a:pt x="834" y="194"/>
                    </a:lnTo>
                    <a:lnTo>
                      <a:pt x="835" y="194"/>
                    </a:lnTo>
                    <a:lnTo>
                      <a:pt x="835" y="196"/>
                    </a:lnTo>
                    <a:lnTo>
                      <a:pt x="837" y="197"/>
                    </a:lnTo>
                    <a:lnTo>
                      <a:pt x="837" y="199"/>
                    </a:lnTo>
                    <a:lnTo>
                      <a:pt x="837" y="201"/>
                    </a:lnTo>
                    <a:lnTo>
                      <a:pt x="839" y="203"/>
                    </a:lnTo>
                    <a:lnTo>
                      <a:pt x="839" y="205"/>
                    </a:lnTo>
                    <a:lnTo>
                      <a:pt x="841" y="205"/>
                    </a:lnTo>
                    <a:lnTo>
                      <a:pt x="841" y="207"/>
                    </a:lnTo>
                    <a:lnTo>
                      <a:pt x="841" y="209"/>
                    </a:lnTo>
                    <a:lnTo>
                      <a:pt x="841" y="211"/>
                    </a:lnTo>
                    <a:lnTo>
                      <a:pt x="843" y="211"/>
                    </a:lnTo>
                    <a:lnTo>
                      <a:pt x="843" y="213"/>
                    </a:lnTo>
                    <a:lnTo>
                      <a:pt x="845" y="213"/>
                    </a:lnTo>
                    <a:lnTo>
                      <a:pt x="847" y="213"/>
                    </a:lnTo>
                    <a:lnTo>
                      <a:pt x="849" y="215"/>
                    </a:lnTo>
                    <a:lnTo>
                      <a:pt x="851" y="217"/>
                    </a:lnTo>
                    <a:lnTo>
                      <a:pt x="851" y="219"/>
                    </a:lnTo>
                    <a:lnTo>
                      <a:pt x="853" y="219"/>
                    </a:lnTo>
                    <a:lnTo>
                      <a:pt x="855" y="219"/>
                    </a:lnTo>
                    <a:lnTo>
                      <a:pt x="855" y="217"/>
                    </a:lnTo>
                    <a:lnTo>
                      <a:pt x="855" y="219"/>
                    </a:lnTo>
                    <a:lnTo>
                      <a:pt x="855" y="221"/>
                    </a:lnTo>
                    <a:lnTo>
                      <a:pt x="857" y="221"/>
                    </a:lnTo>
                    <a:lnTo>
                      <a:pt x="857" y="222"/>
                    </a:lnTo>
                    <a:lnTo>
                      <a:pt x="859" y="222"/>
                    </a:lnTo>
                    <a:lnTo>
                      <a:pt x="859" y="224"/>
                    </a:lnTo>
                    <a:lnTo>
                      <a:pt x="860" y="224"/>
                    </a:lnTo>
                    <a:lnTo>
                      <a:pt x="860" y="226"/>
                    </a:lnTo>
                    <a:lnTo>
                      <a:pt x="860" y="228"/>
                    </a:lnTo>
                    <a:lnTo>
                      <a:pt x="862" y="228"/>
                    </a:lnTo>
                    <a:lnTo>
                      <a:pt x="862" y="230"/>
                    </a:lnTo>
                    <a:lnTo>
                      <a:pt x="864" y="230"/>
                    </a:lnTo>
                    <a:lnTo>
                      <a:pt x="864" y="232"/>
                    </a:lnTo>
                    <a:lnTo>
                      <a:pt x="862" y="232"/>
                    </a:lnTo>
                    <a:lnTo>
                      <a:pt x="862" y="234"/>
                    </a:lnTo>
                    <a:lnTo>
                      <a:pt x="860" y="234"/>
                    </a:lnTo>
                    <a:lnTo>
                      <a:pt x="859" y="234"/>
                    </a:lnTo>
                    <a:lnTo>
                      <a:pt x="859" y="236"/>
                    </a:lnTo>
                    <a:lnTo>
                      <a:pt x="859" y="238"/>
                    </a:lnTo>
                    <a:lnTo>
                      <a:pt x="857" y="240"/>
                    </a:lnTo>
                    <a:lnTo>
                      <a:pt x="859" y="244"/>
                    </a:lnTo>
                    <a:lnTo>
                      <a:pt x="860" y="245"/>
                    </a:lnTo>
                    <a:lnTo>
                      <a:pt x="862" y="247"/>
                    </a:lnTo>
                    <a:lnTo>
                      <a:pt x="864" y="249"/>
                    </a:lnTo>
                    <a:lnTo>
                      <a:pt x="866" y="255"/>
                    </a:lnTo>
                    <a:lnTo>
                      <a:pt x="868" y="257"/>
                    </a:lnTo>
                    <a:lnTo>
                      <a:pt x="868" y="259"/>
                    </a:lnTo>
                    <a:lnTo>
                      <a:pt x="870" y="259"/>
                    </a:lnTo>
                    <a:lnTo>
                      <a:pt x="870" y="261"/>
                    </a:lnTo>
                    <a:lnTo>
                      <a:pt x="872" y="263"/>
                    </a:lnTo>
                    <a:lnTo>
                      <a:pt x="874" y="265"/>
                    </a:lnTo>
                    <a:lnTo>
                      <a:pt x="876" y="267"/>
                    </a:lnTo>
                    <a:lnTo>
                      <a:pt x="878" y="269"/>
                    </a:lnTo>
                    <a:lnTo>
                      <a:pt x="876" y="270"/>
                    </a:lnTo>
                    <a:lnTo>
                      <a:pt x="874" y="270"/>
                    </a:lnTo>
                    <a:lnTo>
                      <a:pt x="874" y="272"/>
                    </a:lnTo>
                    <a:lnTo>
                      <a:pt x="872" y="272"/>
                    </a:lnTo>
                    <a:lnTo>
                      <a:pt x="870" y="272"/>
                    </a:lnTo>
                    <a:lnTo>
                      <a:pt x="868" y="272"/>
                    </a:lnTo>
                    <a:lnTo>
                      <a:pt x="866" y="272"/>
                    </a:lnTo>
                    <a:lnTo>
                      <a:pt x="864" y="272"/>
                    </a:lnTo>
                    <a:lnTo>
                      <a:pt x="862" y="272"/>
                    </a:lnTo>
                    <a:lnTo>
                      <a:pt x="859" y="272"/>
                    </a:lnTo>
                    <a:lnTo>
                      <a:pt x="857" y="272"/>
                    </a:lnTo>
                    <a:lnTo>
                      <a:pt x="857" y="274"/>
                    </a:lnTo>
                    <a:lnTo>
                      <a:pt x="857" y="276"/>
                    </a:lnTo>
                    <a:lnTo>
                      <a:pt x="855" y="280"/>
                    </a:lnTo>
                    <a:lnTo>
                      <a:pt x="855" y="282"/>
                    </a:lnTo>
                    <a:lnTo>
                      <a:pt x="859" y="286"/>
                    </a:lnTo>
                    <a:lnTo>
                      <a:pt x="860" y="288"/>
                    </a:lnTo>
                    <a:lnTo>
                      <a:pt x="862" y="290"/>
                    </a:lnTo>
                    <a:lnTo>
                      <a:pt x="864" y="292"/>
                    </a:lnTo>
                    <a:lnTo>
                      <a:pt x="866" y="292"/>
                    </a:lnTo>
                    <a:lnTo>
                      <a:pt x="866" y="295"/>
                    </a:lnTo>
                    <a:lnTo>
                      <a:pt x="862" y="295"/>
                    </a:lnTo>
                    <a:lnTo>
                      <a:pt x="860" y="295"/>
                    </a:lnTo>
                    <a:lnTo>
                      <a:pt x="860" y="297"/>
                    </a:lnTo>
                    <a:lnTo>
                      <a:pt x="859" y="297"/>
                    </a:lnTo>
                    <a:lnTo>
                      <a:pt x="859" y="299"/>
                    </a:lnTo>
                    <a:lnTo>
                      <a:pt x="857" y="301"/>
                    </a:lnTo>
                    <a:lnTo>
                      <a:pt x="855" y="301"/>
                    </a:lnTo>
                    <a:lnTo>
                      <a:pt x="855" y="303"/>
                    </a:lnTo>
                    <a:lnTo>
                      <a:pt x="855" y="305"/>
                    </a:lnTo>
                    <a:lnTo>
                      <a:pt x="853" y="307"/>
                    </a:lnTo>
                    <a:lnTo>
                      <a:pt x="851" y="307"/>
                    </a:lnTo>
                    <a:lnTo>
                      <a:pt x="849" y="307"/>
                    </a:lnTo>
                    <a:lnTo>
                      <a:pt x="847" y="307"/>
                    </a:lnTo>
                    <a:lnTo>
                      <a:pt x="847" y="305"/>
                    </a:lnTo>
                    <a:lnTo>
                      <a:pt x="847" y="303"/>
                    </a:lnTo>
                    <a:lnTo>
                      <a:pt x="845" y="301"/>
                    </a:lnTo>
                    <a:lnTo>
                      <a:pt x="843" y="303"/>
                    </a:lnTo>
                    <a:lnTo>
                      <a:pt x="843" y="305"/>
                    </a:lnTo>
                    <a:lnTo>
                      <a:pt x="841" y="307"/>
                    </a:lnTo>
                    <a:lnTo>
                      <a:pt x="841" y="311"/>
                    </a:lnTo>
                    <a:lnTo>
                      <a:pt x="839" y="315"/>
                    </a:lnTo>
                    <a:lnTo>
                      <a:pt x="839" y="317"/>
                    </a:lnTo>
                    <a:lnTo>
                      <a:pt x="837" y="317"/>
                    </a:lnTo>
                    <a:lnTo>
                      <a:pt x="839" y="318"/>
                    </a:lnTo>
                    <a:lnTo>
                      <a:pt x="841" y="322"/>
                    </a:lnTo>
                    <a:lnTo>
                      <a:pt x="843" y="324"/>
                    </a:lnTo>
                    <a:lnTo>
                      <a:pt x="845" y="326"/>
                    </a:lnTo>
                    <a:lnTo>
                      <a:pt x="849" y="322"/>
                    </a:lnTo>
                    <a:lnTo>
                      <a:pt x="849" y="324"/>
                    </a:lnTo>
                    <a:lnTo>
                      <a:pt x="851" y="324"/>
                    </a:lnTo>
                    <a:lnTo>
                      <a:pt x="853" y="324"/>
                    </a:lnTo>
                    <a:lnTo>
                      <a:pt x="855" y="324"/>
                    </a:lnTo>
                    <a:lnTo>
                      <a:pt x="857" y="324"/>
                    </a:lnTo>
                    <a:lnTo>
                      <a:pt x="857" y="326"/>
                    </a:lnTo>
                    <a:lnTo>
                      <a:pt x="857" y="328"/>
                    </a:lnTo>
                    <a:lnTo>
                      <a:pt x="855" y="328"/>
                    </a:lnTo>
                    <a:lnTo>
                      <a:pt x="851" y="330"/>
                    </a:lnTo>
                    <a:lnTo>
                      <a:pt x="853" y="332"/>
                    </a:lnTo>
                    <a:lnTo>
                      <a:pt x="855" y="332"/>
                    </a:lnTo>
                    <a:lnTo>
                      <a:pt x="855" y="334"/>
                    </a:lnTo>
                    <a:lnTo>
                      <a:pt x="855" y="336"/>
                    </a:lnTo>
                    <a:lnTo>
                      <a:pt x="855" y="338"/>
                    </a:lnTo>
                    <a:lnTo>
                      <a:pt x="855" y="340"/>
                    </a:lnTo>
                    <a:lnTo>
                      <a:pt x="857" y="340"/>
                    </a:lnTo>
                    <a:lnTo>
                      <a:pt x="857" y="341"/>
                    </a:lnTo>
                    <a:lnTo>
                      <a:pt x="859" y="341"/>
                    </a:lnTo>
                    <a:lnTo>
                      <a:pt x="859" y="343"/>
                    </a:lnTo>
                    <a:lnTo>
                      <a:pt x="860" y="343"/>
                    </a:lnTo>
                    <a:lnTo>
                      <a:pt x="859" y="343"/>
                    </a:lnTo>
                    <a:lnTo>
                      <a:pt x="859" y="345"/>
                    </a:lnTo>
                    <a:lnTo>
                      <a:pt x="859" y="347"/>
                    </a:lnTo>
                    <a:lnTo>
                      <a:pt x="860" y="347"/>
                    </a:lnTo>
                    <a:lnTo>
                      <a:pt x="860" y="345"/>
                    </a:lnTo>
                    <a:lnTo>
                      <a:pt x="862" y="347"/>
                    </a:lnTo>
                    <a:lnTo>
                      <a:pt x="864" y="347"/>
                    </a:lnTo>
                    <a:lnTo>
                      <a:pt x="862" y="347"/>
                    </a:lnTo>
                    <a:lnTo>
                      <a:pt x="860" y="349"/>
                    </a:lnTo>
                    <a:lnTo>
                      <a:pt x="851" y="351"/>
                    </a:lnTo>
                    <a:lnTo>
                      <a:pt x="849" y="351"/>
                    </a:lnTo>
                    <a:lnTo>
                      <a:pt x="849" y="353"/>
                    </a:lnTo>
                    <a:lnTo>
                      <a:pt x="847" y="353"/>
                    </a:lnTo>
                    <a:lnTo>
                      <a:pt x="847" y="355"/>
                    </a:lnTo>
                    <a:lnTo>
                      <a:pt x="849" y="357"/>
                    </a:lnTo>
                    <a:lnTo>
                      <a:pt x="849" y="359"/>
                    </a:lnTo>
                    <a:lnTo>
                      <a:pt x="849" y="361"/>
                    </a:lnTo>
                    <a:lnTo>
                      <a:pt x="845" y="361"/>
                    </a:lnTo>
                    <a:lnTo>
                      <a:pt x="845" y="363"/>
                    </a:lnTo>
                    <a:lnTo>
                      <a:pt x="845" y="365"/>
                    </a:lnTo>
                    <a:lnTo>
                      <a:pt x="843" y="365"/>
                    </a:lnTo>
                    <a:lnTo>
                      <a:pt x="843" y="366"/>
                    </a:lnTo>
                    <a:lnTo>
                      <a:pt x="839" y="366"/>
                    </a:lnTo>
                    <a:lnTo>
                      <a:pt x="837" y="366"/>
                    </a:lnTo>
                    <a:lnTo>
                      <a:pt x="835" y="366"/>
                    </a:lnTo>
                    <a:lnTo>
                      <a:pt x="835" y="370"/>
                    </a:lnTo>
                    <a:lnTo>
                      <a:pt x="835" y="374"/>
                    </a:lnTo>
                    <a:lnTo>
                      <a:pt x="834" y="374"/>
                    </a:lnTo>
                    <a:lnTo>
                      <a:pt x="832" y="376"/>
                    </a:lnTo>
                    <a:lnTo>
                      <a:pt x="834" y="376"/>
                    </a:lnTo>
                    <a:lnTo>
                      <a:pt x="834" y="378"/>
                    </a:lnTo>
                    <a:lnTo>
                      <a:pt x="834" y="380"/>
                    </a:lnTo>
                    <a:lnTo>
                      <a:pt x="835" y="382"/>
                    </a:lnTo>
                    <a:lnTo>
                      <a:pt x="837" y="382"/>
                    </a:lnTo>
                    <a:lnTo>
                      <a:pt x="837" y="384"/>
                    </a:lnTo>
                    <a:lnTo>
                      <a:pt x="837" y="386"/>
                    </a:lnTo>
                    <a:lnTo>
                      <a:pt x="835" y="384"/>
                    </a:lnTo>
                    <a:lnTo>
                      <a:pt x="834" y="384"/>
                    </a:lnTo>
                    <a:lnTo>
                      <a:pt x="832" y="384"/>
                    </a:lnTo>
                    <a:lnTo>
                      <a:pt x="830" y="384"/>
                    </a:lnTo>
                    <a:lnTo>
                      <a:pt x="830" y="386"/>
                    </a:lnTo>
                    <a:lnTo>
                      <a:pt x="828" y="384"/>
                    </a:lnTo>
                    <a:lnTo>
                      <a:pt x="826" y="384"/>
                    </a:lnTo>
                    <a:lnTo>
                      <a:pt x="824" y="384"/>
                    </a:lnTo>
                    <a:lnTo>
                      <a:pt x="824" y="382"/>
                    </a:lnTo>
                    <a:lnTo>
                      <a:pt x="824" y="384"/>
                    </a:lnTo>
                    <a:lnTo>
                      <a:pt x="822" y="386"/>
                    </a:lnTo>
                    <a:lnTo>
                      <a:pt x="820" y="391"/>
                    </a:lnTo>
                    <a:lnTo>
                      <a:pt x="820" y="393"/>
                    </a:lnTo>
                    <a:lnTo>
                      <a:pt x="826" y="393"/>
                    </a:lnTo>
                    <a:lnTo>
                      <a:pt x="830" y="393"/>
                    </a:lnTo>
                    <a:lnTo>
                      <a:pt x="830" y="395"/>
                    </a:lnTo>
                    <a:lnTo>
                      <a:pt x="828" y="397"/>
                    </a:lnTo>
                    <a:lnTo>
                      <a:pt x="828" y="399"/>
                    </a:lnTo>
                    <a:lnTo>
                      <a:pt x="826" y="399"/>
                    </a:lnTo>
                    <a:lnTo>
                      <a:pt x="826" y="401"/>
                    </a:lnTo>
                    <a:lnTo>
                      <a:pt x="824" y="401"/>
                    </a:lnTo>
                    <a:lnTo>
                      <a:pt x="822" y="403"/>
                    </a:lnTo>
                    <a:lnTo>
                      <a:pt x="820" y="403"/>
                    </a:lnTo>
                    <a:lnTo>
                      <a:pt x="820" y="405"/>
                    </a:lnTo>
                    <a:lnTo>
                      <a:pt x="818" y="405"/>
                    </a:lnTo>
                    <a:lnTo>
                      <a:pt x="816" y="405"/>
                    </a:lnTo>
                    <a:lnTo>
                      <a:pt x="814" y="405"/>
                    </a:lnTo>
                    <a:lnTo>
                      <a:pt x="812" y="405"/>
                    </a:lnTo>
                    <a:lnTo>
                      <a:pt x="811" y="405"/>
                    </a:lnTo>
                    <a:lnTo>
                      <a:pt x="809" y="405"/>
                    </a:lnTo>
                    <a:lnTo>
                      <a:pt x="809" y="407"/>
                    </a:lnTo>
                    <a:lnTo>
                      <a:pt x="807" y="407"/>
                    </a:lnTo>
                    <a:lnTo>
                      <a:pt x="807" y="409"/>
                    </a:lnTo>
                    <a:lnTo>
                      <a:pt x="807" y="411"/>
                    </a:lnTo>
                    <a:lnTo>
                      <a:pt x="807" y="413"/>
                    </a:lnTo>
                    <a:lnTo>
                      <a:pt x="807" y="414"/>
                    </a:lnTo>
                    <a:lnTo>
                      <a:pt x="807" y="416"/>
                    </a:lnTo>
                    <a:lnTo>
                      <a:pt x="805" y="416"/>
                    </a:lnTo>
                    <a:lnTo>
                      <a:pt x="807" y="416"/>
                    </a:lnTo>
                    <a:lnTo>
                      <a:pt x="809" y="416"/>
                    </a:lnTo>
                    <a:lnTo>
                      <a:pt x="809" y="418"/>
                    </a:lnTo>
                    <a:lnTo>
                      <a:pt x="809" y="420"/>
                    </a:lnTo>
                    <a:lnTo>
                      <a:pt x="809" y="422"/>
                    </a:lnTo>
                    <a:lnTo>
                      <a:pt x="809" y="426"/>
                    </a:lnTo>
                    <a:lnTo>
                      <a:pt x="809" y="428"/>
                    </a:lnTo>
                    <a:lnTo>
                      <a:pt x="809" y="430"/>
                    </a:lnTo>
                    <a:lnTo>
                      <a:pt x="807" y="432"/>
                    </a:lnTo>
                    <a:lnTo>
                      <a:pt x="807" y="434"/>
                    </a:lnTo>
                    <a:lnTo>
                      <a:pt x="807" y="436"/>
                    </a:lnTo>
                    <a:lnTo>
                      <a:pt x="812" y="436"/>
                    </a:lnTo>
                    <a:lnTo>
                      <a:pt x="816" y="436"/>
                    </a:lnTo>
                    <a:lnTo>
                      <a:pt x="814" y="439"/>
                    </a:lnTo>
                    <a:lnTo>
                      <a:pt x="816" y="441"/>
                    </a:lnTo>
                    <a:lnTo>
                      <a:pt x="816" y="443"/>
                    </a:lnTo>
                    <a:lnTo>
                      <a:pt x="816" y="445"/>
                    </a:lnTo>
                    <a:lnTo>
                      <a:pt x="816" y="447"/>
                    </a:lnTo>
                    <a:lnTo>
                      <a:pt x="816" y="449"/>
                    </a:lnTo>
                    <a:lnTo>
                      <a:pt x="818" y="451"/>
                    </a:lnTo>
                    <a:lnTo>
                      <a:pt x="820" y="455"/>
                    </a:lnTo>
                    <a:lnTo>
                      <a:pt x="820" y="457"/>
                    </a:lnTo>
                    <a:lnTo>
                      <a:pt x="820" y="461"/>
                    </a:lnTo>
                    <a:lnTo>
                      <a:pt x="820" y="462"/>
                    </a:lnTo>
                    <a:lnTo>
                      <a:pt x="820" y="466"/>
                    </a:lnTo>
                    <a:lnTo>
                      <a:pt x="818" y="468"/>
                    </a:lnTo>
                    <a:lnTo>
                      <a:pt x="818" y="470"/>
                    </a:lnTo>
                    <a:lnTo>
                      <a:pt x="818" y="472"/>
                    </a:lnTo>
                    <a:lnTo>
                      <a:pt x="818" y="474"/>
                    </a:lnTo>
                    <a:lnTo>
                      <a:pt x="818" y="476"/>
                    </a:lnTo>
                    <a:lnTo>
                      <a:pt x="818" y="478"/>
                    </a:lnTo>
                    <a:lnTo>
                      <a:pt x="818" y="480"/>
                    </a:lnTo>
                    <a:lnTo>
                      <a:pt x="816" y="482"/>
                    </a:lnTo>
                    <a:lnTo>
                      <a:pt x="816" y="484"/>
                    </a:lnTo>
                    <a:lnTo>
                      <a:pt x="816" y="485"/>
                    </a:lnTo>
                    <a:lnTo>
                      <a:pt x="816" y="487"/>
                    </a:lnTo>
                    <a:lnTo>
                      <a:pt x="816" y="489"/>
                    </a:lnTo>
                    <a:lnTo>
                      <a:pt x="816" y="491"/>
                    </a:lnTo>
                    <a:lnTo>
                      <a:pt x="818" y="491"/>
                    </a:lnTo>
                    <a:lnTo>
                      <a:pt x="818" y="493"/>
                    </a:lnTo>
                    <a:lnTo>
                      <a:pt x="822" y="493"/>
                    </a:lnTo>
                    <a:lnTo>
                      <a:pt x="824" y="493"/>
                    </a:lnTo>
                    <a:lnTo>
                      <a:pt x="826" y="493"/>
                    </a:lnTo>
                    <a:lnTo>
                      <a:pt x="830" y="495"/>
                    </a:lnTo>
                    <a:lnTo>
                      <a:pt x="832" y="495"/>
                    </a:lnTo>
                    <a:lnTo>
                      <a:pt x="834" y="495"/>
                    </a:lnTo>
                    <a:lnTo>
                      <a:pt x="834" y="497"/>
                    </a:lnTo>
                    <a:lnTo>
                      <a:pt x="835" y="499"/>
                    </a:lnTo>
                    <a:lnTo>
                      <a:pt x="835" y="501"/>
                    </a:lnTo>
                    <a:lnTo>
                      <a:pt x="835" y="503"/>
                    </a:lnTo>
                    <a:lnTo>
                      <a:pt x="837" y="505"/>
                    </a:lnTo>
                    <a:lnTo>
                      <a:pt x="835" y="505"/>
                    </a:lnTo>
                    <a:lnTo>
                      <a:pt x="834" y="507"/>
                    </a:lnTo>
                    <a:lnTo>
                      <a:pt x="832" y="507"/>
                    </a:lnTo>
                    <a:lnTo>
                      <a:pt x="830" y="507"/>
                    </a:lnTo>
                    <a:lnTo>
                      <a:pt x="828" y="507"/>
                    </a:lnTo>
                    <a:lnTo>
                      <a:pt x="826" y="507"/>
                    </a:lnTo>
                    <a:lnTo>
                      <a:pt x="824" y="507"/>
                    </a:lnTo>
                    <a:lnTo>
                      <a:pt x="824" y="509"/>
                    </a:lnTo>
                    <a:lnTo>
                      <a:pt x="822" y="510"/>
                    </a:lnTo>
                    <a:lnTo>
                      <a:pt x="820" y="510"/>
                    </a:lnTo>
                    <a:lnTo>
                      <a:pt x="824" y="514"/>
                    </a:lnTo>
                    <a:lnTo>
                      <a:pt x="822" y="516"/>
                    </a:lnTo>
                    <a:lnTo>
                      <a:pt x="820" y="516"/>
                    </a:lnTo>
                    <a:lnTo>
                      <a:pt x="820" y="518"/>
                    </a:lnTo>
                    <a:lnTo>
                      <a:pt x="818" y="518"/>
                    </a:lnTo>
                    <a:lnTo>
                      <a:pt x="816" y="518"/>
                    </a:lnTo>
                    <a:lnTo>
                      <a:pt x="816" y="520"/>
                    </a:lnTo>
                    <a:lnTo>
                      <a:pt x="814" y="520"/>
                    </a:lnTo>
                    <a:lnTo>
                      <a:pt x="812" y="520"/>
                    </a:lnTo>
                    <a:lnTo>
                      <a:pt x="812" y="522"/>
                    </a:lnTo>
                    <a:lnTo>
                      <a:pt x="812" y="524"/>
                    </a:lnTo>
                    <a:lnTo>
                      <a:pt x="811" y="524"/>
                    </a:lnTo>
                    <a:lnTo>
                      <a:pt x="811" y="526"/>
                    </a:lnTo>
                    <a:lnTo>
                      <a:pt x="809" y="528"/>
                    </a:lnTo>
                    <a:lnTo>
                      <a:pt x="809" y="530"/>
                    </a:lnTo>
                    <a:lnTo>
                      <a:pt x="807" y="530"/>
                    </a:lnTo>
                    <a:lnTo>
                      <a:pt x="807" y="532"/>
                    </a:lnTo>
                    <a:lnTo>
                      <a:pt x="807" y="537"/>
                    </a:lnTo>
                    <a:lnTo>
                      <a:pt x="805" y="537"/>
                    </a:lnTo>
                    <a:lnTo>
                      <a:pt x="805" y="539"/>
                    </a:lnTo>
                    <a:lnTo>
                      <a:pt x="803" y="539"/>
                    </a:lnTo>
                    <a:lnTo>
                      <a:pt x="801" y="537"/>
                    </a:lnTo>
                    <a:lnTo>
                      <a:pt x="799" y="537"/>
                    </a:lnTo>
                    <a:lnTo>
                      <a:pt x="797" y="537"/>
                    </a:lnTo>
                    <a:lnTo>
                      <a:pt x="795" y="537"/>
                    </a:lnTo>
                    <a:lnTo>
                      <a:pt x="795" y="535"/>
                    </a:lnTo>
                    <a:lnTo>
                      <a:pt x="793" y="535"/>
                    </a:lnTo>
                    <a:lnTo>
                      <a:pt x="793" y="537"/>
                    </a:lnTo>
                    <a:lnTo>
                      <a:pt x="793" y="539"/>
                    </a:lnTo>
                    <a:lnTo>
                      <a:pt x="789" y="537"/>
                    </a:lnTo>
                    <a:lnTo>
                      <a:pt x="787" y="537"/>
                    </a:lnTo>
                    <a:lnTo>
                      <a:pt x="784" y="535"/>
                    </a:lnTo>
                    <a:lnTo>
                      <a:pt x="778" y="533"/>
                    </a:lnTo>
                    <a:lnTo>
                      <a:pt x="772" y="532"/>
                    </a:lnTo>
                    <a:lnTo>
                      <a:pt x="770" y="530"/>
                    </a:lnTo>
                    <a:lnTo>
                      <a:pt x="768" y="530"/>
                    </a:lnTo>
                    <a:lnTo>
                      <a:pt x="766" y="530"/>
                    </a:lnTo>
                    <a:lnTo>
                      <a:pt x="763" y="530"/>
                    </a:lnTo>
                    <a:lnTo>
                      <a:pt x="759" y="528"/>
                    </a:lnTo>
                    <a:lnTo>
                      <a:pt x="757" y="528"/>
                    </a:lnTo>
                    <a:lnTo>
                      <a:pt x="751" y="526"/>
                    </a:lnTo>
                    <a:lnTo>
                      <a:pt x="747" y="526"/>
                    </a:lnTo>
                    <a:lnTo>
                      <a:pt x="743" y="524"/>
                    </a:lnTo>
                    <a:lnTo>
                      <a:pt x="741" y="524"/>
                    </a:lnTo>
                    <a:lnTo>
                      <a:pt x="739" y="526"/>
                    </a:lnTo>
                    <a:lnTo>
                      <a:pt x="738" y="526"/>
                    </a:lnTo>
                    <a:lnTo>
                      <a:pt x="736" y="526"/>
                    </a:lnTo>
                    <a:lnTo>
                      <a:pt x="734" y="526"/>
                    </a:lnTo>
                    <a:lnTo>
                      <a:pt x="732" y="526"/>
                    </a:lnTo>
                    <a:lnTo>
                      <a:pt x="730" y="526"/>
                    </a:lnTo>
                    <a:lnTo>
                      <a:pt x="728" y="526"/>
                    </a:lnTo>
                    <a:lnTo>
                      <a:pt x="726" y="530"/>
                    </a:lnTo>
                    <a:lnTo>
                      <a:pt x="724" y="532"/>
                    </a:lnTo>
                    <a:lnTo>
                      <a:pt x="722" y="533"/>
                    </a:lnTo>
                    <a:lnTo>
                      <a:pt x="720" y="535"/>
                    </a:lnTo>
                    <a:lnTo>
                      <a:pt x="715" y="539"/>
                    </a:lnTo>
                    <a:lnTo>
                      <a:pt x="713" y="539"/>
                    </a:lnTo>
                    <a:lnTo>
                      <a:pt x="713" y="541"/>
                    </a:lnTo>
                    <a:lnTo>
                      <a:pt x="711" y="543"/>
                    </a:lnTo>
                    <a:lnTo>
                      <a:pt x="711" y="545"/>
                    </a:lnTo>
                    <a:lnTo>
                      <a:pt x="711" y="547"/>
                    </a:lnTo>
                    <a:lnTo>
                      <a:pt x="713" y="547"/>
                    </a:lnTo>
                    <a:lnTo>
                      <a:pt x="715" y="547"/>
                    </a:lnTo>
                    <a:lnTo>
                      <a:pt x="716" y="547"/>
                    </a:lnTo>
                    <a:lnTo>
                      <a:pt x="716" y="549"/>
                    </a:lnTo>
                    <a:lnTo>
                      <a:pt x="718" y="549"/>
                    </a:lnTo>
                    <a:lnTo>
                      <a:pt x="720" y="549"/>
                    </a:lnTo>
                    <a:lnTo>
                      <a:pt x="722" y="551"/>
                    </a:lnTo>
                    <a:lnTo>
                      <a:pt x="724" y="553"/>
                    </a:lnTo>
                    <a:lnTo>
                      <a:pt x="726" y="553"/>
                    </a:lnTo>
                    <a:lnTo>
                      <a:pt x="726" y="555"/>
                    </a:lnTo>
                    <a:lnTo>
                      <a:pt x="726" y="557"/>
                    </a:lnTo>
                    <a:lnTo>
                      <a:pt x="728" y="558"/>
                    </a:lnTo>
                    <a:lnTo>
                      <a:pt x="728" y="560"/>
                    </a:lnTo>
                    <a:lnTo>
                      <a:pt x="728" y="562"/>
                    </a:lnTo>
                    <a:lnTo>
                      <a:pt x="726" y="562"/>
                    </a:lnTo>
                    <a:lnTo>
                      <a:pt x="726" y="560"/>
                    </a:lnTo>
                    <a:lnTo>
                      <a:pt x="724" y="560"/>
                    </a:lnTo>
                    <a:lnTo>
                      <a:pt x="722" y="560"/>
                    </a:lnTo>
                    <a:lnTo>
                      <a:pt x="722" y="562"/>
                    </a:lnTo>
                    <a:lnTo>
                      <a:pt x="724" y="562"/>
                    </a:lnTo>
                    <a:lnTo>
                      <a:pt x="726" y="562"/>
                    </a:lnTo>
                    <a:lnTo>
                      <a:pt x="726" y="564"/>
                    </a:lnTo>
                    <a:lnTo>
                      <a:pt x="728" y="566"/>
                    </a:lnTo>
                    <a:lnTo>
                      <a:pt x="728" y="564"/>
                    </a:lnTo>
                    <a:lnTo>
                      <a:pt x="730" y="564"/>
                    </a:lnTo>
                    <a:lnTo>
                      <a:pt x="730" y="566"/>
                    </a:lnTo>
                    <a:lnTo>
                      <a:pt x="732" y="568"/>
                    </a:lnTo>
                    <a:lnTo>
                      <a:pt x="734" y="570"/>
                    </a:lnTo>
                    <a:lnTo>
                      <a:pt x="730" y="570"/>
                    </a:lnTo>
                    <a:lnTo>
                      <a:pt x="722" y="576"/>
                    </a:lnTo>
                    <a:lnTo>
                      <a:pt x="718" y="576"/>
                    </a:lnTo>
                    <a:lnTo>
                      <a:pt x="711" y="578"/>
                    </a:lnTo>
                    <a:lnTo>
                      <a:pt x="709" y="578"/>
                    </a:lnTo>
                    <a:lnTo>
                      <a:pt x="707" y="580"/>
                    </a:lnTo>
                    <a:lnTo>
                      <a:pt x="707" y="581"/>
                    </a:lnTo>
                    <a:lnTo>
                      <a:pt x="709" y="581"/>
                    </a:lnTo>
                    <a:lnTo>
                      <a:pt x="709" y="583"/>
                    </a:lnTo>
                    <a:lnTo>
                      <a:pt x="711" y="583"/>
                    </a:lnTo>
                    <a:lnTo>
                      <a:pt x="709" y="585"/>
                    </a:lnTo>
                    <a:lnTo>
                      <a:pt x="711" y="585"/>
                    </a:lnTo>
                    <a:lnTo>
                      <a:pt x="711" y="587"/>
                    </a:lnTo>
                    <a:lnTo>
                      <a:pt x="711" y="589"/>
                    </a:lnTo>
                    <a:lnTo>
                      <a:pt x="713" y="589"/>
                    </a:lnTo>
                    <a:lnTo>
                      <a:pt x="711" y="589"/>
                    </a:lnTo>
                    <a:lnTo>
                      <a:pt x="711" y="591"/>
                    </a:lnTo>
                    <a:lnTo>
                      <a:pt x="711" y="593"/>
                    </a:lnTo>
                    <a:lnTo>
                      <a:pt x="709" y="593"/>
                    </a:lnTo>
                    <a:lnTo>
                      <a:pt x="709" y="595"/>
                    </a:lnTo>
                    <a:lnTo>
                      <a:pt x="707" y="595"/>
                    </a:lnTo>
                    <a:lnTo>
                      <a:pt x="705" y="595"/>
                    </a:lnTo>
                    <a:lnTo>
                      <a:pt x="703" y="595"/>
                    </a:lnTo>
                    <a:lnTo>
                      <a:pt x="703" y="597"/>
                    </a:lnTo>
                    <a:lnTo>
                      <a:pt x="701" y="599"/>
                    </a:lnTo>
                    <a:lnTo>
                      <a:pt x="701" y="597"/>
                    </a:lnTo>
                    <a:lnTo>
                      <a:pt x="699" y="595"/>
                    </a:lnTo>
                    <a:lnTo>
                      <a:pt x="699" y="597"/>
                    </a:lnTo>
                    <a:lnTo>
                      <a:pt x="697" y="599"/>
                    </a:lnTo>
                    <a:lnTo>
                      <a:pt x="697" y="597"/>
                    </a:lnTo>
                    <a:lnTo>
                      <a:pt x="697" y="599"/>
                    </a:lnTo>
                    <a:lnTo>
                      <a:pt x="695" y="599"/>
                    </a:lnTo>
                    <a:lnTo>
                      <a:pt x="695" y="597"/>
                    </a:lnTo>
                    <a:lnTo>
                      <a:pt x="695" y="595"/>
                    </a:lnTo>
                    <a:lnTo>
                      <a:pt x="695" y="597"/>
                    </a:lnTo>
                    <a:lnTo>
                      <a:pt x="693" y="597"/>
                    </a:lnTo>
                    <a:lnTo>
                      <a:pt x="693" y="595"/>
                    </a:lnTo>
                    <a:lnTo>
                      <a:pt x="691" y="597"/>
                    </a:lnTo>
                    <a:lnTo>
                      <a:pt x="690" y="597"/>
                    </a:lnTo>
                    <a:lnTo>
                      <a:pt x="688" y="595"/>
                    </a:lnTo>
                    <a:lnTo>
                      <a:pt x="686" y="595"/>
                    </a:lnTo>
                    <a:lnTo>
                      <a:pt x="686" y="597"/>
                    </a:lnTo>
                    <a:lnTo>
                      <a:pt x="686" y="599"/>
                    </a:lnTo>
                    <a:lnTo>
                      <a:pt x="684" y="599"/>
                    </a:lnTo>
                    <a:lnTo>
                      <a:pt x="682" y="599"/>
                    </a:lnTo>
                    <a:lnTo>
                      <a:pt x="682" y="601"/>
                    </a:lnTo>
                    <a:lnTo>
                      <a:pt x="680" y="601"/>
                    </a:lnTo>
                    <a:lnTo>
                      <a:pt x="678" y="601"/>
                    </a:lnTo>
                    <a:lnTo>
                      <a:pt x="678" y="603"/>
                    </a:lnTo>
                    <a:lnTo>
                      <a:pt x="678" y="605"/>
                    </a:lnTo>
                    <a:lnTo>
                      <a:pt x="678" y="606"/>
                    </a:lnTo>
                    <a:lnTo>
                      <a:pt x="678" y="608"/>
                    </a:lnTo>
                    <a:lnTo>
                      <a:pt x="680" y="610"/>
                    </a:lnTo>
                    <a:lnTo>
                      <a:pt x="678" y="610"/>
                    </a:lnTo>
                    <a:lnTo>
                      <a:pt x="674" y="610"/>
                    </a:lnTo>
                    <a:lnTo>
                      <a:pt x="674" y="612"/>
                    </a:lnTo>
                    <a:lnTo>
                      <a:pt x="674" y="614"/>
                    </a:lnTo>
                    <a:lnTo>
                      <a:pt x="674" y="616"/>
                    </a:lnTo>
                    <a:lnTo>
                      <a:pt x="674" y="620"/>
                    </a:lnTo>
                    <a:lnTo>
                      <a:pt x="674" y="622"/>
                    </a:lnTo>
                    <a:lnTo>
                      <a:pt x="674" y="624"/>
                    </a:lnTo>
                    <a:lnTo>
                      <a:pt x="672" y="624"/>
                    </a:lnTo>
                    <a:lnTo>
                      <a:pt x="670" y="624"/>
                    </a:lnTo>
                    <a:lnTo>
                      <a:pt x="670" y="622"/>
                    </a:lnTo>
                    <a:lnTo>
                      <a:pt x="668" y="620"/>
                    </a:lnTo>
                    <a:lnTo>
                      <a:pt x="666" y="620"/>
                    </a:lnTo>
                    <a:lnTo>
                      <a:pt x="665" y="620"/>
                    </a:lnTo>
                    <a:lnTo>
                      <a:pt x="665" y="622"/>
                    </a:lnTo>
                    <a:lnTo>
                      <a:pt x="665" y="624"/>
                    </a:lnTo>
                    <a:lnTo>
                      <a:pt x="663" y="624"/>
                    </a:lnTo>
                    <a:lnTo>
                      <a:pt x="661" y="624"/>
                    </a:lnTo>
                    <a:lnTo>
                      <a:pt x="661" y="626"/>
                    </a:lnTo>
                    <a:lnTo>
                      <a:pt x="659" y="626"/>
                    </a:lnTo>
                    <a:lnTo>
                      <a:pt x="657" y="626"/>
                    </a:lnTo>
                    <a:lnTo>
                      <a:pt x="657" y="628"/>
                    </a:lnTo>
                    <a:lnTo>
                      <a:pt x="659" y="628"/>
                    </a:lnTo>
                    <a:lnTo>
                      <a:pt x="661" y="628"/>
                    </a:lnTo>
                    <a:lnTo>
                      <a:pt x="659" y="628"/>
                    </a:lnTo>
                    <a:lnTo>
                      <a:pt x="659" y="629"/>
                    </a:lnTo>
                    <a:lnTo>
                      <a:pt x="657" y="629"/>
                    </a:lnTo>
                    <a:lnTo>
                      <a:pt x="655" y="629"/>
                    </a:lnTo>
                    <a:lnTo>
                      <a:pt x="655" y="631"/>
                    </a:lnTo>
                    <a:lnTo>
                      <a:pt x="653" y="631"/>
                    </a:lnTo>
                    <a:lnTo>
                      <a:pt x="653" y="633"/>
                    </a:lnTo>
                    <a:lnTo>
                      <a:pt x="653" y="631"/>
                    </a:lnTo>
                    <a:lnTo>
                      <a:pt x="653" y="633"/>
                    </a:lnTo>
                    <a:lnTo>
                      <a:pt x="651" y="633"/>
                    </a:lnTo>
                    <a:lnTo>
                      <a:pt x="653" y="633"/>
                    </a:lnTo>
                    <a:lnTo>
                      <a:pt x="653" y="635"/>
                    </a:lnTo>
                    <a:lnTo>
                      <a:pt x="655" y="635"/>
                    </a:lnTo>
                    <a:lnTo>
                      <a:pt x="655" y="633"/>
                    </a:lnTo>
                    <a:lnTo>
                      <a:pt x="657" y="635"/>
                    </a:lnTo>
                    <a:lnTo>
                      <a:pt x="655" y="635"/>
                    </a:lnTo>
                    <a:lnTo>
                      <a:pt x="655" y="637"/>
                    </a:lnTo>
                    <a:lnTo>
                      <a:pt x="657" y="637"/>
                    </a:lnTo>
                    <a:lnTo>
                      <a:pt x="657" y="639"/>
                    </a:lnTo>
                    <a:lnTo>
                      <a:pt x="659" y="639"/>
                    </a:lnTo>
                    <a:lnTo>
                      <a:pt x="659" y="641"/>
                    </a:lnTo>
                    <a:lnTo>
                      <a:pt x="657" y="641"/>
                    </a:lnTo>
                    <a:lnTo>
                      <a:pt x="655" y="641"/>
                    </a:lnTo>
                    <a:lnTo>
                      <a:pt x="655" y="643"/>
                    </a:lnTo>
                    <a:lnTo>
                      <a:pt x="655" y="645"/>
                    </a:lnTo>
                    <a:lnTo>
                      <a:pt x="657" y="645"/>
                    </a:lnTo>
                    <a:lnTo>
                      <a:pt x="657" y="647"/>
                    </a:lnTo>
                    <a:lnTo>
                      <a:pt x="659" y="647"/>
                    </a:lnTo>
                    <a:lnTo>
                      <a:pt x="661" y="647"/>
                    </a:lnTo>
                    <a:lnTo>
                      <a:pt x="661" y="645"/>
                    </a:lnTo>
                    <a:lnTo>
                      <a:pt x="663" y="645"/>
                    </a:lnTo>
                    <a:lnTo>
                      <a:pt x="663" y="647"/>
                    </a:lnTo>
                    <a:lnTo>
                      <a:pt x="661" y="647"/>
                    </a:lnTo>
                    <a:lnTo>
                      <a:pt x="661" y="649"/>
                    </a:lnTo>
                    <a:lnTo>
                      <a:pt x="663" y="649"/>
                    </a:lnTo>
                    <a:lnTo>
                      <a:pt x="661" y="651"/>
                    </a:lnTo>
                    <a:lnTo>
                      <a:pt x="661" y="652"/>
                    </a:lnTo>
                    <a:lnTo>
                      <a:pt x="661" y="654"/>
                    </a:lnTo>
                    <a:lnTo>
                      <a:pt x="659" y="654"/>
                    </a:lnTo>
                    <a:lnTo>
                      <a:pt x="657" y="652"/>
                    </a:lnTo>
                    <a:lnTo>
                      <a:pt x="655" y="654"/>
                    </a:lnTo>
                    <a:lnTo>
                      <a:pt x="653" y="654"/>
                    </a:lnTo>
                    <a:lnTo>
                      <a:pt x="653" y="652"/>
                    </a:lnTo>
                    <a:lnTo>
                      <a:pt x="651" y="652"/>
                    </a:lnTo>
                    <a:lnTo>
                      <a:pt x="649" y="652"/>
                    </a:lnTo>
                    <a:lnTo>
                      <a:pt x="643" y="652"/>
                    </a:lnTo>
                    <a:lnTo>
                      <a:pt x="643" y="658"/>
                    </a:lnTo>
                    <a:lnTo>
                      <a:pt x="643" y="660"/>
                    </a:lnTo>
                    <a:lnTo>
                      <a:pt x="638" y="658"/>
                    </a:lnTo>
                    <a:lnTo>
                      <a:pt x="638" y="660"/>
                    </a:lnTo>
                    <a:lnTo>
                      <a:pt x="634" y="658"/>
                    </a:lnTo>
                    <a:lnTo>
                      <a:pt x="632" y="658"/>
                    </a:lnTo>
                    <a:lnTo>
                      <a:pt x="632" y="660"/>
                    </a:lnTo>
                    <a:lnTo>
                      <a:pt x="632" y="662"/>
                    </a:lnTo>
                    <a:lnTo>
                      <a:pt x="630" y="662"/>
                    </a:lnTo>
                    <a:lnTo>
                      <a:pt x="630" y="664"/>
                    </a:lnTo>
                    <a:lnTo>
                      <a:pt x="630" y="666"/>
                    </a:lnTo>
                    <a:lnTo>
                      <a:pt x="628" y="666"/>
                    </a:lnTo>
                    <a:lnTo>
                      <a:pt x="628" y="668"/>
                    </a:lnTo>
                    <a:lnTo>
                      <a:pt x="626" y="668"/>
                    </a:lnTo>
                    <a:lnTo>
                      <a:pt x="624" y="668"/>
                    </a:lnTo>
                    <a:lnTo>
                      <a:pt x="624" y="670"/>
                    </a:lnTo>
                    <a:lnTo>
                      <a:pt x="622" y="670"/>
                    </a:lnTo>
                    <a:lnTo>
                      <a:pt x="622" y="672"/>
                    </a:lnTo>
                    <a:lnTo>
                      <a:pt x="622" y="674"/>
                    </a:lnTo>
                    <a:lnTo>
                      <a:pt x="622" y="676"/>
                    </a:lnTo>
                    <a:lnTo>
                      <a:pt x="622" y="677"/>
                    </a:lnTo>
                    <a:lnTo>
                      <a:pt x="622" y="679"/>
                    </a:lnTo>
                    <a:lnTo>
                      <a:pt x="622" y="681"/>
                    </a:lnTo>
                    <a:lnTo>
                      <a:pt x="622" y="683"/>
                    </a:lnTo>
                    <a:lnTo>
                      <a:pt x="622" y="697"/>
                    </a:lnTo>
                    <a:lnTo>
                      <a:pt x="622" y="699"/>
                    </a:lnTo>
                    <a:lnTo>
                      <a:pt x="618" y="697"/>
                    </a:lnTo>
                    <a:lnTo>
                      <a:pt x="617" y="695"/>
                    </a:lnTo>
                    <a:lnTo>
                      <a:pt x="615" y="695"/>
                    </a:lnTo>
                    <a:lnTo>
                      <a:pt x="613" y="693"/>
                    </a:lnTo>
                    <a:lnTo>
                      <a:pt x="611" y="691"/>
                    </a:lnTo>
                    <a:lnTo>
                      <a:pt x="607" y="689"/>
                    </a:lnTo>
                    <a:lnTo>
                      <a:pt x="609" y="689"/>
                    </a:lnTo>
                    <a:lnTo>
                      <a:pt x="609" y="687"/>
                    </a:lnTo>
                    <a:lnTo>
                      <a:pt x="611" y="687"/>
                    </a:lnTo>
                    <a:lnTo>
                      <a:pt x="607" y="685"/>
                    </a:lnTo>
                    <a:lnTo>
                      <a:pt x="605" y="685"/>
                    </a:lnTo>
                    <a:lnTo>
                      <a:pt x="601" y="683"/>
                    </a:lnTo>
                    <a:lnTo>
                      <a:pt x="599" y="683"/>
                    </a:lnTo>
                    <a:lnTo>
                      <a:pt x="595" y="681"/>
                    </a:lnTo>
                    <a:lnTo>
                      <a:pt x="592" y="691"/>
                    </a:lnTo>
                    <a:lnTo>
                      <a:pt x="590" y="697"/>
                    </a:lnTo>
                    <a:lnTo>
                      <a:pt x="588" y="697"/>
                    </a:lnTo>
                    <a:lnTo>
                      <a:pt x="586" y="697"/>
                    </a:lnTo>
                    <a:lnTo>
                      <a:pt x="582" y="697"/>
                    </a:lnTo>
                    <a:lnTo>
                      <a:pt x="580" y="697"/>
                    </a:lnTo>
                    <a:lnTo>
                      <a:pt x="578" y="697"/>
                    </a:lnTo>
                    <a:lnTo>
                      <a:pt x="576" y="697"/>
                    </a:lnTo>
                    <a:lnTo>
                      <a:pt x="576" y="695"/>
                    </a:lnTo>
                    <a:lnTo>
                      <a:pt x="574" y="695"/>
                    </a:lnTo>
                    <a:lnTo>
                      <a:pt x="574" y="699"/>
                    </a:lnTo>
                    <a:lnTo>
                      <a:pt x="574" y="700"/>
                    </a:lnTo>
                    <a:lnTo>
                      <a:pt x="574" y="702"/>
                    </a:lnTo>
                    <a:lnTo>
                      <a:pt x="572" y="702"/>
                    </a:lnTo>
                    <a:lnTo>
                      <a:pt x="570" y="702"/>
                    </a:lnTo>
                    <a:lnTo>
                      <a:pt x="570" y="704"/>
                    </a:lnTo>
                    <a:lnTo>
                      <a:pt x="569" y="706"/>
                    </a:lnTo>
                    <a:lnTo>
                      <a:pt x="567" y="708"/>
                    </a:lnTo>
                    <a:lnTo>
                      <a:pt x="569" y="708"/>
                    </a:lnTo>
                    <a:lnTo>
                      <a:pt x="570" y="710"/>
                    </a:lnTo>
                    <a:lnTo>
                      <a:pt x="572" y="712"/>
                    </a:lnTo>
                    <a:lnTo>
                      <a:pt x="574" y="712"/>
                    </a:lnTo>
                    <a:lnTo>
                      <a:pt x="574" y="714"/>
                    </a:lnTo>
                    <a:lnTo>
                      <a:pt x="574" y="716"/>
                    </a:lnTo>
                    <a:lnTo>
                      <a:pt x="578" y="716"/>
                    </a:lnTo>
                    <a:lnTo>
                      <a:pt x="580" y="718"/>
                    </a:lnTo>
                    <a:lnTo>
                      <a:pt x="580" y="720"/>
                    </a:lnTo>
                    <a:lnTo>
                      <a:pt x="578" y="722"/>
                    </a:lnTo>
                    <a:lnTo>
                      <a:pt x="578" y="724"/>
                    </a:lnTo>
                    <a:lnTo>
                      <a:pt x="576" y="724"/>
                    </a:lnTo>
                    <a:lnTo>
                      <a:pt x="574" y="724"/>
                    </a:lnTo>
                    <a:lnTo>
                      <a:pt x="574" y="722"/>
                    </a:lnTo>
                    <a:lnTo>
                      <a:pt x="572" y="722"/>
                    </a:lnTo>
                    <a:lnTo>
                      <a:pt x="572" y="720"/>
                    </a:lnTo>
                    <a:lnTo>
                      <a:pt x="572" y="718"/>
                    </a:lnTo>
                    <a:lnTo>
                      <a:pt x="570" y="718"/>
                    </a:lnTo>
                    <a:lnTo>
                      <a:pt x="569" y="718"/>
                    </a:lnTo>
                    <a:lnTo>
                      <a:pt x="569" y="716"/>
                    </a:lnTo>
                    <a:lnTo>
                      <a:pt x="567" y="716"/>
                    </a:lnTo>
                    <a:lnTo>
                      <a:pt x="567" y="714"/>
                    </a:lnTo>
                    <a:lnTo>
                      <a:pt x="565" y="714"/>
                    </a:lnTo>
                    <a:lnTo>
                      <a:pt x="565" y="712"/>
                    </a:lnTo>
                    <a:lnTo>
                      <a:pt x="565" y="710"/>
                    </a:lnTo>
                    <a:lnTo>
                      <a:pt x="563" y="710"/>
                    </a:lnTo>
                    <a:lnTo>
                      <a:pt x="563" y="708"/>
                    </a:lnTo>
                    <a:lnTo>
                      <a:pt x="561" y="708"/>
                    </a:lnTo>
                    <a:lnTo>
                      <a:pt x="561" y="706"/>
                    </a:lnTo>
                    <a:lnTo>
                      <a:pt x="559" y="704"/>
                    </a:lnTo>
                    <a:lnTo>
                      <a:pt x="555" y="704"/>
                    </a:lnTo>
                    <a:lnTo>
                      <a:pt x="553" y="704"/>
                    </a:lnTo>
                    <a:lnTo>
                      <a:pt x="553" y="706"/>
                    </a:lnTo>
                    <a:lnTo>
                      <a:pt x="549" y="706"/>
                    </a:lnTo>
                    <a:lnTo>
                      <a:pt x="547" y="704"/>
                    </a:lnTo>
                    <a:lnTo>
                      <a:pt x="547" y="702"/>
                    </a:lnTo>
                    <a:lnTo>
                      <a:pt x="546" y="702"/>
                    </a:lnTo>
                    <a:lnTo>
                      <a:pt x="540" y="702"/>
                    </a:lnTo>
                    <a:lnTo>
                      <a:pt x="536" y="702"/>
                    </a:lnTo>
                    <a:lnTo>
                      <a:pt x="534" y="702"/>
                    </a:lnTo>
                    <a:lnTo>
                      <a:pt x="532" y="702"/>
                    </a:lnTo>
                    <a:lnTo>
                      <a:pt x="528" y="700"/>
                    </a:lnTo>
                    <a:lnTo>
                      <a:pt x="526" y="704"/>
                    </a:lnTo>
                    <a:lnTo>
                      <a:pt x="526" y="706"/>
                    </a:lnTo>
                    <a:lnTo>
                      <a:pt x="524" y="708"/>
                    </a:lnTo>
                    <a:lnTo>
                      <a:pt x="524" y="710"/>
                    </a:lnTo>
                    <a:lnTo>
                      <a:pt x="524" y="712"/>
                    </a:lnTo>
                    <a:lnTo>
                      <a:pt x="522" y="712"/>
                    </a:lnTo>
                    <a:lnTo>
                      <a:pt x="521" y="714"/>
                    </a:lnTo>
                    <a:lnTo>
                      <a:pt x="519" y="714"/>
                    </a:lnTo>
                    <a:lnTo>
                      <a:pt x="519" y="712"/>
                    </a:lnTo>
                    <a:lnTo>
                      <a:pt x="517" y="710"/>
                    </a:lnTo>
                    <a:lnTo>
                      <a:pt x="515" y="710"/>
                    </a:lnTo>
                    <a:lnTo>
                      <a:pt x="513" y="710"/>
                    </a:lnTo>
                    <a:lnTo>
                      <a:pt x="511" y="710"/>
                    </a:lnTo>
                    <a:lnTo>
                      <a:pt x="509" y="710"/>
                    </a:lnTo>
                    <a:lnTo>
                      <a:pt x="511" y="708"/>
                    </a:lnTo>
                    <a:lnTo>
                      <a:pt x="511" y="706"/>
                    </a:lnTo>
                    <a:lnTo>
                      <a:pt x="509" y="704"/>
                    </a:lnTo>
                    <a:lnTo>
                      <a:pt x="511" y="700"/>
                    </a:lnTo>
                    <a:lnTo>
                      <a:pt x="509" y="700"/>
                    </a:lnTo>
                    <a:lnTo>
                      <a:pt x="507" y="700"/>
                    </a:lnTo>
                    <a:lnTo>
                      <a:pt x="505" y="702"/>
                    </a:lnTo>
                    <a:lnTo>
                      <a:pt x="503" y="702"/>
                    </a:lnTo>
                    <a:lnTo>
                      <a:pt x="501" y="702"/>
                    </a:lnTo>
                    <a:lnTo>
                      <a:pt x="501" y="700"/>
                    </a:lnTo>
                    <a:lnTo>
                      <a:pt x="499" y="700"/>
                    </a:lnTo>
                    <a:lnTo>
                      <a:pt x="498" y="700"/>
                    </a:lnTo>
                    <a:lnTo>
                      <a:pt x="496" y="699"/>
                    </a:lnTo>
                    <a:lnTo>
                      <a:pt x="494" y="699"/>
                    </a:lnTo>
                    <a:lnTo>
                      <a:pt x="492" y="699"/>
                    </a:lnTo>
                    <a:lnTo>
                      <a:pt x="490" y="700"/>
                    </a:lnTo>
                    <a:lnTo>
                      <a:pt x="488" y="702"/>
                    </a:lnTo>
                    <a:lnTo>
                      <a:pt x="488" y="704"/>
                    </a:lnTo>
                    <a:lnTo>
                      <a:pt x="486" y="706"/>
                    </a:lnTo>
                    <a:lnTo>
                      <a:pt x="486" y="708"/>
                    </a:lnTo>
                    <a:lnTo>
                      <a:pt x="484" y="708"/>
                    </a:lnTo>
                    <a:lnTo>
                      <a:pt x="482" y="710"/>
                    </a:lnTo>
                    <a:lnTo>
                      <a:pt x="482" y="712"/>
                    </a:lnTo>
                    <a:lnTo>
                      <a:pt x="482" y="714"/>
                    </a:lnTo>
                    <a:lnTo>
                      <a:pt x="484" y="714"/>
                    </a:lnTo>
                    <a:lnTo>
                      <a:pt x="486" y="714"/>
                    </a:lnTo>
                    <a:lnTo>
                      <a:pt x="488" y="714"/>
                    </a:lnTo>
                    <a:lnTo>
                      <a:pt x="488" y="716"/>
                    </a:lnTo>
                    <a:lnTo>
                      <a:pt x="488" y="720"/>
                    </a:lnTo>
                    <a:lnTo>
                      <a:pt x="488" y="722"/>
                    </a:lnTo>
                    <a:lnTo>
                      <a:pt x="490" y="722"/>
                    </a:lnTo>
                    <a:lnTo>
                      <a:pt x="490" y="724"/>
                    </a:lnTo>
                    <a:lnTo>
                      <a:pt x="488" y="724"/>
                    </a:lnTo>
                    <a:lnTo>
                      <a:pt x="490" y="729"/>
                    </a:lnTo>
                    <a:lnTo>
                      <a:pt x="490" y="733"/>
                    </a:lnTo>
                    <a:lnTo>
                      <a:pt x="492" y="737"/>
                    </a:lnTo>
                    <a:lnTo>
                      <a:pt x="492" y="739"/>
                    </a:lnTo>
                    <a:lnTo>
                      <a:pt x="494" y="739"/>
                    </a:lnTo>
                    <a:lnTo>
                      <a:pt x="494" y="741"/>
                    </a:lnTo>
                    <a:lnTo>
                      <a:pt x="494" y="743"/>
                    </a:lnTo>
                    <a:lnTo>
                      <a:pt x="492" y="743"/>
                    </a:lnTo>
                    <a:lnTo>
                      <a:pt x="492" y="745"/>
                    </a:lnTo>
                    <a:lnTo>
                      <a:pt x="490" y="745"/>
                    </a:lnTo>
                    <a:lnTo>
                      <a:pt x="488" y="745"/>
                    </a:lnTo>
                    <a:lnTo>
                      <a:pt x="488" y="747"/>
                    </a:lnTo>
                    <a:lnTo>
                      <a:pt x="490" y="747"/>
                    </a:lnTo>
                    <a:lnTo>
                      <a:pt x="490" y="748"/>
                    </a:lnTo>
                    <a:lnTo>
                      <a:pt x="490" y="750"/>
                    </a:lnTo>
                    <a:lnTo>
                      <a:pt x="488" y="750"/>
                    </a:lnTo>
                    <a:lnTo>
                      <a:pt x="488" y="752"/>
                    </a:lnTo>
                    <a:lnTo>
                      <a:pt x="488" y="754"/>
                    </a:lnTo>
                    <a:lnTo>
                      <a:pt x="490" y="754"/>
                    </a:lnTo>
                    <a:lnTo>
                      <a:pt x="490" y="756"/>
                    </a:lnTo>
                    <a:lnTo>
                      <a:pt x="492" y="756"/>
                    </a:lnTo>
                    <a:lnTo>
                      <a:pt x="490" y="756"/>
                    </a:lnTo>
                    <a:lnTo>
                      <a:pt x="490" y="758"/>
                    </a:lnTo>
                    <a:lnTo>
                      <a:pt x="490" y="760"/>
                    </a:lnTo>
                    <a:lnTo>
                      <a:pt x="492" y="760"/>
                    </a:lnTo>
                    <a:lnTo>
                      <a:pt x="490" y="760"/>
                    </a:lnTo>
                    <a:lnTo>
                      <a:pt x="490" y="762"/>
                    </a:lnTo>
                    <a:lnTo>
                      <a:pt x="492" y="762"/>
                    </a:lnTo>
                    <a:lnTo>
                      <a:pt x="492" y="764"/>
                    </a:lnTo>
                    <a:lnTo>
                      <a:pt x="492" y="766"/>
                    </a:lnTo>
                    <a:lnTo>
                      <a:pt x="494" y="766"/>
                    </a:lnTo>
                    <a:lnTo>
                      <a:pt x="494" y="768"/>
                    </a:lnTo>
                    <a:lnTo>
                      <a:pt x="494" y="770"/>
                    </a:lnTo>
                    <a:lnTo>
                      <a:pt x="494" y="772"/>
                    </a:lnTo>
                    <a:lnTo>
                      <a:pt x="494" y="773"/>
                    </a:lnTo>
                    <a:lnTo>
                      <a:pt x="488" y="775"/>
                    </a:lnTo>
                    <a:lnTo>
                      <a:pt x="486" y="775"/>
                    </a:lnTo>
                    <a:lnTo>
                      <a:pt x="484" y="775"/>
                    </a:lnTo>
                    <a:lnTo>
                      <a:pt x="484" y="773"/>
                    </a:lnTo>
                    <a:lnTo>
                      <a:pt x="482" y="773"/>
                    </a:lnTo>
                    <a:lnTo>
                      <a:pt x="478" y="773"/>
                    </a:lnTo>
                    <a:lnTo>
                      <a:pt x="476" y="773"/>
                    </a:lnTo>
                    <a:lnTo>
                      <a:pt x="474" y="773"/>
                    </a:lnTo>
                    <a:lnTo>
                      <a:pt x="476" y="777"/>
                    </a:lnTo>
                    <a:lnTo>
                      <a:pt x="474" y="777"/>
                    </a:lnTo>
                    <a:lnTo>
                      <a:pt x="471" y="777"/>
                    </a:lnTo>
                    <a:lnTo>
                      <a:pt x="471" y="779"/>
                    </a:lnTo>
                    <a:lnTo>
                      <a:pt x="465" y="781"/>
                    </a:lnTo>
                    <a:lnTo>
                      <a:pt x="461" y="781"/>
                    </a:lnTo>
                    <a:lnTo>
                      <a:pt x="459" y="781"/>
                    </a:lnTo>
                    <a:lnTo>
                      <a:pt x="451" y="783"/>
                    </a:lnTo>
                    <a:lnTo>
                      <a:pt x="451" y="779"/>
                    </a:lnTo>
                    <a:lnTo>
                      <a:pt x="449" y="781"/>
                    </a:lnTo>
                    <a:lnTo>
                      <a:pt x="449" y="777"/>
                    </a:lnTo>
                    <a:lnTo>
                      <a:pt x="446" y="777"/>
                    </a:lnTo>
                    <a:lnTo>
                      <a:pt x="444" y="775"/>
                    </a:lnTo>
                    <a:lnTo>
                      <a:pt x="444" y="773"/>
                    </a:lnTo>
                    <a:lnTo>
                      <a:pt x="442" y="773"/>
                    </a:lnTo>
                    <a:lnTo>
                      <a:pt x="440" y="770"/>
                    </a:lnTo>
                    <a:lnTo>
                      <a:pt x="436" y="768"/>
                    </a:lnTo>
                    <a:lnTo>
                      <a:pt x="434" y="766"/>
                    </a:lnTo>
                    <a:lnTo>
                      <a:pt x="432" y="764"/>
                    </a:lnTo>
                    <a:lnTo>
                      <a:pt x="430" y="762"/>
                    </a:lnTo>
                    <a:lnTo>
                      <a:pt x="428" y="762"/>
                    </a:lnTo>
                    <a:lnTo>
                      <a:pt x="426" y="760"/>
                    </a:lnTo>
                    <a:lnTo>
                      <a:pt x="426" y="758"/>
                    </a:lnTo>
                    <a:lnTo>
                      <a:pt x="423" y="756"/>
                    </a:lnTo>
                    <a:lnTo>
                      <a:pt x="421" y="758"/>
                    </a:lnTo>
                    <a:lnTo>
                      <a:pt x="419" y="760"/>
                    </a:lnTo>
                    <a:lnTo>
                      <a:pt x="415" y="764"/>
                    </a:lnTo>
                    <a:lnTo>
                      <a:pt x="415" y="766"/>
                    </a:lnTo>
                    <a:lnTo>
                      <a:pt x="413" y="766"/>
                    </a:lnTo>
                    <a:lnTo>
                      <a:pt x="413" y="768"/>
                    </a:lnTo>
                    <a:lnTo>
                      <a:pt x="411" y="768"/>
                    </a:lnTo>
                    <a:lnTo>
                      <a:pt x="407" y="768"/>
                    </a:lnTo>
                    <a:lnTo>
                      <a:pt x="405" y="768"/>
                    </a:lnTo>
                    <a:lnTo>
                      <a:pt x="407" y="768"/>
                    </a:lnTo>
                    <a:lnTo>
                      <a:pt x="407" y="770"/>
                    </a:lnTo>
                    <a:lnTo>
                      <a:pt x="409" y="770"/>
                    </a:lnTo>
                    <a:lnTo>
                      <a:pt x="411" y="770"/>
                    </a:lnTo>
                    <a:lnTo>
                      <a:pt x="411" y="772"/>
                    </a:lnTo>
                    <a:lnTo>
                      <a:pt x="409" y="773"/>
                    </a:lnTo>
                    <a:lnTo>
                      <a:pt x="407" y="775"/>
                    </a:lnTo>
                    <a:lnTo>
                      <a:pt x="409" y="775"/>
                    </a:lnTo>
                    <a:lnTo>
                      <a:pt x="411" y="775"/>
                    </a:lnTo>
                    <a:lnTo>
                      <a:pt x="411" y="777"/>
                    </a:lnTo>
                    <a:lnTo>
                      <a:pt x="409" y="777"/>
                    </a:lnTo>
                    <a:lnTo>
                      <a:pt x="407" y="777"/>
                    </a:lnTo>
                    <a:lnTo>
                      <a:pt x="407" y="775"/>
                    </a:lnTo>
                    <a:lnTo>
                      <a:pt x="405" y="777"/>
                    </a:lnTo>
                    <a:lnTo>
                      <a:pt x="405" y="779"/>
                    </a:lnTo>
                    <a:lnTo>
                      <a:pt x="403" y="781"/>
                    </a:lnTo>
                    <a:lnTo>
                      <a:pt x="401" y="781"/>
                    </a:lnTo>
                    <a:lnTo>
                      <a:pt x="401" y="783"/>
                    </a:lnTo>
                    <a:lnTo>
                      <a:pt x="400" y="785"/>
                    </a:lnTo>
                    <a:lnTo>
                      <a:pt x="398" y="787"/>
                    </a:lnTo>
                    <a:lnTo>
                      <a:pt x="398" y="789"/>
                    </a:lnTo>
                    <a:lnTo>
                      <a:pt x="396" y="791"/>
                    </a:lnTo>
                    <a:lnTo>
                      <a:pt x="394" y="795"/>
                    </a:lnTo>
                    <a:lnTo>
                      <a:pt x="396" y="796"/>
                    </a:lnTo>
                    <a:lnTo>
                      <a:pt x="392" y="802"/>
                    </a:lnTo>
                    <a:lnTo>
                      <a:pt x="390" y="804"/>
                    </a:lnTo>
                    <a:lnTo>
                      <a:pt x="388" y="806"/>
                    </a:lnTo>
                    <a:lnTo>
                      <a:pt x="386" y="810"/>
                    </a:lnTo>
                    <a:lnTo>
                      <a:pt x="384" y="808"/>
                    </a:lnTo>
                    <a:lnTo>
                      <a:pt x="386" y="806"/>
                    </a:lnTo>
                    <a:lnTo>
                      <a:pt x="384" y="804"/>
                    </a:lnTo>
                    <a:lnTo>
                      <a:pt x="382" y="804"/>
                    </a:lnTo>
                    <a:lnTo>
                      <a:pt x="378" y="802"/>
                    </a:lnTo>
                    <a:lnTo>
                      <a:pt x="378" y="800"/>
                    </a:lnTo>
                    <a:lnTo>
                      <a:pt x="377" y="800"/>
                    </a:lnTo>
                    <a:lnTo>
                      <a:pt x="375" y="802"/>
                    </a:lnTo>
                    <a:lnTo>
                      <a:pt x="373" y="804"/>
                    </a:lnTo>
                    <a:lnTo>
                      <a:pt x="371" y="806"/>
                    </a:lnTo>
                    <a:lnTo>
                      <a:pt x="369" y="808"/>
                    </a:lnTo>
                    <a:lnTo>
                      <a:pt x="369" y="810"/>
                    </a:lnTo>
                    <a:lnTo>
                      <a:pt x="363" y="804"/>
                    </a:lnTo>
                    <a:lnTo>
                      <a:pt x="365" y="800"/>
                    </a:lnTo>
                    <a:lnTo>
                      <a:pt x="367" y="798"/>
                    </a:lnTo>
                    <a:lnTo>
                      <a:pt x="369" y="796"/>
                    </a:lnTo>
                    <a:lnTo>
                      <a:pt x="371" y="793"/>
                    </a:lnTo>
                    <a:lnTo>
                      <a:pt x="373" y="791"/>
                    </a:lnTo>
                    <a:lnTo>
                      <a:pt x="375" y="789"/>
                    </a:lnTo>
                    <a:lnTo>
                      <a:pt x="377" y="787"/>
                    </a:lnTo>
                    <a:lnTo>
                      <a:pt x="371" y="781"/>
                    </a:lnTo>
                    <a:lnTo>
                      <a:pt x="365" y="777"/>
                    </a:lnTo>
                    <a:lnTo>
                      <a:pt x="361" y="775"/>
                    </a:lnTo>
                    <a:lnTo>
                      <a:pt x="361" y="773"/>
                    </a:lnTo>
                    <a:lnTo>
                      <a:pt x="357" y="772"/>
                    </a:lnTo>
                    <a:lnTo>
                      <a:pt x="357" y="770"/>
                    </a:lnTo>
                    <a:lnTo>
                      <a:pt x="359" y="770"/>
                    </a:lnTo>
                    <a:lnTo>
                      <a:pt x="361" y="770"/>
                    </a:lnTo>
                    <a:lnTo>
                      <a:pt x="361" y="768"/>
                    </a:lnTo>
                    <a:lnTo>
                      <a:pt x="361" y="766"/>
                    </a:lnTo>
                    <a:lnTo>
                      <a:pt x="363" y="766"/>
                    </a:lnTo>
                    <a:lnTo>
                      <a:pt x="363" y="764"/>
                    </a:lnTo>
                    <a:lnTo>
                      <a:pt x="361" y="764"/>
                    </a:lnTo>
                    <a:lnTo>
                      <a:pt x="363" y="764"/>
                    </a:lnTo>
                    <a:lnTo>
                      <a:pt x="363" y="762"/>
                    </a:lnTo>
                    <a:lnTo>
                      <a:pt x="363" y="760"/>
                    </a:lnTo>
                    <a:lnTo>
                      <a:pt x="363" y="758"/>
                    </a:lnTo>
                    <a:lnTo>
                      <a:pt x="365" y="758"/>
                    </a:lnTo>
                    <a:lnTo>
                      <a:pt x="367" y="756"/>
                    </a:lnTo>
                    <a:lnTo>
                      <a:pt x="365" y="752"/>
                    </a:lnTo>
                    <a:lnTo>
                      <a:pt x="363" y="752"/>
                    </a:lnTo>
                    <a:lnTo>
                      <a:pt x="363" y="754"/>
                    </a:lnTo>
                    <a:lnTo>
                      <a:pt x="361" y="752"/>
                    </a:lnTo>
                    <a:lnTo>
                      <a:pt x="359" y="750"/>
                    </a:lnTo>
                    <a:lnTo>
                      <a:pt x="357" y="750"/>
                    </a:lnTo>
                    <a:lnTo>
                      <a:pt x="355" y="748"/>
                    </a:lnTo>
                    <a:lnTo>
                      <a:pt x="352" y="745"/>
                    </a:lnTo>
                    <a:lnTo>
                      <a:pt x="348" y="741"/>
                    </a:lnTo>
                    <a:lnTo>
                      <a:pt x="342" y="737"/>
                    </a:lnTo>
                    <a:lnTo>
                      <a:pt x="338" y="733"/>
                    </a:lnTo>
                    <a:lnTo>
                      <a:pt x="332" y="729"/>
                    </a:lnTo>
                    <a:lnTo>
                      <a:pt x="329" y="727"/>
                    </a:lnTo>
                    <a:lnTo>
                      <a:pt x="332" y="722"/>
                    </a:lnTo>
                    <a:lnTo>
                      <a:pt x="334" y="716"/>
                    </a:lnTo>
                    <a:lnTo>
                      <a:pt x="332" y="714"/>
                    </a:lnTo>
                    <a:lnTo>
                      <a:pt x="329" y="710"/>
                    </a:lnTo>
                    <a:lnTo>
                      <a:pt x="330" y="708"/>
                    </a:lnTo>
                    <a:lnTo>
                      <a:pt x="332" y="708"/>
                    </a:lnTo>
                    <a:lnTo>
                      <a:pt x="334" y="708"/>
                    </a:lnTo>
                    <a:lnTo>
                      <a:pt x="334" y="706"/>
                    </a:lnTo>
                    <a:lnTo>
                      <a:pt x="334" y="704"/>
                    </a:lnTo>
                    <a:lnTo>
                      <a:pt x="332" y="702"/>
                    </a:lnTo>
                    <a:lnTo>
                      <a:pt x="334" y="702"/>
                    </a:lnTo>
                    <a:lnTo>
                      <a:pt x="334" y="700"/>
                    </a:lnTo>
                    <a:lnTo>
                      <a:pt x="330" y="697"/>
                    </a:lnTo>
                    <a:lnTo>
                      <a:pt x="329" y="695"/>
                    </a:lnTo>
                    <a:lnTo>
                      <a:pt x="329" y="693"/>
                    </a:lnTo>
                    <a:lnTo>
                      <a:pt x="327" y="693"/>
                    </a:lnTo>
                    <a:lnTo>
                      <a:pt x="325" y="693"/>
                    </a:lnTo>
                    <a:lnTo>
                      <a:pt x="325" y="691"/>
                    </a:lnTo>
                    <a:lnTo>
                      <a:pt x="321" y="691"/>
                    </a:lnTo>
                    <a:lnTo>
                      <a:pt x="321" y="693"/>
                    </a:lnTo>
                    <a:lnTo>
                      <a:pt x="321" y="691"/>
                    </a:lnTo>
                    <a:lnTo>
                      <a:pt x="319" y="691"/>
                    </a:lnTo>
                    <a:lnTo>
                      <a:pt x="319" y="693"/>
                    </a:lnTo>
                    <a:lnTo>
                      <a:pt x="319" y="691"/>
                    </a:lnTo>
                    <a:lnTo>
                      <a:pt x="317" y="691"/>
                    </a:lnTo>
                    <a:lnTo>
                      <a:pt x="315" y="691"/>
                    </a:lnTo>
                    <a:lnTo>
                      <a:pt x="313" y="691"/>
                    </a:lnTo>
                    <a:lnTo>
                      <a:pt x="311" y="691"/>
                    </a:lnTo>
                    <a:lnTo>
                      <a:pt x="309" y="691"/>
                    </a:lnTo>
                    <a:lnTo>
                      <a:pt x="309" y="689"/>
                    </a:lnTo>
                    <a:lnTo>
                      <a:pt x="309" y="687"/>
                    </a:lnTo>
                    <a:lnTo>
                      <a:pt x="311" y="687"/>
                    </a:lnTo>
                    <a:lnTo>
                      <a:pt x="311" y="685"/>
                    </a:lnTo>
                    <a:lnTo>
                      <a:pt x="309" y="685"/>
                    </a:lnTo>
                    <a:lnTo>
                      <a:pt x="311" y="683"/>
                    </a:lnTo>
                    <a:lnTo>
                      <a:pt x="311" y="681"/>
                    </a:lnTo>
                    <a:lnTo>
                      <a:pt x="313" y="681"/>
                    </a:lnTo>
                    <a:lnTo>
                      <a:pt x="313" y="679"/>
                    </a:lnTo>
                    <a:lnTo>
                      <a:pt x="311" y="679"/>
                    </a:lnTo>
                    <a:lnTo>
                      <a:pt x="311" y="677"/>
                    </a:lnTo>
                    <a:lnTo>
                      <a:pt x="309" y="677"/>
                    </a:lnTo>
                    <a:lnTo>
                      <a:pt x="307" y="677"/>
                    </a:lnTo>
                    <a:lnTo>
                      <a:pt x="307" y="676"/>
                    </a:lnTo>
                    <a:lnTo>
                      <a:pt x="305" y="676"/>
                    </a:lnTo>
                    <a:lnTo>
                      <a:pt x="304" y="676"/>
                    </a:lnTo>
                    <a:lnTo>
                      <a:pt x="302" y="674"/>
                    </a:lnTo>
                    <a:lnTo>
                      <a:pt x="300" y="672"/>
                    </a:lnTo>
                    <a:lnTo>
                      <a:pt x="298" y="672"/>
                    </a:lnTo>
                    <a:lnTo>
                      <a:pt x="298" y="670"/>
                    </a:lnTo>
                    <a:lnTo>
                      <a:pt x="300" y="666"/>
                    </a:lnTo>
                    <a:lnTo>
                      <a:pt x="304" y="664"/>
                    </a:lnTo>
                    <a:lnTo>
                      <a:pt x="302" y="662"/>
                    </a:lnTo>
                    <a:lnTo>
                      <a:pt x="300" y="660"/>
                    </a:lnTo>
                    <a:lnTo>
                      <a:pt x="298" y="658"/>
                    </a:lnTo>
                    <a:lnTo>
                      <a:pt x="296" y="656"/>
                    </a:lnTo>
                    <a:lnTo>
                      <a:pt x="298" y="654"/>
                    </a:lnTo>
                    <a:lnTo>
                      <a:pt x="298" y="652"/>
                    </a:lnTo>
                    <a:lnTo>
                      <a:pt x="305" y="645"/>
                    </a:lnTo>
                    <a:lnTo>
                      <a:pt x="304" y="645"/>
                    </a:lnTo>
                    <a:lnTo>
                      <a:pt x="302" y="643"/>
                    </a:lnTo>
                    <a:lnTo>
                      <a:pt x="300" y="641"/>
                    </a:lnTo>
                    <a:lnTo>
                      <a:pt x="298" y="641"/>
                    </a:lnTo>
                    <a:lnTo>
                      <a:pt x="294" y="635"/>
                    </a:lnTo>
                    <a:lnTo>
                      <a:pt x="292" y="635"/>
                    </a:lnTo>
                    <a:lnTo>
                      <a:pt x="294" y="631"/>
                    </a:lnTo>
                    <a:lnTo>
                      <a:pt x="292" y="631"/>
                    </a:lnTo>
                    <a:lnTo>
                      <a:pt x="286" y="626"/>
                    </a:lnTo>
                    <a:lnTo>
                      <a:pt x="290" y="622"/>
                    </a:lnTo>
                    <a:lnTo>
                      <a:pt x="288" y="620"/>
                    </a:lnTo>
                    <a:lnTo>
                      <a:pt x="286" y="618"/>
                    </a:lnTo>
                    <a:lnTo>
                      <a:pt x="284" y="616"/>
                    </a:lnTo>
                    <a:lnTo>
                      <a:pt x="282" y="614"/>
                    </a:lnTo>
                    <a:lnTo>
                      <a:pt x="281" y="612"/>
                    </a:lnTo>
                    <a:lnTo>
                      <a:pt x="277" y="608"/>
                    </a:lnTo>
                    <a:lnTo>
                      <a:pt x="277" y="610"/>
                    </a:lnTo>
                    <a:lnTo>
                      <a:pt x="275" y="612"/>
                    </a:lnTo>
                    <a:lnTo>
                      <a:pt x="277" y="612"/>
                    </a:lnTo>
                    <a:lnTo>
                      <a:pt x="277" y="614"/>
                    </a:lnTo>
                    <a:lnTo>
                      <a:pt x="277" y="616"/>
                    </a:lnTo>
                    <a:lnTo>
                      <a:pt x="275" y="616"/>
                    </a:lnTo>
                    <a:lnTo>
                      <a:pt x="275" y="618"/>
                    </a:lnTo>
                    <a:lnTo>
                      <a:pt x="277" y="618"/>
                    </a:lnTo>
                    <a:lnTo>
                      <a:pt x="279" y="618"/>
                    </a:lnTo>
                    <a:lnTo>
                      <a:pt x="277" y="620"/>
                    </a:lnTo>
                    <a:lnTo>
                      <a:pt x="275" y="620"/>
                    </a:lnTo>
                    <a:lnTo>
                      <a:pt x="273" y="620"/>
                    </a:lnTo>
                    <a:lnTo>
                      <a:pt x="271" y="620"/>
                    </a:lnTo>
                    <a:lnTo>
                      <a:pt x="271" y="622"/>
                    </a:lnTo>
                    <a:lnTo>
                      <a:pt x="269" y="622"/>
                    </a:lnTo>
                    <a:lnTo>
                      <a:pt x="269" y="620"/>
                    </a:lnTo>
                    <a:lnTo>
                      <a:pt x="267" y="620"/>
                    </a:lnTo>
                    <a:lnTo>
                      <a:pt x="265" y="620"/>
                    </a:lnTo>
                    <a:lnTo>
                      <a:pt x="261" y="618"/>
                    </a:lnTo>
                    <a:lnTo>
                      <a:pt x="259" y="624"/>
                    </a:lnTo>
                    <a:lnTo>
                      <a:pt x="257" y="624"/>
                    </a:lnTo>
                    <a:lnTo>
                      <a:pt x="254" y="626"/>
                    </a:lnTo>
                    <a:lnTo>
                      <a:pt x="254" y="631"/>
                    </a:lnTo>
                    <a:lnTo>
                      <a:pt x="252" y="631"/>
                    </a:lnTo>
                    <a:lnTo>
                      <a:pt x="252" y="629"/>
                    </a:lnTo>
                    <a:lnTo>
                      <a:pt x="248" y="629"/>
                    </a:lnTo>
                    <a:lnTo>
                      <a:pt x="248" y="631"/>
                    </a:lnTo>
                    <a:lnTo>
                      <a:pt x="248" y="629"/>
                    </a:lnTo>
                    <a:lnTo>
                      <a:pt x="246" y="629"/>
                    </a:lnTo>
                    <a:lnTo>
                      <a:pt x="244" y="631"/>
                    </a:lnTo>
                    <a:lnTo>
                      <a:pt x="244" y="633"/>
                    </a:lnTo>
                    <a:lnTo>
                      <a:pt x="242" y="633"/>
                    </a:lnTo>
                    <a:lnTo>
                      <a:pt x="242" y="631"/>
                    </a:lnTo>
                    <a:lnTo>
                      <a:pt x="240" y="631"/>
                    </a:lnTo>
                    <a:lnTo>
                      <a:pt x="240" y="633"/>
                    </a:lnTo>
                    <a:lnTo>
                      <a:pt x="240" y="635"/>
                    </a:lnTo>
                    <a:lnTo>
                      <a:pt x="242" y="635"/>
                    </a:lnTo>
                    <a:lnTo>
                      <a:pt x="242" y="637"/>
                    </a:lnTo>
                    <a:lnTo>
                      <a:pt x="240" y="637"/>
                    </a:lnTo>
                    <a:lnTo>
                      <a:pt x="238" y="637"/>
                    </a:lnTo>
                    <a:lnTo>
                      <a:pt x="236" y="637"/>
                    </a:lnTo>
                    <a:lnTo>
                      <a:pt x="236" y="635"/>
                    </a:lnTo>
                    <a:lnTo>
                      <a:pt x="234" y="635"/>
                    </a:lnTo>
                    <a:lnTo>
                      <a:pt x="234" y="633"/>
                    </a:lnTo>
                    <a:lnTo>
                      <a:pt x="236" y="633"/>
                    </a:lnTo>
                    <a:lnTo>
                      <a:pt x="238" y="631"/>
                    </a:lnTo>
                    <a:lnTo>
                      <a:pt x="236" y="631"/>
                    </a:lnTo>
                    <a:lnTo>
                      <a:pt x="236" y="629"/>
                    </a:lnTo>
                    <a:lnTo>
                      <a:pt x="234" y="629"/>
                    </a:lnTo>
                    <a:lnTo>
                      <a:pt x="234" y="628"/>
                    </a:lnTo>
                    <a:lnTo>
                      <a:pt x="236" y="628"/>
                    </a:lnTo>
                    <a:lnTo>
                      <a:pt x="234" y="628"/>
                    </a:lnTo>
                    <a:lnTo>
                      <a:pt x="234" y="626"/>
                    </a:lnTo>
                    <a:lnTo>
                      <a:pt x="233" y="626"/>
                    </a:lnTo>
                    <a:lnTo>
                      <a:pt x="233" y="628"/>
                    </a:lnTo>
                    <a:lnTo>
                      <a:pt x="234" y="628"/>
                    </a:lnTo>
                    <a:lnTo>
                      <a:pt x="233" y="628"/>
                    </a:lnTo>
                    <a:lnTo>
                      <a:pt x="233" y="629"/>
                    </a:lnTo>
                    <a:lnTo>
                      <a:pt x="231" y="629"/>
                    </a:lnTo>
                    <a:lnTo>
                      <a:pt x="231" y="628"/>
                    </a:lnTo>
                    <a:lnTo>
                      <a:pt x="229" y="628"/>
                    </a:lnTo>
                    <a:lnTo>
                      <a:pt x="229" y="626"/>
                    </a:lnTo>
                    <a:lnTo>
                      <a:pt x="227" y="626"/>
                    </a:lnTo>
                    <a:lnTo>
                      <a:pt x="227" y="628"/>
                    </a:lnTo>
                    <a:lnTo>
                      <a:pt x="227" y="629"/>
                    </a:lnTo>
                    <a:lnTo>
                      <a:pt x="225" y="629"/>
                    </a:lnTo>
                    <a:lnTo>
                      <a:pt x="223" y="628"/>
                    </a:lnTo>
                    <a:lnTo>
                      <a:pt x="221" y="628"/>
                    </a:lnTo>
                    <a:lnTo>
                      <a:pt x="221" y="626"/>
                    </a:lnTo>
                    <a:lnTo>
                      <a:pt x="221" y="624"/>
                    </a:lnTo>
                    <a:lnTo>
                      <a:pt x="221" y="622"/>
                    </a:lnTo>
                    <a:lnTo>
                      <a:pt x="221" y="620"/>
                    </a:lnTo>
                    <a:lnTo>
                      <a:pt x="219" y="620"/>
                    </a:lnTo>
                    <a:lnTo>
                      <a:pt x="219" y="622"/>
                    </a:lnTo>
                    <a:lnTo>
                      <a:pt x="217" y="622"/>
                    </a:lnTo>
                    <a:lnTo>
                      <a:pt x="217" y="620"/>
                    </a:lnTo>
                    <a:lnTo>
                      <a:pt x="215" y="620"/>
                    </a:lnTo>
                    <a:lnTo>
                      <a:pt x="215" y="622"/>
                    </a:lnTo>
                    <a:lnTo>
                      <a:pt x="215" y="624"/>
                    </a:lnTo>
                    <a:lnTo>
                      <a:pt x="213" y="624"/>
                    </a:lnTo>
                    <a:lnTo>
                      <a:pt x="215" y="624"/>
                    </a:lnTo>
                    <a:lnTo>
                      <a:pt x="215" y="626"/>
                    </a:lnTo>
                    <a:lnTo>
                      <a:pt x="215" y="628"/>
                    </a:lnTo>
                    <a:lnTo>
                      <a:pt x="213" y="628"/>
                    </a:lnTo>
                    <a:lnTo>
                      <a:pt x="211" y="629"/>
                    </a:lnTo>
                    <a:lnTo>
                      <a:pt x="209" y="629"/>
                    </a:lnTo>
                    <a:lnTo>
                      <a:pt x="209" y="628"/>
                    </a:lnTo>
                    <a:lnTo>
                      <a:pt x="209" y="629"/>
                    </a:lnTo>
                    <a:lnTo>
                      <a:pt x="208" y="629"/>
                    </a:lnTo>
                    <a:lnTo>
                      <a:pt x="208" y="628"/>
                    </a:lnTo>
                    <a:lnTo>
                      <a:pt x="208" y="626"/>
                    </a:lnTo>
                    <a:lnTo>
                      <a:pt x="209" y="626"/>
                    </a:lnTo>
                    <a:lnTo>
                      <a:pt x="209" y="624"/>
                    </a:lnTo>
                    <a:lnTo>
                      <a:pt x="208" y="624"/>
                    </a:lnTo>
                    <a:lnTo>
                      <a:pt x="209" y="624"/>
                    </a:lnTo>
                    <a:lnTo>
                      <a:pt x="209" y="622"/>
                    </a:lnTo>
                    <a:lnTo>
                      <a:pt x="209" y="620"/>
                    </a:lnTo>
                    <a:lnTo>
                      <a:pt x="208" y="620"/>
                    </a:lnTo>
                    <a:lnTo>
                      <a:pt x="208" y="618"/>
                    </a:lnTo>
                    <a:lnTo>
                      <a:pt x="206" y="618"/>
                    </a:lnTo>
                    <a:lnTo>
                      <a:pt x="204" y="618"/>
                    </a:lnTo>
                    <a:lnTo>
                      <a:pt x="202" y="618"/>
                    </a:lnTo>
                    <a:lnTo>
                      <a:pt x="200" y="618"/>
                    </a:lnTo>
                    <a:lnTo>
                      <a:pt x="200" y="620"/>
                    </a:lnTo>
                    <a:lnTo>
                      <a:pt x="200" y="618"/>
                    </a:lnTo>
                    <a:lnTo>
                      <a:pt x="200" y="616"/>
                    </a:lnTo>
                    <a:lnTo>
                      <a:pt x="198" y="616"/>
                    </a:lnTo>
                    <a:lnTo>
                      <a:pt x="196" y="616"/>
                    </a:lnTo>
                    <a:lnTo>
                      <a:pt x="196" y="618"/>
                    </a:lnTo>
                    <a:lnTo>
                      <a:pt x="194" y="618"/>
                    </a:lnTo>
                    <a:lnTo>
                      <a:pt x="196" y="618"/>
                    </a:lnTo>
                    <a:lnTo>
                      <a:pt x="196" y="620"/>
                    </a:lnTo>
                    <a:lnTo>
                      <a:pt x="194" y="620"/>
                    </a:lnTo>
                    <a:lnTo>
                      <a:pt x="192" y="620"/>
                    </a:lnTo>
                    <a:lnTo>
                      <a:pt x="192" y="622"/>
                    </a:lnTo>
                    <a:lnTo>
                      <a:pt x="190" y="618"/>
                    </a:lnTo>
                    <a:lnTo>
                      <a:pt x="190" y="616"/>
                    </a:lnTo>
                    <a:lnTo>
                      <a:pt x="190" y="614"/>
                    </a:lnTo>
                    <a:lnTo>
                      <a:pt x="190" y="612"/>
                    </a:lnTo>
                    <a:lnTo>
                      <a:pt x="188" y="612"/>
                    </a:lnTo>
                    <a:lnTo>
                      <a:pt x="186" y="612"/>
                    </a:lnTo>
                    <a:lnTo>
                      <a:pt x="184" y="612"/>
                    </a:lnTo>
                    <a:lnTo>
                      <a:pt x="183" y="612"/>
                    </a:lnTo>
                    <a:lnTo>
                      <a:pt x="183" y="610"/>
                    </a:lnTo>
                    <a:lnTo>
                      <a:pt x="181" y="610"/>
                    </a:lnTo>
                    <a:lnTo>
                      <a:pt x="179" y="610"/>
                    </a:lnTo>
                    <a:lnTo>
                      <a:pt x="179" y="612"/>
                    </a:lnTo>
                    <a:lnTo>
                      <a:pt x="177" y="614"/>
                    </a:lnTo>
                    <a:lnTo>
                      <a:pt x="177" y="616"/>
                    </a:lnTo>
                    <a:lnTo>
                      <a:pt x="175" y="616"/>
                    </a:lnTo>
                    <a:lnTo>
                      <a:pt x="175" y="614"/>
                    </a:lnTo>
                    <a:lnTo>
                      <a:pt x="173" y="614"/>
                    </a:lnTo>
                    <a:lnTo>
                      <a:pt x="173" y="616"/>
                    </a:lnTo>
                    <a:lnTo>
                      <a:pt x="171" y="616"/>
                    </a:lnTo>
                    <a:lnTo>
                      <a:pt x="171" y="614"/>
                    </a:lnTo>
                    <a:lnTo>
                      <a:pt x="169" y="614"/>
                    </a:lnTo>
                    <a:lnTo>
                      <a:pt x="167" y="614"/>
                    </a:lnTo>
                    <a:lnTo>
                      <a:pt x="167" y="612"/>
                    </a:lnTo>
                    <a:lnTo>
                      <a:pt x="165" y="612"/>
                    </a:lnTo>
                    <a:lnTo>
                      <a:pt x="163" y="612"/>
                    </a:lnTo>
                    <a:lnTo>
                      <a:pt x="163" y="614"/>
                    </a:lnTo>
                    <a:lnTo>
                      <a:pt x="161" y="614"/>
                    </a:lnTo>
                    <a:lnTo>
                      <a:pt x="160" y="612"/>
                    </a:lnTo>
                    <a:lnTo>
                      <a:pt x="160" y="610"/>
                    </a:lnTo>
                    <a:lnTo>
                      <a:pt x="158" y="610"/>
                    </a:lnTo>
                    <a:lnTo>
                      <a:pt x="158" y="612"/>
                    </a:lnTo>
                    <a:lnTo>
                      <a:pt x="156" y="612"/>
                    </a:lnTo>
                    <a:lnTo>
                      <a:pt x="154" y="612"/>
                    </a:lnTo>
                    <a:lnTo>
                      <a:pt x="154" y="614"/>
                    </a:lnTo>
                    <a:lnTo>
                      <a:pt x="152" y="614"/>
                    </a:lnTo>
                    <a:lnTo>
                      <a:pt x="150" y="614"/>
                    </a:lnTo>
                    <a:lnTo>
                      <a:pt x="152" y="614"/>
                    </a:lnTo>
                    <a:lnTo>
                      <a:pt x="152" y="612"/>
                    </a:lnTo>
                    <a:lnTo>
                      <a:pt x="152" y="610"/>
                    </a:lnTo>
                    <a:lnTo>
                      <a:pt x="152" y="612"/>
                    </a:lnTo>
                    <a:lnTo>
                      <a:pt x="150" y="612"/>
                    </a:lnTo>
                    <a:lnTo>
                      <a:pt x="148" y="612"/>
                    </a:lnTo>
                    <a:lnTo>
                      <a:pt x="148" y="610"/>
                    </a:lnTo>
                    <a:lnTo>
                      <a:pt x="148" y="608"/>
                    </a:lnTo>
                    <a:lnTo>
                      <a:pt x="146" y="608"/>
                    </a:lnTo>
                    <a:lnTo>
                      <a:pt x="144" y="608"/>
                    </a:lnTo>
                    <a:lnTo>
                      <a:pt x="144" y="606"/>
                    </a:lnTo>
                    <a:lnTo>
                      <a:pt x="144" y="605"/>
                    </a:lnTo>
                    <a:lnTo>
                      <a:pt x="142" y="605"/>
                    </a:lnTo>
                    <a:lnTo>
                      <a:pt x="142" y="603"/>
                    </a:lnTo>
                    <a:lnTo>
                      <a:pt x="142" y="605"/>
                    </a:lnTo>
                    <a:lnTo>
                      <a:pt x="142" y="603"/>
                    </a:lnTo>
                    <a:lnTo>
                      <a:pt x="140" y="603"/>
                    </a:lnTo>
                    <a:lnTo>
                      <a:pt x="138" y="603"/>
                    </a:lnTo>
                    <a:lnTo>
                      <a:pt x="138" y="601"/>
                    </a:lnTo>
                    <a:lnTo>
                      <a:pt x="138" y="599"/>
                    </a:lnTo>
                    <a:lnTo>
                      <a:pt x="138" y="597"/>
                    </a:lnTo>
                    <a:lnTo>
                      <a:pt x="136" y="597"/>
                    </a:lnTo>
                    <a:lnTo>
                      <a:pt x="136" y="599"/>
                    </a:lnTo>
                    <a:lnTo>
                      <a:pt x="135" y="599"/>
                    </a:lnTo>
                    <a:lnTo>
                      <a:pt x="135" y="597"/>
                    </a:lnTo>
                    <a:lnTo>
                      <a:pt x="133" y="597"/>
                    </a:lnTo>
                    <a:lnTo>
                      <a:pt x="131" y="597"/>
                    </a:lnTo>
                    <a:lnTo>
                      <a:pt x="129" y="597"/>
                    </a:lnTo>
                    <a:lnTo>
                      <a:pt x="129" y="595"/>
                    </a:lnTo>
                    <a:lnTo>
                      <a:pt x="129" y="593"/>
                    </a:lnTo>
                    <a:lnTo>
                      <a:pt x="129" y="595"/>
                    </a:lnTo>
                    <a:lnTo>
                      <a:pt x="131" y="595"/>
                    </a:lnTo>
                    <a:lnTo>
                      <a:pt x="131" y="593"/>
                    </a:lnTo>
                    <a:lnTo>
                      <a:pt x="129" y="593"/>
                    </a:lnTo>
                    <a:lnTo>
                      <a:pt x="129" y="591"/>
                    </a:lnTo>
                    <a:lnTo>
                      <a:pt x="131" y="591"/>
                    </a:lnTo>
                    <a:lnTo>
                      <a:pt x="129" y="591"/>
                    </a:lnTo>
                    <a:lnTo>
                      <a:pt x="129" y="589"/>
                    </a:lnTo>
                    <a:lnTo>
                      <a:pt x="127" y="589"/>
                    </a:lnTo>
                    <a:lnTo>
                      <a:pt x="127" y="591"/>
                    </a:lnTo>
                    <a:lnTo>
                      <a:pt x="125" y="591"/>
                    </a:lnTo>
                    <a:lnTo>
                      <a:pt x="125" y="589"/>
                    </a:lnTo>
                    <a:lnTo>
                      <a:pt x="123" y="589"/>
                    </a:lnTo>
                    <a:lnTo>
                      <a:pt x="123" y="587"/>
                    </a:lnTo>
                    <a:lnTo>
                      <a:pt x="121" y="587"/>
                    </a:lnTo>
                    <a:lnTo>
                      <a:pt x="121" y="585"/>
                    </a:lnTo>
                    <a:lnTo>
                      <a:pt x="119" y="585"/>
                    </a:lnTo>
                    <a:lnTo>
                      <a:pt x="119" y="583"/>
                    </a:lnTo>
                    <a:lnTo>
                      <a:pt x="117" y="583"/>
                    </a:lnTo>
                    <a:lnTo>
                      <a:pt x="117" y="585"/>
                    </a:lnTo>
                    <a:lnTo>
                      <a:pt x="115" y="585"/>
                    </a:lnTo>
                    <a:lnTo>
                      <a:pt x="115" y="583"/>
                    </a:lnTo>
                    <a:lnTo>
                      <a:pt x="113" y="583"/>
                    </a:lnTo>
                    <a:lnTo>
                      <a:pt x="113" y="581"/>
                    </a:lnTo>
                    <a:lnTo>
                      <a:pt x="112" y="581"/>
                    </a:lnTo>
                    <a:lnTo>
                      <a:pt x="112" y="580"/>
                    </a:lnTo>
                    <a:lnTo>
                      <a:pt x="113" y="580"/>
                    </a:lnTo>
                    <a:lnTo>
                      <a:pt x="113" y="578"/>
                    </a:lnTo>
                    <a:lnTo>
                      <a:pt x="112" y="578"/>
                    </a:lnTo>
                    <a:lnTo>
                      <a:pt x="112" y="576"/>
                    </a:lnTo>
                    <a:lnTo>
                      <a:pt x="110" y="576"/>
                    </a:lnTo>
                    <a:lnTo>
                      <a:pt x="110" y="574"/>
                    </a:lnTo>
                    <a:lnTo>
                      <a:pt x="108" y="576"/>
                    </a:lnTo>
                    <a:lnTo>
                      <a:pt x="108" y="574"/>
                    </a:lnTo>
                    <a:lnTo>
                      <a:pt x="106" y="572"/>
                    </a:lnTo>
                    <a:lnTo>
                      <a:pt x="106" y="574"/>
                    </a:lnTo>
                    <a:lnTo>
                      <a:pt x="106" y="572"/>
                    </a:lnTo>
                    <a:lnTo>
                      <a:pt x="104" y="572"/>
                    </a:lnTo>
                    <a:lnTo>
                      <a:pt x="102" y="572"/>
                    </a:lnTo>
                    <a:lnTo>
                      <a:pt x="102" y="570"/>
                    </a:lnTo>
                    <a:lnTo>
                      <a:pt x="104" y="570"/>
                    </a:lnTo>
                    <a:lnTo>
                      <a:pt x="104" y="568"/>
                    </a:lnTo>
                    <a:lnTo>
                      <a:pt x="106" y="568"/>
                    </a:lnTo>
                    <a:lnTo>
                      <a:pt x="106" y="570"/>
                    </a:lnTo>
                    <a:lnTo>
                      <a:pt x="106" y="568"/>
                    </a:lnTo>
                    <a:lnTo>
                      <a:pt x="106" y="566"/>
                    </a:lnTo>
                    <a:lnTo>
                      <a:pt x="106" y="564"/>
                    </a:lnTo>
                    <a:lnTo>
                      <a:pt x="104" y="564"/>
                    </a:lnTo>
                    <a:lnTo>
                      <a:pt x="104" y="562"/>
                    </a:lnTo>
                    <a:lnTo>
                      <a:pt x="104" y="564"/>
                    </a:lnTo>
                    <a:lnTo>
                      <a:pt x="102" y="564"/>
                    </a:lnTo>
                    <a:lnTo>
                      <a:pt x="102" y="562"/>
                    </a:lnTo>
                    <a:lnTo>
                      <a:pt x="100" y="562"/>
                    </a:lnTo>
                    <a:lnTo>
                      <a:pt x="100" y="560"/>
                    </a:lnTo>
                    <a:lnTo>
                      <a:pt x="100" y="562"/>
                    </a:lnTo>
                    <a:lnTo>
                      <a:pt x="100" y="560"/>
                    </a:lnTo>
                    <a:lnTo>
                      <a:pt x="100" y="562"/>
                    </a:lnTo>
                    <a:lnTo>
                      <a:pt x="100" y="560"/>
                    </a:lnTo>
                    <a:lnTo>
                      <a:pt x="100" y="562"/>
                    </a:lnTo>
                    <a:lnTo>
                      <a:pt x="98" y="562"/>
                    </a:lnTo>
                    <a:lnTo>
                      <a:pt x="98" y="560"/>
                    </a:lnTo>
                    <a:lnTo>
                      <a:pt x="98" y="562"/>
                    </a:lnTo>
                    <a:lnTo>
                      <a:pt x="98" y="560"/>
                    </a:lnTo>
                    <a:lnTo>
                      <a:pt x="96" y="560"/>
                    </a:lnTo>
                    <a:lnTo>
                      <a:pt x="96" y="562"/>
                    </a:lnTo>
                    <a:lnTo>
                      <a:pt x="94" y="560"/>
                    </a:lnTo>
                    <a:lnTo>
                      <a:pt x="94" y="558"/>
                    </a:lnTo>
                    <a:lnTo>
                      <a:pt x="94" y="557"/>
                    </a:lnTo>
                    <a:lnTo>
                      <a:pt x="92" y="557"/>
                    </a:lnTo>
                    <a:lnTo>
                      <a:pt x="90" y="557"/>
                    </a:lnTo>
                    <a:lnTo>
                      <a:pt x="90" y="555"/>
                    </a:lnTo>
                    <a:lnTo>
                      <a:pt x="92" y="553"/>
                    </a:lnTo>
                    <a:lnTo>
                      <a:pt x="90" y="553"/>
                    </a:lnTo>
                    <a:lnTo>
                      <a:pt x="88" y="553"/>
                    </a:lnTo>
                    <a:lnTo>
                      <a:pt x="87" y="553"/>
                    </a:lnTo>
                    <a:lnTo>
                      <a:pt x="85" y="553"/>
                    </a:lnTo>
                    <a:lnTo>
                      <a:pt x="87" y="553"/>
                    </a:lnTo>
                    <a:lnTo>
                      <a:pt x="85" y="553"/>
                    </a:lnTo>
                    <a:lnTo>
                      <a:pt x="85" y="555"/>
                    </a:lnTo>
                    <a:lnTo>
                      <a:pt x="85" y="557"/>
                    </a:lnTo>
                    <a:lnTo>
                      <a:pt x="83" y="557"/>
                    </a:lnTo>
                    <a:lnTo>
                      <a:pt x="83" y="558"/>
                    </a:lnTo>
                    <a:lnTo>
                      <a:pt x="83" y="557"/>
                    </a:lnTo>
                    <a:lnTo>
                      <a:pt x="81" y="558"/>
                    </a:lnTo>
                    <a:lnTo>
                      <a:pt x="81" y="557"/>
                    </a:lnTo>
                    <a:lnTo>
                      <a:pt x="81" y="555"/>
                    </a:lnTo>
                    <a:lnTo>
                      <a:pt x="79" y="555"/>
                    </a:lnTo>
                    <a:lnTo>
                      <a:pt x="77" y="555"/>
                    </a:lnTo>
                    <a:lnTo>
                      <a:pt x="75" y="555"/>
                    </a:lnTo>
                    <a:lnTo>
                      <a:pt x="73" y="555"/>
                    </a:lnTo>
                    <a:lnTo>
                      <a:pt x="73" y="553"/>
                    </a:lnTo>
                    <a:lnTo>
                      <a:pt x="73" y="551"/>
                    </a:lnTo>
                    <a:lnTo>
                      <a:pt x="75" y="551"/>
                    </a:lnTo>
                    <a:lnTo>
                      <a:pt x="75" y="549"/>
                    </a:lnTo>
                    <a:lnTo>
                      <a:pt x="77" y="549"/>
                    </a:lnTo>
                    <a:lnTo>
                      <a:pt x="77" y="551"/>
                    </a:lnTo>
                    <a:lnTo>
                      <a:pt x="79" y="549"/>
                    </a:lnTo>
                    <a:lnTo>
                      <a:pt x="77" y="549"/>
                    </a:lnTo>
                    <a:lnTo>
                      <a:pt x="79" y="549"/>
                    </a:lnTo>
                    <a:lnTo>
                      <a:pt x="79" y="547"/>
                    </a:lnTo>
                    <a:lnTo>
                      <a:pt x="81" y="547"/>
                    </a:lnTo>
                    <a:lnTo>
                      <a:pt x="83" y="547"/>
                    </a:lnTo>
                    <a:lnTo>
                      <a:pt x="81" y="545"/>
                    </a:lnTo>
                    <a:lnTo>
                      <a:pt x="79" y="545"/>
                    </a:lnTo>
                    <a:lnTo>
                      <a:pt x="77" y="543"/>
                    </a:lnTo>
                    <a:lnTo>
                      <a:pt x="77" y="541"/>
                    </a:lnTo>
                    <a:lnTo>
                      <a:pt x="77" y="543"/>
                    </a:lnTo>
                    <a:lnTo>
                      <a:pt x="75" y="543"/>
                    </a:lnTo>
                    <a:lnTo>
                      <a:pt x="75" y="541"/>
                    </a:lnTo>
                    <a:lnTo>
                      <a:pt x="73" y="541"/>
                    </a:lnTo>
                    <a:lnTo>
                      <a:pt x="73" y="539"/>
                    </a:lnTo>
                    <a:lnTo>
                      <a:pt x="73" y="537"/>
                    </a:lnTo>
                    <a:lnTo>
                      <a:pt x="75" y="537"/>
                    </a:lnTo>
                    <a:lnTo>
                      <a:pt x="77" y="537"/>
                    </a:lnTo>
                    <a:lnTo>
                      <a:pt x="79" y="537"/>
                    </a:lnTo>
                    <a:lnTo>
                      <a:pt x="79" y="535"/>
                    </a:lnTo>
                    <a:lnTo>
                      <a:pt x="77" y="535"/>
                    </a:lnTo>
                    <a:lnTo>
                      <a:pt x="77" y="533"/>
                    </a:lnTo>
                    <a:lnTo>
                      <a:pt x="75" y="533"/>
                    </a:lnTo>
                    <a:lnTo>
                      <a:pt x="75" y="532"/>
                    </a:lnTo>
                    <a:lnTo>
                      <a:pt x="73" y="532"/>
                    </a:lnTo>
                    <a:lnTo>
                      <a:pt x="71" y="532"/>
                    </a:lnTo>
                    <a:lnTo>
                      <a:pt x="69" y="532"/>
                    </a:lnTo>
                    <a:lnTo>
                      <a:pt x="67" y="532"/>
                    </a:lnTo>
                    <a:lnTo>
                      <a:pt x="65" y="532"/>
                    </a:lnTo>
                    <a:lnTo>
                      <a:pt x="64" y="532"/>
                    </a:lnTo>
                    <a:lnTo>
                      <a:pt x="64" y="533"/>
                    </a:lnTo>
                    <a:lnTo>
                      <a:pt x="64" y="535"/>
                    </a:lnTo>
                    <a:lnTo>
                      <a:pt x="62" y="535"/>
                    </a:lnTo>
                    <a:lnTo>
                      <a:pt x="60" y="535"/>
                    </a:lnTo>
                    <a:lnTo>
                      <a:pt x="58" y="535"/>
                    </a:lnTo>
                    <a:lnTo>
                      <a:pt x="58" y="533"/>
                    </a:lnTo>
                    <a:lnTo>
                      <a:pt x="60" y="532"/>
                    </a:lnTo>
                    <a:lnTo>
                      <a:pt x="58" y="532"/>
                    </a:lnTo>
                    <a:lnTo>
                      <a:pt x="56" y="532"/>
                    </a:lnTo>
                    <a:lnTo>
                      <a:pt x="58" y="532"/>
                    </a:lnTo>
                    <a:lnTo>
                      <a:pt x="56" y="532"/>
                    </a:lnTo>
                    <a:lnTo>
                      <a:pt x="56" y="530"/>
                    </a:lnTo>
                    <a:lnTo>
                      <a:pt x="54" y="530"/>
                    </a:lnTo>
                    <a:lnTo>
                      <a:pt x="54" y="532"/>
                    </a:lnTo>
                    <a:lnTo>
                      <a:pt x="52" y="532"/>
                    </a:lnTo>
                    <a:lnTo>
                      <a:pt x="50" y="532"/>
                    </a:lnTo>
                    <a:lnTo>
                      <a:pt x="48" y="532"/>
                    </a:lnTo>
                    <a:lnTo>
                      <a:pt x="48" y="533"/>
                    </a:lnTo>
                    <a:lnTo>
                      <a:pt x="46" y="533"/>
                    </a:lnTo>
                    <a:lnTo>
                      <a:pt x="46" y="535"/>
                    </a:lnTo>
                    <a:lnTo>
                      <a:pt x="44" y="535"/>
                    </a:lnTo>
                    <a:lnTo>
                      <a:pt x="44" y="537"/>
                    </a:lnTo>
                    <a:lnTo>
                      <a:pt x="44" y="539"/>
                    </a:lnTo>
                    <a:lnTo>
                      <a:pt x="42" y="539"/>
                    </a:lnTo>
                    <a:lnTo>
                      <a:pt x="42" y="537"/>
                    </a:lnTo>
                    <a:lnTo>
                      <a:pt x="42" y="535"/>
                    </a:lnTo>
                    <a:lnTo>
                      <a:pt x="42" y="533"/>
                    </a:lnTo>
                    <a:lnTo>
                      <a:pt x="42" y="532"/>
                    </a:lnTo>
                    <a:lnTo>
                      <a:pt x="42" y="530"/>
                    </a:lnTo>
                    <a:lnTo>
                      <a:pt x="40" y="532"/>
                    </a:lnTo>
                    <a:lnTo>
                      <a:pt x="40" y="528"/>
                    </a:lnTo>
                    <a:lnTo>
                      <a:pt x="42" y="526"/>
                    </a:lnTo>
                    <a:lnTo>
                      <a:pt x="40" y="526"/>
                    </a:lnTo>
                    <a:lnTo>
                      <a:pt x="39" y="526"/>
                    </a:lnTo>
                    <a:lnTo>
                      <a:pt x="39" y="524"/>
                    </a:lnTo>
                    <a:lnTo>
                      <a:pt x="37" y="524"/>
                    </a:lnTo>
                    <a:lnTo>
                      <a:pt x="35" y="524"/>
                    </a:lnTo>
                    <a:lnTo>
                      <a:pt x="35" y="526"/>
                    </a:lnTo>
                    <a:lnTo>
                      <a:pt x="35" y="528"/>
                    </a:lnTo>
                    <a:lnTo>
                      <a:pt x="35" y="530"/>
                    </a:lnTo>
                    <a:lnTo>
                      <a:pt x="33" y="530"/>
                    </a:lnTo>
                    <a:lnTo>
                      <a:pt x="33" y="532"/>
                    </a:lnTo>
                    <a:lnTo>
                      <a:pt x="31" y="532"/>
                    </a:lnTo>
                    <a:lnTo>
                      <a:pt x="31" y="533"/>
                    </a:lnTo>
                    <a:lnTo>
                      <a:pt x="29" y="533"/>
                    </a:lnTo>
                    <a:lnTo>
                      <a:pt x="27" y="533"/>
                    </a:lnTo>
                    <a:lnTo>
                      <a:pt x="25" y="533"/>
                    </a:lnTo>
                    <a:lnTo>
                      <a:pt x="25" y="532"/>
                    </a:lnTo>
                    <a:lnTo>
                      <a:pt x="25" y="530"/>
                    </a:lnTo>
                    <a:lnTo>
                      <a:pt x="25" y="528"/>
                    </a:lnTo>
                    <a:lnTo>
                      <a:pt x="23" y="524"/>
                    </a:lnTo>
                    <a:lnTo>
                      <a:pt x="23" y="520"/>
                    </a:lnTo>
                    <a:lnTo>
                      <a:pt x="23" y="516"/>
                    </a:lnTo>
                    <a:lnTo>
                      <a:pt x="21" y="512"/>
                    </a:lnTo>
                    <a:lnTo>
                      <a:pt x="21" y="509"/>
                    </a:lnTo>
                    <a:lnTo>
                      <a:pt x="21" y="507"/>
                    </a:lnTo>
                    <a:lnTo>
                      <a:pt x="19" y="503"/>
                    </a:lnTo>
                    <a:lnTo>
                      <a:pt x="19" y="501"/>
                    </a:lnTo>
                    <a:lnTo>
                      <a:pt x="19" y="499"/>
                    </a:lnTo>
                    <a:lnTo>
                      <a:pt x="19" y="497"/>
                    </a:lnTo>
                    <a:lnTo>
                      <a:pt x="17" y="495"/>
                    </a:lnTo>
                    <a:lnTo>
                      <a:pt x="17" y="491"/>
                    </a:lnTo>
                    <a:lnTo>
                      <a:pt x="17" y="489"/>
                    </a:lnTo>
                    <a:lnTo>
                      <a:pt x="19" y="487"/>
                    </a:lnTo>
                    <a:lnTo>
                      <a:pt x="19" y="485"/>
                    </a:lnTo>
                    <a:lnTo>
                      <a:pt x="21" y="484"/>
                    </a:lnTo>
                    <a:lnTo>
                      <a:pt x="21" y="482"/>
                    </a:lnTo>
                    <a:lnTo>
                      <a:pt x="23" y="478"/>
                    </a:lnTo>
                    <a:lnTo>
                      <a:pt x="23" y="476"/>
                    </a:lnTo>
                    <a:lnTo>
                      <a:pt x="25" y="474"/>
                    </a:lnTo>
                    <a:lnTo>
                      <a:pt x="25" y="472"/>
                    </a:lnTo>
                    <a:lnTo>
                      <a:pt x="25" y="470"/>
                    </a:lnTo>
                    <a:lnTo>
                      <a:pt x="27" y="470"/>
                    </a:lnTo>
                    <a:lnTo>
                      <a:pt x="29" y="468"/>
                    </a:lnTo>
                    <a:lnTo>
                      <a:pt x="29" y="466"/>
                    </a:lnTo>
                    <a:lnTo>
                      <a:pt x="31" y="466"/>
                    </a:lnTo>
                    <a:lnTo>
                      <a:pt x="31" y="464"/>
                    </a:lnTo>
                    <a:lnTo>
                      <a:pt x="29" y="462"/>
                    </a:lnTo>
                    <a:lnTo>
                      <a:pt x="31" y="462"/>
                    </a:lnTo>
                    <a:lnTo>
                      <a:pt x="31" y="461"/>
                    </a:lnTo>
                    <a:lnTo>
                      <a:pt x="33" y="461"/>
                    </a:lnTo>
                    <a:lnTo>
                      <a:pt x="35" y="459"/>
                    </a:lnTo>
                    <a:lnTo>
                      <a:pt x="39" y="461"/>
                    </a:lnTo>
                    <a:lnTo>
                      <a:pt x="40" y="461"/>
                    </a:lnTo>
                    <a:lnTo>
                      <a:pt x="44" y="462"/>
                    </a:lnTo>
                    <a:lnTo>
                      <a:pt x="46" y="464"/>
                    </a:lnTo>
                    <a:lnTo>
                      <a:pt x="46" y="466"/>
                    </a:lnTo>
                    <a:lnTo>
                      <a:pt x="46" y="468"/>
                    </a:lnTo>
                    <a:lnTo>
                      <a:pt x="46" y="470"/>
                    </a:lnTo>
                    <a:lnTo>
                      <a:pt x="48" y="470"/>
                    </a:lnTo>
                    <a:lnTo>
                      <a:pt x="48" y="472"/>
                    </a:lnTo>
                    <a:lnTo>
                      <a:pt x="50" y="472"/>
                    </a:lnTo>
                    <a:lnTo>
                      <a:pt x="52" y="472"/>
                    </a:lnTo>
                    <a:lnTo>
                      <a:pt x="54" y="472"/>
                    </a:lnTo>
                    <a:lnTo>
                      <a:pt x="56" y="472"/>
                    </a:lnTo>
                    <a:lnTo>
                      <a:pt x="58" y="472"/>
                    </a:lnTo>
                    <a:lnTo>
                      <a:pt x="60" y="472"/>
                    </a:lnTo>
                    <a:lnTo>
                      <a:pt x="62" y="472"/>
                    </a:lnTo>
                    <a:lnTo>
                      <a:pt x="64" y="472"/>
                    </a:lnTo>
                    <a:lnTo>
                      <a:pt x="67" y="474"/>
                    </a:lnTo>
                    <a:lnTo>
                      <a:pt x="69" y="474"/>
                    </a:lnTo>
                    <a:lnTo>
                      <a:pt x="71" y="474"/>
                    </a:lnTo>
                    <a:lnTo>
                      <a:pt x="73" y="476"/>
                    </a:lnTo>
                    <a:lnTo>
                      <a:pt x="75" y="476"/>
                    </a:lnTo>
                    <a:lnTo>
                      <a:pt x="77" y="476"/>
                    </a:lnTo>
                    <a:lnTo>
                      <a:pt x="83" y="476"/>
                    </a:lnTo>
                    <a:lnTo>
                      <a:pt x="83" y="474"/>
                    </a:lnTo>
                    <a:lnTo>
                      <a:pt x="85" y="474"/>
                    </a:lnTo>
                    <a:lnTo>
                      <a:pt x="88" y="476"/>
                    </a:lnTo>
                    <a:lnTo>
                      <a:pt x="90" y="476"/>
                    </a:lnTo>
                    <a:lnTo>
                      <a:pt x="92" y="476"/>
                    </a:lnTo>
                    <a:lnTo>
                      <a:pt x="94" y="478"/>
                    </a:lnTo>
                    <a:lnTo>
                      <a:pt x="96" y="480"/>
                    </a:lnTo>
                    <a:lnTo>
                      <a:pt x="94" y="482"/>
                    </a:lnTo>
                    <a:lnTo>
                      <a:pt x="96" y="484"/>
                    </a:lnTo>
                    <a:lnTo>
                      <a:pt x="98" y="484"/>
                    </a:lnTo>
                    <a:lnTo>
                      <a:pt x="100" y="484"/>
                    </a:lnTo>
                    <a:lnTo>
                      <a:pt x="100" y="482"/>
                    </a:lnTo>
                    <a:lnTo>
                      <a:pt x="100" y="480"/>
                    </a:lnTo>
                    <a:lnTo>
                      <a:pt x="102" y="480"/>
                    </a:lnTo>
                    <a:lnTo>
                      <a:pt x="102" y="478"/>
                    </a:lnTo>
                    <a:lnTo>
                      <a:pt x="100" y="478"/>
                    </a:lnTo>
                    <a:lnTo>
                      <a:pt x="102" y="478"/>
                    </a:lnTo>
                    <a:lnTo>
                      <a:pt x="104" y="478"/>
                    </a:lnTo>
                    <a:lnTo>
                      <a:pt x="102" y="466"/>
                    </a:lnTo>
                    <a:lnTo>
                      <a:pt x="106" y="462"/>
                    </a:lnTo>
                    <a:lnTo>
                      <a:pt x="108" y="461"/>
                    </a:lnTo>
                    <a:lnTo>
                      <a:pt x="110" y="459"/>
                    </a:lnTo>
                    <a:lnTo>
                      <a:pt x="112" y="457"/>
                    </a:lnTo>
                    <a:lnTo>
                      <a:pt x="112" y="455"/>
                    </a:lnTo>
                    <a:lnTo>
                      <a:pt x="117" y="449"/>
                    </a:lnTo>
                    <a:lnTo>
                      <a:pt x="119" y="449"/>
                    </a:lnTo>
                    <a:lnTo>
                      <a:pt x="119" y="447"/>
                    </a:lnTo>
                    <a:lnTo>
                      <a:pt x="121" y="447"/>
                    </a:lnTo>
                    <a:lnTo>
                      <a:pt x="121" y="445"/>
                    </a:lnTo>
                    <a:lnTo>
                      <a:pt x="123" y="443"/>
                    </a:lnTo>
                    <a:lnTo>
                      <a:pt x="123" y="441"/>
                    </a:lnTo>
                    <a:lnTo>
                      <a:pt x="127" y="439"/>
                    </a:lnTo>
                    <a:lnTo>
                      <a:pt x="129" y="437"/>
                    </a:lnTo>
                    <a:lnTo>
                      <a:pt x="129" y="436"/>
                    </a:lnTo>
                    <a:lnTo>
                      <a:pt x="131" y="436"/>
                    </a:lnTo>
                    <a:lnTo>
                      <a:pt x="129" y="434"/>
                    </a:lnTo>
                    <a:lnTo>
                      <a:pt x="123" y="432"/>
                    </a:lnTo>
                    <a:lnTo>
                      <a:pt x="123" y="428"/>
                    </a:lnTo>
                    <a:lnTo>
                      <a:pt x="123" y="426"/>
                    </a:lnTo>
                    <a:lnTo>
                      <a:pt x="127" y="416"/>
                    </a:lnTo>
                    <a:lnTo>
                      <a:pt x="127" y="414"/>
                    </a:lnTo>
                    <a:lnTo>
                      <a:pt x="125" y="414"/>
                    </a:lnTo>
                    <a:lnTo>
                      <a:pt x="123" y="413"/>
                    </a:lnTo>
                    <a:lnTo>
                      <a:pt x="119" y="411"/>
                    </a:lnTo>
                    <a:lnTo>
                      <a:pt x="115" y="411"/>
                    </a:lnTo>
                    <a:lnTo>
                      <a:pt x="113" y="411"/>
                    </a:lnTo>
                    <a:lnTo>
                      <a:pt x="115" y="409"/>
                    </a:lnTo>
                    <a:lnTo>
                      <a:pt x="115" y="405"/>
                    </a:lnTo>
                    <a:lnTo>
                      <a:pt x="115" y="403"/>
                    </a:lnTo>
                    <a:lnTo>
                      <a:pt x="117" y="399"/>
                    </a:lnTo>
                    <a:lnTo>
                      <a:pt x="117" y="395"/>
                    </a:lnTo>
                    <a:lnTo>
                      <a:pt x="119" y="395"/>
                    </a:lnTo>
                    <a:lnTo>
                      <a:pt x="119" y="393"/>
                    </a:lnTo>
                    <a:lnTo>
                      <a:pt x="119" y="389"/>
                    </a:lnTo>
                    <a:lnTo>
                      <a:pt x="121" y="389"/>
                    </a:lnTo>
                    <a:lnTo>
                      <a:pt x="123" y="391"/>
                    </a:lnTo>
                    <a:lnTo>
                      <a:pt x="125" y="391"/>
                    </a:lnTo>
                    <a:lnTo>
                      <a:pt x="127" y="391"/>
                    </a:lnTo>
                    <a:lnTo>
                      <a:pt x="129" y="391"/>
                    </a:lnTo>
                    <a:lnTo>
                      <a:pt x="131" y="393"/>
                    </a:lnTo>
                    <a:lnTo>
                      <a:pt x="133" y="393"/>
                    </a:lnTo>
                    <a:lnTo>
                      <a:pt x="136" y="393"/>
                    </a:lnTo>
                    <a:lnTo>
                      <a:pt x="142" y="395"/>
                    </a:lnTo>
                    <a:lnTo>
                      <a:pt x="144" y="397"/>
                    </a:lnTo>
                    <a:lnTo>
                      <a:pt x="148" y="397"/>
                    </a:lnTo>
                    <a:lnTo>
                      <a:pt x="150" y="397"/>
                    </a:lnTo>
                    <a:lnTo>
                      <a:pt x="150" y="399"/>
                    </a:lnTo>
                    <a:lnTo>
                      <a:pt x="152" y="399"/>
                    </a:lnTo>
                    <a:lnTo>
                      <a:pt x="154" y="399"/>
                    </a:lnTo>
                    <a:lnTo>
                      <a:pt x="156" y="399"/>
                    </a:lnTo>
                    <a:lnTo>
                      <a:pt x="158" y="399"/>
                    </a:lnTo>
                    <a:lnTo>
                      <a:pt x="160" y="399"/>
                    </a:lnTo>
                    <a:lnTo>
                      <a:pt x="161" y="393"/>
                    </a:lnTo>
                    <a:lnTo>
                      <a:pt x="163" y="391"/>
                    </a:lnTo>
                    <a:lnTo>
                      <a:pt x="163" y="389"/>
                    </a:lnTo>
                    <a:lnTo>
                      <a:pt x="161" y="388"/>
                    </a:lnTo>
                    <a:lnTo>
                      <a:pt x="161" y="386"/>
                    </a:lnTo>
                    <a:lnTo>
                      <a:pt x="158" y="386"/>
                    </a:lnTo>
                    <a:lnTo>
                      <a:pt x="154" y="384"/>
                    </a:lnTo>
                    <a:lnTo>
                      <a:pt x="152" y="384"/>
                    </a:lnTo>
                    <a:lnTo>
                      <a:pt x="150" y="382"/>
                    </a:lnTo>
                    <a:lnTo>
                      <a:pt x="146" y="382"/>
                    </a:lnTo>
                    <a:lnTo>
                      <a:pt x="146" y="378"/>
                    </a:lnTo>
                    <a:lnTo>
                      <a:pt x="148" y="376"/>
                    </a:lnTo>
                    <a:lnTo>
                      <a:pt x="146" y="376"/>
                    </a:lnTo>
                    <a:lnTo>
                      <a:pt x="146" y="374"/>
                    </a:lnTo>
                    <a:lnTo>
                      <a:pt x="146" y="372"/>
                    </a:lnTo>
                    <a:lnTo>
                      <a:pt x="142" y="370"/>
                    </a:lnTo>
                    <a:lnTo>
                      <a:pt x="140" y="370"/>
                    </a:lnTo>
                    <a:lnTo>
                      <a:pt x="140" y="368"/>
                    </a:lnTo>
                    <a:lnTo>
                      <a:pt x="140" y="366"/>
                    </a:lnTo>
                    <a:lnTo>
                      <a:pt x="144" y="366"/>
                    </a:lnTo>
                    <a:lnTo>
                      <a:pt x="146" y="366"/>
                    </a:lnTo>
                    <a:lnTo>
                      <a:pt x="148" y="366"/>
                    </a:lnTo>
                    <a:lnTo>
                      <a:pt x="150" y="366"/>
                    </a:lnTo>
                    <a:lnTo>
                      <a:pt x="152" y="366"/>
                    </a:lnTo>
                    <a:lnTo>
                      <a:pt x="154" y="366"/>
                    </a:lnTo>
                    <a:lnTo>
                      <a:pt x="156" y="366"/>
                    </a:lnTo>
                    <a:lnTo>
                      <a:pt x="158" y="366"/>
                    </a:lnTo>
                    <a:lnTo>
                      <a:pt x="160" y="366"/>
                    </a:lnTo>
                    <a:lnTo>
                      <a:pt x="160" y="365"/>
                    </a:lnTo>
                    <a:lnTo>
                      <a:pt x="161" y="365"/>
                    </a:lnTo>
                    <a:lnTo>
                      <a:pt x="163" y="363"/>
                    </a:lnTo>
                    <a:lnTo>
                      <a:pt x="161" y="361"/>
                    </a:lnTo>
                    <a:lnTo>
                      <a:pt x="161" y="359"/>
                    </a:lnTo>
                    <a:lnTo>
                      <a:pt x="161" y="357"/>
                    </a:lnTo>
                    <a:lnTo>
                      <a:pt x="160" y="357"/>
                    </a:lnTo>
                    <a:lnTo>
                      <a:pt x="160" y="355"/>
                    </a:lnTo>
                    <a:lnTo>
                      <a:pt x="160" y="353"/>
                    </a:lnTo>
                    <a:lnTo>
                      <a:pt x="158" y="351"/>
                    </a:lnTo>
                    <a:lnTo>
                      <a:pt x="158" y="349"/>
                    </a:lnTo>
                    <a:lnTo>
                      <a:pt x="158" y="345"/>
                    </a:lnTo>
                    <a:lnTo>
                      <a:pt x="156" y="343"/>
                    </a:lnTo>
                    <a:lnTo>
                      <a:pt x="156" y="341"/>
                    </a:lnTo>
                    <a:lnTo>
                      <a:pt x="156" y="340"/>
                    </a:lnTo>
                    <a:lnTo>
                      <a:pt x="156" y="338"/>
                    </a:lnTo>
                    <a:lnTo>
                      <a:pt x="154" y="338"/>
                    </a:lnTo>
                    <a:lnTo>
                      <a:pt x="154" y="336"/>
                    </a:lnTo>
                    <a:lnTo>
                      <a:pt x="154" y="334"/>
                    </a:lnTo>
                    <a:lnTo>
                      <a:pt x="152" y="334"/>
                    </a:lnTo>
                    <a:lnTo>
                      <a:pt x="152" y="332"/>
                    </a:lnTo>
                    <a:lnTo>
                      <a:pt x="152" y="330"/>
                    </a:lnTo>
                    <a:lnTo>
                      <a:pt x="150" y="330"/>
                    </a:lnTo>
                    <a:lnTo>
                      <a:pt x="150" y="328"/>
                    </a:lnTo>
                    <a:lnTo>
                      <a:pt x="148" y="328"/>
                    </a:lnTo>
                    <a:lnTo>
                      <a:pt x="148" y="326"/>
                    </a:lnTo>
                    <a:lnTo>
                      <a:pt x="148" y="324"/>
                    </a:lnTo>
                    <a:lnTo>
                      <a:pt x="150" y="322"/>
                    </a:lnTo>
                    <a:lnTo>
                      <a:pt x="150" y="320"/>
                    </a:lnTo>
                    <a:lnTo>
                      <a:pt x="148" y="320"/>
                    </a:lnTo>
                    <a:lnTo>
                      <a:pt x="146" y="320"/>
                    </a:lnTo>
                    <a:lnTo>
                      <a:pt x="144" y="320"/>
                    </a:lnTo>
                    <a:lnTo>
                      <a:pt x="138" y="320"/>
                    </a:lnTo>
                    <a:lnTo>
                      <a:pt x="138" y="322"/>
                    </a:lnTo>
                    <a:lnTo>
                      <a:pt x="133" y="322"/>
                    </a:lnTo>
                    <a:lnTo>
                      <a:pt x="127" y="322"/>
                    </a:lnTo>
                    <a:lnTo>
                      <a:pt x="125" y="318"/>
                    </a:lnTo>
                    <a:lnTo>
                      <a:pt x="123" y="317"/>
                    </a:lnTo>
                    <a:lnTo>
                      <a:pt x="123" y="315"/>
                    </a:lnTo>
                    <a:lnTo>
                      <a:pt x="121" y="315"/>
                    </a:lnTo>
                    <a:lnTo>
                      <a:pt x="119" y="315"/>
                    </a:lnTo>
                    <a:lnTo>
                      <a:pt x="119" y="313"/>
                    </a:lnTo>
                    <a:lnTo>
                      <a:pt x="117" y="313"/>
                    </a:lnTo>
                    <a:lnTo>
                      <a:pt x="115" y="313"/>
                    </a:lnTo>
                    <a:lnTo>
                      <a:pt x="113" y="313"/>
                    </a:lnTo>
                    <a:lnTo>
                      <a:pt x="112" y="313"/>
                    </a:lnTo>
                    <a:lnTo>
                      <a:pt x="110" y="313"/>
                    </a:lnTo>
                    <a:lnTo>
                      <a:pt x="108" y="313"/>
                    </a:lnTo>
                    <a:lnTo>
                      <a:pt x="106" y="313"/>
                    </a:lnTo>
                    <a:lnTo>
                      <a:pt x="104" y="313"/>
                    </a:lnTo>
                    <a:lnTo>
                      <a:pt x="104" y="311"/>
                    </a:lnTo>
                    <a:lnTo>
                      <a:pt x="102" y="311"/>
                    </a:lnTo>
                    <a:lnTo>
                      <a:pt x="102" y="309"/>
                    </a:lnTo>
                    <a:lnTo>
                      <a:pt x="100" y="309"/>
                    </a:lnTo>
                    <a:lnTo>
                      <a:pt x="102" y="305"/>
                    </a:lnTo>
                    <a:lnTo>
                      <a:pt x="104" y="303"/>
                    </a:lnTo>
                    <a:lnTo>
                      <a:pt x="104" y="301"/>
                    </a:lnTo>
                    <a:lnTo>
                      <a:pt x="102" y="301"/>
                    </a:lnTo>
                    <a:lnTo>
                      <a:pt x="100" y="301"/>
                    </a:lnTo>
                    <a:lnTo>
                      <a:pt x="102" y="299"/>
                    </a:lnTo>
                    <a:lnTo>
                      <a:pt x="102" y="301"/>
                    </a:lnTo>
                    <a:lnTo>
                      <a:pt x="104" y="301"/>
                    </a:lnTo>
                    <a:lnTo>
                      <a:pt x="106" y="301"/>
                    </a:lnTo>
                    <a:lnTo>
                      <a:pt x="106" y="297"/>
                    </a:lnTo>
                    <a:lnTo>
                      <a:pt x="106" y="295"/>
                    </a:lnTo>
                    <a:lnTo>
                      <a:pt x="104" y="292"/>
                    </a:lnTo>
                    <a:lnTo>
                      <a:pt x="102" y="292"/>
                    </a:lnTo>
                    <a:lnTo>
                      <a:pt x="100" y="292"/>
                    </a:lnTo>
                    <a:lnTo>
                      <a:pt x="98" y="292"/>
                    </a:lnTo>
                    <a:lnTo>
                      <a:pt x="98" y="290"/>
                    </a:lnTo>
                    <a:lnTo>
                      <a:pt x="96" y="290"/>
                    </a:lnTo>
                    <a:lnTo>
                      <a:pt x="94" y="290"/>
                    </a:lnTo>
                    <a:lnTo>
                      <a:pt x="92" y="288"/>
                    </a:lnTo>
                    <a:lnTo>
                      <a:pt x="92" y="286"/>
                    </a:lnTo>
                    <a:lnTo>
                      <a:pt x="90" y="286"/>
                    </a:lnTo>
                    <a:lnTo>
                      <a:pt x="92" y="286"/>
                    </a:lnTo>
                    <a:lnTo>
                      <a:pt x="92" y="284"/>
                    </a:lnTo>
                    <a:lnTo>
                      <a:pt x="90" y="284"/>
                    </a:lnTo>
                    <a:lnTo>
                      <a:pt x="92" y="284"/>
                    </a:lnTo>
                    <a:lnTo>
                      <a:pt x="92" y="282"/>
                    </a:lnTo>
                    <a:lnTo>
                      <a:pt x="90" y="282"/>
                    </a:lnTo>
                    <a:lnTo>
                      <a:pt x="90" y="280"/>
                    </a:lnTo>
                    <a:lnTo>
                      <a:pt x="90" y="278"/>
                    </a:lnTo>
                    <a:lnTo>
                      <a:pt x="92" y="278"/>
                    </a:lnTo>
                    <a:lnTo>
                      <a:pt x="92" y="276"/>
                    </a:lnTo>
                    <a:lnTo>
                      <a:pt x="92" y="274"/>
                    </a:lnTo>
                    <a:lnTo>
                      <a:pt x="92" y="272"/>
                    </a:lnTo>
                    <a:lnTo>
                      <a:pt x="90" y="270"/>
                    </a:lnTo>
                    <a:lnTo>
                      <a:pt x="92" y="269"/>
                    </a:lnTo>
                    <a:lnTo>
                      <a:pt x="92" y="267"/>
                    </a:lnTo>
                    <a:lnTo>
                      <a:pt x="90" y="267"/>
                    </a:lnTo>
                    <a:lnTo>
                      <a:pt x="90" y="265"/>
                    </a:lnTo>
                    <a:lnTo>
                      <a:pt x="90" y="263"/>
                    </a:lnTo>
                    <a:lnTo>
                      <a:pt x="92" y="263"/>
                    </a:lnTo>
                    <a:lnTo>
                      <a:pt x="92" y="261"/>
                    </a:lnTo>
                    <a:lnTo>
                      <a:pt x="94" y="263"/>
                    </a:lnTo>
                    <a:lnTo>
                      <a:pt x="96" y="261"/>
                    </a:lnTo>
                    <a:lnTo>
                      <a:pt x="94" y="259"/>
                    </a:lnTo>
                    <a:lnTo>
                      <a:pt x="94" y="257"/>
                    </a:lnTo>
                    <a:lnTo>
                      <a:pt x="94" y="255"/>
                    </a:lnTo>
                    <a:lnTo>
                      <a:pt x="96" y="253"/>
                    </a:lnTo>
                    <a:lnTo>
                      <a:pt x="96" y="251"/>
                    </a:lnTo>
                    <a:lnTo>
                      <a:pt x="94" y="251"/>
                    </a:lnTo>
                    <a:lnTo>
                      <a:pt x="94" y="249"/>
                    </a:lnTo>
                    <a:lnTo>
                      <a:pt x="92" y="249"/>
                    </a:lnTo>
                    <a:lnTo>
                      <a:pt x="90" y="249"/>
                    </a:lnTo>
                    <a:lnTo>
                      <a:pt x="90" y="247"/>
                    </a:lnTo>
                    <a:lnTo>
                      <a:pt x="90" y="245"/>
                    </a:lnTo>
                    <a:lnTo>
                      <a:pt x="87" y="245"/>
                    </a:lnTo>
                    <a:lnTo>
                      <a:pt x="83" y="244"/>
                    </a:lnTo>
                    <a:lnTo>
                      <a:pt x="81" y="240"/>
                    </a:lnTo>
                    <a:lnTo>
                      <a:pt x="77" y="238"/>
                    </a:lnTo>
                    <a:lnTo>
                      <a:pt x="75" y="238"/>
                    </a:lnTo>
                    <a:lnTo>
                      <a:pt x="73" y="240"/>
                    </a:lnTo>
                    <a:lnTo>
                      <a:pt x="71" y="240"/>
                    </a:lnTo>
                    <a:lnTo>
                      <a:pt x="69" y="240"/>
                    </a:lnTo>
                    <a:lnTo>
                      <a:pt x="67" y="240"/>
                    </a:lnTo>
                    <a:lnTo>
                      <a:pt x="65" y="238"/>
                    </a:lnTo>
                    <a:lnTo>
                      <a:pt x="64" y="238"/>
                    </a:lnTo>
                    <a:lnTo>
                      <a:pt x="62" y="236"/>
                    </a:lnTo>
                    <a:lnTo>
                      <a:pt x="60" y="236"/>
                    </a:lnTo>
                    <a:lnTo>
                      <a:pt x="58" y="238"/>
                    </a:lnTo>
                    <a:lnTo>
                      <a:pt x="56" y="238"/>
                    </a:lnTo>
                    <a:lnTo>
                      <a:pt x="54" y="236"/>
                    </a:lnTo>
                    <a:lnTo>
                      <a:pt x="54" y="234"/>
                    </a:lnTo>
                    <a:lnTo>
                      <a:pt x="52" y="234"/>
                    </a:lnTo>
                    <a:lnTo>
                      <a:pt x="52" y="232"/>
                    </a:lnTo>
                    <a:lnTo>
                      <a:pt x="50" y="232"/>
                    </a:lnTo>
                    <a:lnTo>
                      <a:pt x="50" y="230"/>
                    </a:lnTo>
                    <a:lnTo>
                      <a:pt x="52" y="230"/>
                    </a:lnTo>
                    <a:lnTo>
                      <a:pt x="52" y="228"/>
                    </a:lnTo>
                    <a:lnTo>
                      <a:pt x="54" y="226"/>
                    </a:lnTo>
                    <a:lnTo>
                      <a:pt x="54" y="224"/>
                    </a:lnTo>
                    <a:lnTo>
                      <a:pt x="50" y="224"/>
                    </a:lnTo>
                    <a:lnTo>
                      <a:pt x="46" y="224"/>
                    </a:lnTo>
                    <a:lnTo>
                      <a:pt x="44" y="224"/>
                    </a:lnTo>
                    <a:lnTo>
                      <a:pt x="44" y="226"/>
                    </a:lnTo>
                    <a:lnTo>
                      <a:pt x="42" y="228"/>
                    </a:lnTo>
                    <a:lnTo>
                      <a:pt x="40" y="228"/>
                    </a:lnTo>
                    <a:lnTo>
                      <a:pt x="37" y="226"/>
                    </a:lnTo>
                    <a:lnTo>
                      <a:pt x="35" y="224"/>
                    </a:lnTo>
                    <a:lnTo>
                      <a:pt x="33" y="224"/>
                    </a:lnTo>
                    <a:lnTo>
                      <a:pt x="33" y="222"/>
                    </a:lnTo>
                    <a:lnTo>
                      <a:pt x="31" y="224"/>
                    </a:lnTo>
                    <a:lnTo>
                      <a:pt x="29" y="224"/>
                    </a:lnTo>
                    <a:lnTo>
                      <a:pt x="27" y="222"/>
                    </a:lnTo>
                    <a:lnTo>
                      <a:pt x="25" y="221"/>
                    </a:lnTo>
                    <a:lnTo>
                      <a:pt x="23" y="221"/>
                    </a:lnTo>
                    <a:lnTo>
                      <a:pt x="23" y="219"/>
                    </a:lnTo>
                    <a:lnTo>
                      <a:pt x="21" y="217"/>
                    </a:lnTo>
                    <a:lnTo>
                      <a:pt x="21" y="215"/>
                    </a:lnTo>
                    <a:lnTo>
                      <a:pt x="19" y="215"/>
                    </a:lnTo>
                    <a:lnTo>
                      <a:pt x="19" y="211"/>
                    </a:lnTo>
                    <a:lnTo>
                      <a:pt x="17" y="209"/>
                    </a:lnTo>
                    <a:lnTo>
                      <a:pt x="17" y="207"/>
                    </a:lnTo>
                    <a:lnTo>
                      <a:pt x="16" y="205"/>
                    </a:lnTo>
                    <a:lnTo>
                      <a:pt x="16" y="203"/>
                    </a:lnTo>
                    <a:lnTo>
                      <a:pt x="14" y="203"/>
                    </a:lnTo>
                    <a:lnTo>
                      <a:pt x="10" y="203"/>
                    </a:lnTo>
                    <a:lnTo>
                      <a:pt x="8" y="203"/>
                    </a:lnTo>
                    <a:lnTo>
                      <a:pt x="8" y="201"/>
                    </a:lnTo>
                    <a:lnTo>
                      <a:pt x="6" y="199"/>
                    </a:lnTo>
                    <a:lnTo>
                      <a:pt x="6" y="197"/>
                    </a:lnTo>
                    <a:lnTo>
                      <a:pt x="4" y="197"/>
                    </a:lnTo>
                    <a:lnTo>
                      <a:pt x="4" y="196"/>
                    </a:lnTo>
                    <a:lnTo>
                      <a:pt x="2" y="196"/>
                    </a:lnTo>
                    <a:lnTo>
                      <a:pt x="0" y="196"/>
                    </a:lnTo>
                    <a:lnTo>
                      <a:pt x="2" y="196"/>
                    </a:lnTo>
                    <a:lnTo>
                      <a:pt x="2" y="194"/>
                    </a:lnTo>
                    <a:lnTo>
                      <a:pt x="4" y="194"/>
                    </a:lnTo>
                    <a:lnTo>
                      <a:pt x="4" y="192"/>
                    </a:lnTo>
                    <a:lnTo>
                      <a:pt x="2" y="190"/>
                    </a:lnTo>
                    <a:lnTo>
                      <a:pt x="2" y="188"/>
                    </a:lnTo>
                    <a:lnTo>
                      <a:pt x="2" y="186"/>
                    </a:lnTo>
                    <a:lnTo>
                      <a:pt x="2" y="184"/>
                    </a:lnTo>
                    <a:lnTo>
                      <a:pt x="0" y="182"/>
                    </a:lnTo>
                    <a:lnTo>
                      <a:pt x="0" y="180"/>
                    </a:lnTo>
                    <a:lnTo>
                      <a:pt x="2" y="178"/>
                    </a:lnTo>
                    <a:lnTo>
                      <a:pt x="4" y="178"/>
                    </a:lnTo>
                    <a:lnTo>
                      <a:pt x="6" y="174"/>
                    </a:lnTo>
                    <a:lnTo>
                      <a:pt x="8" y="173"/>
                    </a:lnTo>
                    <a:lnTo>
                      <a:pt x="12" y="167"/>
                    </a:lnTo>
                    <a:lnTo>
                      <a:pt x="12" y="165"/>
                    </a:lnTo>
                    <a:lnTo>
                      <a:pt x="14" y="161"/>
                    </a:lnTo>
                    <a:lnTo>
                      <a:pt x="16" y="159"/>
                    </a:lnTo>
                    <a:lnTo>
                      <a:pt x="17" y="157"/>
                    </a:lnTo>
                    <a:lnTo>
                      <a:pt x="23" y="153"/>
                    </a:lnTo>
                    <a:lnTo>
                      <a:pt x="23" y="151"/>
                    </a:lnTo>
                    <a:lnTo>
                      <a:pt x="25" y="149"/>
                    </a:lnTo>
                    <a:lnTo>
                      <a:pt x="27" y="148"/>
                    </a:lnTo>
                    <a:lnTo>
                      <a:pt x="31" y="146"/>
                    </a:lnTo>
                    <a:lnTo>
                      <a:pt x="31" y="144"/>
                    </a:lnTo>
                    <a:lnTo>
                      <a:pt x="31" y="142"/>
                    </a:lnTo>
                    <a:lnTo>
                      <a:pt x="31" y="140"/>
                    </a:lnTo>
                    <a:lnTo>
                      <a:pt x="31" y="138"/>
                    </a:lnTo>
                    <a:lnTo>
                      <a:pt x="31" y="136"/>
                    </a:lnTo>
                    <a:lnTo>
                      <a:pt x="29" y="136"/>
                    </a:lnTo>
                    <a:lnTo>
                      <a:pt x="27" y="136"/>
                    </a:lnTo>
                    <a:lnTo>
                      <a:pt x="25" y="136"/>
                    </a:lnTo>
                    <a:lnTo>
                      <a:pt x="25" y="134"/>
                    </a:lnTo>
                    <a:lnTo>
                      <a:pt x="25" y="130"/>
                    </a:lnTo>
                    <a:lnTo>
                      <a:pt x="25" y="128"/>
                    </a:lnTo>
                    <a:lnTo>
                      <a:pt x="25" y="125"/>
                    </a:lnTo>
                    <a:lnTo>
                      <a:pt x="25" y="123"/>
                    </a:lnTo>
                    <a:lnTo>
                      <a:pt x="25" y="121"/>
                    </a:lnTo>
                    <a:lnTo>
                      <a:pt x="25" y="119"/>
                    </a:lnTo>
                    <a:lnTo>
                      <a:pt x="25" y="117"/>
                    </a:lnTo>
                    <a:lnTo>
                      <a:pt x="27" y="111"/>
                    </a:lnTo>
                    <a:lnTo>
                      <a:pt x="33" y="111"/>
                    </a:lnTo>
                    <a:lnTo>
                      <a:pt x="35" y="109"/>
                    </a:lnTo>
                    <a:lnTo>
                      <a:pt x="37" y="109"/>
                    </a:lnTo>
                    <a:lnTo>
                      <a:pt x="37" y="107"/>
                    </a:lnTo>
                    <a:lnTo>
                      <a:pt x="35" y="105"/>
                    </a:lnTo>
                    <a:lnTo>
                      <a:pt x="35" y="100"/>
                    </a:lnTo>
                    <a:lnTo>
                      <a:pt x="35" y="98"/>
                    </a:lnTo>
                    <a:lnTo>
                      <a:pt x="39" y="100"/>
                    </a:lnTo>
                    <a:lnTo>
                      <a:pt x="40" y="100"/>
                    </a:lnTo>
                    <a:lnTo>
                      <a:pt x="42" y="100"/>
                    </a:lnTo>
                    <a:lnTo>
                      <a:pt x="44" y="100"/>
                    </a:lnTo>
                    <a:lnTo>
                      <a:pt x="44" y="101"/>
                    </a:lnTo>
                    <a:lnTo>
                      <a:pt x="46" y="101"/>
                    </a:lnTo>
                    <a:lnTo>
                      <a:pt x="46" y="100"/>
                    </a:lnTo>
                    <a:lnTo>
                      <a:pt x="50" y="100"/>
                    </a:lnTo>
                    <a:lnTo>
                      <a:pt x="52" y="101"/>
                    </a:lnTo>
                    <a:lnTo>
                      <a:pt x="52" y="103"/>
                    </a:lnTo>
                    <a:lnTo>
                      <a:pt x="52" y="107"/>
                    </a:lnTo>
                    <a:lnTo>
                      <a:pt x="54" y="107"/>
                    </a:lnTo>
                    <a:lnTo>
                      <a:pt x="56" y="107"/>
                    </a:lnTo>
                    <a:lnTo>
                      <a:pt x="56" y="105"/>
                    </a:lnTo>
                    <a:lnTo>
                      <a:pt x="60" y="101"/>
                    </a:lnTo>
                    <a:lnTo>
                      <a:pt x="60" y="100"/>
                    </a:lnTo>
                    <a:lnTo>
                      <a:pt x="62" y="100"/>
                    </a:lnTo>
                    <a:lnTo>
                      <a:pt x="62" y="98"/>
                    </a:lnTo>
                    <a:lnTo>
                      <a:pt x="62" y="100"/>
                    </a:lnTo>
                    <a:lnTo>
                      <a:pt x="64" y="98"/>
                    </a:lnTo>
                    <a:lnTo>
                      <a:pt x="64" y="96"/>
                    </a:lnTo>
                    <a:lnTo>
                      <a:pt x="65" y="94"/>
                    </a:lnTo>
                    <a:lnTo>
                      <a:pt x="64" y="92"/>
                    </a:lnTo>
                    <a:lnTo>
                      <a:pt x="64" y="90"/>
                    </a:lnTo>
                    <a:lnTo>
                      <a:pt x="65" y="90"/>
                    </a:lnTo>
                    <a:lnTo>
                      <a:pt x="67" y="88"/>
                    </a:lnTo>
                    <a:lnTo>
                      <a:pt x="69" y="88"/>
                    </a:lnTo>
                    <a:lnTo>
                      <a:pt x="73" y="88"/>
                    </a:lnTo>
                    <a:lnTo>
                      <a:pt x="75" y="86"/>
                    </a:lnTo>
                    <a:lnTo>
                      <a:pt x="77" y="84"/>
                    </a:lnTo>
                    <a:lnTo>
                      <a:pt x="79" y="84"/>
                    </a:lnTo>
                    <a:lnTo>
                      <a:pt x="79" y="82"/>
                    </a:lnTo>
                    <a:lnTo>
                      <a:pt x="81" y="80"/>
                    </a:lnTo>
                    <a:lnTo>
                      <a:pt x="83" y="78"/>
                    </a:lnTo>
                    <a:lnTo>
                      <a:pt x="85" y="77"/>
                    </a:lnTo>
                    <a:lnTo>
                      <a:pt x="88" y="78"/>
                    </a:lnTo>
                    <a:lnTo>
                      <a:pt x="94" y="82"/>
                    </a:lnTo>
                    <a:lnTo>
                      <a:pt x="96" y="82"/>
                    </a:lnTo>
                    <a:lnTo>
                      <a:pt x="98" y="82"/>
                    </a:lnTo>
                    <a:lnTo>
                      <a:pt x="98" y="80"/>
                    </a:lnTo>
                    <a:lnTo>
                      <a:pt x="98" y="78"/>
                    </a:lnTo>
                    <a:lnTo>
                      <a:pt x="100" y="78"/>
                    </a:lnTo>
                    <a:lnTo>
                      <a:pt x="100" y="80"/>
                    </a:lnTo>
                    <a:lnTo>
                      <a:pt x="98" y="80"/>
                    </a:lnTo>
                    <a:lnTo>
                      <a:pt x="102" y="82"/>
                    </a:lnTo>
                    <a:lnTo>
                      <a:pt x="106" y="82"/>
                    </a:lnTo>
                    <a:lnTo>
                      <a:pt x="108" y="84"/>
                    </a:lnTo>
                    <a:lnTo>
                      <a:pt x="110" y="80"/>
                    </a:lnTo>
                    <a:lnTo>
                      <a:pt x="112" y="80"/>
                    </a:lnTo>
                    <a:lnTo>
                      <a:pt x="115" y="82"/>
                    </a:lnTo>
                    <a:lnTo>
                      <a:pt x="115" y="80"/>
                    </a:lnTo>
                    <a:lnTo>
                      <a:pt x="115" y="78"/>
                    </a:lnTo>
                    <a:lnTo>
                      <a:pt x="115" y="77"/>
                    </a:lnTo>
                    <a:lnTo>
                      <a:pt x="115" y="75"/>
                    </a:lnTo>
                    <a:lnTo>
                      <a:pt x="115" y="73"/>
                    </a:lnTo>
                    <a:lnTo>
                      <a:pt x="115" y="71"/>
                    </a:lnTo>
                    <a:lnTo>
                      <a:pt x="117" y="71"/>
                    </a:lnTo>
                    <a:lnTo>
                      <a:pt x="117" y="69"/>
                    </a:lnTo>
                    <a:lnTo>
                      <a:pt x="121" y="69"/>
                    </a:lnTo>
                    <a:lnTo>
                      <a:pt x="127" y="71"/>
                    </a:lnTo>
                    <a:lnTo>
                      <a:pt x="129" y="69"/>
                    </a:lnTo>
                    <a:lnTo>
                      <a:pt x="131" y="67"/>
                    </a:lnTo>
                    <a:lnTo>
                      <a:pt x="133" y="67"/>
                    </a:lnTo>
                    <a:lnTo>
                      <a:pt x="135" y="67"/>
                    </a:lnTo>
                    <a:lnTo>
                      <a:pt x="135" y="65"/>
                    </a:lnTo>
                    <a:lnTo>
                      <a:pt x="127" y="59"/>
                    </a:lnTo>
                    <a:lnTo>
                      <a:pt x="129" y="55"/>
                    </a:lnTo>
                    <a:lnTo>
                      <a:pt x="133" y="52"/>
                    </a:lnTo>
                    <a:lnTo>
                      <a:pt x="133" y="50"/>
                    </a:lnTo>
                    <a:lnTo>
                      <a:pt x="136" y="48"/>
                    </a:lnTo>
                    <a:lnTo>
                      <a:pt x="138" y="50"/>
                    </a:lnTo>
                    <a:lnTo>
                      <a:pt x="140" y="50"/>
                    </a:lnTo>
                    <a:lnTo>
                      <a:pt x="140" y="52"/>
                    </a:lnTo>
                    <a:lnTo>
                      <a:pt x="142" y="52"/>
                    </a:lnTo>
                    <a:lnTo>
                      <a:pt x="144" y="55"/>
                    </a:lnTo>
                    <a:lnTo>
                      <a:pt x="146" y="55"/>
                    </a:lnTo>
                    <a:lnTo>
                      <a:pt x="150" y="57"/>
                    </a:lnTo>
                    <a:lnTo>
                      <a:pt x="150" y="55"/>
                    </a:lnTo>
                    <a:lnTo>
                      <a:pt x="150" y="54"/>
                    </a:lnTo>
                    <a:lnTo>
                      <a:pt x="150" y="52"/>
                    </a:lnTo>
                    <a:lnTo>
                      <a:pt x="150" y="48"/>
                    </a:lnTo>
                    <a:lnTo>
                      <a:pt x="154" y="48"/>
                    </a:lnTo>
                    <a:lnTo>
                      <a:pt x="156" y="48"/>
                    </a:lnTo>
                    <a:lnTo>
                      <a:pt x="158" y="48"/>
                    </a:lnTo>
                    <a:lnTo>
                      <a:pt x="158" y="46"/>
                    </a:lnTo>
                    <a:lnTo>
                      <a:pt x="160" y="46"/>
                    </a:lnTo>
                    <a:lnTo>
                      <a:pt x="160" y="44"/>
                    </a:lnTo>
                    <a:lnTo>
                      <a:pt x="160" y="42"/>
                    </a:lnTo>
                    <a:lnTo>
                      <a:pt x="161" y="42"/>
                    </a:lnTo>
                    <a:lnTo>
                      <a:pt x="165" y="48"/>
                    </a:lnTo>
                    <a:lnTo>
                      <a:pt x="165" y="50"/>
                    </a:lnTo>
                    <a:lnTo>
                      <a:pt x="171" y="50"/>
                    </a:lnTo>
                    <a:lnTo>
                      <a:pt x="171" y="54"/>
                    </a:lnTo>
                    <a:lnTo>
                      <a:pt x="173" y="55"/>
                    </a:lnTo>
                    <a:lnTo>
                      <a:pt x="175" y="57"/>
                    </a:lnTo>
                    <a:lnTo>
                      <a:pt x="177" y="59"/>
                    </a:lnTo>
                    <a:lnTo>
                      <a:pt x="181" y="61"/>
                    </a:lnTo>
                    <a:lnTo>
                      <a:pt x="181" y="59"/>
                    </a:lnTo>
                    <a:lnTo>
                      <a:pt x="183" y="57"/>
                    </a:lnTo>
                    <a:lnTo>
                      <a:pt x="186" y="59"/>
                    </a:lnTo>
                    <a:lnTo>
                      <a:pt x="188" y="61"/>
                    </a:lnTo>
                    <a:lnTo>
                      <a:pt x="188" y="59"/>
                    </a:lnTo>
                    <a:lnTo>
                      <a:pt x="188" y="61"/>
                    </a:lnTo>
                    <a:lnTo>
                      <a:pt x="190" y="61"/>
                    </a:lnTo>
                    <a:lnTo>
                      <a:pt x="188" y="59"/>
                    </a:lnTo>
                    <a:lnTo>
                      <a:pt x="190" y="59"/>
                    </a:lnTo>
                    <a:lnTo>
                      <a:pt x="190" y="57"/>
                    </a:lnTo>
                    <a:lnTo>
                      <a:pt x="190" y="55"/>
                    </a:lnTo>
                    <a:lnTo>
                      <a:pt x="188" y="54"/>
                    </a:lnTo>
                    <a:lnTo>
                      <a:pt x="186" y="50"/>
                    </a:lnTo>
                    <a:lnTo>
                      <a:pt x="190" y="50"/>
                    </a:lnTo>
                    <a:lnTo>
                      <a:pt x="194" y="50"/>
                    </a:lnTo>
                    <a:lnTo>
                      <a:pt x="198" y="50"/>
                    </a:lnTo>
                    <a:lnTo>
                      <a:pt x="200" y="50"/>
                    </a:lnTo>
                    <a:lnTo>
                      <a:pt x="202" y="50"/>
                    </a:lnTo>
                    <a:lnTo>
                      <a:pt x="204" y="48"/>
                    </a:lnTo>
                    <a:lnTo>
                      <a:pt x="206" y="48"/>
                    </a:lnTo>
                    <a:lnTo>
                      <a:pt x="206" y="46"/>
                    </a:lnTo>
                    <a:lnTo>
                      <a:pt x="208" y="46"/>
                    </a:lnTo>
                    <a:lnTo>
                      <a:pt x="209" y="46"/>
                    </a:lnTo>
                    <a:lnTo>
                      <a:pt x="209" y="48"/>
                    </a:lnTo>
                    <a:lnTo>
                      <a:pt x="211" y="48"/>
                    </a:lnTo>
                    <a:lnTo>
                      <a:pt x="213" y="48"/>
                    </a:lnTo>
                    <a:lnTo>
                      <a:pt x="217" y="48"/>
                    </a:lnTo>
                    <a:lnTo>
                      <a:pt x="217" y="50"/>
                    </a:lnTo>
                    <a:lnTo>
                      <a:pt x="215" y="50"/>
                    </a:lnTo>
                    <a:lnTo>
                      <a:pt x="215" y="52"/>
                    </a:lnTo>
                    <a:lnTo>
                      <a:pt x="217" y="52"/>
                    </a:lnTo>
                    <a:lnTo>
                      <a:pt x="219" y="54"/>
                    </a:lnTo>
                    <a:lnTo>
                      <a:pt x="221" y="55"/>
                    </a:lnTo>
                    <a:lnTo>
                      <a:pt x="223" y="54"/>
                    </a:lnTo>
                    <a:lnTo>
                      <a:pt x="225" y="52"/>
                    </a:lnTo>
                    <a:lnTo>
                      <a:pt x="225" y="50"/>
                    </a:lnTo>
                    <a:lnTo>
                      <a:pt x="225" y="48"/>
                    </a:lnTo>
                    <a:lnTo>
                      <a:pt x="227" y="48"/>
                    </a:lnTo>
                    <a:lnTo>
                      <a:pt x="229" y="48"/>
                    </a:lnTo>
                    <a:lnTo>
                      <a:pt x="231" y="46"/>
                    </a:lnTo>
                    <a:lnTo>
                      <a:pt x="231" y="44"/>
                    </a:lnTo>
                    <a:lnTo>
                      <a:pt x="233" y="46"/>
                    </a:lnTo>
                    <a:lnTo>
                      <a:pt x="233" y="44"/>
                    </a:lnTo>
                    <a:lnTo>
                      <a:pt x="234" y="42"/>
                    </a:lnTo>
                    <a:lnTo>
                      <a:pt x="234" y="40"/>
                    </a:lnTo>
                    <a:lnTo>
                      <a:pt x="233" y="40"/>
                    </a:lnTo>
                    <a:lnTo>
                      <a:pt x="231" y="40"/>
                    </a:lnTo>
                    <a:lnTo>
                      <a:pt x="231" y="42"/>
                    </a:lnTo>
                    <a:lnTo>
                      <a:pt x="225" y="40"/>
                    </a:lnTo>
                    <a:lnTo>
                      <a:pt x="223" y="40"/>
                    </a:lnTo>
                    <a:lnTo>
                      <a:pt x="225" y="38"/>
                    </a:lnTo>
                    <a:lnTo>
                      <a:pt x="227" y="36"/>
                    </a:lnTo>
                    <a:lnTo>
                      <a:pt x="229" y="36"/>
                    </a:lnTo>
                    <a:lnTo>
                      <a:pt x="231" y="36"/>
                    </a:lnTo>
                    <a:lnTo>
                      <a:pt x="233" y="36"/>
                    </a:lnTo>
                    <a:lnTo>
                      <a:pt x="234" y="36"/>
                    </a:lnTo>
                    <a:lnTo>
                      <a:pt x="238" y="36"/>
                    </a:lnTo>
                    <a:lnTo>
                      <a:pt x="240" y="36"/>
                    </a:lnTo>
                    <a:lnTo>
                      <a:pt x="242" y="36"/>
                    </a:lnTo>
                    <a:lnTo>
                      <a:pt x="244" y="36"/>
                    </a:lnTo>
                    <a:lnTo>
                      <a:pt x="244" y="38"/>
                    </a:lnTo>
                    <a:lnTo>
                      <a:pt x="246" y="38"/>
                    </a:lnTo>
                    <a:lnTo>
                      <a:pt x="248" y="36"/>
                    </a:lnTo>
                    <a:lnTo>
                      <a:pt x="250" y="34"/>
                    </a:lnTo>
                    <a:lnTo>
                      <a:pt x="250" y="32"/>
                    </a:lnTo>
                    <a:lnTo>
                      <a:pt x="252" y="32"/>
                    </a:lnTo>
                    <a:lnTo>
                      <a:pt x="252" y="30"/>
                    </a:lnTo>
                    <a:lnTo>
                      <a:pt x="254" y="30"/>
                    </a:lnTo>
                    <a:lnTo>
                      <a:pt x="256" y="29"/>
                    </a:lnTo>
                    <a:lnTo>
                      <a:pt x="257" y="27"/>
                    </a:lnTo>
                    <a:lnTo>
                      <a:pt x="259" y="25"/>
                    </a:lnTo>
                    <a:lnTo>
                      <a:pt x="261" y="23"/>
                    </a:lnTo>
                    <a:lnTo>
                      <a:pt x="263" y="23"/>
                    </a:lnTo>
                    <a:lnTo>
                      <a:pt x="263" y="21"/>
                    </a:lnTo>
                    <a:lnTo>
                      <a:pt x="265" y="21"/>
                    </a:lnTo>
                    <a:lnTo>
                      <a:pt x="265" y="19"/>
                    </a:lnTo>
                    <a:lnTo>
                      <a:pt x="265" y="17"/>
                    </a:lnTo>
                    <a:lnTo>
                      <a:pt x="265" y="15"/>
                    </a:lnTo>
                    <a:lnTo>
                      <a:pt x="265" y="13"/>
                    </a:lnTo>
                    <a:lnTo>
                      <a:pt x="265" y="15"/>
                    </a:lnTo>
                    <a:lnTo>
                      <a:pt x="265" y="13"/>
                    </a:lnTo>
                    <a:lnTo>
                      <a:pt x="263" y="13"/>
                    </a:lnTo>
                    <a:lnTo>
                      <a:pt x="263" y="15"/>
                    </a:lnTo>
                    <a:lnTo>
                      <a:pt x="263" y="13"/>
                    </a:lnTo>
                    <a:lnTo>
                      <a:pt x="261" y="13"/>
                    </a:lnTo>
                    <a:lnTo>
                      <a:pt x="263" y="11"/>
                    </a:lnTo>
                    <a:lnTo>
                      <a:pt x="261" y="11"/>
                    </a:lnTo>
                    <a:lnTo>
                      <a:pt x="265" y="9"/>
                    </a:lnTo>
                    <a:lnTo>
                      <a:pt x="267" y="9"/>
                    </a:lnTo>
                    <a:lnTo>
                      <a:pt x="267" y="7"/>
                    </a:lnTo>
                    <a:lnTo>
                      <a:pt x="269" y="7"/>
                    </a:lnTo>
                    <a:lnTo>
                      <a:pt x="271" y="7"/>
                    </a:lnTo>
                    <a:lnTo>
                      <a:pt x="271" y="6"/>
                    </a:lnTo>
                    <a:lnTo>
                      <a:pt x="273" y="6"/>
                    </a:lnTo>
                    <a:lnTo>
                      <a:pt x="273" y="9"/>
                    </a:lnTo>
                    <a:lnTo>
                      <a:pt x="277" y="7"/>
                    </a:lnTo>
                    <a:lnTo>
                      <a:pt x="279" y="7"/>
                    </a:lnTo>
                    <a:lnTo>
                      <a:pt x="281" y="7"/>
                    </a:lnTo>
                    <a:lnTo>
                      <a:pt x="284" y="9"/>
                    </a:lnTo>
                    <a:lnTo>
                      <a:pt x="284" y="7"/>
                    </a:lnTo>
                    <a:lnTo>
                      <a:pt x="286" y="7"/>
                    </a:lnTo>
                    <a:lnTo>
                      <a:pt x="286" y="6"/>
                    </a:lnTo>
                    <a:lnTo>
                      <a:pt x="288" y="6"/>
                    </a:lnTo>
                    <a:lnTo>
                      <a:pt x="288" y="4"/>
                    </a:lnTo>
                    <a:lnTo>
                      <a:pt x="290" y="4"/>
                    </a:lnTo>
                    <a:lnTo>
                      <a:pt x="292" y="4"/>
                    </a:lnTo>
                    <a:lnTo>
                      <a:pt x="294" y="4"/>
                    </a:lnTo>
                    <a:lnTo>
                      <a:pt x="294" y="6"/>
                    </a:lnTo>
                    <a:lnTo>
                      <a:pt x="296" y="6"/>
                    </a:lnTo>
                    <a:lnTo>
                      <a:pt x="298" y="6"/>
                    </a:lnTo>
                    <a:lnTo>
                      <a:pt x="300" y="6"/>
                    </a:lnTo>
                    <a:lnTo>
                      <a:pt x="300" y="7"/>
                    </a:lnTo>
                    <a:lnTo>
                      <a:pt x="302" y="7"/>
                    </a:lnTo>
                    <a:lnTo>
                      <a:pt x="302" y="6"/>
                    </a:lnTo>
                    <a:lnTo>
                      <a:pt x="304" y="6"/>
                    </a:lnTo>
                    <a:lnTo>
                      <a:pt x="305" y="6"/>
                    </a:lnTo>
                    <a:lnTo>
                      <a:pt x="307" y="6"/>
                    </a:lnTo>
                    <a:lnTo>
                      <a:pt x="309" y="6"/>
                    </a:lnTo>
                    <a:lnTo>
                      <a:pt x="311" y="6"/>
                    </a:lnTo>
                    <a:lnTo>
                      <a:pt x="311" y="4"/>
                    </a:lnTo>
                    <a:lnTo>
                      <a:pt x="313" y="4"/>
                    </a:lnTo>
                    <a:lnTo>
                      <a:pt x="315" y="4"/>
                    </a:lnTo>
                    <a:lnTo>
                      <a:pt x="317" y="4"/>
                    </a:lnTo>
                    <a:lnTo>
                      <a:pt x="319" y="4"/>
                    </a:lnTo>
                    <a:lnTo>
                      <a:pt x="319" y="2"/>
                    </a:lnTo>
                    <a:lnTo>
                      <a:pt x="321" y="2"/>
                    </a:lnTo>
                    <a:lnTo>
                      <a:pt x="323" y="2"/>
                    </a:lnTo>
                    <a:lnTo>
                      <a:pt x="325" y="2"/>
                    </a:lnTo>
                    <a:lnTo>
                      <a:pt x="327" y="2"/>
                    </a:lnTo>
                    <a:lnTo>
                      <a:pt x="329" y="2"/>
                    </a:lnTo>
                    <a:lnTo>
                      <a:pt x="330" y="2"/>
                    </a:lnTo>
                    <a:lnTo>
                      <a:pt x="332" y="2"/>
                    </a:lnTo>
                    <a:lnTo>
                      <a:pt x="332" y="0"/>
                    </a:lnTo>
                    <a:lnTo>
                      <a:pt x="334" y="0"/>
                    </a:lnTo>
                    <a:lnTo>
                      <a:pt x="336" y="0"/>
                    </a:lnTo>
                    <a:lnTo>
                      <a:pt x="336" y="2"/>
                    </a:lnTo>
                    <a:lnTo>
                      <a:pt x="338" y="2"/>
                    </a:lnTo>
                    <a:lnTo>
                      <a:pt x="340" y="2"/>
                    </a:lnTo>
                    <a:lnTo>
                      <a:pt x="342" y="2"/>
                    </a:lnTo>
                    <a:lnTo>
                      <a:pt x="342" y="4"/>
                    </a:lnTo>
                    <a:lnTo>
                      <a:pt x="344" y="4"/>
                    </a:lnTo>
                    <a:lnTo>
                      <a:pt x="346" y="4"/>
                    </a:lnTo>
                    <a:lnTo>
                      <a:pt x="346" y="6"/>
                    </a:lnTo>
                    <a:lnTo>
                      <a:pt x="348" y="6"/>
                    </a:lnTo>
                    <a:lnTo>
                      <a:pt x="350" y="6"/>
                    </a:lnTo>
                    <a:lnTo>
                      <a:pt x="352" y="6"/>
                    </a:lnTo>
                    <a:lnTo>
                      <a:pt x="353" y="7"/>
                    </a:lnTo>
                    <a:lnTo>
                      <a:pt x="355" y="7"/>
                    </a:lnTo>
                    <a:lnTo>
                      <a:pt x="357" y="7"/>
                    </a:lnTo>
                    <a:lnTo>
                      <a:pt x="359" y="7"/>
                    </a:lnTo>
                    <a:lnTo>
                      <a:pt x="359" y="9"/>
                    </a:lnTo>
                    <a:lnTo>
                      <a:pt x="361" y="9"/>
                    </a:lnTo>
                    <a:lnTo>
                      <a:pt x="361" y="11"/>
                    </a:lnTo>
                    <a:lnTo>
                      <a:pt x="361" y="13"/>
                    </a:lnTo>
                    <a:lnTo>
                      <a:pt x="363" y="13"/>
                    </a:lnTo>
                    <a:lnTo>
                      <a:pt x="363" y="15"/>
                    </a:lnTo>
                    <a:lnTo>
                      <a:pt x="363" y="17"/>
                    </a:lnTo>
                    <a:lnTo>
                      <a:pt x="363" y="19"/>
                    </a:lnTo>
                    <a:lnTo>
                      <a:pt x="363" y="21"/>
                    </a:lnTo>
                    <a:lnTo>
                      <a:pt x="365" y="21"/>
                    </a:lnTo>
                    <a:lnTo>
                      <a:pt x="365" y="23"/>
                    </a:lnTo>
                    <a:lnTo>
                      <a:pt x="365" y="21"/>
                    </a:lnTo>
                    <a:lnTo>
                      <a:pt x="367" y="21"/>
                    </a:lnTo>
                    <a:lnTo>
                      <a:pt x="369" y="21"/>
                    </a:lnTo>
                    <a:lnTo>
                      <a:pt x="371" y="23"/>
                    </a:lnTo>
                    <a:lnTo>
                      <a:pt x="373" y="25"/>
                    </a:lnTo>
                    <a:lnTo>
                      <a:pt x="373" y="27"/>
                    </a:lnTo>
                    <a:lnTo>
                      <a:pt x="375" y="29"/>
                    </a:lnTo>
                    <a:lnTo>
                      <a:pt x="375" y="30"/>
                    </a:lnTo>
                    <a:lnTo>
                      <a:pt x="377" y="32"/>
                    </a:lnTo>
                    <a:lnTo>
                      <a:pt x="378" y="34"/>
                    </a:lnTo>
                    <a:lnTo>
                      <a:pt x="378" y="36"/>
                    </a:lnTo>
                    <a:lnTo>
                      <a:pt x="380" y="36"/>
                    </a:lnTo>
                    <a:lnTo>
                      <a:pt x="380" y="38"/>
                    </a:lnTo>
                    <a:lnTo>
                      <a:pt x="380" y="40"/>
                    </a:lnTo>
                    <a:lnTo>
                      <a:pt x="382" y="40"/>
                    </a:lnTo>
                    <a:lnTo>
                      <a:pt x="382" y="42"/>
                    </a:lnTo>
                    <a:lnTo>
                      <a:pt x="384" y="42"/>
                    </a:lnTo>
                    <a:lnTo>
                      <a:pt x="386" y="42"/>
                    </a:lnTo>
                    <a:lnTo>
                      <a:pt x="386" y="44"/>
                    </a:lnTo>
                    <a:lnTo>
                      <a:pt x="388" y="44"/>
                    </a:lnTo>
                    <a:lnTo>
                      <a:pt x="388" y="46"/>
                    </a:lnTo>
                    <a:lnTo>
                      <a:pt x="390" y="46"/>
                    </a:lnTo>
                    <a:lnTo>
                      <a:pt x="390" y="48"/>
                    </a:lnTo>
                    <a:lnTo>
                      <a:pt x="392" y="50"/>
                    </a:lnTo>
                    <a:lnTo>
                      <a:pt x="392" y="52"/>
                    </a:lnTo>
                    <a:lnTo>
                      <a:pt x="392" y="54"/>
                    </a:lnTo>
                    <a:lnTo>
                      <a:pt x="390" y="54"/>
                    </a:lnTo>
                    <a:lnTo>
                      <a:pt x="390" y="55"/>
                    </a:lnTo>
                    <a:lnTo>
                      <a:pt x="392" y="55"/>
                    </a:lnTo>
                    <a:lnTo>
                      <a:pt x="392" y="57"/>
                    </a:lnTo>
                    <a:lnTo>
                      <a:pt x="390" y="57"/>
                    </a:lnTo>
                    <a:lnTo>
                      <a:pt x="390" y="59"/>
                    </a:lnTo>
                    <a:lnTo>
                      <a:pt x="392" y="59"/>
                    </a:lnTo>
                    <a:lnTo>
                      <a:pt x="392" y="61"/>
                    </a:lnTo>
                    <a:lnTo>
                      <a:pt x="392" y="63"/>
                    </a:lnTo>
                    <a:lnTo>
                      <a:pt x="392" y="65"/>
                    </a:lnTo>
                    <a:lnTo>
                      <a:pt x="392" y="67"/>
                    </a:lnTo>
                    <a:lnTo>
                      <a:pt x="394" y="67"/>
                    </a:lnTo>
                    <a:lnTo>
                      <a:pt x="396" y="67"/>
                    </a:lnTo>
                    <a:lnTo>
                      <a:pt x="396" y="69"/>
                    </a:lnTo>
                    <a:lnTo>
                      <a:pt x="398" y="69"/>
                    </a:lnTo>
                    <a:lnTo>
                      <a:pt x="400" y="69"/>
                    </a:lnTo>
                    <a:lnTo>
                      <a:pt x="400" y="71"/>
                    </a:lnTo>
                    <a:lnTo>
                      <a:pt x="401" y="71"/>
                    </a:lnTo>
                    <a:lnTo>
                      <a:pt x="403" y="71"/>
                    </a:lnTo>
                    <a:lnTo>
                      <a:pt x="405" y="71"/>
                    </a:lnTo>
                    <a:lnTo>
                      <a:pt x="407" y="71"/>
                    </a:lnTo>
                    <a:lnTo>
                      <a:pt x="409" y="71"/>
                    </a:lnTo>
                    <a:lnTo>
                      <a:pt x="411" y="71"/>
                    </a:lnTo>
                    <a:lnTo>
                      <a:pt x="411" y="73"/>
                    </a:lnTo>
                    <a:lnTo>
                      <a:pt x="413" y="73"/>
                    </a:lnTo>
                    <a:lnTo>
                      <a:pt x="415" y="73"/>
                    </a:lnTo>
                    <a:lnTo>
                      <a:pt x="415" y="71"/>
                    </a:lnTo>
                    <a:lnTo>
                      <a:pt x="417" y="71"/>
                    </a:lnTo>
                    <a:lnTo>
                      <a:pt x="419" y="71"/>
                    </a:lnTo>
                    <a:lnTo>
                      <a:pt x="419" y="69"/>
                    </a:lnTo>
                    <a:lnTo>
                      <a:pt x="417" y="69"/>
                    </a:lnTo>
                    <a:lnTo>
                      <a:pt x="417" y="67"/>
                    </a:lnTo>
                    <a:lnTo>
                      <a:pt x="419" y="67"/>
                    </a:lnTo>
                    <a:lnTo>
                      <a:pt x="419" y="65"/>
                    </a:lnTo>
                    <a:lnTo>
                      <a:pt x="421" y="65"/>
                    </a:lnTo>
                    <a:lnTo>
                      <a:pt x="423" y="65"/>
                    </a:lnTo>
                    <a:lnTo>
                      <a:pt x="425" y="65"/>
                    </a:lnTo>
                    <a:lnTo>
                      <a:pt x="425" y="63"/>
                    </a:lnTo>
                    <a:lnTo>
                      <a:pt x="426" y="63"/>
                    </a:lnTo>
                    <a:lnTo>
                      <a:pt x="426" y="61"/>
                    </a:lnTo>
                    <a:lnTo>
                      <a:pt x="428" y="61"/>
                    </a:lnTo>
                    <a:lnTo>
                      <a:pt x="426" y="61"/>
                    </a:lnTo>
                    <a:lnTo>
                      <a:pt x="428" y="61"/>
                    </a:lnTo>
                    <a:lnTo>
                      <a:pt x="428" y="59"/>
                    </a:lnTo>
                    <a:lnTo>
                      <a:pt x="428" y="57"/>
                    </a:lnTo>
                    <a:lnTo>
                      <a:pt x="430" y="57"/>
                    </a:lnTo>
                    <a:lnTo>
                      <a:pt x="430" y="55"/>
                    </a:lnTo>
                    <a:lnTo>
                      <a:pt x="432" y="55"/>
                    </a:lnTo>
                    <a:lnTo>
                      <a:pt x="434" y="55"/>
                    </a:lnTo>
                    <a:lnTo>
                      <a:pt x="434" y="57"/>
                    </a:lnTo>
                    <a:lnTo>
                      <a:pt x="434" y="59"/>
                    </a:lnTo>
                    <a:lnTo>
                      <a:pt x="434" y="61"/>
                    </a:lnTo>
                    <a:lnTo>
                      <a:pt x="434" y="63"/>
                    </a:lnTo>
                    <a:lnTo>
                      <a:pt x="436" y="63"/>
                    </a:lnTo>
                    <a:lnTo>
                      <a:pt x="438" y="63"/>
                    </a:lnTo>
                    <a:lnTo>
                      <a:pt x="440" y="63"/>
                    </a:lnTo>
                    <a:lnTo>
                      <a:pt x="442" y="63"/>
                    </a:lnTo>
                    <a:lnTo>
                      <a:pt x="444" y="63"/>
                    </a:lnTo>
                    <a:lnTo>
                      <a:pt x="446" y="63"/>
                    </a:lnTo>
                    <a:lnTo>
                      <a:pt x="448" y="63"/>
                    </a:lnTo>
                    <a:lnTo>
                      <a:pt x="448" y="65"/>
                    </a:lnTo>
                    <a:lnTo>
                      <a:pt x="448" y="67"/>
                    </a:lnTo>
                    <a:lnTo>
                      <a:pt x="449" y="67"/>
                    </a:lnTo>
                    <a:lnTo>
                      <a:pt x="451" y="69"/>
                    </a:lnTo>
                    <a:lnTo>
                      <a:pt x="453" y="69"/>
                    </a:lnTo>
                    <a:lnTo>
                      <a:pt x="453" y="71"/>
                    </a:lnTo>
                    <a:lnTo>
                      <a:pt x="455" y="71"/>
                    </a:lnTo>
                    <a:lnTo>
                      <a:pt x="457" y="71"/>
                    </a:lnTo>
                    <a:lnTo>
                      <a:pt x="457" y="73"/>
                    </a:lnTo>
                    <a:lnTo>
                      <a:pt x="457" y="75"/>
                    </a:lnTo>
                    <a:lnTo>
                      <a:pt x="459" y="75"/>
                    </a:lnTo>
                    <a:lnTo>
                      <a:pt x="461" y="75"/>
                    </a:lnTo>
                    <a:lnTo>
                      <a:pt x="463" y="77"/>
                    </a:lnTo>
                    <a:lnTo>
                      <a:pt x="465" y="77"/>
                    </a:lnTo>
                    <a:lnTo>
                      <a:pt x="467" y="77"/>
                    </a:lnTo>
                    <a:lnTo>
                      <a:pt x="467" y="75"/>
                    </a:lnTo>
                    <a:lnTo>
                      <a:pt x="469" y="75"/>
                    </a:lnTo>
                    <a:lnTo>
                      <a:pt x="471" y="75"/>
                    </a:lnTo>
                    <a:lnTo>
                      <a:pt x="473" y="75"/>
                    </a:lnTo>
                    <a:lnTo>
                      <a:pt x="474" y="75"/>
                    </a:lnTo>
                    <a:lnTo>
                      <a:pt x="474" y="77"/>
                    </a:lnTo>
                    <a:lnTo>
                      <a:pt x="474" y="78"/>
                    </a:lnTo>
                    <a:lnTo>
                      <a:pt x="476" y="78"/>
                    </a:lnTo>
                    <a:lnTo>
                      <a:pt x="474" y="78"/>
                    </a:lnTo>
                    <a:lnTo>
                      <a:pt x="473" y="78"/>
                    </a:lnTo>
                    <a:lnTo>
                      <a:pt x="471" y="78"/>
                    </a:lnTo>
                    <a:lnTo>
                      <a:pt x="471" y="80"/>
                    </a:lnTo>
                    <a:lnTo>
                      <a:pt x="471" y="82"/>
                    </a:lnTo>
                    <a:lnTo>
                      <a:pt x="471" y="84"/>
                    </a:lnTo>
                    <a:lnTo>
                      <a:pt x="473" y="84"/>
                    </a:lnTo>
                    <a:lnTo>
                      <a:pt x="471" y="84"/>
                    </a:lnTo>
                    <a:lnTo>
                      <a:pt x="471" y="86"/>
                    </a:lnTo>
                    <a:lnTo>
                      <a:pt x="471" y="88"/>
                    </a:lnTo>
                    <a:lnTo>
                      <a:pt x="469" y="86"/>
                    </a:lnTo>
                    <a:lnTo>
                      <a:pt x="467" y="88"/>
                    </a:lnTo>
                    <a:lnTo>
                      <a:pt x="467" y="90"/>
                    </a:lnTo>
                    <a:lnTo>
                      <a:pt x="467" y="92"/>
                    </a:lnTo>
                    <a:lnTo>
                      <a:pt x="469" y="92"/>
                    </a:lnTo>
                    <a:lnTo>
                      <a:pt x="471" y="92"/>
                    </a:lnTo>
                    <a:lnTo>
                      <a:pt x="471" y="94"/>
                    </a:lnTo>
                    <a:lnTo>
                      <a:pt x="473" y="96"/>
                    </a:lnTo>
                    <a:lnTo>
                      <a:pt x="474" y="96"/>
                    </a:lnTo>
                    <a:lnTo>
                      <a:pt x="474" y="98"/>
                    </a:lnTo>
                    <a:lnTo>
                      <a:pt x="476" y="98"/>
                    </a:lnTo>
                    <a:lnTo>
                      <a:pt x="476" y="100"/>
                    </a:lnTo>
                    <a:lnTo>
                      <a:pt x="478" y="100"/>
                    </a:lnTo>
                    <a:lnTo>
                      <a:pt x="478" y="101"/>
                    </a:lnTo>
                    <a:lnTo>
                      <a:pt x="480" y="101"/>
                    </a:lnTo>
                    <a:lnTo>
                      <a:pt x="480" y="100"/>
                    </a:lnTo>
                    <a:lnTo>
                      <a:pt x="482" y="100"/>
                    </a:lnTo>
                    <a:lnTo>
                      <a:pt x="484" y="101"/>
                    </a:lnTo>
                    <a:lnTo>
                      <a:pt x="486" y="101"/>
                    </a:lnTo>
                    <a:lnTo>
                      <a:pt x="488" y="101"/>
                    </a:lnTo>
                    <a:lnTo>
                      <a:pt x="488" y="103"/>
                    </a:lnTo>
                    <a:lnTo>
                      <a:pt x="490" y="103"/>
                    </a:lnTo>
                    <a:lnTo>
                      <a:pt x="492" y="103"/>
                    </a:lnTo>
                    <a:lnTo>
                      <a:pt x="494" y="101"/>
                    </a:lnTo>
                    <a:lnTo>
                      <a:pt x="496" y="100"/>
                    </a:lnTo>
                    <a:lnTo>
                      <a:pt x="496" y="98"/>
                    </a:lnTo>
                    <a:lnTo>
                      <a:pt x="498" y="98"/>
                    </a:lnTo>
                    <a:lnTo>
                      <a:pt x="498" y="96"/>
                    </a:lnTo>
                    <a:lnTo>
                      <a:pt x="498" y="94"/>
                    </a:lnTo>
                    <a:lnTo>
                      <a:pt x="499" y="94"/>
                    </a:lnTo>
                    <a:lnTo>
                      <a:pt x="499" y="92"/>
                    </a:lnTo>
                    <a:lnTo>
                      <a:pt x="499" y="90"/>
                    </a:lnTo>
                    <a:lnTo>
                      <a:pt x="499" y="88"/>
                    </a:lnTo>
                    <a:lnTo>
                      <a:pt x="499" y="86"/>
                    </a:lnTo>
                    <a:lnTo>
                      <a:pt x="501" y="84"/>
                    </a:lnTo>
                    <a:lnTo>
                      <a:pt x="501" y="82"/>
                    </a:lnTo>
                    <a:lnTo>
                      <a:pt x="503" y="82"/>
                    </a:lnTo>
                    <a:lnTo>
                      <a:pt x="503" y="84"/>
                    </a:lnTo>
                    <a:lnTo>
                      <a:pt x="505" y="84"/>
                    </a:lnTo>
                    <a:lnTo>
                      <a:pt x="505" y="82"/>
                    </a:lnTo>
                    <a:lnTo>
                      <a:pt x="507" y="82"/>
                    </a:lnTo>
                    <a:lnTo>
                      <a:pt x="507" y="80"/>
                    </a:lnTo>
                    <a:lnTo>
                      <a:pt x="509" y="80"/>
                    </a:lnTo>
                    <a:lnTo>
                      <a:pt x="511" y="80"/>
                    </a:lnTo>
                    <a:lnTo>
                      <a:pt x="513" y="78"/>
                    </a:lnTo>
                    <a:lnTo>
                      <a:pt x="515" y="77"/>
                    </a:lnTo>
                    <a:lnTo>
                      <a:pt x="515" y="78"/>
                    </a:lnTo>
                    <a:lnTo>
                      <a:pt x="517" y="78"/>
                    </a:lnTo>
                    <a:lnTo>
                      <a:pt x="519" y="78"/>
                    </a:lnTo>
                    <a:lnTo>
                      <a:pt x="519" y="77"/>
                    </a:lnTo>
                    <a:lnTo>
                      <a:pt x="517" y="77"/>
                    </a:lnTo>
                    <a:lnTo>
                      <a:pt x="517" y="75"/>
                    </a:lnTo>
                    <a:lnTo>
                      <a:pt x="519" y="75"/>
                    </a:lnTo>
                    <a:lnTo>
                      <a:pt x="521" y="75"/>
                    </a:lnTo>
                    <a:lnTo>
                      <a:pt x="522" y="75"/>
                    </a:lnTo>
                    <a:lnTo>
                      <a:pt x="522" y="73"/>
                    </a:lnTo>
                    <a:lnTo>
                      <a:pt x="522" y="71"/>
                    </a:lnTo>
                    <a:lnTo>
                      <a:pt x="522" y="69"/>
                    </a:lnTo>
                    <a:lnTo>
                      <a:pt x="524" y="69"/>
                    </a:lnTo>
                    <a:lnTo>
                      <a:pt x="526" y="69"/>
                    </a:lnTo>
                    <a:lnTo>
                      <a:pt x="528" y="69"/>
                    </a:lnTo>
                    <a:lnTo>
                      <a:pt x="530" y="69"/>
                    </a:lnTo>
                    <a:lnTo>
                      <a:pt x="532" y="69"/>
                    </a:lnTo>
                    <a:lnTo>
                      <a:pt x="532" y="67"/>
                    </a:lnTo>
                    <a:lnTo>
                      <a:pt x="534" y="67"/>
                    </a:lnTo>
                    <a:lnTo>
                      <a:pt x="534" y="65"/>
                    </a:lnTo>
                    <a:lnTo>
                      <a:pt x="536" y="65"/>
                    </a:lnTo>
                    <a:lnTo>
                      <a:pt x="538" y="65"/>
                    </a:lnTo>
                    <a:lnTo>
                      <a:pt x="540" y="65"/>
                    </a:lnTo>
                    <a:lnTo>
                      <a:pt x="542" y="65"/>
                    </a:lnTo>
                    <a:lnTo>
                      <a:pt x="542" y="63"/>
                    </a:lnTo>
                    <a:lnTo>
                      <a:pt x="544" y="63"/>
                    </a:lnTo>
                    <a:lnTo>
                      <a:pt x="544" y="61"/>
                    </a:lnTo>
                    <a:lnTo>
                      <a:pt x="546" y="59"/>
                    </a:lnTo>
                    <a:lnTo>
                      <a:pt x="547" y="59"/>
                    </a:lnTo>
                    <a:lnTo>
                      <a:pt x="547" y="57"/>
                    </a:lnTo>
                    <a:lnTo>
                      <a:pt x="549" y="57"/>
                    </a:lnTo>
                    <a:lnTo>
                      <a:pt x="551" y="57"/>
                    </a:lnTo>
                    <a:lnTo>
                      <a:pt x="551" y="55"/>
                    </a:lnTo>
                    <a:lnTo>
                      <a:pt x="553" y="55"/>
                    </a:lnTo>
                    <a:lnTo>
                      <a:pt x="555" y="55"/>
                    </a:lnTo>
                    <a:lnTo>
                      <a:pt x="557" y="55"/>
                    </a:lnTo>
                    <a:lnTo>
                      <a:pt x="557" y="54"/>
                    </a:lnTo>
                    <a:lnTo>
                      <a:pt x="559" y="54"/>
                    </a:lnTo>
                    <a:lnTo>
                      <a:pt x="561" y="54"/>
                    </a:lnTo>
                    <a:lnTo>
                      <a:pt x="563" y="52"/>
                    </a:lnTo>
                    <a:lnTo>
                      <a:pt x="565" y="52"/>
                    </a:lnTo>
                    <a:lnTo>
                      <a:pt x="567" y="52"/>
                    </a:lnTo>
                    <a:lnTo>
                      <a:pt x="569" y="52"/>
                    </a:lnTo>
                    <a:lnTo>
                      <a:pt x="569" y="50"/>
                    </a:lnTo>
                    <a:lnTo>
                      <a:pt x="570" y="52"/>
                    </a:lnTo>
                    <a:lnTo>
                      <a:pt x="572" y="52"/>
                    </a:lnTo>
                    <a:lnTo>
                      <a:pt x="574" y="52"/>
                    </a:lnTo>
                    <a:lnTo>
                      <a:pt x="576" y="52"/>
                    </a:lnTo>
                    <a:lnTo>
                      <a:pt x="578" y="52"/>
                    </a:lnTo>
                    <a:lnTo>
                      <a:pt x="580" y="52"/>
                    </a:lnTo>
                    <a:lnTo>
                      <a:pt x="582" y="52"/>
                    </a:lnTo>
                    <a:lnTo>
                      <a:pt x="584" y="52"/>
                    </a:lnTo>
                    <a:lnTo>
                      <a:pt x="586" y="52"/>
                    </a:lnTo>
                    <a:lnTo>
                      <a:pt x="588" y="52"/>
                    </a:lnTo>
                    <a:lnTo>
                      <a:pt x="590" y="52"/>
                    </a:lnTo>
                    <a:lnTo>
                      <a:pt x="592" y="52"/>
                    </a:lnTo>
                    <a:lnTo>
                      <a:pt x="594" y="52"/>
                    </a:lnTo>
                    <a:lnTo>
                      <a:pt x="595" y="52"/>
                    </a:lnTo>
                    <a:lnTo>
                      <a:pt x="597" y="52"/>
                    </a:lnTo>
                    <a:lnTo>
                      <a:pt x="597" y="54"/>
                    </a:lnTo>
                    <a:lnTo>
                      <a:pt x="599" y="54"/>
                    </a:lnTo>
                    <a:lnTo>
                      <a:pt x="601" y="54"/>
                    </a:lnTo>
                    <a:lnTo>
                      <a:pt x="603" y="54"/>
                    </a:lnTo>
                    <a:lnTo>
                      <a:pt x="605" y="54"/>
                    </a:lnTo>
                    <a:lnTo>
                      <a:pt x="607" y="54"/>
                    </a:lnTo>
                    <a:lnTo>
                      <a:pt x="607" y="52"/>
                    </a:lnTo>
                    <a:lnTo>
                      <a:pt x="609" y="52"/>
                    </a:lnTo>
                    <a:lnTo>
                      <a:pt x="611" y="52"/>
                    </a:lnTo>
                    <a:lnTo>
                      <a:pt x="613" y="52"/>
                    </a:lnTo>
                    <a:lnTo>
                      <a:pt x="615" y="52"/>
                    </a:lnTo>
                    <a:lnTo>
                      <a:pt x="615" y="50"/>
                    </a:lnTo>
                    <a:lnTo>
                      <a:pt x="613" y="50"/>
                    </a:lnTo>
                    <a:lnTo>
                      <a:pt x="615" y="48"/>
                    </a:lnTo>
                    <a:lnTo>
                      <a:pt x="617" y="48"/>
                    </a:lnTo>
                    <a:lnTo>
                      <a:pt x="618" y="48"/>
                    </a:lnTo>
                    <a:lnTo>
                      <a:pt x="620" y="48"/>
                    </a:lnTo>
                    <a:lnTo>
                      <a:pt x="622" y="48"/>
                    </a:lnTo>
                    <a:lnTo>
                      <a:pt x="624" y="48"/>
                    </a:lnTo>
                    <a:lnTo>
                      <a:pt x="624" y="50"/>
                    </a:lnTo>
                    <a:lnTo>
                      <a:pt x="626" y="50"/>
                    </a:lnTo>
                    <a:lnTo>
                      <a:pt x="628" y="50"/>
                    </a:lnTo>
                    <a:lnTo>
                      <a:pt x="628" y="48"/>
                    </a:lnTo>
                    <a:lnTo>
                      <a:pt x="630" y="48"/>
                    </a:lnTo>
                    <a:lnTo>
                      <a:pt x="632" y="48"/>
                    </a:lnTo>
                    <a:lnTo>
                      <a:pt x="634" y="48"/>
                    </a:lnTo>
                    <a:lnTo>
                      <a:pt x="636" y="48"/>
                    </a:lnTo>
                    <a:lnTo>
                      <a:pt x="636" y="46"/>
                    </a:lnTo>
                    <a:lnTo>
                      <a:pt x="638" y="46"/>
                    </a:lnTo>
                    <a:lnTo>
                      <a:pt x="640" y="44"/>
                    </a:lnTo>
                    <a:lnTo>
                      <a:pt x="642" y="44"/>
                    </a:lnTo>
                    <a:lnTo>
                      <a:pt x="643" y="42"/>
                    </a:lnTo>
                    <a:lnTo>
                      <a:pt x="645" y="42"/>
                    </a:lnTo>
                    <a:lnTo>
                      <a:pt x="645" y="40"/>
                    </a:lnTo>
                    <a:lnTo>
                      <a:pt x="647" y="40"/>
                    </a:lnTo>
                    <a:lnTo>
                      <a:pt x="647" y="38"/>
                    </a:lnTo>
                    <a:lnTo>
                      <a:pt x="649" y="38"/>
                    </a:lnTo>
                    <a:lnTo>
                      <a:pt x="651" y="36"/>
                    </a:lnTo>
                    <a:lnTo>
                      <a:pt x="653" y="36"/>
                    </a:lnTo>
                    <a:lnTo>
                      <a:pt x="655" y="34"/>
                    </a:lnTo>
                    <a:lnTo>
                      <a:pt x="655" y="36"/>
                    </a:lnTo>
                    <a:lnTo>
                      <a:pt x="657" y="36"/>
                    </a:lnTo>
                    <a:lnTo>
                      <a:pt x="657" y="34"/>
                    </a:lnTo>
                    <a:lnTo>
                      <a:pt x="659" y="34"/>
                    </a:lnTo>
                    <a:lnTo>
                      <a:pt x="661" y="34"/>
                    </a:lnTo>
                    <a:lnTo>
                      <a:pt x="661" y="32"/>
                    </a:lnTo>
                    <a:lnTo>
                      <a:pt x="663" y="32"/>
                    </a:lnTo>
                    <a:lnTo>
                      <a:pt x="665" y="32"/>
                    </a:lnTo>
                    <a:lnTo>
                      <a:pt x="665" y="30"/>
                    </a:lnTo>
                    <a:lnTo>
                      <a:pt x="666" y="30"/>
                    </a:lnTo>
                    <a:lnTo>
                      <a:pt x="666" y="29"/>
                    </a:lnTo>
                    <a:lnTo>
                      <a:pt x="668" y="29"/>
                    </a:lnTo>
                    <a:lnTo>
                      <a:pt x="668" y="27"/>
                    </a:lnTo>
                    <a:lnTo>
                      <a:pt x="668" y="25"/>
                    </a:lnTo>
                    <a:lnTo>
                      <a:pt x="668" y="23"/>
                    </a:lnTo>
                    <a:lnTo>
                      <a:pt x="670" y="23"/>
                    </a:lnTo>
                    <a:lnTo>
                      <a:pt x="670" y="21"/>
                    </a:lnTo>
                    <a:lnTo>
                      <a:pt x="670" y="19"/>
                    </a:lnTo>
                    <a:lnTo>
                      <a:pt x="672" y="19"/>
                    </a:lnTo>
                    <a:lnTo>
                      <a:pt x="674" y="17"/>
                    </a:lnTo>
                    <a:lnTo>
                      <a:pt x="676" y="17"/>
                    </a:lnTo>
                    <a:lnTo>
                      <a:pt x="678" y="17"/>
                    </a:lnTo>
                    <a:lnTo>
                      <a:pt x="680" y="17"/>
                    </a:lnTo>
                    <a:lnTo>
                      <a:pt x="682" y="17"/>
                    </a:lnTo>
                    <a:lnTo>
                      <a:pt x="684" y="17"/>
                    </a:lnTo>
                    <a:lnTo>
                      <a:pt x="686" y="19"/>
                    </a:lnTo>
                    <a:lnTo>
                      <a:pt x="688" y="19"/>
                    </a:lnTo>
                    <a:lnTo>
                      <a:pt x="690" y="19"/>
                    </a:lnTo>
                    <a:lnTo>
                      <a:pt x="691" y="19"/>
                    </a:lnTo>
                    <a:lnTo>
                      <a:pt x="693" y="19"/>
                    </a:lnTo>
                    <a:lnTo>
                      <a:pt x="695" y="19"/>
                    </a:lnTo>
                    <a:lnTo>
                      <a:pt x="697" y="19"/>
                    </a:lnTo>
                    <a:lnTo>
                      <a:pt x="699" y="19"/>
                    </a:lnTo>
                    <a:lnTo>
                      <a:pt x="701" y="17"/>
                    </a:lnTo>
                    <a:lnTo>
                      <a:pt x="701" y="15"/>
                    </a:lnTo>
                    <a:lnTo>
                      <a:pt x="703" y="15"/>
                    </a:lnTo>
                    <a:lnTo>
                      <a:pt x="705" y="13"/>
                    </a:lnTo>
                    <a:lnTo>
                      <a:pt x="707" y="13"/>
                    </a:lnTo>
                    <a:lnTo>
                      <a:pt x="709" y="13"/>
                    </a:lnTo>
                    <a:lnTo>
                      <a:pt x="711" y="11"/>
                    </a:lnTo>
                    <a:lnTo>
                      <a:pt x="713" y="11"/>
                    </a:lnTo>
                    <a:lnTo>
                      <a:pt x="713" y="9"/>
                    </a:lnTo>
                    <a:lnTo>
                      <a:pt x="715" y="9"/>
                    </a:lnTo>
                    <a:lnTo>
                      <a:pt x="715" y="7"/>
                    </a:lnTo>
                    <a:lnTo>
                      <a:pt x="716" y="7"/>
                    </a:lnTo>
                    <a:lnTo>
                      <a:pt x="716" y="9"/>
                    </a:lnTo>
                    <a:lnTo>
                      <a:pt x="718" y="9"/>
                    </a:lnTo>
                    <a:lnTo>
                      <a:pt x="718" y="11"/>
                    </a:lnTo>
                    <a:lnTo>
                      <a:pt x="718" y="13"/>
                    </a:lnTo>
                    <a:lnTo>
                      <a:pt x="716" y="13"/>
                    </a:lnTo>
                    <a:lnTo>
                      <a:pt x="716" y="15"/>
                    </a:lnTo>
                    <a:lnTo>
                      <a:pt x="716" y="17"/>
                    </a:lnTo>
                    <a:lnTo>
                      <a:pt x="716" y="19"/>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107" name="Freeform 198">
                <a:extLst>
                  <a:ext uri="{FF2B5EF4-FFF2-40B4-BE49-F238E27FC236}">
                    <a16:creationId xmlns:a16="http://schemas.microsoft.com/office/drawing/2014/main" id="{551FCF89-6E1E-4A47-88BC-55A5DE130B29}"/>
                  </a:ext>
                </a:extLst>
              </p:cNvPr>
              <p:cNvSpPr>
                <a:spLocks noEditPoints="1"/>
              </p:cNvSpPr>
              <p:nvPr/>
            </p:nvSpPr>
            <p:spPr bwMode="auto">
              <a:xfrm>
                <a:off x="6255344" y="4483160"/>
                <a:ext cx="1624998" cy="1142692"/>
              </a:xfrm>
              <a:custGeom>
                <a:avLst/>
                <a:gdLst>
                  <a:gd name="T0" fmla="*/ 353 w 1095"/>
                  <a:gd name="T1" fmla="*/ 642 h 770"/>
                  <a:gd name="T2" fmla="*/ 388 w 1095"/>
                  <a:gd name="T3" fmla="*/ 634 h 770"/>
                  <a:gd name="T4" fmla="*/ 436 w 1095"/>
                  <a:gd name="T5" fmla="*/ 651 h 770"/>
                  <a:gd name="T6" fmla="*/ 382 w 1095"/>
                  <a:gd name="T7" fmla="*/ 651 h 770"/>
                  <a:gd name="T8" fmla="*/ 296 w 1095"/>
                  <a:gd name="T9" fmla="*/ 622 h 770"/>
                  <a:gd name="T10" fmla="*/ 1012 w 1095"/>
                  <a:gd name="T11" fmla="*/ 665 h 770"/>
                  <a:gd name="T12" fmla="*/ 1048 w 1095"/>
                  <a:gd name="T13" fmla="*/ 634 h 770"/>
                  <a:gd name="T14" fmla="*/ 1093 w 1095"/>
                  <a:gd name="T15" fmla="*/ 592 h 770"/>
                  <a:gd name="T16" fmla="*/ 737 w 1095"/>
                  <a:gd name="T17" fmla="*/ 43 h 770"/>
                  <a:gd name="T18" fmla="*/ 816 w 1095"/>
                  <a:gd name="T19" fmla="*/ 75 h 770"/>
                  <a:gd name="T20" fmla="*/ 864 w 1095"/>
                  <a:gd name="T21" fmla="*/ 142 h 770"/>
                  <a:gd name="T22" fmla="*/ 891 w 1095"/>
                  <a:gd name="T23" fmla="*/ 165 h 770"/>
                  <a:gd name="T24" fmla="*/ 939 w 1095"/>
                  <a:gd name="T25" fmla="*/ 286 h 770"/>
                  <a:gd name="T26" fmla="*/ 937 w 1095"/>
                  <a:gd name="T27" fmla="*/ 380 h 770"/>
                  <a:gd name="T28" fmla="*/ 960 w 1095"/>
                  <a:gd name="T29" fmla="*/ 463 h 770"/>
                  <a:gd name="T30" fmla="*/ 1037 w 1095"/>
                  <a:gd name="T31" fmla="*/ 532 h 770"/>
                  <a:gd name="T32" fmla="*/ 1010 w 1095"/>
                  <a:gd name="T33" fmla="*/ 592 h 770"/>
                  <a:gd name="T34" fmla="*/ 956 w 1095"/>
                  <a:gd name="T35" fmla="*/ 632 h 770"/>
                  <a:gd name="T36" fmla="*/ 972 w 1095"/>
                  <a:gd name="T37" fmla="*/ 724 h 770"/>
                  <a:gd name="T38" fmla="*/ 945 w 1095"/>
                  <a:gd name="T39" fmla="*/ 764 h 770"/>
                  <a:gd name="T40" fmla="*/ 927 w 1095"/>
                  <a:gd name="T41" fmla="*/ 695 h 770"/>
                  <a:gd name="T42" fmla="*/ 914 w 1095"/>
                  <a:gd name="T43" fmla="*/ 655 h 770"/>
                  <a:gd name="T44" fmla="*/ 952 w 1095"/>
                  <a:gd name="T45" fmla="*/ 659 h 770"/>
                  <a:gd name="T46" fmla="*/ 901 w 1095"/>
                  <a:gd name="T47" fmla="*/ 630 h 770"/>
                  <a:gd name="T48" fmla="*/ 874 w 1095"/>
                  <a:gd name="T49" fmla="*/ 697 h 770"/>
                  <a:gd name="T50" fmla="*/ 849 w 1095"/>
                  <a:gd name="T51" fmla="*/ 686 h 770"/>
                  <a:gd name="T52" fmla="*/ 835 w 1095"/>
                  <a:gd name="T53" fmla="*/ 663 h 770"/>
                  <a:gd name="T54" fmla="*/ 866 w 1095"/>
                  <a:gd name="T55" fmla="*/ 643 h 770"/>
                  <a:gd name="T56" fmla="*/ 893 w 1095"/>
                  <a:gd name="T57" fmla="*/ 620 h 770"/>
                  <a:gd name="T58" fmla="*/ 858 w 1095"/>
                  <a:gd name="T59" fmla="*/ 630 h 770"/>
                  <a:gd name="T60" fmla="*/ 812 w 1095"/>
                  <a:gd name="T61" fmla="*/ 595 h 770"/>
                  <a:gd name="T62" fmla="*/ 808 w 1095"/>
                  <a:gd name="T63" fmla="*/ 645 h 770"/>
                  <a:gd name="T64" fmla="*/ 783 w 1095"/>
                  <a:gd name="T65" fmla="*/ 659 h 770"/>
                  <a:gd name="T66" fmla="*/ 757 w 1095"/>
                  <a:gd name="T67" fmla="*/ 632 h 770"/>
                  <a:gd name="T68" fmla="*/ 705 w 1095"/>
                  <a:gd name="T69" fmla="*/ 586 h 770"/>
                  <a:gd name="T70" fmla="*/ 649 w 1095"/>
                  <a:gd name="T71" fmla="*/ 576 h 770"/>
                  <a:gd name="T72" fmla="*/ 611 w 1095"/>
                  <a:gd name="T73" fmla="*/ 582 h 770"/>
                  <a:gd name="T74" fmla="*/ 578 w 1095"/>
                  <a:gd name="T75" fmla="*/ 624 h 770"/>
                  <a:gd name="T76" fmla="*/ 572 w 1095"/>
                  <a:gd name="T77" fmla="*/ 657 h 770"/>
                  <a:gd name="T78" fmla="*/ 540 w 1095"/>
                  <a:gd name="T79" fmla="*/ 647 h 770"/>
                  <a:gd name="T80" fmla="*/ 513 w 1095"/>
                  <a:gd name="T81" fmla="*/ 636 h 770"/>
                  <a:gd name="T82" fmla="*/ 490 w 1095"/>
                  <a:gd name="T83" fmla="*/ 611 h 770"/>
                  <a:gd name="T84" fmla="*/ 495 w 1095"/>
                  <a:gd name="T85" fmla="*/ 578 h 770"/>
                  <a:gd name="T86" fmla="*/ 467 w 1095"/>
                  <a:gd name="T87" fmla="*/ 611 h 770"/>
                  <a:gd name="T88" fmla="*/ 436 w 1095"/>
                  <a:gd name="T89" fmla="*/ 615 h 770"/>
                  <a:gd name="T90" fmla="*/ 369 w 1095"/>
                  <a:gd name="T91" fmla="*/ 607 h 770"/>
                  <a:gd name="T92" fmla="*/ 301 w 1095"/>
                  <a:gd name="T93" fmla="*/ 613 h 770"/>
                  <a:gd name="T94" fmla="*/ 169 w 1095"/>
                  <a:gd name="T95" fmla="*/ 574 h 770"/>
                  <a:gd name="T96" fmla="*/ 8 w 1095"/>
                  <a:gd name="T97" fmla="*/ 484 h 770"/>
                  <a:gd name="T98" fmla="*/ 88 w 1095"/>
                  <a:gd name="T99" fmla="*/ 480 h 770"/>
                  <a:gd name="T100" fmla="*/ 177 w 1095"/>
                  <a:gd name="T101" fmla="*/ 354 h 770"/>
                  <a:gd name="T102" fmla="*/ 236 w 1095"/>
                  <a:gd name="T103" fmla="*/ 296 h 770"/>
                  <a:gd name="T104" fmla="*/ 317 w 1095"/>
                  <a:gd name="T105" fmla="*/ 283 h 770"/>
                  <a:gd name="T106" fmla="*/ 419 w 1095"/>
                  <a:gd name="T107" fmla="*/ 302 h 770"/>
                  <a:gd name="T108" fmla="*/ 436 w 1095"/>
                  <a:gd name="T109" fmla="*/ 244 h 770"/>
                  <a:gd name="T110" fmla="*/ 445 w 1095"/>
                  <a:gd name="T111" fmla="*/ 212 h 770"/>
                  <a:gd name="T112" fmla="*/ 461 w 1095"/>
                  <a:gd name="T113" fmla="*/ 160 h 770"/>
                  <a:gd name="T114" fmla="*/ 495 w 1095"/>
                  <a:gd name="T115" fmla="*/ 158 h 770"/>
                  <a:gd name="T116" fmla="*/ 495 w 1095"/>
                  <a:gd name="T117" fmla="*/ 116 h 770"/>
                  <a:gd name="T118" fmla="*/ 490 w 1095"/>
                  <a:gd name="T119" fmla="*/ 56 h 770"/>
                  <a:gd name="T120" fmla="*/ 538 w 1095"/>
                  <a:gd name="T121" fmla="*/ 4 h 770"/>
                  <a:gd name="T122" fmla="*/ 555 w 1095"/>
                  <a:gd name="T123" fmla="*/ 37 h 770"/>
                  <a:gd name="T124" fmla="*/ 616 w 1095"/>
                  <a:gd name="T125" fmla="*/ 4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95" h="770">
                    <a:moveTo>
                      <a:pt x="296" y="622"/>
                    </a:moveTo>
                    <a:lnTo>
                      <a:pt x="298" y="622"/>
                    </a:lnTo>
                    <a:lnTo>
                      <a:pt x="298" y="624"/>
                    </a:lnTo>
                    <a:lnTo>
                      <a:pt x="300" y="624"/>
                    </a:lnTo>
                    <a:lnTo>
                      <a:pt x="301" y="624"/>
                    </a:lnTo>
                    <a:lnTo>
                      <a:pt x="303" y="624"/>
                    </a:lnTo>
                    <a:lnTo>
                      <a:pt x="305" y="624"/>
                    </a:lnTo>
                    <a:lnTo>
                      <a:pt x="305" y="626"/>
                    </a:lnTo>
                    <a:lnTo>
                      <a:pt x="307" y="626"/>
                    </a:lnTo>
                    <a:lnTo>
                      <a:pt x="309" y="626"/>
                    </a:lnTo>
                    <a:lnTo>
                      <a:pt x="311" y="626"/>
                    </a:lnTo>
                    <a:lnTo>
                      <a:pt x="313" y="626"/>
                    </a:lnTo>
                    <a:lnTo>
                      <a:pt x="313" y="628"/>
                    </a:lnTo>
                    <a:lnTo>
                      <a:pt x="315" y="628"/>
                    </a:lnTo>
                    <a:lnTo>
                      <a:pt x="317" y="628"/>
                    </a:lnTo>
                    <a:lnTo>
                      <a:pt x="317" y="630"/>
                    </a:lnTo>
                    <a:lnTo>
                      <a:pt x="319" y="630"/>
                    </a:lnTo>
                    <a:lnTo>
                      <a:pt x="319" y="628"/>
                    </a:lnTo>
                    <a:lnTo>
                      <a:pt x="317" y="628"/>
                    </a:lnTo>
                    <a:lnTo>
                      <a:pt x="319" y="628"/>
                    </a:lnTo>
                    <a:lnTo>
                      <a:pt x="319" y="630"/>
                    </a:lnTo>
                    <a:lnTo>
                      <a:pt x="321" y="630"/>
                    </a:lnTo>
                    <a:lnTo>
                      <a:pt x="323" y="630"/>
                    </a:lnTo>
                    <a:lnTo>
                      <a:pt x="325" y="630"/>
                    </a:lnTo>
                    <a:lnTo>
                      <a:pt x="325" y="632"/>
                    </a:lnTo>
                    <a:lnTo>
                      <a:pt x="326" y="632"/>
                    </a:lnTo>
                    <a:lnTo>
                      <a:pt x="328" y="632"/>
                    </a:lnTo>
                    <a:lnTo>
                      <a:pt x="328" y="634"/>
                    </a:lnTo>
                    <a:lnTo>
                      <a:pt x="330" y="634"/>
                    </a:lnTo>
                    <a:lnTo>
                      <a:pt x="332" y="634"/>
                    </a:lnTo>
                    <a:lnTo>
                      <a:pt x="334" y="634"/>
                    </a:lnTo>
                    <a:lnTo>
                      <a:pt x="334" y="636"/>
                    </a:lnTo>
                    <a:lnTo>
                      <a:pt x="336" y="636"/>
                    </a:lnTo>
                    <a:lnTo>
                      <a:pt x="338" y="636"/>
                    </a:lnTo>
                    <a:lnTo>
                      <a:pt x="338" y="638"/>
                    </a:lnTo>
                    <a:lnTo>
                      <a:pt x="340" y="638"/>
                    </a:lnTo>
                    <a:lnTo>
                      <a:pt x="342" y="638"/>
                    </a:lnTo>
                    <a:lnTo>
                      <a:pt x="342" y="640"/>
                    </a:lnTo>
                    <a:lnTo>
                      <a:pt x="344" y="640"/>
                    </a:lnTo>
                    <a:lnTo>
                      <a:pt x="346" y="640"/>
                    </a:lnTo>
                    <a:lnTo>
                      <a:pt x="348" y="640"/>
                    </a:lnTo>
                    <a:lnTo>
                      <a:pt x="349" y="640"/>
                    </a:lnTo>
                    <a:lnTo>
                      <a:pt x="349" y="642"/>
                    </a:lnTo>
                    <a:lnTo>
                      <a:pt x="351" y="642"/>
                    </a:lnTo>
                    <a:lnTo>
                      <a:pt x="353" y="642"/>
                    </a:lnTo>
                    <a:lnTo>
                      <a:pt x="355" y="642"/>
                    </a:lnTo>
                    <a:lnTo>
                      <a:pt x="355" y="643"/>
                    </a:lnTo>
                    <a:lnTo>
                      <a:pt x="357" y="643"/>
                    </a:lnTo>
                    <a:lnTo>
                      <a:pt x="359" y="643"/>
                    </a:lnTo>
                    <a:lnTo>
                      <a:pt x="361" y="643"/>
                    </a:lnTo>
                    <a:lnTo>
                      <a:pt x="361" y="642"/>
                    </a:lnTo>
                    <a:lnTo>
                      <a:pt x="361" y="643"/>
                    </a:lnTo>
                    <a:lnTo>
                      <a:pt x="361" y="642"/>
                    </a:lnTo>
                    <a:lnTo>
                      <a:pt x="361" y="643"/>
                    </a:lnTo>
                    <a:lnTo>
                      <a:pt x="363" y="643"/>
                    </a:lnTo>
                    <a:lnTo>
                      <a:pt x="365" y="643"/>
                    </a:lnTo>
                    <a:lnTo>
                      <a:pt x="365" y="642"/>
                    </a:lnTo>
                    <a:lnTo>
                      <a:pt x="365" y="643"/>
                    </a:lnTo>
                    <a:lnTo>
                      <a:pt x="367" y="643"/>
                    </a:lnTo>
                    <a:lnTo>
                      <a:pt x="367" y="642"/>
                    </a:lnTo>
                    <a:lnTo>
                      <a:pt x="367" y="643"/>
                    </a:lnTo>
                    <a:lnTo>
                      <a:pt x="367" y="642"/>
                    </a:lnTo>
                    <a:lnTo>
                      <a:pt x="369" y="642"/>
                    </a:lnTo>
                    <a:lnTo>
                      <a:pt x="371" y="642"/>
                    </a:lnTo>
                    <a:lnTo>
                      <a:pt x="371" y="640"/>
                    </a:lnTo>
                    <a:lnTo>
                      <a:pt x="373" y="640"/>
                    </a:lnTo>
                    <a:lnTo>
                      <a:pt x="371" y="640"/>
                    </a:lnTo>
                    <a:lnTo>
                      <a:pt x="373" y="640"/>
                    </a:lnTo>
                    <a:lnTo>
                      <a:pt x="371" y="640"/>
                    </a:lnTo>
                    <a:lnTo>
                      <a:pt x="373" y="640"/>
                    </a:lnTo>
                    <a:lnTo>
                      <a:pt x="373" y="638"/>
                    </a:lnTo>
                    <a:lnTo>
                      <a:pt x="373" y="640"/>
                    </a:lnTo>
                    <a:lnTo>
                      <a:pt x="373" y="638"/>
                    </a:lnTo>
                    <a:lnTo>
                      <a:pt x="374" y="640"/>
                    </a:lnTo>
                    <a:lnTo>
                      <a:pt x="374" y="638"/>
                    </a:lnTo>
                    <a:lnTo>
                      <a:pt x="376" y="638"/>
                    </a:lnTo>
                    <a:lnTo>
                      <a:pt x="376" y="636"/>
                    </a:lnTo>
                    <a:lnTo>
                      <a:pt x="376" y="638"/>
                    </a:lnTo>
                    <a:lnTo>
                      <a:pt x="378" y="638"/>
                    </a:lnTo>
                    <a:lnTo>
                      <a:pt x="378" y="636"/>
                    </a:lnTo>
                    <a:lnTo>
                      <a:pt x="380" y="636"/>
                    </a:lnTo>
                    <a:lnTo>
                      <a:pt x="382" y="636"/>
                    </a:lnTo>
                    <a:lnTo>
                      <a:pt x="382" y="634"/>
                    </a:lnTo>
                    <a:lnTo>
                      <a:pt x="382" y="636"/>
                    </a:lnTo>
                    <a:lnTo>
                      <a:pt x="384" y="636"/>
                    </a:lnTo>
                    <a:lnTo>
                      <a:pt x="384" y="634"/>
                    </a:lnTo>
                    <a:lnTo>
                      <a:pt x="384" y="632"/>
                    </a:lnTo>
                    <a:lnTo>
                      <a:pt x="386" y="632"/>
                    </a:lnTo>
                    <a:lnTo>
                      <a:pt x="386" y="634"/>
                    </a:lnTo>
                    <a:lnTo>
                      <a:pt x="388" y="634"/>
                    </a:lnTo>
                    <a:lnTo>
                      <a:pt x="388" y="636"/>
                    </a:lnTo>
                    <a:lnTo>
                      <a:pt x="390" y="638"/>
                    </a:lnTo>
                    <a:lnTo>
                      <a:pt x="390" y="640"/>
                    </a:lnTo>
                    <a:lnTo>
                      <a:pt x="392" y="640"/>
                    </a:lnTo>
                    <a:lnTo>
                      <a:pt x="392" y="642"/>
                    </a:lnTo>
                    <a:lnTo>
                      <a:pt x="392" y="640"/>
                    </a:lnTo>
                    <a:lnTo>
                      <a:pt x="394" y="640"/>
                    </a:lnTo>
                    <a:lnTo>
                      <a:pt x="394" y="642"/>
                    </a:lnTo>
                    <a:lnTo>
                      <a:pt x="396" y="642"/>
                    </a:lnTo>
                    <a:lnTo>
                      <a:pt x="396" y="643"/>
                    </a:lnTo>
                    <a:lnTo>
                      <a:pt x="397" y="643"/>
                    </a:lnTo>
                    <a:lnTo>
                      <a:pt x="399" y="643"/>
                    </a:lnTo>
                    <a:lnTo>
                      <a:pt x="399" y="645"/>
                    </a:lnTo>
                    <a:lnTo>
                      <a:pt x="401" y="645"/>
                    </a:lnTo>
                    <a:lnTo>
                      <a:pt x="401" y="643"/>
                    </a:lnTo>
                    <a:lnTo>
                      <a:pt x="403" y="643"/>
                    </a:lnTo>
                    <a:lnTo>
                      <a:pt x="405" y="643"/>
                    </a:lnTo>
                    <a:lnTo>
                      <a:pt x="405" y="642"/>
                    </a:lnTo>
                    <a:lnTo>
                      <a:pt x="407" y="642"/>
                    </a:lnTo>
                    <a:lnTo>
                      <a:pt x="407" y="640"/>
                    </a:lnTo>
                    <a:lnTo>
                      <a:pt x="407" y="642"/>
                    </a:lnTo>
                    <a:lnTo>
                      <a:pt x="409" y="642"/>
                    </a:lnTo>
                    <a:lnTo>
                      <a:pt x="409" y="643"/>
                    </a:lnTo>
                    <a:lnTo>
                      <a:pt x="411" y="643"/>
                    </a:lnTo>
                    <a:lnTo>
                      <a:pt x="411" y="645"/>
                    </a:lnTo>
                    <a:lnTo>
                      <a:pt x="413" y="645"/>
                    </a:lnTo>
                    <a:lnTo>
                      <a:pt x="415" y="647"/>
                    </a:lnTo>
                    <a:lnTo>
                      <a:pt x="417" y="647"/>
                    </a:lnTo>
                    <a:lnTo>
                      <a:pt x="419" y="649"/>
                    </a:lnTo>
                    <a:lnTo>
                      <a:pt x="421" y="649"/>
                    </a:lnTo>
                    <a:lnTo>
                      <a:pt x="421" y="647"/>
                    </a:lnTo>
                    <a:lnTo>
                      <a:pt x="422" y="647"/>
                    </a:lnTo>
                    <a:lnTo>
                      <a:pt x="422" y="649"/>
                    </a:lnTo>
                    <a:lnTo>
                      <a:pt x="424" y="649"/>
                    </a:lnTo>
                    <a:lnTo>
                      <a:pt x="426" y="649"/>
                    </a:lnTo>
                    <a:lnTo>
                      <a:pt x="428" y="651"/>
                    </a:lnTo>
                    <a:lnTo>
                      <a:pt x="430" y="651"/>
                    </a:lnTo>
                    <a:lnTo>
                      <a:pt x="432" y="651"/>
                    </a:lnTo>
                    <a:lnTo>
                      <a:pt x="434" y="651"/>
                    </a:lnTo>
                    <a:lnTo>
                      <a:pt x="432" y="651"/>
                    </a:lnTo>
                    <a:lnTo>
                      <a:pt x="430" y="651"/>
                    </a:lnTo>
                    <a:lnTo>
                      <a:pt x="432" y="649"/>
                    </a:lnTo>
                    <a:lnTo>
                      <a:pt x="434" y="649"/>
                    </a:lnTo>
                    <a:lnTo>
                      <a:pt x="434" y="651"/>
                    </a:lnTo>
                    <a:lnTo>
                      <a:pt x="436" y="651"/>
                    </a:lnTo>
                    <a:lnTo>
                      <a:pt x="436" y="653"/>
                    </a:lnTo>
                    <a:lnTo>
                      <a:pt x="438" y="653"/>
                    </a:lnTo>
                    <a:lnTo>
                      <a:pt x="440" y="653"/>
                    </a:lnTo>
                    <a:lnTo>
                      <a:pt x="440" y="655"/>
                    </a:lnTo>
                    <a:lnTo>
                      <a:pt x="442" y="655"/>
                    </a:lnTo>
                    <a:lnTo>
                      <a:pt x="442" y="657"/>
                    </a:lnTo>
                    <a:lnTo>
                      <a:pt x="444" y="657"/>
                    </a:lnTo>
                    <a:lnTo>
                      <a:pt x="445" y="657"/>
                    </a:lnTo>
                    <a:lnTo>
                      <a:pt x="447" y="657"/>
                    </a:lnTo>
                    <a:lnTo>
                      <a:pt x="445" y="657"/>
                    </a:lnTo>
                    <a:lnTo>
                      <a:pt x="444" y="657"/>
                    </a:lnTo>
                    <a:lnTo>
                      <a:pt x="442" y="657"/>
                    </a:lnTo>
                    <a:lnTo>
                      <a:pt x="440" y="657"/>
                    </a:lnTo>
                    <a:lnTo>
                      <a:pt x="438" y="657"/>
                    </a:lnTo>
                    <a:lnTo>
                      <a:pt x="438" y="659"/>
                    </a:lnTo>
                    <a:lnTo>
                      <a:pt x="436" y="659"/>
                    </a:lnTo>
                    <a:lnTo>
                      <a:pt x="434" y="659"/>
                    </a:lnTo>
                    <a:lnTo>
                      <a:pt x="432" y="659"/>
                    </a:lnTo>
                    <a:lnTo>
                      <a:pt x="430" y="659"/>
                    </a:lnTo>
                    <a:lnTo>
                      <a:pt x="428" y="659"/>
                    </a:lnTo>
                    <a:lnTo>
                      <a:pt x="426" y="659"/>
                    </a:lnTo>
                    <a:lnTo>
                      <a:pt x="426" y="657"/>
                    </a:lnTo>
                    <a:lnTo>
                      <a:pt x="424" y="657"/>
                    </a:lnTo>
                    <a:lnTo>
                      <a:pt x="422" y="657"/>
                    </a:lnTo>
                    <a:lnTo>
                      <a:pt x="421" y="657"/>
                    </a:lnTo>
                    <a:lnTo>
                      <a:pt x="419" y="657"/>
                    </a:lnTo>
                    <a:lnTo>
                      <a:pt x="417" y="657"/>
                    </a:lnTo>
                    <a:lnTo>
                      <a:pt x="415" y="655"/>
                    </a:lnTo>
                    <a:lnTo>
                      <a:pt x="413" y="655"/>
                    </a:lnTo>
                    <a:lnTo>
                      <a:pt x="411" y="655"/>
                    </a:lnTo>
                    <a:lnTo>
                      <a:pt x="409" y="655"/>
                    </a:lnTo>
                    <a:lnTo>
                      <a:pt x="407" y="655"/>
                    </a:lnTo>
                    <a:lnTo>
                      <a:pt x="405" y="655"/>
                    </a:lnTo>
                    <a:lnTo>
                      <a:pt x="403" y="655"/>
                    </a:lnTo>
                    <a:lnTo>
                      <a:pt x="401" y="655"/>
                    </a:lnTo>
                    <a:lnTo>
                      <a:pt x="399" y="655"/>
                    </a:lnTo>
                    <a:lnTo>
                      <a:pt x="397" y="653"/>
                    </a:lnTo>
                    <a:lnTo>
                      <a:pt x="396" y="653"/>
                    </a:lnTo>
                    <a:lnTo>
                      <a:pt x="394" y="653"/>
                    </a:lnTo>
                    <a:lnTo>
                      <a:pt x="392" y="653"/>
                    </a:lnTo>
                    <a:lnTo>
                      <a:pt x="390" y="653"/>
                    </a:lnTo>
                    <a:lnTo>
                      <a:pt x="388" y="653"/>
                    </a:lnTo>
                    <a:lnTo>
                      <a:pt x="388" y="651"/>
                    </a:lnTo>
                    <a:lnTo>
                      <a:pt x="386" y="651"/>
                    </a:lnTo>
                    <a:lnTo>
                      <a:pt x="382" y="651"/>
                    </a:lnTo>
                    <a:lnTo>
                      <a:pt x="382" y="649"/>
                    </a:lnTo>
                    <a:lnTo>
                      <a:pt x="380" y="649"/>
                    </a:lnTo>
                    <a:lnTo>
                      <a:pt x="378" y="649"/>
                    </a:lnTo>
                    <a:lnTo>
                      <a:pt x="376" y="649"/>
                    </a:lnTo>
                    <a:lnTo>
                      <a:pt x="374" y="647"/>
                    </a:lnTo>
                    <a:lnTo>
                      <a:pt x="373" y="647"/>
                    </a:lnTo>
                    <a:lnTo>
                      <a:pt x="371" y="647"/>
                    </a:lnTo>
                    <a:lnTo>
                      <a:pt x="369" y="647"/>
                    </a:lnTo>
                    <a:lnTo>
                      <a:pt x="367" y="647"/>
                    </a:lnTo>
                    <a:lnTo>
                      <a:pt x="365" y="645"/>
                    </a:lnTo>
                    <a:lnTo>
                      <a:pt x="363" y="645"/>
                    </a:lnTo>
                    <a:lnTo>
                      <a:pt x="361" y="645"/>
                    </a:lnTo>
                    <a:lnTo>
                      <a:pt x="359" y="645"/>
                    </a:lnTo>
                    <a:lnTo>
                      <a:pt x="357" y="643"/>
                    </a:lnTo>
                    <a:lnTo>
                      <a:pt x="355" y="643"/>
                    </a:lnTo>
                    <a:lnTo>
                      <a:pt x="353" y="643"/>
                    </a:lnTo>
                    <a:lnTo>
                      <a:pt x="353" y="642"/>
                    </a:lnTo>
                    <a:lnTo>
                      <a:pt x="351" y="642"/>
                    </a:lnTo>
                    <a:lnTo>
                      <a:pt x="349" y="642"/>
                    </a:lnTo>
                    <a:lnTo>
                      <a:pt x="348" y="642"/>
                    </a:lnTo>
                    <a:lnTo>
                      <a:pt x="346" y="640"/>
                    </a:lnTo>
                    <a:lnTo>
                      <a:pt x="344" y="640"/>
                    </a:lnTo>
                    <a:lnTo>
                      <a:pt x="342" y="640"/>
                    </a:lnTo>
                    <a:lnTo>
                      <a:pt x="338" y="638"/>
                    </a:lnTo>
                    <a:lnTo>
                      <a:pt x="336" y="638"/>
                    </a:lnTo>
                    <a:lnTo>
                      <a:pt x="334" y="636"/>
                    </a:lnTo>
                    <a:lnTo>
                      <a:pt x="330" y="634"/>
                    </a:lnTo>
                    <a:lnTo>
                      <a:pt x="326" y="632"/>
                    </a:lnTo>
                    <a:lnTo>
                      <a:pt x="323" y="632"/>
                    </a:lnTo>
                    <a:lnTo>
                      <a:pt x="321" y="632"/>
                    </a:lnTo>
                    <a:lnTo>
                      <a:pt x="317" y="630"/>
                    </a:lnTo>
                    <a:lnTo>
                      <a:pt x="313" y="628"/>
                    </a:lnTo>
                    <a:lnTo>
                      <a:pt x="309" y="628"/>
                    </a:lnTo>
                    <a:lnTo>
                      <a:pt x="307" y="626"/>
                    </a:lnTo>
                    <a:lnTo>
                      <a:pt x="303" y="626"/>
                    </a:lnTo>
                    <a:lnTo>
                      <a:pt x="303" y="624"/>
                    </a:lnTo>
                    <a:lnTo>
                      <a:pt x="301" y="624"/>
                    </a:lnTo>
                    <a:lnTo>
                      <a:pt x="300" y="624"/>
                    </a:lnTo>
                    <a:lnTo>
                      <a:pt x="298" y="624"/>
                    </a:lnTo>
                    <a:lnTo>
                      <a:pt x="296" y="624"/>
                    </a:lnTo>
                    <a:lnTo>
                      <a:pt x="294" y="624"/>
                    </a:lnTo>
                    <a:lnTo>
                      <a:pt x="294" y="622"/>
                    </a:lnTo>
                    <a:lnTo>
                      <a:pt x="292" y="622"/>
                    </a:lnTo>
                    <a:lnTo>
                      <a:pt x="294" y="622"/>
                    </a:lnTo>
                    <a:lnTo>
                      <a:pt x="296" y="622"/>
                    </a:lnTo>
                    <a:close/>
                    <a:moveTo>
                      <a:pt x="1095" y="592"/>
                    </a:moveTo>
                    <a:lnTo>
                      <a:pt x="1093" y="594"/>
                    </a:lnTo>
                    <a:lnTo>
                      <a:pt x="1093" y="595"/>
                    </a:lnTo>
                    <a:lnTo>
                      <a:pt x="1091" y="595"/>
                    </a:lnTo>
                    <a:lnTo>
                      <a:pt x="1089" y="599"/>
                    </a:lnTo>
                    <a:lnTo>
                      <a:pt x="1089" y="601"/>
                    </a:lnTo>
                    <a:lnTo>
                      <a:pt x="1087" y="603"/>
                    </a:lnTo>
                    <a:lnTo>
                      <a:pt x="1085" y="605"/>
                    </a:lnTo>
                    <a:lnTo>
                      <a:pt x="1085" y="607"/>
                    </a:lnTo>
                    <a:lnTo>
                      <a:pt x="1083" y="609"/>
                    </a:lnTo>
                    <a:lnTo>
                      <a:pt x="1081" y="611"/>
                    </a:lnTo>
                    <a:lnTo>
                      <a:pt x="1081" y="613"/>
                    </a:lnTo>
                    <a:lnTo>
                      <a:pt x="1077" y="619"/>
                    </a:lnTo>
                    <a:lnTo>
                      <a:pt x="1075" y="622"/>
                    </a:lnTo>
                    <a:lnTo>
                      <a:pt x="1073" y="626"/>
                    </a:lnTo>
                    <a:lnTo>
                      <a:pt x="1072" y="628"/>
                    </a:lnTo>
                    <a:lnTo>
                      <a:pt x="1070" y="632"/>
                    </a:lnTo>
                    <a:lnTo>
                      <a:pt x="1068" y="634"/>
                    </a:lnTo>
                    <a:lnTo>
                      <a:pt x="1066" y="636"/>
                    </a:lnTo>
                    <a:lnTo>
                      <a:pt x="1066" y="638"/>
                    </a:lnTo>
                    <a:lnTo>
                      <a:pt x="1064" y="638"/>
                    </a:lnTo>
                    <a:lnTo>
                      <a:pt x="1062" y="640"/>
                    </a:lnTo>
                    <a:lnTo>
                      <a:pt x="1060" y="642"/>
                    </a:lnTo>
                    <a:lnTo>
                      <a:pt x="1058" y="645"/>
                    </a:lnTo>
                    <a:lnTo>
                      <a:pt x="1056" y="647"/>
                    </a:lnTo>
                    <a:lnTo>
                      <a:pt x="1054" y="647"/>
                    </a:lnTo>
                    <a:lnTo>
                      <a:pt x="1052" y="649"/>
                    </a:lnTo>
                    <a:lnTo>
                      <a:pt x="1050" y="649"/>
                    </a:lnTo>
                    <a:lnTo>
                      <a:pt x="1048" y="651"/>
                    </a:lnTo>
                    <a:lnTo>
                      <a:pt x="1047" y="651"/>
                    </a:lnTo>
                    <a:lnTo>
                      <a:pt x="1043" y="653"/>
                    </a:lnTo>
                    <a:lnTo>
                      <a:pt x="1041" y="653"/>
                    </a:lnTo>
                    <a:lnTo>
                      <a:pt x="1039" y="655"/>
                    </a:lnTo>
                    <a:lnTo>
                      <a:pt x="1037" y="655"/>
                    </a:lnTo>
                    <a:lnTo>
                      <a:pt x="1035" y="655"/>
                    </a:lnTo>
                    <a:lnTo>
                      <a:pt x="1033" y="655"/>
                    </a:lnTo>
                    <a:lnTo>
                      <a:pt x="1031" y="657"/>
                    </a:lnTo>
                    <a:lnTo>
                      <a:pt x="1029" y="657"/>
                    </a:lnTo>
                    <a:lnTo>
                      <a:pt x="1027" y="659"/>
                    </a:lnTo>
                    <a:lnTo>
                      <a:pt x="1025" y="659"/>
                    </a:lnTo>
                    <a:lnTo>
                      <a:pt x="1024" y="661"/>
                    </a:lnTo>
                    <a:lnTo>
                      <a:pt x="1018" y="663"/>
                    </a:lnTo>
                    <a:lnTo>
                      <a:pt x="1016" y="663"/>
                    </a:lnTo>
                    <a:lnTo>
                      <a:pt x="1014" y="663"/>
                    </a:lnTo>
                    <a:lnTo>
                      <a:pt x="1012" y="665"/>
                    </a:lnTo>
                    <a:lnTo>
                      <a:pt x="1010" y="665"/>
                    </a:lnTo>
                    <a:lnTo>
                      <a:pt x="1008" y="665"/>
                    </a:lnTo>
                    <a:lnTo>
                      <a:pt x="1006" y="665"/>
                    </a:lnTo>
                    <a:lnTo>
                      <a:pt x="1006" y="667"/>
                    </a:lnTo>
                    <a:lnTo>
                      <a:pt x="1006" y="665"/>
                    </a:lnTo>
                    <a:lnTo>
                      <a:pt x="1004" y="665"/>
                    </a:lnTo>
                    <a:lnTo>
                      <a:pt x="1006" y="665"/>
                    </a:lnTo>
                    <a:lnTo>
                      <a:pt x="1006" y="663"/>
                    </a:lnTo>
                    <a:lnTo>
                      <a:pt x="1006" y="661"/>
                    </a:lnTo>
                    <a:lnTo>
                      <a:pt x="1006" y="659"/>
                    </a:lnTo>
                    <a:lnTo>
                      <a:pt x="1008" y="659"/>
                    </a:lnTo>
                    <a:lnTo>
                      <a:pt x="1008" y="657"/>
                    </a:lnTo>
                    <a:lnTo>
                      <a:pt x="1008" y="655"/>
                    </a:lnTo>
                    <a:lnTo>
                      <a:pt x="1008" y="653"/>
                    </a:lnTo>
                    <a:lnTo>
                      <a:pt x="1010" y="653"/>
                    </a:lnTo>
                    <a:lnTo>
                      <a:pt x="1010" y="651"/>
                    </a:lnTo>
                    <a:lnTo>
                      <a:pt x="1012" y="651"/>
                    </a:lnTo>
                    <a:lnTo>
                      <a:pt x="1014" y="651"/>
                    </a:lnTo>
                    <a:lnTo>
                      <a:pt x="1014" y="649"/>
                    </a:lnTo>
                    <a:lnTo>
                      <a:pt x="1016" y="649"/>
                    </a:lnTo>
                    <a:lnTo>
                      <a:pt x="1016" y="647"/>
                    </a:lnTo>
                    <a:lnTo>
                      <a:pt x="1018" y="647"/>
                    </a:lnTo>
                    <a:lnTo>
                      <a:pt x="1018" y="645"/>
                    </a:lnTo>
                    <a:lnTo>
                      <a:pt x="1020" y="645"/>
                    </a:lnTo>
                    <a:lnTo>
                      <a:pt x="1020" y="643"/>
                    </a:lnTo>
                    <a:lnTo>
                      <a:pt x="1020" y="642"/>
                    </a:lnTo>
                    <a:lnTo>
                      <a:pt x="1020" y="640"/>
                    </a:lnTo>
                    <a:lnTo>
                      <a:pt x="1020" y="638"/>
                    </a:lnTo>
                    <a:lnTo>
                      <a:pt x="1022" y="638"/>
                    </a:lnTo>
                    <a:lnTo>
                      <a:pt x="1024" y="638"/>
                    </a:lnTo>
                    <a:lnTo>
                      <a:pt x="1024" y="636"/>
                    </a:lnTo>
                    <a:lnTo>
                      <a:pt x="1025" y="636"/>
                    </a:lnTo>
                    <a:lnTo>
                      <a:pt x="1027" y="636"/>
                    </a:lnTo>
                    <a:lnTo>
                      <a:pt x="1029" y="636"/>
                    </a:lnTo>
                    <a:lnTo>
                      <a:pt x="1031" y="636"/>
                    </a:lnTo>
                    <a:lnTo>
                      <a:pt x="1033" y="636"/>
                    </a:lnTo>
                    <a:lnTo>
                      <a:pt x="1035" y="636"/>
                    </a:lnTo>
                    <a:lnTo>
                      <a:pt x="1035" y="634"/>
                    </a:lnTo>
                    <a:lnTo>
                      <a:pt x="1037" y="634"/>
                    </a:lnTo>
                    <a:lnTo>
                      <a:pt x="1039" y="634"/>
                    </a:lnTo>
                    <a:lnTo>
                      <a:pt x="1041" y="634"/>
                    </a:lnTo>
                    <a:lnTo>
                      <a:pt x="1043" y="634"/>
                    </a:lnTo>
                    <a:lnTo>
                      <a:pt x="1045" y="634"/>
                    </a:lnTo>
                    <a:lnTo>
                      <a:pt x="1047" y="634"/>
                    </a:lnTo>
                    <a:lnTo>
                      <a:pt x="1048" y="634"/>
                    </a:lnTo>
                    <a:lnTo>
                      <a:pt x="1048" y="632"/>
                    </a:lnTo>
                    <a:lnTo>
                      <a:pt x="1050" y="632"/>
                    </a:lnTo>
                    <a:lnTo>
                      <a:pt x="1052" y="632"/>
                    </a:lnTo>
                    <a:lnTo>
                      <a:pt x="1054" y="632"/>
                    </a:lnTo>
                    <a:lnTo>
                      <a:pt x="1054" y="630"/>
                    </a:lnTo>
                    <a:lnTo>
                      <a:pt x="1056" y="630"/>
                    </a:lnTo>
                    <a:lnTo>
                      <a:pt x="1058" y="628"/>
                    </a:lnTo>
                    <a:lnTo>
                      <a:pt x="1060" y="628"/>
                    </a:lnTo>
                    <a:lnTo>
                      <a:pt x="1062" y="628"/>
                    </a:lnTo>
                    <a:lnTo>
                      <a:pt x="1062" y="626"/>
                    </a:lnTo>
                    <a:lnTo>
                      <a:pt x="1064" y="626"/>
                    </a:lnTo>
                    <a:lnTo>
                      <a:pt x="1066" y="626"/>
                    </a:lnTo>
                    <a:lnTo>
                      <a:pt x="1068" y="626"/>
                    </a:lnTo>
                    <a:lnTo>
                      <a:pt x="1068" y="624"/>
                    </a:lnTo>
                    <a:lnTo>
                      <a:pt x="1070" y="624"/>
                    </a:lnTo>
                    <a:lnTo>
                      <a:pt x="1072" y="624"/>
                    </a:lnTo>
                    <a:lnTo>
                      <a:pt x="1073" y="624"/>
                    </a:lnTo>
                    <a:lnTo>
                      <a:pt x="1073" y="622"/>
                    </a:lnTo>
                    <a:lnTo>
                      <a:pt x="1075" y="622"/>
                    </a:lnTo>
                    <a:lnTo>
                      <a:pt x="1075" y="620"/>
                    </a:lnTo>
                    <a:lnTo>
                      <a:pt x="1077" y="620"/>
                    </a:lnTo>
                    <a:lnTo>
                      <a:pt x="1077" y="619"/>
                    </a:lnTo>
                    <a:lnTo>
                      <a:pt x="1077" y="617"/>
                    </a:lnTo>
                    <a:lnTo>
                      <a:pt x="1077" y="615"/>
                    </a:lnTo>
                    <a:lnTo>
                      <a:pt x="1077" y="613"/>
                    </a:lnTo>
                    <a:lnTo>
                      <a:pt x="1077" y="611"/>
                    </a:lnTo>
                    <a:lnTo>
                      <a:pt x="1077" y="609"/>
                    </a:lnTo>
                    <a:lnTo>
                      <a:pt x="1079" y="609"/>
                    </a:lnTo>
                    <a:lnTo>
                      <a:pt x="1079" y="607"/>
                    </a:lnTo>
                    <a:lnTo>
                      <a:pt x="1081" y="607"/>
                    </a:lnTo>
                    <a:lnTo>
                      <a:pt x="1081" y="605"/>
                    </a:lnTo>
                    <a:lnTo>
                      <a:pt x="1083" y="605"/>
                    </a:lnTo>
                    <a:lnTo>
                      <a:pt x="1081" y="605"/>
                    </a:lnTo>
                    <a:lnTo>
                      <a:pt x="1083" y="605"/>
                    </a:lnTo>
                    <a:lnTo>
                      <a:pt x="1085" y="603"/>
                    </a:lnTo>
                    <a:lnTo>
                      <a:pt x="1087" y="603"/>
                    </a:lnTo>
                    <a:lnTo>
                      <a:pt x="1087" y="601"/>
                    </a:lnTo>
                    <a:lnTo>
                      <a:pt x="1087" y="599"/>
                    </a:lnTo>
                    <a:lnTo>
                      <a:pt x="1089" y="599"/>
                    </a:lnTo>
                    <a:lnTo>
                      <a:pt x="1089" y="597"/>
                    </a:lnTo>
                    <a:lnTo>
                      <a:pt x="1091" y="597"/>
                    </a:lnTo>
                    <a:lnTo>
                      <a:pt x="1091" y="595"/>
                    </a:lnTo>
                    <a:lnTo>
                      <a:pt x="1093" y="595"/>
                    </a:lnTo>
                    <a:lnTo>
                      <a:pt x="1093" y="594"/>
                    </a:lnTo>
                    <a:lnTo>
                      <a:pt x="1093" y="592"/>
                    </a:lnTo>
                    <a:lnTo>
                      <a:pt x="1095" y="592"/>
                    </a:lnTo>
                    <a:lnTo>
                      <a:pt x="1095" y="590"/>
                    </a:lnTo>
                    <a:lnTo>
                      <a:pt x="1095" y="592"/>
                    </a:lnTo>
                    <a:close/>
                    <a:moveTo>
                      <a:pt x="639" y="2"/>
                    </a:moveTo>
                    <a:lnTo>
                      <a:pt x="639" y="6"/>
                    </a:lnTo>
                    <a:lnTo>
                      <a:pt x="641" y="6"/>
                    </a:lnTo>
                    <a:lnTo>
                      <a:pt x="641" y="12"/>
                    </a:lnTo>
                    <a:lnTo>
                      <a:pt x="645" y="12"/>
                    </a:lnTo>
                    <a:lnTo>
                      <a:pt x="647" y="18"/>
                    </a:lnTo>
                    <a:lnTo>
                      <a:pt x="645" y="18"/>
                    </a:lnTo>
                    <a:lnTo>
                      <a:pt x="641" y="20"/>
                    </a:lnTo>
                    <a:lnTo>
                      <a:pt x="641" y="25"/>
                    </a:lnTo>
                    <a:lnTo>
                      <a:pt x="639" y="27"/>
                    </a:lnTo>
                    <a:lnTo>
                      <a:pt x="638" y="29"/>
                    </a:lnTo>
                    <a:lnTo>
                      <a:pt x="638" y="31"/>
                    </a:lnTo>
                    <a:lnTo>
                      <a:pt x="638" y="33"/>
                    </a:lnTo>
                    <a:lnTo>
                      <a:pt x="639" y="43"/>
                    </a:lnTo>
                    <a:lnTo>
                      <a:pt x="643" y="43"/>
                    </a:lnTo>
                    <a:lnTo>
                      <a:pt x="643" y="39"/>
                    </a:lnTo>
                    <a:lnTo>
                      <a:pt x="647" y="39"/>
                    </a:lnTo>
                    <a:lnTo>
                      <a:pt x="649" y="39"/>
                    </a:lnTo>
                    <a:lnTo>
                      <a:pt x="653" y="39"/>
                    </a:lnTo>
                    <a:lnTo>
                      <a:pt x="653" y="44"/>
                    </a:lnTo>
                    <a:lnTo>
                      <a:pt x="653" y="50"/>
                    </a:lnTo>
                    <a:lnTo>
                      <a:pt x="655" y="50"/>
                    </a:lnTo>
                    <a:lnTo>
                      <a:pt x="661" y="50"/>
                    </a:lnTo>
                    <a:lnTo>
                      <a:pt x="662" y="50"/>
                    </a:lnTo>
                    <a:lnTo>
                      <a:pt x="668" y="50"/>
                    </a:lnTo>
                    <a:lnTo>
                      <a:pt x="670" y="50"/>
                    </a:lnTo>
                    <a:lnTo>
                      <a:pt x="674" y="48"/>
                    </a:lnTo>
                    <a:lnTo>
                      <a:pt x="682" y="48"/>
                    </a:lnTo>
                    <a:lnTo>
                      <a:pt x="687" y="48"/>
                    </a:lnTo>
                    <a:lnTo>
                      <a:pt x="691" y="48"/>
                    </a:lnTo>
                    <a:lnTo>
                      <a:pt x="699" y="46"/>
                    </a:lnTo>
                    <a:lnTo>
                      <a:pt x="709" y="46"/>
                    </a:lnTo>
                    <a:lnTo>
                      <a:pt x="714" y="46"/>
                    </a:lnTo>
                    <a:lnTo>
                      <a:pt x="720" y="46"/>
                    </a:lnTo>
                    <a:lnTo>
                      <a:pt x="726" y="44"/>
                    </a:lnTo>
                    <a:lnTo>
                      <a:pt x="728" y="44"/>
                    </a:lnTo>
                    <a:lnTo>
                      <a:pt x="730" y="44"/>
                    </a:lnTo>
                    <a:lnTo>
                      <a:pt x="732" y="44"/>
                    </a:lnTo>
                    <a:lnTo>
                      <a:pt x="734" y="44"/>
                    </a:lnTo>
                    <a:lnTo>
                      <a:pt x="735" y="44"/>
                    </a:lnTo>
                    <a:lnTo>
                      <a:pt x="735" y="43"/>
                    </a:lnTo>
                    <a:lnTo>
                      <a:pt x="737" y="43"/>
                    </a:lnTo>
                    <a:lnTo>
                      <a:pt x="739" y="43"/>
                    </a:lnTo>
                    <a:lnTo>
                      <a:pt x="739" y="44"/>
                    </a:lnTo>
                    <a:lnTo>
                      <a:pt x="739" y="46"/>
                    </a:lnTo>
                    <a:lnTo>
                      <a:pt x="739" y="48"/>
                    </a:lnTo>
                    <a:lnTo>
                      <a:pt x="741" y="48"/>
                    </a:lnTo>
                    <a:lnTo>
                      <a:pt x="741" y="50"/>
                    </a:lnTo>
                    <a:lnTo>
                      <a:pt x="741" y="56"/>
                    </a:lnTo>
                    <a:lnTo>
                      <a:pt x="741" y="58"/>
                    </a:lnTo>
                    <a:lnTo>
                      <a:pt x="741" y="62"/>
                    </a:lnTo>
                    <a:lnTo>
                      <a:pt x="741" y="66"/>
                    </a:lnTo>
                    <a:lnTo>
                      <a:pt x="741" y="68"/>
                    </a:lnTo>
                    <a:lnTo>
                      <a:pt x="741" y="69"/>
                    </a:lnTo>
                    <a:lnTo>
                      <a:pt x="743" y="69"/>
                    </a:lnTo>
                    <a:lnTo>
                      <a:pt x="743" y="68"/>
                    </a:lnTo>
                    <a:lnTo>
                      <a:pt x="747" y="68"/>
                    </a:lnTo>
                    <a:lnTo>
                      <a:pt x="749" y="68"/>
                    </a:lnTo>
                    <a:lnTo>
                      <a:pt x="751" y="69"/>
                    </a:lnTo>
                    <a:lnTo>
                      <a:pt x="753" y="69"/>
                    </a:lnTo>
                    <a:lnTo>
                      <a:pt x="753" y="68"/>
                    </a:lnTo>
                    <a:lnTo>
                      <a:pt x="755" y="68"/>
                    </a:lnTo>
                    <a:lnTo>
                      <a:pt x="755" y="69"/>
                    </a:lnTo>
                    <a:lnTo>
                      <a:pt x="757" y="69"/>
                    </a:lnTo>
                    <a:lnTo>
                      <a:pt x="760" y="69"/>
                    </a:lnTo>
                    <a:lnTo>
                      <a:pt x="760" y="68"/>
                    </a:lnTo>
                    <a:lnTo>
                      <a:pt x="762" y="68"/>
                    </a:lnTo>
                    <a:lnTo>
                      <a:pt x="766" y="68"/>
                    </a:lnTo>
                    <a:lnTo>
                      <a:pt x="768" y="66"/>
                    </a:lnTo>
                    <a:lnTo>
                      <a:pt x="772" y="66"/>
                    </a:lnTo>
                    <a:lnTo>
                      <a:pt x="774" y="66"/>
                    </a:lnTo>
                    <a:lnTo>
                      <a:pt x="776" y="66"/>
                    </a:lnTo>
                    <a:lnTo>
                      <a:pt x="778" y="66"/>
                    </a:lnTo>
                    <a:lnTo>
                      <a:pt x="780" y="66"/>
                    </a:lnTo>
                    <a:lnTo>
                      <a:pt x="782" y="66"/>
                    </a:lnTo>
                    <a:lnTo>
                      <a:pt x="783" y="64"/>
                    </a:lnTo>
                    <a:lnTo>
                      <a:pt x="785" y="64"/>
                    </a:lnTo>
                    <a:lnTo>
                      <a:pt x="789" y="64"/>
                    </a:lnTo>
                    <a:lnTo>
                      <a:pt x="791" y="64"/>
                    </a:lnTo>
                    <a:lnTo>
                      <a:pt x="793" y="64"/>
                    </a:lnTo>
                    <a:lnTo>
                      <a:pt x="795" y="64"/>
                    </a:lnTo>
                    <a:lnTo>
                      <a:pt x="801" y="68"/>
                    </a:lnTo>
                    <a:lnTo>
                      <a:pt x="805" y="68"/>
                    </a:lnTo>
                    <a:lnTo>
                      <a:pt x="807" y="69"/>
                    </a:lnTo>
                    <a:lnTo>
                      <a:pt x="808" y="69"/>
                    </a:lnTo>
                    <a:lnTo>
                      <a:pt x="814" y="73"/>
                    </a:lnTo>
                    <a:lnTo>
                      <a:pt x="816" y="75"/>
                    </a:lnTo>
                    <a:lnTo>
                      <a:pt x="818" y="77"/>
                    </a:lnTo>
                    <a:lnTo>
                      <a:pt x="820" y="79"/>
                    </a:lnTo>
                    <a:lnTo>
                      <a:pt x="822" y="81"/>
                    </a:lnTo>
                    <a:lnTo>
                      <a:pt x="824" y="83"/>
                    </a:lnTo>
                    <a:lnTo>
                      <a:pt x="824" y="85"/>
                    </a:lnTo>
                    <a:lnTo>
                      <a:pt x="824" y="87"/>
                    </a:lnTo>
                    <a:lnTo>
                      <a:pt x="824" y="89"/>
                    </a:lnTo>
                    <a:lnTo>
                      <a:pt x="826" y="91"/>
                    </a:lnTo>
                    <a:lnTo>
                      <a:pt x="826" y="92"/>
                    </a:lnTo>
                    <a:lnTo>
                      <a:pt x="826" y="100"/>
                    </a:lnTo>
                    <a:lnTo>
                      <a:pt x="824" y="102"/>
                    </a:lnTo>
                    <a:lnTo>
                      <a:pt x="826" y="104"/>
                    </a:lnTo>
                    <a:lnTo>
                      <a:pt x="826" y="110"/>
                    </a:lnTo>
                    <a:lnTo>
                      <a:pt x="826" y="114"/>
                    </a:lnTo>
                    <a:lnTo>
                      <a:pt x="826" y="116"/>
                    </a:lnTo>
                    <a:lnTo>
                      <a:pt x="830" y="116"/>
                    </a:lnTo>
                    <a:lnTo>
                      <a:pt x="831" y="119"/>
                    </a:lnTo>
                    <a:lnTo>
                      <a:pt x="831" y="125"/>
                    </a:lnTo>
                    <a:lnTo>
                      <a:pt x="831" y="129"/>
                    </a:lnTo>
                    <a:lnTo>
                      <a:pt x="831" y="131"/>
                    </a:lnTo>
                    <a:lnTo>
                      <a:pt x="831" y="133"/>
                    </a:lnTo>
                    <a:lnTo>
                      <a:pt x="831" y="135"/>
                    </a:lnTo>
                    <a:lnTo>
                      <a:pt x="831" y="137"/>
                    </a:lnTo>
                    <a:lnTo>
                      <a:pt x="831" y="139"/>
                    </a:lnTo>
                    <a:lnTo>
                      <a:pt x="833" y="142"/>
                    </a:lnTo>
                    <a:lnTo>
                      <a:pt x="833" y="144"/>
                    </a:lnTo>
                    <a:lnTo>
                      <a:pt x="833" y="148"/>
                    </a:lnTo>
                    <a:lnTo>
                      <a:pt x="833" y="150"/>
                    </a:lnTo>
                    <a:lnTo>
                      <a:pt x="833" y="152"/>
                    </a:lnTo>
                    <a:lnTo>
                      <a:pt x="835" y="152"/>
                    </a:lnTo>
                    <a:lnTo>
                      <a:pt x="837" y="154"/>
                    </a:lnTo>
                    <a:lnTo>
                      <a:pt x="841" y="150"/>
                    </a:lnTo>
                    <a:lnTo>
                      <a:pt x="843" y="148"/>
                    </a:lnTo>
                    <a:lnTo>
                      <a:pt x="843" y="146"/>
                    </a:lnTo>
                    <a:lnTo>
                      <a:pt x="845" y="146"/>
                    </a:lnTo>
                    <a:lnTo>
                      <a:pt x="847" y="144"/>
                    </a:lnTo>
                    <a:lnTo>
                      <a:pt x="851" y="144"/>
                    </a:lnTo>
                    <a:lnTo>
                      <a:pt x="853" y="144"/>
                    </a:lnTo>
                    <a:lnTo>
                      <a:pt x="855" y="146"/>
                    </a:lnTo>
                    <a:lnTo>
                      <a:pt x="855" y="148"/>
                    </a:lnTo>
                    <a:lnTo>
                      <a:pt x="856" y="148"/>
                    </a:lnTo>
                    <a:lnTo>
                      <a:pt x="858" y="148"/>
                    </a:lnTo>
                    <a:lnTo>
                      <a:pt x="860" y="148"/>
                    </a:lnTo>
                    <a:lnTo>
                      <a:pt x="864" y="148"/>
                    </a:lnTo>
                    <a:lnTo>
                      <a:pt x="864" y="142"/>
                    </a:lnTo>
                    <a:lnTo>
                      <a:pt x="870" y="142"/>
                    </a:lnTo>
                    <a:lnTo>
                      <a:pt x="870" y="139"/>
                    </a:lnTo>
                    <a:lnTo>
                      <a:pt x="870" y="133"/>
                    </a:lnTo>
                    <a:lnTo>
                      <a:pt x="878" y="133"/>
                    </a:lnTo>
                    <a:lnTo>
                      <a:pt x="881" y="131"/>
                    </a:lnTo>
                    <a:lnTo>
                      <a:pt x="885" y="131"/>
                    </a:lnTo>
                    <a:lnTo>
                      <a:pt x="889" y="131"/>
                    </a:lnTo>
                    <a:lnTo>
                      <a:pt x="891" y="131"/>
                    </a:lnTo>
                    <a:lnTo>
                      <a:pt x="893" y="131"/>
                    </a:lnTo>
                    <a:lnTo>
                      <a:pt x="893" y="129"/>
                    </a:lnTo>
                    <a:lnTo>
                      <a:pt x="895" y="129"/>
                    </a:lnTo>
                    <a:lnTo>
                      <a:pt x="895" y="127"/>
                    </a:lnTo>
                    <a:lnTo>
                      <a:pt x="895" y="129"/>
                    </a:lnTo>
                    <a:lnTo>
                      <a:pt x="897" y="129"/>
                    </a:lnTo>
                    <a:lnTo>
                      <a:pt x="899" y="129"/>
                    </a:lnTo>
                    <a:lnTo>
                      <a:pt x="899" y="131"/>
                    </a:lnTo>
                    <a:lnTo>
                      <a:pt x="897" y="131"/>
                    </a:lnTo>
                    <a:lnTo>
                      <a:pt x="897" y="133"/>
                    </a:lnTo>
                    <a:lnTo>
                      <a:pt x="897" y="135"/>
                    </a:lnTo>
                    <a:lnTo>
                      <a:pt x="899" y="135"/>
                    </a:lnTo>
                    <a:lnTo>
                      <a:pt x="899" y="137"/>
                    </a:lnTo>
                    <a:lnTo>
                      <a:pt x="897" y="137"/>
                    </a:lnTo>
                    <a:lnTo>
                      <a:pt x="895" y="137"/>
                    </a:lnTo>
                    <a:lnTo>
                      <a:pt x="893" y="137"/>
                    </a:lnTo>
                    <a:lnTo>
                      <a:pt x="889" y="139"/>
                    </a:lnTo>
                    <a:lnTo>
                      <a:pt x="887" y="139"/>
                    </a:lnTo>
                    <a:lnTo>
                      <a:pt x="889" y="142"/>
                    </a:lnTo>
                    <a:lnTo>
                      <a:pt x="889" y="148"/>
                    </a:lnTo>
                    <a:lnTo>
                      <a:pt x="889" y="152"/>
                    </a:lnTo>
                    <a:lnTo>
                      <a:pt x="893" y="152"/>
                    </a:lnTo>
                    <a:lnTo>
                      <a:pt x="897" y="152"/>
                    </a:lnTo>
                    <a:lnTo>
                      <a:pt x="899" y="152"/>
                    </a:lnTo>
                    <a:lnTo>
                      <a:pt x="899" y="154"/>
                    </a:lnTo>
                    <a:lnTo>
                      <a:pt x="899" y="156"/>
                    </a:lnTo>
                    <a:lnTo>
                      <a:pt x="899" y="158"/>
                    </a:lnTo>
                    <a:lnTo>
                      <a:pt x="901" y="158"/>
                    </a:lnTo>
                    <a:lnTo>
                      <a:pt x="901" y="160"/>
                    </a:lnTo>
                    <a:lnTo>
                      <a:pt x="901" y="162"/>
                    </a:lnTo>
                    <a:lnTo>
                      <a:pt x="901" y="164"/>
                    </a:lnTo>
                    <a:lnTo>
                      <a:pt x="901" y="165"/>
                    </a:lnTo>
                    <a:lnTo>
                      <a:pt x="899" y="165"/>
                    </a:lnTo>
                    <a:lnTo>
                      <a:pt x="897" y="165"/>
                    </a:lnTo>
                    <a:lnTo>
                      <a:pt x="895" y="165"/>
                    </a:lnTo>
                    <a:lnTo>
                      <a:pt x="893" y="165"/>
                    </a:lnTo>
                    <a:lnTo>
                      <a:pt x="891" y="165"/>
                    </a:lnTo>
                    <a:lnTo>
                      <a:pt x="889" y="165"/>
                    </a:lnTo>
                    <a:lnTo>
                      <a:pt x="889" y="173"/>
                    </a:lnTo>
                    <a:lnTo>
                      <a:pt x="891" y="177"/>
                    </a:lnTo>
                    <a:lnTo>
                      <a:pt x="891" y="179"/>
                    </a:lnTo>
                    <a:lnTo>
                      <a:pt x="891" y="181"/>
                    </a:lnTo>
                    <a:lnTo>
                      <a:pt x="891" y="185"/>
                    </a:lnTo>
                    <a:lnTo>
                      <a:pt x="891" y="190"/>
                    </a:lnTo>
                    <a:lnTo>
                      <a:pt x="891" y="196"/>
                    </a:lnTo>
                    <a:lnTo>
                      <a:pt x="893" y="198"/>
                    </a:lnTo>
                    <a:lnTo>
                      <a:pt x="893" y="200"/>
                    </a:lnTo>
                    <a:lnTo>
                      <a:pt x="893" y="210"/>
                    </a:lnTo>
                    <a:lnTo>
                      <a:pt x="893" y="217"/>
                    </a:lnTo>
                    <a:lnTo>
                      <a:pt x="893" y="221"/>
                    </a:lnTo>
                    <a:lnTo>
                      <a:pt x="895" y="223"/>
                    </a:lnTo>
                    <a:lnTo>
                      <a:pt x="895" y="227"/>
                    </a:lnTo>
                    <a:lnTo>
                      <a:pt x="899" y="227"/>
                    </a:lnTo>
                    <a:lnTo>
                      <a:pt x="901" y="227"/>
                    </a:lnTo>
                    <a:lnTo>
                      <a:pt x="903" y="227"/>
                    </a:lnTo>
                    <a:lnTo>
                      <a:pt x="904" y="227"/>
                    </a:lnTo>
                    <a:lnTo>
                      <a:pt x="904" y="229"/>
                    </a:lnTo>
                    <a:lnTo>
                      <a:pt x="904" y="235"/>
                    </a:lnTo>
                    <a:lnTo>
                      <a:pt x="904" y="248"/>
                    </a:lnTo>
                    <a:lnTo>
                      <a:pt x="904" y="250"/>
                    </a:lnTo>
                    <a:lnTo>
                      <a:pt x="906" y="254"/>
                    </a:lnTo>
                    <a:lnTo>
                      <a:pt x="906" y="258"/>
                    </a:lnTo>
                    <a:lnTo>
                      <a:pt x="906" y="260"/>
                    </a:lnTo>
                    <a:lnTo>
                      <a:pt x="906" y="261"/>
                    </a:lnTo>
                    <a:lnTo>
                      <a:pt x="912" y="260"/>
                    </a:lnTo>
                    <a:lnTo>
                      <a:pt x="912" y="261"/>
                    </a:lnTo>
                    <a:lnTo>
                      <a:pt x="914" y="261"/>
                    </a:lnTo>
                    <a:lnTo>
                      <a:pt x="914" y="265"/>
                    </a:lnTo>
                    <a:lnTo>
                      <a:pt x="914" y="267"/>
                    </a:lnTo>
                    <a:lnTo>
                      <a:pt x="914" y="271"/>
                    </a:lnTo>
                    <a:lnTo>
                      <a:pt x="914" y="275"/>
                    </a:lnTo>
                    <a:lnTo>
                      <a:pt x="918" y="275"/>
                    </a:lnTo>
                    <a:lnTo>
                      <a:pt x="920" y="275"/>
                    </a:lnTo>
                    <a:lnTo>
                      <a:pt x="920" y="277"/>
                    </a:lnTo>
                    <a:lnTo>
                      <a:pt x="920" y="279"/>
                    </a:lnTo>
                    <a:lnTo>
                      <a:pt x="922" y="283"/>
                    </a:lnTo>
                    <a:lnTo>
                      <a:pt x="924" y="283"/>
                    </a:lnTo>
                    <a:lnTo>
                      <a:pt x="926" y="283"/>
                    </a:lnTo>
                    <a:lnTo>
                      <a:pt x="929" y="283"/>
                    </a:lnTo>
                    <a:lnTo>
                      <a:pt x="935" y="283"/>
                    </a:lnTo>
                    <a:lnTo>
                      <a:pt x="937" y="283"/>
                    </a:lnTo>
                    <a:lnTo>
                      <a:pt x="939" y="286"/>
                    </a:lnTo>
                    <a:lnTo>
                      <a:pt x="939" y="290"/>
                    </a:lnTo>
                    <a:lnTo>
                      <a:pt x="939" y="292"/>
                    </a:lnTo>
                    <a:lnTo>
                      <a:pt x="943" y="292"/>
                    </a:lnTo>
                    <a:lnTo>
                      <a:pt x="945" y="290"/>
                    </a:lnTo>
                    <a:lnTo>
                      <a:pt x="949" y="290"/>
                    </a:lnTo>
                    <a:lnTo>
                      <a:pt x="951" y="290"/>
                    </a:lnTo>
                    <a:lnTo>
                      <a:pt x="952" y="290"/>
                    </a:lnTo>
                    <a:lnTo>
                      <a:pt x="954" y="294"/>
                    </a:lnTo>
                    <a:lnTo>
                      <a:pt x="954" y="302"/>
                    </a:lnTo>
                    <a:lnTo>
                      <a:pt x="954" y="309"/>
                    </a:lnTo>
                    <a:lnTo>
                      <a:pt x="954" y="311"/>
                    </a:lnTo>
                    <a:lnTo>
                      <a:pt x="954" y="313"/>
                    </a:lnTo>
                    <a:lnTo>
                      <a:pt x="956" y="319"/>
                    </a:lnTo>
                    <a:lnTo>
                      <a:pt x="956" y="321"/>
                    </a:lnTo>
                    <a:lnTo>
                      <a:pt x="956" y="323"/>
                    </a:lnTo>
                    <a:lnTo>
                      <a:pt x="956" y="325"/>
                    </a:lnTo>
                    <a:lnTo>
                      <a:pt x="960" y="325"/>
                    </a:lnTo>
                    <a:lnTo>
                      <a:pt x="968" y="325"/>
                    </a:lnTo>
                    <a:lnTo>
                      <a:pt x="972" y="325"/>
                    </a:lnTo>
                    <a:lnTo>
                      <a:pt x="972" y="329"/>
                    </a:lnTo>
                    <a:lnTo>
                      <a:pt x="972" y="332"/>
                    </a:lnTo>
                    <a:lnTo>
                      <a:pt x="972" y="336"/>
                    </a:lnTo>
                    <a:lnTo>
                      <a:pt x="972" y="338"/>
                    </a:lnTo>
                    <a:lnTo>
                      <a:pt x="972" y="342"/>
                    </a:lnTo>
                    <a:lnTo>
                      <a:pt x="972" y="346"/>
                    </a:lnTo>
                    <a:lnTo>
                      <a:pt x="974" y="348"/>
                    </a:lnTo>
                    <a:lnTo>
                      <a:pt x="970" y="348"/>
                    </a:lnTo>
                    <a:lnTo>
                      <a:pt x="960" y="348"/>
                    </a:lnTo>
                    <a:lnTo>
                      <a:pt x="956" y="348"/>
                    </a:lnTo>
                    <a:lnTo>
                      <a:pt x="956" y="350"/>
                    </a:lnTo>
                    <a:lnTo>
                      <a:pt x="956" y="352"/>
                    </a:lnTo>
                    <a:lnTo>
                      <a:pt x="956" y="354"/>
                    </a:lnTo>
                    <a:lnTo>
                      <a:pt x="956" y="356"/>
                    </a:lnTo>
                    <a:lnTo>
                      <a:pt x="956" y="357"/>
                    </a:lnTo>
                    <a:lnTo>
                      <a:pt x="958" y="363"/>
                    </a:lnTo>
                    <a:lnTo>
                      <a:pt x="958" y="367"/>
                    </a:lnTo>
                    <a:lnTo>
                      <a:pt x="952" y="367"/>
                    </a:lnTo>
                    <a:lnTo>
                      <a:pt x="952" y="371"/>
                    </a:lnTo>
                    <a:lnTo>
                      <a:pt x="952" y="377"/>
                    </a:lnTo>
                    <a:lnTo>
                      <a:pt x="951" y="377"/>
                    </a:lnTo>
                    <a:lnTo>
                      <a:pt x="949" y="377"/>
                    </a:lnTo>
                    <a:lnTo>
                      <a:pt x="949" y="380"/>
                    </a:lnTo>
                    <a:lnTo>
                      <a:pt x="947" y="380"/>
                    </a:lnTo>
                    <a:lnTo>
                      <a:pt x="939" y="380"/>
                    </a:lnTo>
                    <a:lnTo>
                      <a:pt x="937" y="380"/>
                    </a:lnTo>
                    <a:lnTo>
                      <a:pt x="931" y="380"/>
                    </a:lnTo>
                    <a:lnTo>
                      <a:pt x="926" y="382"/>
                    </a:lnTo>
                    <a:lnTo>
                      <a:pt x="926" y="384"/>
                    </a:lnTo>
                    <a:lnTo>
                      <a:pt x="926" y="388"/>
                    </a:lnTo>
                    <a:lnTo>
                      <a:pt x="924" y="388"/>
                    </a:lnTo>
                    <a:lnTo>
                      <a:pt x="922" y="388"/>
                    </a:lnTo>
                    <a:lnTo>
                      <a:pt x="916" y="388"/>
                    </a:lnTo>
                    <a:lnTo>
                      <a:pt x="916" y="394"/>
                    </a:lnTo>
                    <a:lnTo>
                      <a:pt x="916" y="396"/>
                    </a:lnTo>
                    <a:lnTo>
                      <a:pt x="916" y="404"/>
                    </a:lnTo>
                    <a:lnTo>
                      <a:pt x="918" y="404"/>
                    </a:lnTo>
                    <a:lnTo>
                      <a:pt x="920" y="404"/>
                    </a:lnTo>
                    <a:lnTo>
                      <a:pt x="927" y="404"/>
                    </a:lnTo>
                    <a:lnTo>
                      <a:pt x="931" y="404"/>
                    </a:lnTo>
                    <a:lnTo>
                      <a:pt x="931" y="407"/>
                    </a:lnTo>
                    <a:lnTo>
                      <a:pt x="931" y="409"/>
                    </a:lnTo>
                    <a:lnTo>
                      <a:pt x="933" y="409"/>
                    </a:lnTo>
                    <a:lnTo>
                      <a:pt x="935" y="409"/>
                    </a:lnTo>
                    <a:lnTo>
                      <a:pt x="943" y="407"/>
                    </a:lnTo>
                    <a:lnTo>
                      <a:pt x="947" y="407"/>
                    </a:lnTo>
                    <a:lnTo>
                      <a:pt x="949" y="407"/>
                    </a:lnTo>
                    <a:lnTo>
                      <a:pt x="951" y="407"/>
                    </a:lnTo>
                    <a:lnTo>
                      <a:pt x="951" y="409"/>
                    </a:lnTo>
                    <a:lnTo>
                      <a:pt x="951" y="411"/>
                    </a:lnTo>
                    <a:lnTo>
                      <a:pt x="951" y="413"/>
                    </a:lnTo>
                    <a:lnTo>
                      <a:pt x="951" y="415"/>
                    </a:lnTo>
                    <a:lnTo>
                      <a:pt x="951" y="417"/>
                    </a:lnTo>
                    <a:lnTo>
                      <a:pt x="951" y="419"/>
                    </a:lnTo>
                    <a:lnTo>
                      <a:pt x="951" y="421"/>
                    </a:lnTo>
                    <a:lnTo>
                      <a:pt x="951" y="423"/>
                    </a:lnTo>
                    <a:lnTo>
                      <a:pt x="951" y="425"/>
                    </a:lnTo>
                    <a:lnTo>
                      <a:pt x="951" y="428"/>
                    </a:lnTo>
                    <a:lnTo>
                      <a:pt x="951" y="430"/>
                    </a:lnTo>
                    <a:lnTo>
                      <a:pt x="947" y="432"/>
                    </a:lnTo>
                    <a:lnTo>
                      <a:pt x="939" y="432"/>
                    </a:lnTo>
                    <a:lnTo>
                      <a:pt x="941" y="446"/>
                    </a:lnTo>
                    <a:lnTo>
                      <a:pt x="941" y="450"/>
                    </a:lnTo>
                    <a:lnTo>
                      <a:pt x="945" y="450"/>
                    </a:lnTo>
                    <a:lnTo>
                      <a:pt x="949" y="450"/>
                    </a:lnTo>
                    <a:lnTo>
                      <a:pt x="949" y="453"/>
                    </a:lnTo>
                    <a:lnTo>
                      <a:pt x="949" y="457"/>
                    </a:lnTo>
                    <a:lnTo>
                      <a:pt x="949" y="459"/>
                    </a:lnTo>
                    <a:lnTo>
                      <a:pt x="951" y="461"/>
                    </a:lnTo>
                    <a:lnTo>
                      <a:pt x="951" y="463"/>
                    </a:lnTo>
                    <a:lnTo>
                      <a:pt x="960" y="463"/>
                    </a:lnTo>
                    <a:lnTo>
                      <a:pt x="962" y="463"/>
                    </a:lnTo>
                    <a:lnTo>
                      <a:pt x="972" y="461"/>
                    </a:lnTo>
                    <a:lnTo>
                      <a:pt x="983" y="459"/>
                    </a:lnTo>
                    <a:lnTo>
                      <a:pt x="985" y="459"/>
                    </a:lnTo>
                    <a:lnTo>
                      <a:pt x="987" y="459"/>
                    </a:lnTo>
                    <a:lnTo>
                      <a:pt x="989" y="459"/>
                    </a:lnTo>
                    <a:lnTo>
                      <a:pt x="989" y="461"/>
                    </a:lnTo>
                    <a:lnTo>
                      <a:pt x="989" y="463"/>
                    </a:lnTo>
                    <a:lnTo>
                      <a:pt x="989" y="469"/>
                    </a:lnTo>
                    <a:lnTo>
                      <a:pt x="989" y="471"/>
                    </a:lnTo>
                    <a:lnTo>
                      <a:pt x="987" y="471"/>
                    </a:lnTo>
                    <a:lnTo>
                      <a:pt x="987" y="476"/>
                    </a:lnTo>
                    <a:lnTo>
                      <a:pt x="987" y="484"/>
                    </a:lnTo>
                    <a:lnTo>
                      <a:pt x="989" y="484"/>
                    </a:lnTo>
                    <a:lnTo>
                      <a:pt x="995" y="482"/>
                    </a:lnTo>
                    <a:lnTo>
                      <a:pt x="999" y="482"/>
                    </a:lnTo>
                    <a:lnTo>
                      <a:pt x="1002" y="482"/>
                    </a:lnTo>
                    <a:lnTo>
                      <a:pt x="1004" y="482"/>
                    </a:lnTo>
                    <a:lnTo>
                      <a:pt x="1004" y="484"/>
                    </a:lnTo>
                    <a:lnTo>
                      <a:pt x="1004" y="486"/>
                    </a:lnTo>
                    <a:lnTo>
                      <a:pt x="1006" y="486"/>
                    </a:lnTo>
                    <a:lnTo>
                      <a:pt x="1008" y="488"/>
                    </a:lnTo>
                    <a:lnTo>
                      <a:pt x="1012" y="490"/>
                    </a:lnTo>
                    <a:lnTo>
                      <a:pt x="1016" y="492"/>
                    </a:lnTo>
                    <a:lnTo>
                      <a:pt x="1020" y="494"/>
                    </a:lnTo>
                    <a:lnTo>
                      <a:pt x="1022" y="496"/>
                    </a:lnTo>
                    <a:lnTo>
                      <a:pt x="1024" y="496"/>
                    </a:lnTo>
                    <a:lnTo>
                      <a:pt x="1024" y="498"/>
                    </a:lnTo>
                    <a:lnTo>
                      <a:pt x="1025" y="498"/>
                    </a:lnTo>
                    <a:lnTo>
                      <a:pt x="1029" y="498"/>
                    </a:lnTo>
                    <a:lnTo>
                      <a:pt x="1033" y="496"/>
                    </a:lnTo>
                    <a:lnTo>
                      <a:pt x="1035" y="498"/>
                    </a:lnTo>
                    <a:lnTo>
                      <a:pt x="1035" y="501"/>
                    </a:lnTo>
                    <a:lnTo>
                      <a:pt x="1035" y="503"/>
                    </a:lnTo>
                    <a:lnTo>
                      <a:pt x="1035" y="505"/>
                    </a:lnTo>
                    <a:lnTo>
                      <a:pt x="1035" y="509"/>
                    </a:lnTo>
                    <a:lnTo>
                      <a:pt x="1035" y="511"/>
                    </a:lnTo>
                    <a:lnTo>
                      <a:pt x="1035" y="517"/>
                    </a:lnTo>
                    <a:lnTo>
                      <a:pt x="1035" y="519"/>
                    </a:lnTo>
                    <a:lnTo>
                      <a:pt x="1035" y="521"/>
                    </a:lnTo>
                    <a:lnTo>
                      <a:pt x="1037" y="521"/>
                    </a:lnTo>
                    <a:lnTo>
                      <a:pt x="1037" y="523"/>
                    </a:lnTo>
                    <a:lnTo>
                      <a:pt x="1037" y="526"/>
                    </a:lnTo>
                    <a:lnTo>
                      <a:pt x="1037" y="528"/>
                    </a:lnTo>
                    <a:lnTo>
                      <a:pt x="1037" y="532"/>
                    </a:lnTo>
                    <a:lnTo>
                      <a:pt x="1037" y="536"/>
                    </a:lnTo>
                    <a:lnTo>
                      <a:pt x="1037" y="538"/>
                    </a:lnTo>
                    <a:lnTo>
                      <a:pt x="1037" y="540"/>
                    </a:lnTo>
                    <a:lnTo>
                      <a:pt x="1037" y="542"/>
                    </a:lnTo>
                    <a:lnTo>
                      <a:pt x="1033" y="542"/>
                    </a:lnTo>
                    <a:lnTo>
                      <a:pt x="1035" y="549"/>
                    </a:lnTo>
                    <a:lnTo>
                      <a:pt x="1035" y="551"/>
                    </a:lnTo>
                    <a:lnTo>
                      <a:pt x="1035" y="553"/>
                    </a:lnTo>
                    <a:lnTo>
                      <a:pt x="1035" y="555"/>
                    </a:lnTo>
                    <a:lnTo>
                      <a:pt x="1035" y="557"/>
                    </a:lnTo>
                    <a:lnTo>
                      <a:pt x="1035" y="559"/>
                    </a:lnTo>
                    <a:lnTo>
                      <a:pt x="1035" y="561"/>
                    </a:lnTo>
                    <a:lnTo>
                      <a:pt x="1035" y="563"/>
                    </a:lnTo>
                    <a:lnTo>
                      <a:pt x="1035" y="565"/>
                    </a:lnTo>
                    <a:lnTo>
                      <a:pt x="1035" y="569"/>
                    </a:lnTo>
                    <a:lnTo>
                      <a:pt x="1037" y="571"/>
                    </a:lnTo>
                    <a:lnTo>
                      <a:pt x="1037" y="572"/>
                    </a:lnTo>
                    <a:lnTo>
                      <a:pt x="1039" y="572"/>
                    </a:lnTo>
                    <a:lnTo>
                      <a:pt x="1041" y="572"/>
                    </a:lnTo>
                    <a:lnTo>
                      <a:pt x="1043" y="572"/>
                    </a:lnTo>
                    <a:lnTo>
                      <a:pt x="1045" y="572"/>
                    </a:lnTo>
                    <a:lnTo>
                      <a:pt x="1045" y="574"/>
                    </a:lnTo>
                    <a:lnTo>
                      <a:pt x="1043" y="574"/>
                    </a:lnTo>
                    <a:lnTo>
                      <a:pt x="1043" y="576"/>
                    </a:lnTo>
                    <a:lnTo>
                      <a:pt x="1041" y="576"/>
                    </a:lnTo>
                    <a:lnTo>
                      <a:pt x="1041" y="578"/>
                    </a:lnTo>
                    <a:lnTo>
                      <a:pt x="1039" y="580"/>
                    </a:lnTo>
                    <a:lnTo>
                      <a:pt x="1037" y="580"/>
                    </a:lnTo>
                    <a:lnTo>
                      <a:pt x="1037" y="582"/>
                    </a:lnTo>
                    <a:lnTo>
                      <a:pt x="1035" y="582"/>
                    </a:lnTo>
                    <a:lnTo>
                      <a:pt x="1035" y="584"/>
                    </a:lnTo>
                    <a:lnTo>
                      <a:pt x="1033" y="584"/>
                    </a:lnTo>
                    <a:lnTo>
                      <a:pt x="1031" y="586"/>
                    </a:lnTo>
                    <a:lnTo>
                      <a:pt x="1029" y="586"/>
                    </a:lnTo>
                    <a:lnTo>
                      <a:pt x="1029" y="588"/>
                    </a:lnTo>
                    <a:lnTo>
                      <a:pt x="1027" y="588"/>
                    </a:lnTo>
                    <a:lnTo>
                      <a:pt x="1025" y="588"/>
                    </a:lnTo>
                    <a:lnTo>
                      <a:pt x="1024" y="590"/>
                    </a:lnTo>
                    <a:lnTo>
                      <a:pt x="1022" y="590"/>
                    </a:lnTo>
                    <a:lnTo>
                      <a:pt x="1020" y="590"/>
                    </a:lnTo>
                    <a:lnTo>
                      <a:pt x="1018" y="590"/>
                    </a:lnTo>
                    <a:lnTo>
                      <a:pt x="1016" y="592"/>
                    </a:lnTo>
                    <a:lnTo>
                      <a:pt x="1014" y="592"/>
                    </a:lnTo>
                    <a:lnTo>
                      <a:pt x="1012" y="592"/>
                    </a:lnTo>
                    <a:lnTo>
                      <a:pt x="1010" y="592"/>
                    </a:lnTo>
                    <a:lnTo>
                      <a:pt x="1008" y="592"/>
                    </a:lnTo>
                    <a:lnTo>
                      <a:pt x="1006" y="592"/>
                    </a:lnTo>
                    <a:lnTo>
                      <a:pt x="1002" y="592"/>
                    </a:lnTo>
                    <a:lnTo>
                      <a:pt x="1000" y="592"/>
                    </a:lnTo>
                    <a:lnTo>
                      <a:pt x="1000" y="594"/>
                    </a:lnTo>
                    <a:lnTo>
                      <a:pt x="999" y="594"/>
                    </a:lnTo>
                    <a:lnTo>
                      <a:pt x="997" y="594"/>
                    </a:lnTo>
                    <a:lnTo>
                      <a:pt x="995" y="594"/>
                    </a:lnTo>
                    <a:lnTo>
                      <a:pt x="993" y="594"/>
                    </a:lnTo>
                    <a:lnTo>
                      <a:pt x="991" y="594"/>
                    </a:lnTo>
                    <a:lnTo>
                      <a:pt x="991" y="595"/>
                    </a:lnTo>
                    <a:lnTo>
                      <a:pt x="989" y="595"/>
                    </a:lnTo>
                    <a:lnTo>
                      <a:pt x="987" y="595"/>
                    </a:lnTo>
                    <a:lnTo>
                      <a:pt x="985" y="595"/>
                    </a:lnTo>
                    <a:lnTo>
                      <a:pt x="983" y="595"/>
                    </a:lnTo>
                    <a:lnTo>
                      <a:pt x="981" y="597"/>
                    </a:lnTo>
                    <a:lnTo>
                      <a:pt x="979" y="597"/>
                    </a:lnTo>
                    <a:lnTo>
                      <a:pt x="979" y="599"/>
                    </a:lnTo>
                    <a:lnTo>
                      <a:pt x="977" y="599"/>
                    </a:lnTo>
                    <a:lnTo>
                      <a:pt x="977" y="601"/>
                    </a:lnTo>
                    <a:lnTo>
                      <a:pt x="975" y="601"/>
                    </a:lnTo>
                    <a:lnTo>
                      <a:pt x="974" y="601"/>
                    </a:lnTo>
                    <a:lnTo>
                      <a:pt x="974" y="603"/>
                    </a:lnTo>
                    <a:lnTo>
                      <a:pt x="972" y="603"/>
                    </a:lnTo>
                    <a:lnTo>
                      <a:pt x="972" y="605"/>
                    </a:lnTo>
                    <a:lnTo>
                      <a:pt x="970" y="605"/>
                    </a:lnTo>
                    <a:lnTo>
                      <a:pt x="968" y="605"/>
                    </a:lnTo>
                    <a:lnTo>
                      <a:pt x="968" y="607"/>
                    </a:lnTo>
                    <a:lnTo>
                      <a:pt x="966" y="607"/>
                    </a:lnTo>
                    <a:lnTo>
                      <a:pt x="966" y="609"/>
                    </a:lnTo>
                    <a:lnTo>
                      <a:pt x="964" y="609"/>
                    </a:lnTo>
                    <a:lnTo>
                      <a:pt x="964" y="611"/>
                    </a:lnTo>
                    <a:lnTo>
                      <a:pt x="962" y="611"/>
                    </a:lnTo>
                    <a:lnTo>
                      <a:pt x="962" y="613"/>
                    </a:lnTo>
                    <a:lnTo>
                      <a:pt x="962" y="615"/>
                    </a:lnTo>
                    <a:lnTo>
                      <a:pt x="960" y="617"/>
                    </a:lnTo>
                    <a:lnTo>
                      <a:pt x="960" y="619"/>
                    </a:lnTo>
                    <a:lnTo>
                      <a:pt x="960" y="620"/>
                    </a:lnTo>
                    <a:lnTo>
                      <a:pt x="960" y="622"/>
                    </a:lnTo>
                    <a:lnTo>
                      <a:pt x="960" y="624"/>
                    </a:lnTo>
                    <a:lnTo>
                      <a:pt x="958" y="626"/>
                    </a:lnTo>
                    <a:lnTo>
                      <a:pt x="958" y="628"/>
                    </a:lnTo>
                    <a:lnTo>
                      <a:pt x="956" y="628"/>
                    </a:lnTo>
                    <a:lnTo>
                      <a:pt x="956" y="630"/>
                    </a:lnTo>
                    <a:lnTo>
                      <a:pt x="956" y="632"/>
                    </a:lnTo>
                    <a:lnTo>
                      <a:pt x="958" y="632"/>
                    </a:lnTo>
                    <a:lnTo>
                      <a:pt x="958" y="634"/>
                    </a:lnTo>
                    <a:lnTo>
                      <a:pt x="958" y="632"/>
                    </a:lnTo>
                    <a:lnTo>
                      <a:pt x="958" y="634"/>
                    </a:lnTo>
                    <a:lnTo>
                      <a:pt x="960" y="636"/>
                    </a:lnTo>
                    <a:lnTo>
                      <a:pt x="960" y="638"/>
                    </a:lnTo>
                    <a:lnTo>
                      <a:pt x="960" y="640"/>
                    </a:lnTo>
                    <a:lnTo>
                      <a:pt x="960" y="643"/>
                    </a:lnTo>
                    <a:lnTo>
                      <a:pt x="962" y="643"/>
                    </a:lnTo>
                    <a:lnTo>
                      <a:pt x="962" y="647"/>
                    </a:lnTo>
                    <a:lnTo>
                      <a:pt x="962" y="649"/>
                    </a:lnTo>
                    <a:lnTo>
                      <a:pt x="962" y="653"/>
                    </a:lnTo>
                    <a:lnTo>
                      <a:pt x="962" y="655"/>
                    </a:lnTo>
                    <a:lnTo>
                      <a:pt x="962" y="657"/>
                    </a:lnTo>
                    <a:lnTo>
                      <a:pt x="962" y="659"/>
                    </a:lnTo>
                    <a:lnTo>
                      <a:pt x="962" y="661"/>
                    </a:lnTo>
                    <a:lnTo>
                      <a:pt x="962" y="663"/>
                    </a:lnTo>
                    <a:lnTo>
                      <a:pt x="962" y="665"/>
                    </a:lnTo>
                    <a:lnTo>
                      <a:pt x="962" y="667"/>
                    </a:lnTo>
                    <a:lnTo>
                      <a:pt x="962" y="668"/>
                    </a:lnTo>
                    <a:lnTo>
                      <a:pt x="962" y="670"/>
                    </a:lnTo>
                    <a:lnTo>
                      <a:pt x="962" y="672"/>
                    </a:lnTo>
                    <a:lnTo>
                      <a:pt x="964" y="672"/>
                    </a:lnTo>
                    <a:lnTo>
                      <a:pt x="964" y="674"/>
                    </a:lnTo>
                    <a:lnTo>
                      <a:pt x="964" y="676"/>
                    </a:lnTo>
                    <a:lnTo>
                      <a:pt x="964" y="678"/>
                    </a:lnTo>
                    <a:lnTo>
                      <a:pt x="964" y="680"/>
                    </a:lnTo>
                    <a:lnTo>
                      <a:pt x="964" y="682"/>
                    </a:lnTo>
                    <a:lnTo>
                      <a:pt x="964" y="684"/>
                    </a:lnTo>
                    <a:lnTo>
                      <a:pt x="964" y="686"/>
                    </a:lnTo>
                    <a:lnTo>
                      <a:pt x="964" y="688"/>
                    </a:lnTo>
                    <a:lnTo>
                      <a:pt x="964" y="690"/>
                    </a:lnTo>
                    <a:lnTo>
                      <a:pt x="964" y="691"/>
                    </a:lnTo>
                    <a:lnTo>
                      <a:pt x="964" y="693"/>
                    </a:lnTo>
                    <a:lnTo>
                      <a:pt x="966" y="693"/>
                    </a:lnTo>
                    <a:lnTo>
                      <a:pt x="966" y="695"/>
                    </a:lnTo>
                    <a:lnTo>
                      <a:pt x="966" y="697"/>
                    </a:lnTo>
                    <a:lnTo>
                      <a:pt x="966" y="701"/>
                    </a:lnTo>
                    <a:lnTo>
                      <a:pt x="966" y="703"/>
                    </a:lnTo>
                    <a:lnTo>
                      <a:pt x="968" y="707"/>
                    </a:lnTo>
                    <a:lnTo>
                      <a:pt x="968" y="711"/>
                    </a:lnTo>
                    <a:lnTo>
                      <a:pt x="968" y="713"/>
                    </a:lnTo>
                    <a:lnTo>
                      <a:pt x="970" y="716"/>
                    </a:lnTo>
                    <a:lnTo>
                      <a:pt x="970" y="720"/>
                    </a:lnTo>
                    <a:lnTo>
                      <a:pt x="972" y="724"/>
                    </a:lnTo>
                    <a:lnTo>
                      <a:pt x="972" y="726"/>
                    </a:lnTo>
                    <a:lnTo>
                      <a:pt x="974" y="732"/>
                    </a:lnTo>
                    <a:lnTo>
                      <a:pt x="974" y="736"/>
                    </a:lnTo>
                    <a:lnTo>
                      <a:pt x="975" y="739"/>
                    </a:lnTo>
                    <a:lnTo>
                      <a:pt x="977" y="745"/>
                    </a:lnTo>
                    <a:lnTo>
                      <a:pt x="977" y="749"/>
                    </a:lnTo>
                    <a:lnTo>
                      <a:pt x="979" y="753"/>
                    </a:lnTo>
                    <a:lnTo>
                      <a:pt x="979" y="755"/>
                    </a:lnTo>
                    <a:lnTo>
                      <a:pt x="981" y="755"/>
                    </a:lnTo>
                    <a:lnTo>
                      <a:pt x="981" y="759"/>
                    </a:lnTo>
                    <a:lnTo>
                      <a:pt x="983" y="763"/>
                    </a:lnTo>
                    <a:lnTo>
                      <a:pt x="985" y="766"/>
                    </a:lnTo>
                    <a:lnTo>
                      <a:pt x="985" y="768"/>
                    </a:lnTo>
                    <a:lnTo>
                      <a:pt x="983" y="768"/>
                    </a:lnTo>
                    <a:lnTo>
                      <a:pt x="981" y="766"/>
                    </a:lnTo>
                    <a:lnTo>
                      <a:pt x="981" y="764"/>
                    </a:lnTo>
                    <a:lnTo>
                      <a:pt x="979" y="763"/>
                    </a:lnTo>
                    <a:lnTo>
                      <a:pt x="979" y="761"/>
                    </a:lnTo>
                    <a:lnTo>
                      <a:pt x="977" y="759"/>
                    </a:lnTo>
                    <a:lnTo>
                      <a:pt x="975" y="757"/>
                    </a:lnTo>
                    <a:lnTo>
                      <a:pt x="975" y="755"/>
                    </a:lnTo>
                    <a:lnTo>
                      <a:pt x="974" y="755"/>
                    </a:lnTo>
                    <a:lnTo>
                      <a:pt x="972" y="755"/>
                    </a:lnTo>
                    <a:lnTo>
                      <a:pt x="970" y="755"/>
                    </a:lnTo>
                    <a:lnTo>
                      <a:pt x="970" y="757"/>
                    </a:lnTo>
                    <a:lnTo>
                      <a:pt x="968" y="757"/>
                    </a:lnTo>
                    <a:lnTo>
                      <a:pt x="968" y="759"/>
                    </a:lnTo>
                    <a:lnTo>
                      <a:pt x="968" y="761"/>
                    </a:lnTo>
                    <a:lnTo>
                      <a:pt x="966" y="763"/>
                    </a:lnTo>
                    <a:lnTo>
                      <a:pt x="966" y="764"/>
                    </a:lnTo>
                    <a:lnTo>
                      <a:pt x="966" y="766"/>
                    </a:lnTo>
                    <a:lnTo>
                      <a:pt x="966" y="768"/>
                    </a:lnTo>
                    <a:lnTo>
                      <a:pt x="964" y="768"/>
                    </a:lnTo>
                    <a:lnTo>
                      <a:pt x="962" y="770"/>
                    </a:lnTo>
                    <a:lnTo>
                      <a:pt x="960" y="770"/>
                    </a:lnTo>
                    <a:lnTo>
                      <a:pt x="960" y="768"/>
                    </a:lnTo>
                    <a:lnTo>
                      <a:pt x="958" y="768"/>
                    </a:lnTo>
                    <a:lnTo>
                      <a:pt x="956" y="768"/>
                    </a:lnTo>
                    <a:lnTo>
                      <a:pt x="956" y="766"/>
                    </a:lnTo>
                    <a:lnTo>
                      <a:pt x="954" y="766"/>
                    </a:lnTo>
                    <a:lnTo>
                      <a:pt x="952" y="766"/>
                    </a:lnTo>
                    <a:lnTo>
                      <a:pt x="951" y="766"/>
                    </a:lnTo>
                    <a:lnTo>
                      <a:pt x="949" y="764"/>
                    </a:lnTo>
                    <a:lnTo>
                      <a:pt x="947" y="764"/>
                    </a:lnTo>
                    <a:lnTo>
                      <a:pt x="945" y="764"/>
                    </a:lnTo>
                    <a:lnTo>
                      <a:pt x="949" y="741"/>
                    </a:lnTo>
                    <a:lnTo>
                      <a:pt x="949" y="738"/>
                    </a:lnTo>
                    <a:lnTo>
                      <a:pt x="943" y="734"/>
                    </a:lnTo>
                    <a:lnTo>
                      <a:pt x="941" y="734"/>
                    </a:lnTo>
                    <a:lnTo>
                      <a:pt x="941" y="732"/>
                    </a:lnTo>
                    <a:lnTo>
                      <a:pt x="939" y="732"/>
                    </a:lnTo>
                    <a:lnTo>
                      <a:pt x="939" y="730"/>
                    </a:lnTo>
                    <a:lnTo>
                      <a:pt x="937" y="730"/>
                    </a:lnTo>
                    <a:lnTo>
                      <a:pt x="937" y="728"/>
                    </a:lnTo>
                    <a:lnTo>
                      <a:pt x="935" y="726"/>
                    </a:lnTo>
                    <a:lnTo>
                      <a:pt x="935" y="724"/>
                    </a:lnTo>
                    <a:lnTo>
                      <a:pt x="935" y="722"/>
                    </a:lnTo>
                    <a:lnTo>
                      <a:pt x="935" y="720"/>
                    </a:lnTo>
                    <a:lnTo>
                      <a:pt x="935" y="718"/>
                    </a:lnTo>
                    <a:lnTo>
                      <a:pt x="933" y="716"/>
                    </a:lnTo>
                    <a:lnTo>
                      <a:pt x="933" y="715"/>
                    </a:lnTo>
                    <a:lnTo>
                      <a:pt x="933" y="713"/>
                    </a:lnTo>
                    <a:lnTo>
                      <a:pt x="931" y="711"/>
                    </a:lnTo>
                    <a:lnTo>
                      <a:pt x="931" y="709"/>
                    </a:lnTo>
                    <a:lnTo>
                      <a:pt x="931" y="707"/>
                    </a:lnTo>
                    <a:lnTo>
                      <a:pt x="929" y="707"/>
                    </a:lnTo>
                    <a:lnTo>
                      <a:pt x="929" y="705"/>
                    </a:lnTo>
                    <a:lnTo>
                      <a:pt x="927" y="703"/>
                    </a:lnTo>
                    <a:lnTo>
                      <a:pt x="927" y="701"/>
                    </a:lnTo>
                    <a:lnTo>
                      <a:pt x="926" y="699"/>
                    </a:lnTo>
                    <a:lnTo>
                      <a:pt x="924" y="699"/>
                    </a:lnTo>
                    <a:lnTo>
                      <a:pt x="924" y="697"/>
                    </a:lnTo>
                    <a:lnTo>
                      <a:pt x="922" y="697"/>
                    </a:lnTo>
                    <a:lnTo>
                      <a:pt x="922" y="695"/>
                    </a:lnTo>
                    <a:lnTo>
                      <a:pt x="920" y="695"/>
                    </a:lnTo>
                    <a:lnTo>
                      <a:pt x="920" y="693"/>
                    </a:lnTo>
                    <a:lnTo>
                      <a:pt x="918" y="693"/>
                    </a:lnTo>
                    <a:lnTo>
                      <a:pt x="918" y="691"/>
                    </a:lnTo>
                    <a:lnTo>
                      <a:pt x="916" y="691"/>
                    </a:lnTo>
                    <a:lnTo>
                      <a:pt x="916" y="690"/>
                    </a:lnTo>
                    <a:lnTo>
                      <a:pt x="916" y="688"/>
                    </a:lnTo>
                    <a:lnTo>
                      <a:pt x="918" y="688"/>
                    </a:lnTo>
                    <a:lnTo>
                      <a:pt x="920" y="688"/>
                    </a:lnTo>
                    <a:lnTo>
                      <a:pt x="920" y="690"/>
                    </a:lnTo>
                    <a:lnTo>
                      <a:pt x="922" y="690"/>
                    </a:lnTo>
                    <a:lnTo>
                      <a:pt x="924" y="690"/>
                    </a:lnTo>
                    <a:lnTo>
                      <a:pt x="924" y="691"/>
                    </a:lnTo>
                    <a:lnTo>
                      <a:pt x="926" y="693"/>
                    </a:lnTo>
                    <a:lnTo>
                      <a:pt x="926" y="695"/>
                    </a:lnTo>
                    <a:lnTo>
                      <a:pt x="927" y="695"/>
                    </a:lnTo>
                    <a:lnTo>
                      <a:pt x="927" y="697"/>
                    </a:lnTo>
                    <a:lnTo>
                      <a:pt x="929" y="697"/>
                    </a:lnTo>
                    <a:lnTo>
                      <a:pt x="931" y="697"/>
                    </a:lnTo>
                    <a:lnTo>
                      <a:pt x="933" y="697"/>
                    </a:lnTo>
                    <a:lnTo>
                      <a:pt x="933" y="695"/>
                    </a:lnTo>
                    <a:lnTo>
                      <a:pt x="935" y="695"/>
                    </a:lnTo>
                    <a:lnTo>
                      <a:pt x="937" y="695"/>
                    </a:lnTo>
                    <a:lnTo>
                      <a:pt x="937" y="693"/>
                    </a:lnTo>
                    <a:lnTo>
                      <a:pt x="937" y="695"/>
                    </a:lnTo>
                    <a:lnTo>
                      <a:pt x="939" y="695"/>
                    </a:lnTo>
                    <a:lnTo>
                      <a:pt x="939" y="693"/>
                    </a:lnTo>
                    <a:lnTo>
                      <a:pt x="939" y="691"/>
                    </a:lnTo>
                    <a:lnTo>
                      <a:pt x="937" y="691"/>
                    </a:lnTo>
                    <a:lnTo>
                      <a:pt x="937" y="690"/>
                    </a:lnTo>
                    <a:lnTo>
                      <a:pt x="937" y="688"/>
                    </a:lnTo>
                    <a:lnTo>
                      <a:pt x="937" y="686"/>
                    </a:lnTo>
                    <a:lnTo>
                      <a:pt x="935" y="684"/>
                    </a:lnTo>
                    <a:lnTo>
                      <a:pt x="935" y="682"/>
                    </a:lnTo>
                    <a:lnTo>
                      <a:pt x="935" y="680"/>
                    </a:lnTo>
                    <a:lnTo>
                      <a:pt x="933" y="680"/>
                    </a:lnTo>
                    <a:lnTo>
                      <a:pt x="933" y="678"/>
                    </a:lnTo>
                    <a:lnTo>
                      <a:pt x="931" y="678"/>
                    </a:lnTo>
                    <a:lnTo>
                      <a:pt x="931" y="676"/>
                    </a:lnTo>
                    <a:lnTo>
                      <a:pt x="929" y="676"/>
                    </a:lnTo>
                    <a:lnTo>
                      <a:pt x="929" y="674"/>
                    </a:lnTo>
                    <a:lnTo>
                      <a:pt x="927" y="674"/>
                    </a:lnTo>
                    <a:lnTo>
                      <a:pt x="926" y="674"/>
                    </a:lnTo>
                    <a:lnTo>
                      <a:pt x="924" y="674"/>
                    </a:lnTo>
                    <a:lnTo>
                      <a:pt x="924" y="672"/>
                    </a:lnTo>
                    <a:lnTo>
                      <a:pt x="924" y="670"/>
                    </a:lnTo>
                    <a:lnTo>
                      <a:pt x="926" y="670"/>
                    </a:lnTo>
                    <a:lnTo>
                      <a:pt x="926" y="668"/>
                    </a:lnTo>
                    <a:lnTo>
                      <a:pt x="927" y="667"/>
                    </a:lnTo>
                    <a:lnTo>
                      <a:pt x="927" y="665"/>
                    </a:lnTo>
                    <a:lnTo>
                      <a:pt x="927" y="663"/>
                    </a:lnTo>
                    <a:lnTo>
                      <a:pt x="927" y="661"/>
                    </a:lnTo>
                    <a:lnTo>
                      <a:pt x="926" y="661"/>
                    </a:lnTo>
                    <a:lnTo>
                      <a:pt x="926" y="659"/>
                    </a:lnTo>
                    <a:lnTo>
                      <a:pt x="924" y="659"/>
                    </a:lnTo>
                    <a:lnTo>
                      <a:pt x="924" y="657"/>
                    </a:lnTo>
                    <a:lnTo>
                      <a:pt x="922" y="657"/>
                    </a:lnTo>
                    <a:lnTo>
                      <a:pt x="920" y="657"/>
                    </a:lnTo>
                    <a:lnTo>
                      <a:pt x="918" y="655"/>
                    </a:lnTo>
                    <a:lnTo>
                      <a:pt x="916" y="655"/>
                    </a:lnTo>
                    <a:lnTo>
                      <a:pt x="914" y="655"/>
                    </a:lnTo>
                    <a:lnTo>
                      <a:pt x="914" y="653"/>
                    </a:lnTo>
                    <a:lnTo>
                      <a:pt x="914" y="655"/>
                    </a:lnTo>
                    <a:lnTo>
                      <a:pt x="914" y="653"/>
                    </a:lnTo>
                    <a:lnTo>
                      <a:pt x="914" y="651"/>
                    </a:lnTo>
                    <a:lnTo>
                      <a:pt x="914" y="653"/>
                    </a:lnTo>
                    <a:lnTo>
                      <a:pt x="914" y="655"/>
                    </a:lnTo>
                    <a:lnTo>
                      <a:pt x="916" y="655"/>
                    </a:lnTo>
                    <a:lnTo>
                      <a:pt x="918" y="655"/>
                    </a:lnTo>
                    <a:lnTo>
                      <a:pt x="918" y="653"/>
                    </a:lnTo>
                    <a:lnTo>
                      <a:pt x="916" y="653"/>
                    </a:lnTo>
                    <a:lnTo>
                      <a:pt x="916" y="651"/>
                    </a:lnTo>
                    <a:lnTo>
                      <a:pt x="918" y="651"/>
                    </a:lnTo>
                    <a:lnTo>
                      <a:pt x="920" y="651"/>
                    </a:lnTo>
                    <a:lnTo>
                      <a:pt x="922" y="651"/>
                    </a:lnTo>
                    <a:lnTo>
                      <a:pt x="924" y="653"/>
                    </a:lnTo>
                    <a:lnTo>
                      <a:pt x="926" y="653"/>
                    </a:lnTo>
                    <a:lnTo>
                      <a:pt x="927" y="653"/>
                    </a:lnTo>
                    <a:lnTo>
                      <a:pt x="929" y="653"/>
                    </a:lnTo>
                    <a:lnTo>
                      <a:pt x="931" y="653"/>
                    </a:lnTo>
                    <a:lnTo>
                      <a:pt x="933" y="653"/>
                    </a:lnTo>
                    <a:lnTo>
                      <a:pt x="935" y="653"/>
                    </a:lnTo>
                    <a:lnTo>
                      <a:pt x="935" y="651"/>
                    </a:lnTo>
                    <a:lnTo>
                      <a:pt x="937" y="651"/>
                    </a:lnTo>
                    <a:lnTo>
                      <a:pt x="939" y="651"/>
                    </a:lnTo>
                    <a:lnTo>
                      <a:pt x="939" y="649"/>
                    </a:lnTo>
                    <a:lnTo>
                      <a:pt x="941" y="649"/>
                    </a:lnTo>
                    <a:lnTo>
                      <a:pt x="941" y="651"/>
                    </a:lnTo>
                    <a:lnTo>
                      <a:pt x="941" y="653"/>
                    </a:lnTo>
                    <a:lnTo>
                      <a:pt x="941" y="655"/>
                    </a:lnTo>
                    <a:lnTo>
                      <a:pt x="941" y="657"/>
                    </a:lnTo>
                    <a:lnTo>
                      <a:pt x="941" y="655"/>
                    </a:lnTo>
                    <a:lnTo>
                      <a:pt x="941" y="657"/>
                    </a:lnTo>
                    <a:lnTo>
                      <a:pt x="943" y="657"/>
                    </a:lnTo>
                    <a:lnTo>
                      <a:pt x="943" y="659"/>
                    </a:lnTo>
                    <a:lnTo>
                      <a:pt x="943" y="661"/>
                    </a:lnTo>
                    <a:lnTo>
                      <a:pt x="945" y="661"/>
                    </a:lnTo>
                    <a:lnTo>
                      <a:pt x="945" y="663"/>
                    </a:lnTo>
                    <a:lnTo>
                      <a:pt x="945" y="665"/>
                    </a:lnTo>
                    <a:lnTo>
                      <a:pt x="947" y="665"/>
                    </a:lnTo>
                    <a:lnTo>
                      <a:pt x="949" y="665"/>
                    </a:lnTo>
                    <a:lnTo>
                      <a:pt x="951" y="665"/>
                    </a:lnTo>
                    <a:lnTo>
                      <a:pt x="951" y="663"/>
                    </a:lnTo>
                    <a:lnTo>
                      <a:pt x="952" y="663"/>
                    </a:lnTo>
                    <a:lnTo>
                      <a:pt x="952" y="661"/>
                    </a:lnTo>
                    <a:lnTo>
                      <a:pt x="952" y="659"/>
                    </a:lnTo>
                    <a:lnTo>
                      <a:pt x="954" y="659"/>
                    </a:lnTo>
                    <a:lnTo>
                      <a:pt x="954" y="657"/>
                    </a:lnTo>
                    <a:lnTo>
                      <a:pt x="954" y="655"/>
                    </a:lnTo>
                    <a:lnTo>
                      <a:pt x="954" y="653"/>
                    </a:lnTo>
                    <a:lnTo>
                      <a:pt x="954" y="651"/>
                    </a:lnTo>
                    <a:lnTo>
                      <a:pt x="954" y="649"/>
                    </a:lnTo>
                    <a:lnTo>
                      <a:pt x="952" y="647"/>
                    </a:lnTo>
                    <a:lnTo>
                      <a:pt x="954" y="645"/>
                    </a:lnTo>
                    <a:lnTo>
                      <a:pt x="954" y="643"/>
                    </a:lnTo>
                    <a:lnTo>
                      <a:pt x="954" y="642"/>
                    </a:lnTo>
                    <a:lnTo>
                      <a:pt x="952" y="642"/>
                    </a:lnTo>
                    <a:lnTo>
                      <a:pt x="952" y="643"/>
                    </a:lnTo>
                    <a:lnTo>
                      <a:pt x="954" y="643"/>
                    </a:lnTo>
                    <a:lnTo>
                      <a:pt x="952" y="643"/>
                    </a:lnTo>
                    <a:lnTo>
                      <a:pt x="952" y="642"/>
                    </a:lnTo>
                    <a:lnTo>
                      <a:pt x="952" y="640"/>
                    </a:lnTo>
                    <a:lnTo>
                      <a:pt x="951" y="642"/>
                    </a:lnTo>
                    <a:lnTo>
                      <a:pt x="951" y="645"/>
                    </a:lnTo>
                    <a:lnTo>
                      <a:pt x="937" y="645"/>
                    </a:lnTo>
                    <a:lnTo>
                      <a:pt x="935" y="642"/>
                    </a:lnTo>
                    <a:lnTo>
                      <a:pt x="933" y="640"/>
                    </a:lnTo>
                    <a:lnTo>
                      <a:pt x="931" y="628"/>
                    </a:lnTo>
                    <a:lnTo>
                      <a:pt x="929" y="626"/>
                    </a:lnTo>
                    <a:lnTo>
                      <a:pt x="929" y="624"/>
                    </a:lnTo>
                    <a:lnTo>
                      <a:pt x="927" y="622"/>
                    </a:lnTo>
                    <a:lnTo>
                      <a:pt x="926" y="619"/>
                    </a:lnTo>
                    <a:lnTo>
                      <a:pt x="924" y="617"/>
                    </a:lnTo>
                    <a:lnTo>
                      <a:pt x="922" y="617"/>
                    </a:lnTo>
                    <a:lnTo>
                      <a:pt x="920" y="617"/>
                    </a:lnTo>
                    <a:lnTo>
                      <a:pt x="918" y="617"/>
                    </a:lnTo>
                    <a:lnTo>
                      <a:pt x="916" y="617"/>
                    </a:lnTo>
                    <a:lnTo>
                      <a:pt x="914" y="617"/>
                    </a:lnTo>
                    <a:lnTo>
                      <a:pt x="912" y="617"/>
                    </a:lnTo>
                    <a:lnTo>
                      <a:pt x="910" y="617"/>
                    </a:lnTo>
                    <a:lnTo>
                      <a:pt x="910" y="619"/>
                    </a:lnTo>
                    <a:lnTo>
                      <a:pt x="908" y="619"/>
                    </a:lnTo>
                    <a:lnTo>
                      <a:pt x="906" y="619"/>
                    </a:lnTo>
                    <a:lnTo>
                      <a:pt x="904" y="619"/>
                    </a:lnTo>
                    <a:lnTo>
                      <a:pt x="904" y="620"/>
                    </a:lnTo>
                    <a:lnTo>
                      <a:pt x="903" y="620"/>
                    </a:lnTo>
                    <a:lnTo>
                      <a:pt x="903" y="622"/>
                    </a:lnTo>
                    <a:lnTo>
                      <a:pt x="903" y="624"/>
                    </a:lnTo>
                    <a:lnTo>
                      <a:pt x="901" y="626"/>
                    </a:lnTo>
                    <a:lnTo>
                      <a:pt x="901" y="628"/>
                    </a:lnTo>
                    <a:lnTo>
                      <a:pt x="901" y="630"/>
                    </a:lnTo>
                    <a:lnTo>
                      <a:pt x="901" y="632"/>
                    </a:lnTo>
                    <a:lnTo>
                      <a:pt x="903" y="634"/>
                    </a:lnTo>
                    <a:lnTo>
                      <a:pt x="903" y="638"/>
                    </a:lnTo>
                    <a:lnTo>
                      <a:pt x="903" y="640"/>
                    </a:lnTo>
                    <a:lnTo>
                      <a:pt x="903" y="642"/>
                    </a:lnTo>
                    <a:lnTo>
                      <a:pt x="904" y="645"/>
                    </a:lnTo>
                    <a:lnTo>
                      <a:pt x="904" y="647"/>
                    </a:lnTo>
                    <a:lnTo>
                      <a:pt x="904" y="649"/>
                    </a:lnTo>
                    <a:lnTo>
                      <a:pt x="906" y="649"/>
                    </a:lnTo>
                    <a:lnTo>
                      <a:pt x="906" y="651"/>
                    </a:lnTo>
                    <a:lnTo>
                      <a:pt x="906" y="653"/>
                    </a:lnTo>
                    <a:lnTo>
                      <a:pt x="906" y="655"/>
                    </a:lnTo>
                    <a:lnTo>
                      <a:pt x="904" y="655"/>
                    </a:lnTo>
                    <a:lnTo>
                      <a:pt x="904" y="657"/>
                    </a:lnTo>
                    <a:lnTo>
                      <a:pt x="904" y="659"/>
                    </a:lnTo>
                    <a:lnTo>
                      <a:pt x="903" y="659"/>
                    </a:lnTo>
                    <a:lnTo>
                      <a:pt x="903" y="661"/>
                    </a:lnTo>
                    <a:lnTo>
                      <a:pt x="901" y="661"/>
                    </a:lnTo>
                    <a:lnTo>
                      <a:pt x="901" y="663"/>
                    </a:lnTo>
                    <a:lnTo>
                      <a:pt x="899" y="663"/>
                    </a:lnTo>
                    <a:lnTo>
                      <a:pt x="899" y="665"/>
                    </a:lnTo>
                    <a:lnTo>
                      <a:pt x="899" y="667"/>
                    </a:lnTo>
                    <a:lnTo>
                      <a:pt x="897" y="668"/>
                    </a:lnTo>
                    <a:lnTo>
                      <a:pt x="897" y="670"/>
                    </a:lnTo>
                    <a:lnTo>
                      <a:pt x="897" y="672"/>
                    </a:lnTo>
                    <a:lnTo>
                      <a:pt x="897" y="674"/>
                    </a:lnTo>
                    <a:lnTo>
                      <a:pt x="895" y="676"/>
                    </a:lnTo>
                    <a:lnTo>
                      <a:pt x="895" y="678"/>
                    </a:lnTo>
                    <a:lnTo>
                      <a:pt x="893" y="680"/>
                    </a:lnTo>
                    <a:lnTo>
                      <a:pt x="891" y="682"/>
                    </a:lnTo>
                    <a:lnTo>
                      <a:pt x="891" y="684"/>
                    </a:lnTo>
                    <a:lnTo>
                      <a:pt x="889" y="686"/>
                    </a:lnTo>
                    <a:lnTo>
                      <a:pt x="887" y="688"/>
                    </a:lnTo>
                    <a:lnTo>
                      <a:pt x="885" y="690"/>
                    </a:lnTo>
                    <a:lnTo>
                      <a:pt x="883" y="690"/>
                    </a:lnTo>
                    <a:lnTo>
                      <a:pt x="881" y="691"/>
                    </a:lnTo>
                    <a:lnTo>
                      <a:pt x="881" y="693"/>
                    </a:lnTo>
                    <a:lnTo>
                      <a:pt x="879" y="693"/>
                    </a:lnTo>
                    <a:lnTo>
                      <a:pt x="878" y="693"/>
                    </a:lnTo>
                    <a:lnTo>
                      <a:pt x="878" y="695"/>
                    </a:lnTo>
                    <a:lnTo>
                      <a:pt x="878" y="697"/>
                    </a:lnTo>
                    <a:lnTo>
                      <a:pt x="876" y="697"/>
                    </a:lnTo>
                    <a:lnTo>
                      <a:pt x="876" y="699"/>
                    </a:lnTo>
                    <a:lnTo>
                      <a:pt x="874" y="699"/>
                    </a:lnTo>
                    <a:lnTo>
                      <a:pt x="874" y="697"/>
                    </a:lnTo>
                    <a:lnTo>
                      <a:pt x="874" y="695"/>
                    </a:lnTo>
                    <a:lnTo>
                      <a:pt x="874" y="693"/>
                    </a:lnTo>
                    <a:lnTo>
                      <a:pt x="872" y="693"/>
                    </a:lnTo>
                    <a:lnTo>
                      <a:pt x="872" y="691"/>
                    </a:lnTo>
                    <a:lnTo>
                      <a:pt x="870" y="691"/>
                    </a:lnTo>
                    <a:lnTo>
                      <a:pt x="868" y="691"/>
                    </a:lnTo>
                    <a:lnTo>
                      <a:pt x="866" y="691"/>
                    </a:lnTo>
                    <a:lnTo>
                      <a:pt x="866" y="693"/>
                    </a:lnTo>
                    <a:lnTo>
                      <a:pt x="864" y="693"/>
                    </a:lnTo>
                    <a:lnTo>
                      <a:pt x="864" y="695"/>
                    </a:lnTo>
                    <a:lnTo>
                      <a:pt x="862" y="695"/>
                    </a:lnTo>
                    <a:lnTo>
                      <a:pt x="862" y="697"/>
                    </a:lnTo>
                    <a:lnTo>
                      <a:pt x="862" y="695"/>
                    </a:lnTo>
                    <a:lnTo>
                      <a:pt x="860" y="695"/>
                    </a:lnTo>
                    <a:lnTo>
                      <a:pt x="860" y="697"/>
                    </a:lnTo>
                    <a:lnTo>
                      <a:pt x="860" y="699"/>
                    </a:lnTo>
                    <a:lnTo>
                      <a:pt x="860" y="701"/>
                    </a:lnTo>
                    <a:lnTo>
                      <a:pt x="860" y="703"/>
                    </a:lnTo>
                    <a:lnTo>
                      <a:pt x="858" y="703"/>
                    </a:lnTo>
                    <a:lnTo>
                      <a:pt x="858" y="705"/>
                    </a:lnTo>
                    <a:lnTo>
                      <a:pt x="858" y="707"/>
                    </a:lnTo>
                    <a:lnTo>
                      <a:pt x="856" y="707"/>
                    </a:lnTo>
                    <a:lnTo>
                      <a:pt x="856" y="709"/>
                    </a:lnTo>
                    <a:lnTo>
                      <a:pt x="855" y="709"/>
                    </a:lnTo>
                    <a:lnTo>
                      <a:pt x="855" y="711"/>
                    </a:lnTo>
                    <a:lnTo>
                      <a:pt x="855" y="709"/>
                    </a:lnTo>
                    <a:lnTo>
                      <a:pt x="855" y="707"/>
                    </a:lnTo>
                    <a:lnTo>
                      <a:pt x="855" y="705"/>
                    </a:lnTo>
                    <a:lnTo>
                      <a:pt x="855" y="703"/>
                    </a:lnTo>
                    <a:lnTo>
                      <a:pt x="855" y="701"/>
                    </a:lnTo>
                    <a:lnTo>
                      <a:pt x="855" y="699"/>
                    </a:lnTo>
                    <a:lnTo>
                      <a:pt x="853" y="699"/>
                    </a:lnTo>
                    <a:lnTo>
                      <a:pt x="853" y="697"/>
                    </a:lnTo>
                    <a:lnTo>
                      <a:pt x="853" y="695"/>
                    </a:lnTo>
                    <a:lnTo>
                      <a:pt x="855" y="693"/>
                    </a:lnTo>
                    <a:lnTo>
                      <a:pt x="855" y="691"/>
                    </a:lnTo>
                    <a:lnTo>
                      <a:pt x="856" y="691"/>
                    </a:lnTo>
                    <a:lnTo>
                      <a:pt x="856" y="690"/>
                    </a:lnTo>
                    <a:lnTo>
                      <a:pt x="856" y="688"/>
                    </a:lnTo>
                    <a:lnTo>
                      <a:pt x="855" y="688"/>
                    </a:lnTo>
                    <a:lnTo>
                      <a:pt x="855" y="686"/>
                    </a:lnTo>
                    <a:lnTo>
                      <a:pt x="853" y="686"/>
                    </a:lnTo>
                    <a:lnTo>
                      <a:pt x="851" y="684"/>
                    </a:lnTo>
                    <a:lnTo>
                      <a:pt x="849" y="684"/>
                    </a:lnTo>
                    <a:lnTo>
                      <a:pt x="849" y="686"/>
                    </a:lnTo>
                    <a:lnTo>
                      <a:pt x="847" y="686"/>
                    </a:lnTo>
                    <a:lnTo>
                      <a:pt x="847" y="684"/>
                    </a:lnTo>
                    <a:lnTo>
                      <a:pt x="845" y="684"/>
                    </a:lnTo>
                    <a:lnTo>
                      <a:pt x="845" y="686"/>
                    </a:lnTo>
                    <a:lnTo>
                      <a:pt x="845" y="688"/>
                    </a:lnTo>
                    <a:lnTo>
                      <a:pt x="847" y="688"/>
                    </a:lnTo>
                    <a:lnTo>
                      <a:pt x="847" y="690"/>
                    </a:lnTo>
                    <a:lnTo>
                      <a:pt x="847" y="691"/>
                    </a:lnTo>
                    <a:lnTo>
                      <a:pt x="847" y="693"/>
                    </a:lnTo>
                    <a:lnTo>
                      <a:pt x="847" y="695"/>
                    </a:lnTo>
                    <a:lnTo>
                      <a:pt x="847" y="697"/>
                    </a:lnTo>
                    <a:lnTo>
                      <a:pt x="847" y="699"/>
                    </a:lnTo>
                    <a:lnTo>
                      <a:pt x="847" y="701"/>
                    </a:lnTo>
                    <a:lnTo>
                      <a:pt x="847" y="703"/>
                    </a:lnTo>
                    <a:lnTo>
                      <a:pt x="849" y="703"/>
                    </a:lnTo>
                    <a:lnTo>
                      <a:pt x="847" y="703"/>
                    </a:lnTo>
                    <a:lnTo>
                      <a:pt x="847" y="701"/>
                    </a:lnTo>
                    <a:lnTo>
                      <a:pt x="845" y="701"/>
                    </a:lnTo>
                    <a:lnTo>
                      <a:pt x="845" y="699"/>
                    </a:lnTo>
                    <a:lnTo>
                      <a:pt x="847" y="699"/>
                    </a:lnTo>
                    <a:lnTo>
                      <a:pt x="845" y="697"/>
                    </a:lnTo>
                    <a:lnTo>
                      <a:pt x="845" y="695"/>
                    </a:lnTo>
                    <a:lnTo>
                      <a:pt x="843" y="693"/>
                    </a:lnTo>
                    <a:lnTo>
                      <a:pt x="843" y="691"/>
                    </a:lnTo>
                    <a:lnTo>
                      <a:pt x="843" y="690"/>
                    </a:lnTo>
                    <a:lnTo>
                      <a:pt x="841" y="690"/>
                    </a:lnTo>
                    <a:lnTo>
                      <a:pt x="841" y="688"/>
                    </a:lnTo>
                    <a:lnTo>
                      <a:pt x="841" y="686"/>
                    </a:lnTo>
                    <a:lnTo>
                      <a:pt x="839" y="686"/>
                    </a:lnTo>
                    <a:lnTo>
                      <a:pt x="839" y="684"/>
                    </a:lnTo>
                    <a:lnTo>
                      <a:pt x="839" y="682"/>
                    </a:lnTo>
                    <a:lnTo>
                      <a:pt x="839" y="680"/>
                    </a:lnTo>
                    <a:lnTo>
                      <a:pt x="839" y="678"/>
                    </a:lnTo>
                    <a:lnTo>
                      <a:pt x="839" y="676"/>
                    </a:lnTo>
                    <a:lnTo>
                      <a:pt x="841" y="674"/>
                    </a:lnTo>
                    <a:lnTo>
                      <a:pt x="841" y="672"/>
                    </a:lnTo>
                    <a:lnTo>
                      <a:pt x="843" y="672"/>
                    </a:lnTo>
                    <a:lnTo>
                      <a:pt x="843" y="670"/>
                    </a:lnTo>
                    <a:lnTo>
                      <a:pt x="841" y="668"/>
                    </a:lnTo>
                    <a:lnTo>
                      <a:pt x="841" y="667"/>
                    </a:lnTo>
                    <a:lnTo>
                      <a:pt x="839" y="667"/>
                    </a:lnTo>
                    <a:lnTo>
                      <a:pt x="839" y="665"/>
                    </a:lnTo>
                    <a:lnTo>
                      <a:pt x="837" y="665"/>
                    </a:lnTo>
                    <a:lnTo>
                      <a:pt x="837" y="663"/>
                    </a:lnTo>
                    <a:lnTo>
                      <a:pt x="835" y="663"/>
                    </a:lnTo>
                    <a:lnTo>
                      <a:pt x="835" y="661"/>
                    </a:lnTo>
                    <a:lnTo>
                      <a:pt x="835" y="659"/>
                    </a:lnTo>
                    <a:lnTo>
                      <a:pt x="835" y="657"/>
                    </a:lnTo>
                    <a:lnTo>
                      <a:pt x="835" y="655"/>
                    </a:lnTo>
                    <a:lnTo>
                      <a:pt x="835" y="653"/>
                    </a:lnTo>
                    <a:lnTo>
                      <a:pt x="835" y="651"/>
                    </a:lnTo>
                    <a:lnTo>
                      <a:pt x="833" y="651"/>
                    </a:lnTo>
                    <a:lnTo>
                      <a:pt x="833" y="649"/>
                    </a:lnTo>
                    <a:lnTo>
                      <a:pt x="835" y="647"/>
                    </a:lnTo>
                    <a:lnTo>
                      <a:pt x="837" y="647"/>
                    </a:lnTo>
                    <a:lnTo>
                      <a:pt x="839" y="645"/>
                    </a:lnTo>
                    <a:lnTo>
                      <a:pt x="841" y="643"/>
                    </a:lnTo>
                    <a:lnTo>
                      <a:pt x="843" y="643"/>
                    </a:lnTo>
                    <a:lnTo>
                      <a:pt x="843" y="642"/>
                    </a:lnTo>
                    <a:lnTo>
                      <a:pt x="843" y="640"/>
                    </a:lnTo>
                    <a:lnTo>
                      <a:pt x="845" y="640"/>
                    </a:lnTo>
                    <a:lnTo>
                      <a:pt x="845" y="638"/>
                    </a:lnTo>
                    <a:lnTo>
                      <a:pt x="847" y="638"/>
                    </a:lnTo>
                    <a:lnTo>
                      <a:pt x="849" y="638"/>
                    </a:lnTo>
                    <a:lnTo>
                      <a:pt x="851" y="638"/>
                    </a:lnTo>
                    <a:lnTo>
                      <a:pt x="853" y="638"/>
                    </a:lnTo>
                    <a:lnTo>
                      <a:pt x="855" y="638"/>
                    </a:lnTo>
                    <a:lnTo>
                      <a:pt x="856" y="638"/>
                    </a:lnTo>
                    <a:lnTo>
                      <a:pt x="858" y="638"/>
                    </a:lnTo>
                    <a:lnTo>
                      <a:pt x="860" y="638"/>
                    </a:lnTo>
                    <a:lnTo>
                      <a:pt x="860" y="640"/>
                    </a:lnTo>
                    <a:lnTo>
                      <a:pt x="860" y="642"/>
                    </a:lnTo>
                    <a:lnTo>
                      <a:pt x="860" y="643"/>
                    </a:lnTo>
                    <a:lnTo>
                      <a:pt x="860" y="645"/>
                    </a:lnTo>
                    <a:lnTo>
                      <a:pt x="862" y="647"/>
                    </a:lnTo>
                    <a:lnTo>
                      <a:pt x="860" y="649"/>
                    </a:lnTo>
                    <a:lnTo>
                      <a:pt x="860" y="651"/>
                    </a:lnTo>
                    <a:lnTo>
                      <a:pt x="860" y="653"/>
                    </a:lnTo>
                    <a:lnTo>
                      <a:pt x="862" y="653"/>
                    </a:lnTo>
                    <a:lnTo>
                      <a:pt x="862" y="655"/>
                    </a:lnTo>
                    <a:lnTo>
                      <a:pt x="862" y="653"/>
                    </a:lnTo>
                    <a:lnTo>
                      <a:pt x="862" y="651"/>
                    </a:lnTo>
                    <a:lnTo>
                      <a:pt x="864" y="651"/>
                    </a:lnTo>
                    <a:lnTo>
                      <a:pt x="862" y="651"/>
                    </a:lnTo>
                    <a:lnTo>
                      <a:pt x="862" y="649"/>
                    </a:lnTo>
                    <a:lnTo>
                      <a:pt x="864" y="649"/>
                    </a:lnTo>
                    <a:lnTo>
                      <a:pt x="864" y="647"/>
                    </a:lnTo>
                    <a:lnTo>
                      <a:pt x="866" y="647"/>
                    </a:lnTo>
                    <a:lnTo>
                      <a:pt x="866" y="645"/>
                    </a:lnTo>
                    <a:lnTo>
                      <a:pt x="866" y="643"/>
                    </a:lnTo>
                    <a:lnTo>
                      <a:pt x="866" y="642"/>
                    </a:lnTo>
                    <a:lnTo>
                      <a:pt x="868" y="642"/>
                    </a:lnTo>
                    <a:lnTo>
                      <a:pt x="868" y="640"/>
                    </a:lnTo>
                    <a:lnTo>
                      <a:pt x="870" y="640"/>
                    </a:lnTo>
                    <a:lnTo>
                      <a:pt x="872" y="640"/>
                    </a:lnTo>
                    <a:lnTo>
                      <a:pt x="872" y="638"/>
                    </a:lnTo>
                    <a:lnTo>
                      <a:pt x="874" y="638"/>
                    </a:lnTo>
                    <a:lnTo>
                      <a:pt x="876" y="638"/>
                    </a:lnTo>
                    <a:lnTo>
                      <a:pt x="876" y="636"/>
                    </a:lnTo>
                    <a:lnTo>
                      <a:pt x="878" y="636"/>
                    </a:lnTo>
                    <a:lnTo>
                      <a:pt x="879" y="638"/>
                    </a:lnTo>
                    <a:lnTo>
                      <a:pt x="879" y="640"/>
                    </a:lnTo>
                    <a:lnTo>
                      <a:pt x="879" y="642"/>
                    </a:lnTo>
                    <a:lnTo>
                      <a:pt x="881" y="643"/>
                    </a:lnTo>
                    <a:lnTo>
                      <a:pt x="883" y="645"/>
                    </a:lnTo>
                    <a:lnTo>
                      <a:pt x="883" y="647"/>
                    </a:lnTo>
                    <a:lnTo>
                      <a:pt x="883" y="649"/>
                    </a:lnTo>
                    <a:lnTo>
                      <a:pt x="881" y="649"/>
                    </a:lnTo>
                    <a:lnTo>
                      <a:pt x="879" y="649"/>
                    </a:lnTo>
                    <a:lnTo>
                      <a:pt x="879" y="651"/>
                    </a:lnTo>
                    <a:lnTo>
                      <a:pt x="879" y="653"/>
                    </a:lnTo>
                    <a:lnTo>
                      <a:pt x="879" y="655"/>
                    </a:lnTo>
                    <a:lnTo>
                      <a:pt x="881" y="655"/>
                    </a:lnTo>
                    <a:lnTo>
                      <a:pt x="883" y="655"/>
                    </a:lnTo>
                    <a:lnTo>
                      <a:pt x="885" y="655"/>
                    </a:lnTo>
                    <a:lnTo>
                      <a:pt x="885" y="653"/>
                    </a:lnTo>
                    <a:lnTo>
                      <a:pt x="885" y="651"/>
                    </a:lnTo>
                    <a:lnTo>
                      <a:pt x="887" y="651"/>
                    </a:lnTo>
                    <a:lnTo>
                      <a:pt x="887" y="649"/>
                    </a:lnTo>
                    <a:lnTo>
                      <a:pt x="889" y="649"/>
                    </a:lnTo>
                    <a:lnTo>
                      <a:pt x="889" y="647"/>
                    </a:lnTo>
                    <a:lnTo>
                      <a:pt x="891" y="645"/>
                    </a:lnTo>
                    <a:lnTo>
                      <a:pt x="891" y="643"/>
                    </a:lnTo>
                    <a:lnTo>
                      <a:pt x="891" y="642"/>
                    </a:lnTo>
                    <a:lnTo>
                      <a:pt x="891" y="640"/>
                    </a:lnTo>
                    <a:lnTo>
                      <a:pt x="891" y="638"/>
                    </a:lnTo>
                    <a:lnTo>
                      <a:pt x="891" y="636"/>
                    </a:lnTo>
                    <a:lnTo>
                      <a:pt x="891" y="634"/>
                    </a:lnTo>
                    <a:lnTo>
                      <a:pt x="891" y="632"/>
                    </a:lnTo>
                    <a:lnTo>
                      <a:pt x="893" y="630"/>
                    </a:lnTo>
                    <a:lnTo>
                      <a:pt x="893" y="628"/>
                    </a:lnTo>
                    <a:lnTo>
                      <a:pt x="893" y="626"/>
                    </a:lnTo>
                    <a:lnTo>
                      <a:pt x="893" y="624"/>
                    </a:lnTo>
                    <a:lnTo>
                      <a:pt x="893" y="622"/>
                    </a:lnTo>
                    <a:lnTo>
                      <a:pt x="893" y="620"/>
                    </a:lnTo>
                    <a:lnTo>
                      <a:pt x="893" y="619"/>
                    </a:lnTo>
                    <a:lnTo>
                      <a:pt x="891" y="619"/>
                    </a:lnTo>
                    <a:lnTo>
                      <a:pt x="891" y="617"/>
                    </a:lnTo>
                    <a:lnTo>
                      <a:pt x="889" y="617"/>
                    </a:lnTo>
                    <a:lnTo>
                      <a:pt x="887" y="617"/>
                    </a:lnTo>
                    <a:lnTo>
                      <a:pt x="887" y="619"/>
                    </a:lnTo>
                    <a:lnTo>
                      <a:pt x="889" y="619"/>
                    </a:lnTo>
                    <a:lnTo>
                      <a:pt x="887" y="619"/>
                    </a:lnTo>
                    <a:lnTo>
                      <a:pt x="885" y="619"/>
                    </a:lnTo>
                    <a:lnTo>
                      <a:pt x="885" y="617"/>
                    </a:lnTo>
                    <a:lnTo>
                      <a:pt x="885" y="615"/>
                    </a:lnTo>
                    <a:lnTo>
                      <a:pt x="885" y="613"/>
                    </a:lnTo>
                    <a:lnTo>
                      <a:pt x="883" y="613"/>
                    </a:lnTo>
                    <a:lnTo>
                      <a:pt x="883" y="611"/>
                    </a:lnTo>
                    <a:lnTo>
                      <a:pt x="881" y="611"/>
                    </a:lnTo>
                    <a:lnTo>
                      <a:pt x="881" y="609"/>
                    </a:lnTo>
                    <a:lnTo>
                      <a:pt x="879" y="609"/>
                    </a:lnTo>
                    <a:lnTo>
                      <a:pt x="878" y="609"/>
                    </a:lnTo>
                    <a:lnTo>
                      <a:pt x="876" y="609"/>
                    </a:lnTo>
                    <a:lnTo>
                      <a:pt x="876" y="611"/>
                    </a:lnTo>
                    <a:lnTo>
                      <a:pt x="874" y="611"/>
                    </a:lnTo>
                    <a:lnTo>
                      <a:pt x="874" y="613"/>
                    </a:lnTo>
                    <a:lnTo>
                      <a:pt x="874" y="615"/>
                    </a:lnTo>
                    <a:lnTo>
                      <a:pt x="874" y="617"/>
                    </a:lnTo>
                    <a:lnTo>
                      <a:pt x="874" y="619"/>
                    </a:lnTo>
                    <a:lnTo>
                      <a:pt x="874" y="620"/>
                    </a:lnTo>
                    <a:lnTo>
                      <a:pt x="874" y="622"/>
                    </a:lnTo>
                    <a:lnTo>
                      <a:pt x="876" y="624"/>
                    </a:lnTo>
                    <a:lnTo>
                      <a:pt x="876" y="626"/>
                    </a:lnTo>
                    <a:lnTo>
                      <a:pt x="876" y="628"/>
                    </a:lnTo>
                    <a:lnTo>
                      <a:pt x="874" y="628"/>
                    </a:lnTo>
                    <a:lnTo>
                      <a:pt x="872" y="628"/>
                    </a:lnTo>
                    <a:lnTo>
                      <a:pt x="872" y="630"/>
                    </a:lnTo>
                    <a:lnTo>
                      <a:pt x="870" y="630"/>
                    </a:lnTo>
                    <a:lnTo>
                      <a:pt x="868" y="630"/>
                    </a:lnTo>
                    <a:lnTo>
                      <a:pt x="868" y="632"/>
                    </a:lnTo>
                    <a:lnTo>
                      <a:pt x="868" y="634"/>
                    </a:lnTo>
                    <a:lnTo>
                      <a:pt x="870" y="634"/>
                    </a:lnTo>
                    <a:lnTo>
                      <a:pt x="868" y="634"/>
                    </a:lnTo>
                    <a:lnTo>
                      <a:pt x="866" y="634"/>
                    </a:lnTo>
                    <a:lnTo>
                      <a:pt x="864" y="634"/>
                    </a:lnTo>
                    <a:lnTo>
                      <a:pt x="862" y="632"/>
                    </a:lnTo>
                    <a:lnTo>
                      <a:pt x="860" y="632"/>
                    </a:lnTo>
                    <a:lnTo>
                      <a:pt x="858" y="632"/>
                    </a:lnTo>
                    <a:lnTo>
                      <a:pt x="858" y="630"/>
                    </a:lnTo>
                    <a:lnTo>
                      <a:pt x="856" y="630"/>
                    </a:lnTo>
                    <a:lnTo>
                      <a:pt x="855" y="628"/>
                    </a:lnTo>
                    <a:lnTo>
                      <a:pt x="855" y="626"/>
                    </a:lnTo>
                    <a:lnTo>
                      <a:pt x="853" y="626"/>
                    </a:lnTo>
                    <a:lnTo>
                      <a:pt x="853" y="624"/>
                    </a:lnTo>
                    <a:lnTo>
                      <a:pt x="851" y="624"/>
                    </a:lnTo>
                    <a:lnTo>
                      <a:pt x="849" y="624"/>
                    </a:lnTo>
                    <a:lnTo>
                      <a:pt x="847" y="624"/>
                    </a:lnTo>
                    <a:lnTo>
                      <a:pt x="847" y="622"/>
                    </a:lnTo>
                    <a:lnTo>
                      <a:pt x="847" y="620"/>
                    </a:lnTo>
                    <a:lnTo>
                      <a:pt x="847" y="619"/>
                    </a:lnTo>
                    <a:lnTo>
                      <a:pt x="845" y="619"/>
                    </a:lnTo>
                    <a:lnTo>
                      <a:pt x="843" y="619"/>
                    </a:lnTo>
                    <a:lnTo>
                      <a:pt x="841" y="619"/>
                    </a:lnTo>
                    <a:lnTo>
                      <a:pt x="841" y="617"/>
                    </a:lnTo>
                    <a:lnTo>
                      <a:pt x="841" y="615"/>
                    </a:lnTo>
                    <a:lnTo>
                      <a:pt x="839" y="615"/>
                    </a:lnTo>
                    <a:lnTo>
                      <a:pt x="839" y="613"/>
                    </a:lnTo>
                    <a:lnTo>
                      <a:pt x="837" y="613"/>
                    </a:lnTo>
                    <a:lnTo>
                      <a:pt x="837" y="611"/>
                    </a:lnTo>
                    <a:lnTo>
                      <a:pt x="835" y="611"/>
                    </a:lnTo>
                    <a:lnTo>
                      <a:pt x="835" y="609"/>
                    </a:lnTo>
                    <a:lnTo>
                      <a:pt x="833" y="607"/>
                    </a:lnTo>
                    <a:lnTo>
                      <a:pt x="833" y="605"/>
                    </a:lnTo>
                    <a:lnTo>
                      <a:pt x="831" y="605"/>
                    </a:lnTo>
                    <a:lnTo>
                      <a:pt x="830" y="605"/>
                    </a:lnTo>
                    <a:lnTo>
                      <a:pt x="828" y="605"/>
                    </a:lnTo>
                    <a:lnTo>
                      <a:pt x="826" y="607"/>
                    </a:lnTo>
                    <a:lnTo>
                      <a:pt x="826" y="609"/>
                    </a:lnTo>
                    <a:lnTo>
                      <a:pt x="824" y="609"/>
                    </a:lnTo>
                    <a:lnTo>
                      <a:pt x="824" y="607"/>
                    </a:lnTo>
                    <a:lnTo>
                      <a:pt x="822" y="607"/>
                    </a:lnTo>
                    <a:lnTo>
                      <a:pt x="822" y="605"/>
                    </a:lnTo>
                    <a:lnTo>
                      <a:pt x="820" y="605"/>
                    </a:lnTo>
                    <a:lnTo>
                      <a:pt x="820" y="603"/>
                    </a:lnTo>
                    <a:lnTo>
                      <a:pt x="820" y="601"/>
                    </a:lnTo>
                    <a:lnTo>
                      <a:pt x="818" y="601"/>
                    </a:lnTo>
                    <a:lnTo>
                      <a:pt x="818" y="599"/>
                    </a:lnTo>
                    <a:lnTo>
                      <a:pt x="818" y="597"/>
                    </a:lnTo>
                    <a:lnTo>
                      <a:pt x="818" y="595"/>
                    </a:lnTo>
                    <a:lnTo>
                      <a:pt x="816" y="595"/>
                    </a:lnTo>
                    <a:lnTo>
                      <a:pt x="816" y="594"/>
                    </a:lnTo>
                    <a:lnTo>
                      <a:pt x="814" y="594"/>
                    </a:lnTo>
                    <a:lnTo>
                      <a:pt x="814" y="595"/>
                    </a:lnTo>
                    <a:lnTo>
                      <a:pt x="812" y="595"/>
                    </a:lnTo>
                    <a:lnTo>
                      <a:pt x="812" y="597"/>
                    </a:lnTo>
                    <a:lnTo>
                      <a:pt x="810" y="597"/>
                    </a:lnTo>
                    <a:lnTo>
                      <a:pt x="810" y="599"/>
                    </a:lnTo>
                    <a:lnTo>
                      <a:pt x="810" y="601"/>
                    </a:lnTo>
                    <a:lnTo>
                      <a:pt x="810" y="603"/>
                    </a:lnTo>
                    <a:lnTo>
                      <a:pt x="808" y="603"/>
                    </a:lnTo>
                    <a:lnTo>
                      <a:pt x="808" y="605"/>
                    </a:lnTo>
                    <a:lnTo>
                      <a:pt x="808" y="607"/>
                    </a:lnTo>
                    <a:lnTo>
                      <a:pt x="810" y="609"/>
                    </a:lnTo>
                    <a:lnTo>
                      <a:pt x="810" y="607"/>
                    </a:lnTo>
                    <a:lnTo>
                      <a:pt x="810" y="609"/>
                    </a:lnTo>
                    <a:lnTo>
                      <a:pt x="810" y="607"/>
                    </a:lnTo>
                    <a:lnTo>
                      <a:pt x="810" y="609"/>
                    </a:lnTo>
                    <a:lnTo>
                      <a:pt x="810" y="611"/>
                    </a:lnTo>
                    <a:lnTo>
                      <a:pt x="810" y="613"/>
                    </a:lnTo>
                    <a:lnTo>
                      <a:pt x="812" y="613"/>
                    </a:lnTo>
                    <a:lnTo>
                      <a:pt x="812" y="615"/>
                    </a:lnTo>
                    <a:lnTo>
                      <a:pt x="812" y="617"/>
                    </a:lnTo>
                    <a:lnTo>
                      <a:pt x="814" y="617"/>
                    </a:lnTo>
                    <a:lnTo>
                      <a:pt x="816" y="617"/>
                    </a:lnTo>
                    <a:lnTo>
                      <a:pt x="816" y="615"/>
                    </a:lnTo>
                    <a:lnTo>
                      <a:pt x="816" y="613"/>
                    </a:lnTo>
                    <a:lnTo>
                      <a:pt x="818" y="613"/>
                    </a:lnTo>
                    <a:lnTo>
                      <a:pt x="818" y="615"/>
                    </a:lnTo>
                    <a:lnTo>
                      <a:pt x="820" y="617"/>
                    </a:lnTo>
                    <a:lnTo>
                      <a:pt x="820" y="619"/>
                    </a:lnTo>
                    <a:lnTo>
                      <a:pt x="820" y="620"/>
                    </a:lnTo>
                    <a:lnTo>
                      <a:pt x="818" y="620"/>
                    </a:lnTo>
                    <a:lnTo>
                      <a:pt x="818" y="622"/>
                    </a:lnTo>
                    <a:lnTo>
                      <a:pt x="816" y="622"/>
                    </a:lnTo>
                    <a:lnTo>
                      <a:pt x="816" y="624"/>
                    </a:lnTo>
                    <a:lnTo>
                      <a:pt x="816" y="626"/>
                    </a:lnTo>
                    <a:lnTo>
                      <a:pt x="814" y="626"/>
                    </a:lnTo>
                    <a:lnTo>
                      <a:pt x="814" y="628"/>
                    </a:lnTo>
                    <a:lnTo>
                      <a:pt x="814" y="630"/>
                    </a:lnTo>
                    <a:lnTo>
                      <a:pt x="812" y="630"/>
                    </a:lnTo>
                    <a:lnTo>
                      <a:pt x="812" y="632"/>
                    </a:lnTo>
                    <a:lnTo>
                      <a:pt x="812" y="634"/>
                    </a:lnTo>
                    <a:lnTo>
                      <a:pt x="812" y="636"/>
                    </a:lnTo>
                    <a:lnTo>
                      <a:pt x="812" y="638"/>
                    </a:lnTo>
                    <a:lnTo>
                      <a:pt x="812" y="640"/>
                    </a:lnTo>
                    <a:lnTo>
                      <a:pt x="812" y="642"/>
                    </a:lnTo>
                    <a:lnTo>
                      <a:pt x="810" y="643"/>
                    </a:lnTo>
                    <a:lnTo>
                      <a:pt x="810" y="645"/>
                    </a:lnTo>
                    <a:lnTo>
                      <a:pt x="808" y="645"/>
                    </a:lnTo>
                    <a:lnTo>
                      <a:pt x="808" y="647"/>
                    </a:lnTo>
                    <a:lnTo>
                      <a:pt x="807" y="647"/>
                    </a:lnTo>
                    <a:lnTo>
                      <a:pt x="805" y="647"/>
                    </a:lnTo>
                    <a:lnTo>
                      <a:pt x="807" y="647"/>
                    </a:lnTo>
                    <a:lnTo>
                      <a:pt x="807" y="645"/>
                    </a:lnTo>
                    <a:lnTo>
                      <a:pt x="807" y="643"/>
                    </a:lnTo>
                    <a:lnTo>
                      <a:pt x="805" y="643"/>
                    </a:lnTo>
                    <a:lnTo>
                      <a:pt x="805" y="642"/>
                    </a:lnTo>
                    <a:lnTo>
                      <a:pt x="807" y="640"/>
                    </a:lnTo>
                    <a:lnTo>
                      <a:pt x="807" y="638"/>
                    </a:lnTo>
                    <a:lnTo>
                      <a:pt x="807" y="636"/>
                    </a:lnTo>
                    <a:lnTo>
                      <a:pt x="807" y="634"/>
                    </a:lnTo>
                    <a:lnTo>
                      <a:pt x="807" y="632"/>
                    </a:lnTo>
                    <a:lnTo>
                      <a:pt x="807" y="630"/>
                    </a:lnTo>
                    <a:lnTo>
                      <a:pt x="807" y="628"/>
                    </a:lnTo>
                    <a:lnTo>
                      <a:pt x="801" y="628"/>
                    </a:lnTo>
                    <a:lnTo>
                      <a:pt x="799" y="628"/>
                    </a:lnTo>
                    <a:lnTo>
                      <a:pt x="799" y="630"/>
                    </a:lnTo>
                    <a:lnTo>
                      <a:pt x="799" y="632"/>
                    </a:lnTo>
                    <a:lnTo>
                      <a:pt x="799" y="634"/>
                    </a:lnTo>
                    <a:lnTo>
                      <a:pt x="797" y="634"/>
                    </a:lnTo>
                    <a:lnTo>
                      <a:pt x="797" y="636"/>
                    </a:lnTo>
                    <a:lnTo>
                      <a:pt x="797" y="638"/>
                    </a:lnTo>
                    <a:lnTo>
                      <a:pt x="797" y="640"/>
                    </a:lnTo>
                    <a:lnTo>
                      <a:pt x="797" y="642"/>
                    </a:lnTo>
                    <a:lnTo>
                      <a:pt x="797" y="643"/>
                    </a:lnTo>
                    <a:lnTo>
                      <a:pt x="799" y="643"/>
                    </a:lnTo>
                    <a:lnTo>
                      <a:pt x="799" y="645"/>
                    </a:lnTo>
                    <a:lnTo>
                      <a:pt x="799" y="647"/>
                    </a:lnTo>
                    <a:lnTo>
                      <a:pt x="799" y="649"/>
                    </a:lnTo>
                    <a:lnTo>
                      <a:pt x="797" y="649"/>
                    </a:lnTo>
                    <a:lnTo>
                      <a:pt x="795" y="649"/>
                    </a:lnTo>
                    <a:lnTo>
                      <a:pt x="795" y="651"/>
                    </a:lnTo>
                    <a:lnTo>
                      <a:pt x="795" y="653"/>
                    </a:lnTo>
                    <a:lnTo>
                      <a:pt x="793" y="653"/>
                    </a:lnTo>
                    <a:lnTo>
                      <a:pt x="791" y="653"/>
                    </a:lnTo>
                    <a:lnTo>
                      <a:pt x="789" y="653"/>
                    </a:lnTo>
                    <a:lnTo>
                      <a:pt x="789" y="655"/>
                    </a:lnTo>
                    <a:lnTo>
                      <a:pt x="789" y="657"/>
                    </a:lnTo>
                    <a:lnTo>
                      <a:pt x="791" y="657"/>
                    </a:lnTo>
                    <a:lnTo>
                      <a:pt x="791" y="659"/>
                    </a:lnTo>
                    <a:lnTo>
                      <a:pt x="789" y="659"/>
                    </a:lnTo>
                    <a:lnTo>
                      <a:pt x="787" y="659"/>
                    </a:lnTo>
                    <a:lnTo>
                      <a:pt x="785" y="659"/>
                    </a:lnTo>
                    <a:lnTo>
                      <a:pt x="783" y="659"/>
                    </a:lnTo>
                    <a:lnTo>
                      <a:pt x="783" y="657"/>
                    </a:lnTo>
                    <a:lnTo>
                      <a:pt x="783" y="655"/>
                    </a:lnTo>
                    <a:lnTo>
                      <a:pt x="785" y="653"/>
                    </a:lnTo>
                    <a:lnTo>
                      <a:pt x="787" y="651"/>
                    </a:lnTo>
                    <a:lnTo>
                      <a:pt x="787" y="649"/>
                    </a:lnTo>
                    <a:lnTo>
                      <a:pt x="787" y="647"/>
                    </a:lnTo>
                    <a:lnTo>
                      <a:pt x="785" y="647"/>
                    </a:lnTo>
                    <a:lnTo>
                      <a:pt x="785" y="645"/>
                    </a:lnTo>
                    <a:lnTo>
                      <a:pt x="783" y="643"/>
                    </a:lnTo>
                    <a:lnTo>
                      <a:pt x="782" y="643"/>
                    </a:lnTo>
                    <a:lnTo>
                      <a:pt x="782" y="642"/>
                    </a:lnTo>
                    <a:lnTo>
                      <a:pt x="780" y="642"/>
                    </a:lnTo>
                    <a:lnTo>
                      <a:pt x="782" y="642"/>
                    </a:lnTo>
                    <a:lnTo>
                      <a:pt x="780" y="642"/>
                    </a:lnTo>
                    <a:lnTo>
                      <a:pt x="780" y="640"/>
                    </a:lnTo>
                    <a:lnTo>
                      <a:pt x="780" y="642"/>
                    </a:lnTo>
                    <a:lnTo>
                      <a:pt x="780" y="643"/>
                    </a:lnTo>
                    <a:lnTo>
                      <a:pt x="778" y="643"/>
                    </a:lnTo>
                    <a:lnTo>
                      <a:pt x="778" y="645"/>
                    </a:lnTo>
                    <a:lnTo>
                      <a:pt x="778" y="647"/>
                    </a:lnTo>
                    <a:lnTo>
                      <a:pt x="778" y="649"/>
                    </a:lnTo>
                    <a:lnTo>
                      <a:pt x="778" y="651"/>
                    </a:lnTo>
                    <a:lnTo>
                      <a:pt x="780" y="651"/>
                    </a:lnTo>
                    <a:lnTo>
                      <a:pt x="780" y="653"/>
                    </a:lnTo>
                    <a:lnTo>
                      <a:pt x="778" y="653"/>
                    </a:lnTo>
                    <a:lnTo>
                      <a:pt x="778" y="655"/>
                    </a:lnTo>
                    <a:lnTo>
                      <a:pt x="776" y="655"/>
                    </a:lnTo>
                    <a:lnTo>
                      <a:pt x="776" y="653"/>
                    </a:lnTo>
                    <a:lnTo>
                      <a:pt x="774" y="653"/>
                    </a:lnTo>
                    <a:lnTo>
                      <a:pt x="772" y="653"/>
                    </a:lnTo>
                    <a:lnTo>
                      <a:pt x="770" y="653"/>
                    </a:lnTo>
                    <a:lnTo>
                      <a:pt x="770" y="651"/>
                    </a:lnTo>
                    <a:lnTo>
                      <a:pt x="768" y="651"/>
                    </a:lnTo>
                    <a:lnTo>
                      <a:pt x="768" y="649"/>
                    </a:lnTo>
                    <a:lnTo>
                      <a:pt x="766" y="647"/>
                    </a:lnTo>
                    <a:lnTo>
                      <a:pt x="766" y="645"/>
                    </a:lnTo>
                    <a:lnTo>
                      <a:pt x="766" y="643"/>
                    </a:lnTo>
                    <a:lnTo>
                      <a:pt x="764" y="642"/>
                    </a:lnTo>
                    <a:lnTo>
                      <a:pt x="764" y="640"/>
                    </a:lnTo>
                    <a:lnTo>
                      <a:pt x="762" y="638"/>
                    </a:lnTo>
                    <a:lnTo>
                      <a:pt x="762" y="636"/>
                    </a:lnTo>
                    <a:lnTo>
                      <a:pt x="760" y="634"/>
                    </a:lnTo>
                    <a:lnTo>
                      <a:pt x="758" y="634"/>
                    </a:lnTo>
                    <a:lnTo>
                      <a:pt x="758" y="632"/>
                    </a:lnTo>
                    <a:lnTo>
                      <a:pt x="757" y="632"/>
                    </a:lnTo>
                    <a:lnTo>
                      <a:pt x="755" y="632"/>
                    </a:lnTo>
                    <a:lnTo>
                      <a:pt x="753" y="630"/>
                    </a:lnTo>
                    <a:lnTo>
                      <a:pt x="751" y="630"/>
                    </a:lnTo>
                    <a:lnTo>
                      <a:pt x="751" y="628"/>
                    </a:lnTo>
                    <a:lnTo>
                      <a:pt x="749" y="630"/>
                    </a:lnTo>
                    <a:lnTo>
                      <a:pt x="749" y="632"/>
                    </a:lnTo>
                    <a:lnTo>
                      <a:pt x="747" y="632"/>
                    </a:lnTo>
                    <a:lnTo>
                      <a:pt x="747" y="630"/>
                    </a:lnTo>
                    <a:lnTo>
                      <a:pt x="745" y="630"/>
                    </a:lnTo>
                    <a:lnTo>
                      <a:pt x="743" y="630"/>
                    </a:lnTo>
                    <a:lnTo>
                      <a:pt x="743" y="628"/>
                    </a:lnTo>
                    <a:lnTo>
                      <a:pt x="741" y="628"/>
                    </a:lnTo>
                    <a:lnTo>
                      <a:pt x="739" y="628"/>
                    </a:lnTo>
                    <a:lnTo>
                      <a:pt x="737" y="628"/>
                    </a:lnTo>
                    <a:lnTo>
                      <a:pt x="735" y="628"/>
                    </a:lnTo>
                    <a:lnTo>
                      <a:pt x="734" y="628"/>
                    </a:lnTo>
                    <a:lnTo>
                      <a:pt x="734" y="630"/>
                    </a:lnTo>
                    <a:lnTo>
                      <a:pt x="732" y="630"/>
                    </a:lnTo>
                    <a:lnTo>
                      <a:pt x="732" y="632"/>
                    </a:lnTo>
                    <a:lnTo>
                      <a:pt x="730" y="628"/>
                    </a:lnTo>
                    <a:lnTo>
                      <a:pt x="728" y="626"/>
                    </a:lnTo>
                    <a:lnTo>
                      <a:pt x="728" y="624"/>
                    </a:lnTo>
                    <a:lnTo>
                      <a:pt x="728" y="622"/>
                    </a:lnTo>
                    <a:lnTo>
                      <a:pt x="726" y="622"/>
                    </a:lnTo>
                    <a:lnTo>
                      <a:pt x="726" y="620"/>
                    </a:lnTo>
                    <a:lnTo>
                      <a:pt x="724" y="619"/>
                    </a:lnTo>
                    <a:lnTo>
                      <a:pt x="724" y="617"/>
                    </a:lnTo>
                    <a:lnTo>
                      <a:pt x="722" y="615"/>
                    </a:lnTo>
                    <a:lnTo>
                      <a:pt x="722" y="613"/>
                    </a:lnTo>
                    <a:lnTo>
                      <a:pt x="722" y="611"/>
                    </a:lnTo>
                    <a:lnTo>
                      <a:pt x="722" y="609"/>
                    </a:lnTo>
                    <a:lnTo>
                      <a:pt x="720" y="607"/>
                    </a:lnTo>
                    <a:lnTo>
                      <a:pt x="718" y="605"/>
                    </a:lnTo>
                    <a:lnTo>
                      <a:pt x="718" y="601"/>
                    </a:lnTo>
                    <a:lnTo>
                      <a:pt x="716" y="599"/>
                    </a:lnTo>
                    <a:lnTo>
                      <a:pt x="714" y="595"/>
                    </a:lnTo>
                    <a:lnTo>
                      <a:pt x="714" y="594"/>
                    </a:lnTo>
                    <a:lnTo>
                      <a:pt x="712" y="594"/>
                    </a:lnTo>
                    <a:lnTo>
                      <a:pt x="712" y="592"/>
                    </a:lnTo>
                    <a:lnTo>
                      <a:pt x="710" y="590"/>
                    </a:lnTo>
                    <a:lnTo>
                      <a:pt x="709" y="590"/>
                    </a:lnTo>
                    <a:lnTo>
                      <a:pt x="709" y="588"/>
                    </a:lnTo>
                    <a:lnTo>
                      <a:pt x="707" y="588"/>
                    </a:lnTo>
                    <a:lnTo>
                      <a:pt x="707" y="586"/>
                    </a:lnTo>
                    <a:lnTo>
                      <a:pt x="705" y="586"/>
                    </a:lnTo>
                    <a:lnTo>
                      <a:pt x="703" y="586"/>
                    </a:lnTo>
                    <a:lnTo>
                      <a:pt x="701" y="586"/>
                    </a:lnTo>
                    <a:lnTo>
                      <a:pt x="699" y="586"/>
                    </a:lnTo>
                    <a:lnTo>
                      <a:pt x="699" y="584"/>
                    </a:lnTo>
                    <a:lnTo>
                      <a:pt x="697" y="584"/>
                    </a:lnTo>
                    <a:lnTo>
                      <a:pt x="697" y="586"/>
                    </a:lnTo>
                    <a:lnTo>
                      <a:pt x="695" y="586"/>
                    </a:lnTo>
                    <a:lnTo>
                      <a:pt x="693" y="586"/>
                    </a:lnTo>
                    <a:lnTo>
                      <a:pt x="691" y="586"/>
                    </a:lnTo>
                    <a:lnTo>
                      <a:pt x="691" y="588"/>
                    </a:lnTo>
                    <a:lnTo>
                      <a:pt x="691" y="586"/>
                    </a:lnTo>
                    <a:lnTo>
                      <a:pt x="689" y="586"/>
                    </a:lnTo>
                    <a:lnTo>
                      <a:pt x="691" y="586"/>
                    </a:lnTo>
                    <a:lnTo>
                      <a:pt x="691" y="584"/>
                    </a:lnTo>
                    <a:lnTo>
                      <a:pt x="689" y="582"/>
                    </a:lnTo>
                    <a:lnTo>
                      <a:pt x="687" y="582"/>
                    </a:lnTo>
                    <a:lnTo>
                      <a:pt x="686" y="580"/>
                    </a:lnTo>
                    <a:lnTo>
                      <a:pt x="686" y="582"/>
                    </a:lnTo>
                    <a:lnTo>
                      <a:pt x="684" y="582"/>
                    </a:lnTo>
                    <a:lnTo>
                      <a:pt x="684" y="584"/>
                    </a:lnTo>
                    <a:lnTo>
                      <a:pt x="682" y="584"/>
                    </a:lnTo>
                    <a:lnTo>
                      <a:pt x="680" y="584"/>
                    </a:lnTo>
                    <a:lnTo>
                      <a:pt x="678" y="584"/>
                    </a:lnTo>
                    <a:lnTo>
                      <a:pt x="676" y="584"/>
                    </a:lnTo>
                    <a:lnTo>
                      <a:pt x="674" y="584"/>
                    </a:lnTo>
                    <a:lnTo>
                      <a:pt x="672" y="584"/>
                    </a:lnTo>
                    <a:lnTo>
                      <a:pt x="672" y="582"/>
                    </a:lnTo>
                    <a:lnTo>
                      <a:pt x="670" y="582"/>
                    </a:lnTo>
                    <a:lnTo>
                      <a:pt x="668" y="580"/>
                    </a:lnTo>
                    <a:lnTo>
                      <a:pt x="666" y="578"/>
                    </a:lnTo>
                    <a:lnTo>
                      <a:pt x="664" y="578"/>
                    </a:lnTo>
                    <a:lnTo>
                      <a:pt x="664" y="576"/>
                    </a:lnTo>
                    <a:lnTo>
                      <a:pt x="662" y="576"/>
                    </a:lnTo>
                    <a:lnTo>
                      <a:pt x="662" y="574"/>
                    </a:lnTo>
                    <a:lnTo>
                      <a:pt x="661" y="574"/>
                    </a:lnTo>
                    <a:lnTo>
                      <a:pt x="661" y="572"/>
                    </a:lnTo>
                    <a:lnTo>
                      <a:pt x="659" y="572"/>
                    </a:lnTo>
                    <a:lnTo>
                      <a:pt x="659" y="571"/>
                    </a:lnTo>
                    <a:lnTo>
                      <a:pt x="657" y="571"/>
                    </a:lnTo>
                    <a:lnTo>
                      <a:pt x="655" y="571"/>
                    </a:lnTo>
                    <a:lnTo>
                      <a:pt x="655" y="572"/>
                    </a:lnTo>
                    <a:lnTo>
                      <a:pt x="655" y="574"/>
                    </a:lnTo>
                    <a:lnTo>
                      <a:pt x="653" y="576"/>
                    </a:lnTo>
                    <a:lnTo>
                      <a:pt x="651" y="576"/>
                    </a:lnTo>
                    <a:lnTo>
                      <a:pt x="649" y="576"/>
                    </a:lnTo>
                    <a:lnTo>
                      <a:pt x="647" y="576"/>
                    </a:lnTo>
                    <a:lnTo>
                      <a:pt x="645" y="576"/>
                    </a:lnTo>
                    <a:lnTo>
                      <a:pt x="645" y="574"/>
                    </a:lnTo>
                    <a:lnTo>
                      <a:pt x="643" y="574"/>
                    </a:lnTo>
                    <a:lnTo>
                      <a:pt x="641" y="574"/>
                    </a:lnTo>
                    <a:lnTo>
                      <a:pt x="641" y="576"/>
                    </a:lnTo>
                    <a:lnTo>
                      <a:pt x="639" y="578"/>
                    </a:lnTo>
                    <a:lnTo>
                      <a:pt x="639" y="580"/>
                    </a:lnTo>
                    <a:lnTo>
                      <a:pt x="641" y="580"/>
                    </a:lnTo>
                    <a:lnTo>
                      <a:pt x="641" y="582"/>
                    </a:lnTo>
                    <a:lnTo>
                      <a:pt x="641" y="584"/>
                    </a:lnTo>
                    <a:lnTo>
                      <a:pt x="641" y="586"/>
                    </a:lnTo>
                    <a:lnTo>
                      <a:pt x="641" y="588"/>
                    </a:lnTo>
                    <a:lnTo>
                      <a:pt x="643" y="590"/>
                    </a:lnTo>
                    <a:lnTo>
                      <a:pt x="645" y="590"/>
                    </a:lnTo>
                    <a:lnTo>
                      <a:pt x="645" y="588"/>
                    </a:lnTo>
                    <a:lnTo>
                      <a:pt x="645" y="586"/>
                    </a:lnTo>
                    <a:lnTo>
                      <a:pt x="643" y="586"/>
                    </a:lnTo>
                    <a:lnTo>
                      <a:pt x="643" y="584"/>
                    </a:lnTo>
                    <a:lnTo>
                      <a:pt x="645" y="584"/>
                    </a:lnTo>
                    <a:lnTo>
                      <a:pt x="645" y="586"/>
                    </a:lnTo>
                    <a:lnTo>
                      <a:pt x="645" y="588"/>
                    </a:lnTo>
                    <a:lnTo>
                      <a:pt x="647" y="588"/>
                    </a:lnTo>
                    <a:lnTo>
                      <a:pt x="647" y="590"/>
                    </a:lnTo>
                    <a:lnTo>
                      <a:pt x="645" y="590"/>
                    </a:lnTo>
                    <a:lnTo>
                      <a:pt x="645" y="592"/>
                    </a:lnTo>
                    <a:lnTo>
                      <a:pt x="643" y="592"/>
                    </a:lnTo>
                    <a:lnTo>
                      <a:pt x="641" y="592"/>
                    </a:lnTo>
                    <a:lnTo>
                      <a:pt x="639" y="592"/>
                    </a:lnTo>
                    <a:lnTo>
                      <a:pt x="639" y="594"/>
                    </a:lnTo>
                    <a:lnTo>
                      <a:pt x="638" y="594"/>
                    </a:lnTo>
                    <a:lnTo>
                      <a:pt x="634" y="590"/>
                    </a:lnTo>
                    <a:lnTo>
                      <a:pt x="630" y="590"/>
                    </a:lnTo>
                    <a:lnTo>
                      <a:pt x="630" y="588"/>
                    </a:lnTo>
                    <a:lnTo>
                      <a:pt x="628" y="588"/>
                    </a:lnTo>
                    <a:lnTo>
                      <a:pt x="626" y="586"/>
                    </a:lnTo>
                    <a:lnTo>
                      <a:pt x="624" y="582"/>
                    </a:lnTo>
                    <a:lnTo>
                      <a:pt x="622" y="580"/>
                    </a:lnTo>
                    <a:lnTo>
                      <a:pt x="620" y="580"/>
                    </a:lnTo>
                    <a:lnTo>
                      <a:pt x="618" y="578"/>
                    </a:lnTo>
                    <a:lnTo>
                      <a:pt x="614" y="578"/>
                    </a:lnTo>
                    <a:lnTo>
                      <a:pt x="613" y="578"/>
                    </a:lnTo>
                    <a:lnTo>
                      <a:pt x="611" y="578"/>
                    </a:lnTo>
                    <a:lnTo>
                      <a:pt x="609" y="578"/>
                    </a:lnTo>
                    <a:lnTo>
                      <a:pt x="611" y="582"/>
                    </a:lnTo>
                    <a:lnTo>
                      <a:pt x="611" y="599"/>
                    </a:lnTo>
                    <a:lnTo>
                      <a:pt x="613" y="605"/>
                    </a:lnTo>
                    <a:lnTo>
                      <a:pt x="613" y="611"/>
                    </a:lnTo>
                    <a:lnTo>
                      <a:pt x="613" y="617"/>
                    </a:lnTo>
                    <a:lnTo>
                      <a:pt x="609" y="617"/>
                    </a:lnTo>
                    <a:lnTo>
                      <a:pt x="607" y="617"/>
                    </a:lnTo>
                    <a:lnTo>
                      <a:pt x="607" y="619"/>
                    </a:lnTo>
                    <a:lnTo>
                      <a:pt x="607" y="615"/>
                    </a:lnTo>
                    <a:lnTo>
                      <a:pt x="605" y="615"/>
                    </a:lnTo>
                    <a:lnTo>
                      <a:pt x="605" y="613"/>
                    </a:lnTo>
                    <a:lnTo>
                      <a:pt x="605" y="611"/>
                    </a:lnTo>
                    <a:lnTo>
                      <a:pt x="603" y="611"/>
                    </a:lnTo>
                    <a:lnTo>
                      <a:pt x="603" y="609"/>
                    </a:lnTo>
                    <a:lnTo>
                      <a:pt x="601" y="607"/>
                    </a:lnTo>
                    <a:lnTo>
                      <a:pt x="599" y="607"/>
                    </a:lnTo>
                    <a:lnTo>
                      <a:pt x="597" y="607"/>
                    </a:lnTo>
                    <a:lnTo>
                      <a:pt x="595" y="607"/>
                    </a:lnTo>
                    <a:lnTo>
                      <a:pt x="595" y="609"/>
                    </a:lnTo>
                    <a:lnTo>
                      <a:pt x="593" y="611"/>
                    </a:lnTo>
                    <a:lnTo>
                      <a:pt x="593" y="613"/>
                    </a:lnTo>
                    <a:lnTo>
                      <a:pt x="591" y="613"/>
                    </a:lnTo>
                    <a:lnTo>
                      <a:pt x="591" y="615"/>
                    </a:lnTo>
                    <a:lnTo>
                      <a:pt x="593" y="615"/>
                    </a:lnTo>
                    <a:lnTo>
                      <a:pt x="593" y="613"/>
                    </a:lnTo>
                    <a:lnTo>
                      <a:pt x="595" y="613"/>
                    </a:lnTo>
                    <a:lnTo>
                      <a:pt x="595" y="615"/>
                    </a:lnTo>
                    <a:lnTo>
                      <a:pt x="593" y="615"/>
                    </a:lnTo>
                    <a:lnTo>
                      <a:pt x="591" y="615"/>
                    </a:lnTo>
                    <a:lnTo>
                      <a:pt x="590" y="615"/>
                    </a:lnTo>
                    <a:lnTo>
                      <a:pt x="588" y="615"/>
                    </a:lnTo>
                    <a:lnTo>
                      <a:pt x="586" y="615"/>
                    </a:lnTo>
                    <a:lnTo>
                      <a:pt x="586" y="617"/>
                    </a:lnTo>
                    <a:lnTo>
                      <a:pt x="586" y="619"/>
                    </a:lnTo>
                    <a:lnTo>
                      <a:pt x="586" y="620"/>
                    </a:lnTo>
                    <a:lnTo>
                      <a:pt x="588" y="619"/>
                    </a:lnTo>
                    <a:lnTo>
                      <a:pt x="588" y="620"/>
                    </a:lnTo>
                    <a:lnTo>
                      <a:pt x="586" y="620"/>
                    </a:lnTo>
                    <a:lnTo>
                      <a:pt x="586" y="622"/>
                    </a:lnTo>
                    <a:lnTo>
                      <a:pt x="584" y="622"/>
                    </a:lnTo>
                    <a:lnTo>
                      <a:pt x="582" y="622"/>
                    </a:lnTo>
                    <a:lnTo>
                      <a:pt x="582" y="624"/>
                    </a:lnTo>
                    <a:lnTo>
                      <a:pt x="582" y="622"/>
                    </a:lnTo>
                    <a:lnTo>
                      <a:pt x="580" y="622"/>
                    </a:lnTo>
                    <a:lnTo>
                      <a:pt x="580" y="624"/>
                    </a:lnTo>
                    <a:lnTo>
                      <a:pt x="578" y="624"/>
                    </a:lnTo>
                    <a:lnTo>
                      <a:pt x="578" y="622"/>
                    </a:lnTo>
                    <a:lnTo>
                      <a:pt x="578" y="620"/>
                    </a:lnTo>
                    <a:lnTo>
                      <a:pt x="576" y="620"/>
                    </a:lnTo>
                    <a:lnTo>
                      <a:pt x="576" y="622"/>
                    </a:lnTo>
                    <a:lnTo>
                      <a:pt x="576" y="624"/>
                    </a:lnTo>
                    <a:lnTo>
                      <a:pt x="576" y="626"/>
                    </a:lnTo>
                    <a:lnTo>
                      <a:pt x="576" y="628"/>
                    </a:lnTo>
                    <a:lnTo>
                      <a:pt x="576" y="630"/>
                    </a:lnTo>
                    <a:lnTo>
                      <a:pt x="578" y="630"/>
                    </a:lnTo>
                    <a:lnTo>
                      <a:pt x="578" y="632"/>
                    </a:lnTo>
                    <a:lnTo>
                      <a:pt x="580" y="632"/>
                    </a:lnTo>
                    <a:lnTo>
                      <a:pt x="580" y="634"/>
                    </a:lnTo>
                    <a:lnTo>
                      <a:pt x="582" y="634"/>
                    </a:lnTo>
                    <a:lnTo>
                      <a:pt x="582" y="636"/>
                    </a:lnTo>
                    <a:lnTo>
                      <a:pt x="584" y="636"/>
                    </a:lnTo>
                    <a:lnTo>
                      <a:pt x="586" y="636"/>
                    </a:lnTo>
                    <a:lnTo>
                      <a:pt x="586" y="638"/>
                    </a:lnTo>
                    <a:lnTo>
                      <a:pt x="588" y="638"/>
                    </a:lnTo>
                    <a:lnTo>
                      <a:pt x="588" y="640"/>
                    </a:lnTo>
                    <a:lnTo>
                      <a:pt x="590" y="640"/>
                    </a:lnTo>
                    <a:lnTo>
                      <a:pt x="590" y="642"/>
                    </a:lnTo>
                    <a:lnTo>
                      <a:pt x="591" y="642"/>
                    </a:lnTo>
                    <a:lnTo>
                      <a:pt x="590" y="642"/>
                    </a:lnTo>
                    <a:lnTo>
                      <a:pt x="588" y="642"/>
                    </a:lnTo>
                    <a:lnTo>
                      <a:pt x="586" y="642"/>
                    </a:lnTo>
                    <a:lnTo>
                      <a:pt x="582" y="640"/>
                    </a:lnTo>
                    <a:lnTo>
                      <a:pt x="580" y="640"/>
                    </a:lnTo>
                    <a:lnTo>
                      <a:pt x="578" y="638"/>
                    </a:lnTo>
                    <a:lnTo>
                      <a:pt x="576" y="638"/>
                    </a:lnTo>
                    <a:lnTo>
                      <a:pt x="574" y="638"/>
                    </a:lnTo>
                    <a:lnTo>
                      <a:pt x="572" y="638"/>
                    </a:lnTo>
                    <a:lnTo>
                      <a:pt x="572" y="640"/>
                    </a:lnTo>
                    <a:lnTo>
                      <a:pt x="570" y="640"/>
                    </a:lnTo>
                    <a:lnTo>
                      <a:pt x="570" y="642"/>
                    </a:lnTo>
                    <a:lnTo>
                      <a:pt x="568" y="642"/>
                    </a:lnTo>
                    <a:lnTo>
                      <a:pt x="568" y="643"/>
                    </a:lnTo>
                    <a:lnTo>
                      <a:pt x="568" y="645"/>
                    </a:lnTo>
                    <a:lnTo>
                      <a:pt x="568" y="647"/>
                    </a:lnTo>
                    <a:lnTo>
                      <a:pt x="568" y="649"/>
                    </a:lnTo>
                    <a:lnTo>
                      <a:pt x="568" y="651"/>
                    </a:lnTo>
                    <a:lnTo>
                      <a:pt x="570" y="651"/>
                    </a:lnTo>
                    <a:lnTo>
                      <a:pt x="570" y="653"/>
                    </a:lnTo>
                    <a:lnTo>
                      <a:pt x="572" y="653"/>
                    </a:lnTo>
                    <a:lnTo>
                      <a:pt x="572" y="655"/>
                    </a:lnTo>
                    <a:lnTo>
                      <a:pt x="572" y="657"/>
                    </a:lnTo>
                    <a:lnTo>
                      <a:pt x="574" y="659"/>
                    </a:lnTo>
                    <a:lnTo>
                      <a:pt x="572" y="659"/>
                    </a:lnTo>
                    <a:lnTo>
                      <a:pt x="574" y="659"/>
                    </a:lnTo>
                    <a:lnTo>
                      <a:pt x="576" y="659"/>
                    </a:lnTo>
                    <a:lnTo>
                      <a:pt x="574" y="659"/>
                    </a:lnTo>
                    <a:lnTo>
                      <a:pt x="574" y="661"/>
                    </a:lnTo>
                    <a:lnTo>
                      <a:pt x="572" y="661"/>
                    </a:lnTo>
                    <a:lnTo>
                      <a:pt x="570" y="661"/>
                    </a:lnTo>
                    <a:lnTo>
                      <a:pt x="568" y="659"/>
                    </a:lnTo>
                    <a:lnTo>
                      <a:pt x="566" y="659"/>
                    </a:lnTo>
                    <a:lnTo>
                      <a:pt x="566" y="657"/>
                    </a:lnTo>
                    <a:lnTo>
                      <a:pt x="565" y="657"/>
                    </a:lnTo>
                    <a:lnTo>
                      <a:pt x="565" y="655"/>
                    </a:lnTo>
                    <a:lnTo>
                      <a:pt x="563" y="655"/>
                    </a:lnTo>
                    <a:lnTo>
                      <a:pt x="563" y="653"/>
                    </a:lnTo>
                    <a:lnTo>
                      <a:pt x="563" y="651"/>
                    </a:lnTo>
                    <a:lnTo>
                      <a:pt x="561" y="651"/>
                    </a:lnTo>
                    <a:lnTo>
                      <a:pt x="561" y="649"/>
                    </a:lnTo>
                    <a:lnTo>
                      <a:pt x="559" y="649"/>
                    </a:lnTo>
                    <a:lnTo>
                      <a:pt x="559" y="651"/>
                    </a:lnTo>
                    <a:lnTo>
                      <a:pt x="561" y="651"/>
                    </a:lnTo>
                    <a:lnTo>
                      <a:pt x="559" y="651"/>
                    </a:lnTo>
                    <a:lnTo>
                      <a:pt x="557" y="651"/>
                    </a:lnTo>
                    <a:lnTo>
                      <a:pt x="557" y="653"/>
                    </a:lnTo>
                    <a:lnTo>
                      <a:pt x="555" y="653"/>
                    </a:lnTo>
                    <a:lnTo>
                      <a:pt x="553" y="653"/>
                    </a:lnTo>
                    <a:lnTo>
                      <a:pt x="551" y="653"/>
                    </a:lnTo>
                    <a:lnTo>
                      <a:pt x="549" y="653"/>
                    </a:lnTo>
                    <a:lnTo>
                      <a:pt x="547" y="653"/>
                    </a:lnTo>
                    <a:lnTo>
                      <a:pt x="547" y="655"/>
                    </a:lnTo>
                    <a:lnTo>
                      <a:pt x="547" y="657"/>
                    </a:lnTo>
                    <a:lnTo>
                      <a:pt x="547" y="655"/>
                    </a:lnTo>
                    <a:lnTo>
                      <a:pt x="547" y="657"/>
                    </a:lnTo>
                    <a:lnTo>
                      <a:pt x="549" y="657"/>
                    </a:lnTo>
                    <a:lnTo>
                      <a:pt x="547" y="657"/>
                    </a:lnTo>
                    <a:lnTo>
                      <a:pt x="549" y="657"/>
                    </a:lnTo>
                    <a:lnTo>
                      <a:pt x="547" y="657"/>
                    </a:lnTo>
                    <a:lnTo>
                      <a:pt x="545" y="657"/>
                    </a:lnTo>
                    <a:lnTo>
                      <a:pt x="545" y="655"/>
                    </a:lnTo>
                    <a:lnTo>
                      <a:pt x="543" y="653"/>
                    </a:lnTo>
                    <a:lnTo>
                      <a:pt x="543" y="651"/>
                    </a:lnTo>
                    <a:lnTo>
                      <a:pt x="542" y="651"/>
                    </a:lnTo>
                    <a:lnTo>
                      <a:pt x="542" y="649"/>
                    </a:lnTo>
                    <a:lnTo>
                      <a:pt x="542" y="647"/>
                    </a:lnTo>
                    <a:lnTo>
                      <a:pt x="540" y="647"/>
                    </a:lnTo>
                    <a:lnTo>
                      <a:pt x="540" y="645"/>
                    </a:lnTo>
                    <a:lnTo>
                      <a:pt x="538" y="645"/>
                    </a:lnTo>
                    <a:lnTo>
                      <a:pt x="538" y="643"/>
                    </a:lnTo>
                    <a:lnTo>
                      <a:pt x="536" y="642"/>
                    </a:lnTo>
                    <a:lnTo>
                      <a:pt x="536" y="640"/>
                    </a:lnTo>
                    <a:lnTo>
                      <a:pt x="534" y="640"/>
                    </a:lnTo>
                    <a:lnTo>
                      <a:pt x="534" y="638"/>
                    </a:lnTo>
                    <a:lnTo>
                      <a:pt x="532" y="638"/>
                    </a:lnTo>
                    <a:lnTo>
                      <a:pt x="532" y="636"/>
                    </a:lnTo>
                    <a:lnTo>
                      <a:pt x="534" y="636"/>
                    </a:lnTo>
                    <a:lnTo>
                      <a:pt x="534" y="634"/>
                    </a:lnTo>
                    <a:lnTo>
                      <a:pt x="534" y="632"/>
                    </a:lnTo>
                    <a:lnTo>
                      <a:pt x="536" y="632"/>
                    </a:lnTo>
                    <a:lnTo>
                      <a:pt x="534" y="632"/>
                    </a:lnTo>
                    <a:lnTo>
                      <a:pt x="534" y="630"/>
                    </a:lnTo>
                    <a:lnTo>
                      <a:pt x="532" y="630"/>
                    </a:lnTo>
                    <a:lnTo>
                      <a:pt x="532" y="632"/>
                    </a:lnTo>
                    <a:lnTo>
                      <a:pt x="530" y="632"/>
                    </a:lnTo>
                    <a:lnTo>
                      <a:pt x="530" y="630"/>
                    </a:lnTo>
                    <a:lnTo>
                      <a:pt x="528" y="630"/>
                    </a:lnTo>
                    <a:lnTo>
                      <a:pt x="528" y="628"/>
                    </a:lnTo>
                    <a:lnTo>
                      <a:pt x="526" y="628"/>
                    </a:lnTo>
                    <a:lnTo>
                      <a:pt x="526" y="626"/>
                    </a:lnTo>
                    <a:lnTo>
                      <a:pt x="524" y="626"/>
                    </a:lnTo>
                    <a:lnTo>
                      <a:pt x="524" y="624"/>
                    </a:lnTo>
                    <a:lnTo>
                      <a:pt x="524" y="622"/>
                    </a:lnTo>
                    <a:lnTo>
                      <a:pt x="524" y="620"/>
                    </a:lnTo>
                    <a:lnTo>
                      <a:pt x="522" y="620"/>
                    </a:lnTo>
                    <a:lnTo>
                      <a:pt x="520" y="622"/>
                    </a:lnTo>
                    <a:lnTo>
                      <a:pt x="518" y="622"/>
                    </a:lnTo>
                    <a:lnTo>
                      <a:pt x="518" y="624"/>
                    </a:lnTo>
                    <a:lnTo>
                      <a:pt x="517" y="624"/>
                    </a:lnTo>
                    <a:lnTo>
                      <a:pt x="517" y="626"/>
                    </a:lnTo>
                    <a:lnTo>
                      <a:pt x="517" y="628"/>
                    </a:lnTo>
                    <a:lnTo>
                      <a:pt x="517" y="630"/>
                    </a:lnTo>
                    <a:lnTo>
                      <a:pt x="515" y="632"/>
                    </a:lnTo>
                    <a:lnTo>
                      <a:pt x="517" y="632"/>
                    </a:lnTo>
                    <a:lnTo>
                      <a:pt x="517" y="634"/>
                    </a:lnTo>
                    <a:lnTo>
                      <a:pt x="515" y="634"/>
                    </a:lnTo>
                    <a:lnTo>
                      <a:pt x="517" y="634"/>
                    </a:lnTo>
                    <a:lnTo>
                      <a:pt x="517" y="636"/>
                    </a:lnTo>
                    <a:lnTo>
                      <a:pt x="518" y="636"/>
                    </a:lnTo>
                    <a:lnTo>
                      <a:pt x="517" y="636"/>
                    </a:lnTo>
                    <a:lnTo>
                      <a:pt x="515" y="636"/>
                    </a:lnTo>
                    <a:lnTo>
                      <a:pt x="513" y="636"/>
                    </a:lnTo>
                    <a:lnTo>
                      <a:pt x="511" y="636"/>
                    </a:lnTo>
                    <a:lnTo>
                      <a:pt x="509" y="636"/>
                    </a:lnTo>
                    <a:lnTo>
                      <a:pt x="509" y="634"/>
                    </a:lnTo>
                    <a:lnTo>
                      <a:pt x="507" y="634"/>
                    </a:lnTo>
                    <a:lnTo>
                      <a:pt x="509" y="632"/>
                    </a:lnTo>
                    <a:lnTo>
                      <a:pt x="507" y="632"/>
                    </a:lnTo>
                    <a:lnTo>
                      <a:pt x="509" y="632"/>
                    </a:lnTo>
                    <a:lnTo>
                      <a:pt x="509" y="630"/>
                    </a:lnTo>
                    <a:lnTo>
                      <a:pt x="507" y="630"/>
                    </a:lnTo>
                    <a:lnTo>
                      <a:pt x="507" y="628"/>
                    </a:lnTo>
                    <a:lnTo>
                      <a:pt x="507" y="626"/>
                    </a:lnTo>
                    <a:lnTo>
                      <a:pt x="509" y="626"/>
                    </a:lnTo>
                    <a:lnTo>
                      <a:pt x="509" y="628"/>
                    </a:lnTo>
                    <a:lnTo>
                      <a:pt x="511" y="628"/>
                    </a:lnTo>
                    <a:lnTo>
                      <a:pt x="511" y="630"/>
                    </a:lnTo>
                    <a:lnTo>
                      <a:pt x="513" y="630"/>
                    </a:lnTo>
                    <a:lnTo>
                      <a:pt x="515" y="628"/>
                    </a:lnTo>
                    <a:lnTo>
                      <a:pt x="517" y="628"/>
                    </a:lnTo>
                    <a:lnTo>
                      <a:pt x="517" y="626"/>
                    </a:lnTo>
                    <a:lnTo>
                      <a:pt x="517" y="624"/>
                    </a:lnTo>
                    <a:lnTo>
                      <a:pt x="517" y="622"/>
                    </a:lnTo>
                    <a:lnTo>
                      <a:pt x="517" y="620"/>
                    </a:lnTo>
                    <a:lnTo>
                      <a:pt x="517" y="619"/>
                    </a:lnTo>
                    <a:lnTo>
                      <a:pt x="517" y="617"/>
                    </a:lnTo>
                    <a:lnTo>
                      <a:pt x="515" y="615"/>
                    </a:lnTo>
                    <a:lnTo>
                      <a:pt x="513" y="615"/>
                    </a:lnTo>
                    <a:lnTo>
                      <a:pt x="513" y="613"/>
                    </a:lnTo>
                    <a:lnTo>
                      <a:pt x="511" y="613"/>
                    </a:lnTo>
                    <a:lnTo>
                      <a:pt x="511" y="611"/>
                    </a:lnTo>
                    <a:lnTo>
                      <a:pt x="509" y="611"/>
                    </a:lnTo>
                    <a:lnTo>
                      <a:pt x="507" y="611"/>
                    </a:lnTo>
                    <a:lnTo>
                      <a:pt x="505" y="611"/>
                    </a:lnTo>
                    <a:lnTo>
                      <a:pt x="505" y="609"/>
                    </a:lnTo>
                    <a:lnTo>
                      <a:pt x="503" y="609"/>
                    </a:lnTo>
                    <a:lnTo>
                      <a:pt x="501" y="609"/>
                    </a:lnTo>
                    <a:lnTo>
                      <a:pt x="499" y="609"/>
                    </a:lnTo>
                    <a:lnTo>
                      <a:pt x="497" y="609"/>
                    </a:lnTo>
                    <a:lnTo>
                      <a:pt x="495" y="609"/>
                    </a:lnTo>
                    <a:lnTo>
                      <a:pt x="495" y="611"/>
                    </a:lnTo>
                    <a:lnTo>
                      <a:pt x="495" y="609"/>
                    </a:lnTo>
                    <a:lnTo>
                      <a:pt x="495" y="611"/>
                    </a:lnTo>
                    <a:lnTo>
                      <a:pt x="495" y="609"/>
                    </a:lnTo>
                    <a:lnTo>
                      <a:pt x="493" y="611"/>
                    </a:lnTo>
                    <a:lnTo>
                      <a:pt x="492" y="611"/>
                    </a:lnTo>
                    <a:lnTo>
                      <a:pt x="490" y="611"/>
                    </a:lnTo>
                    <a:lnTo>
                      <a:pt x="488" y="611"/>
                    </a:lnTo>
                    <a:lnTo>
                      <a:pt x="488" y="613"/>
                    </a:lnTo>
                    <a:lnTo>
                      <a:pt x="488" y="615"/>
                    </a:lnTo>
                    <a:lnTo>
                      <a:pt x="488" y="617"/>
                    </a:lnTo>
                    <a:lnTo>
                      <a:pt x="488" y="619"/>
                    </a:lnTo>
                    <a:lnTo>
                      <a:pt x="488" y="620"/>
                    </a:lnTo>
                    <a:lnTo>
                      <a:pt x="488" y="622"/>
                    </a:lnTo>
                    <a:lnTo>
                      <a:pt x="488" y="620"/>
                    </a:lnTo>
                    <a:lnTo>
                      <a:pt x="486" y="620"/>
                    </a:lnTo>
                    <a:lnTo>
                      <a:pt x="484" y="619"/>
                    </a:lnTo>
                    <a:lnTo>
                      <a:pt x="484" y="617"/>
                    </a:lnTo>
                    <a:lnTo>
                      <a:pt x="486" y="617"/>
                    </a:lnTo>
                    <a:lnTo>
                      <a:pt x="486" y="615"/>
                    </a:lnTo>
                    <a:lnTo>
                      <a:pt x="488" y="615"/>
                    </a:lnTo>
                    <a:lnTo>
                      <a:pt x="488" y="613"/>
                    </a:lnTo>
                    <a:lnTo>
                      <a:pt x="488" y="611"/>
                    </a:lnTo>
                    <a:lnTo>
                      <a:pt x="488" y="609"/>
                    </a:lnTo>
                    <a:lnTo>
                      <a:pt x="488" y="607"/>
                    </a:lnTo>
                    <a:lnTo>
                      <a:pt x="488" y="605"/>
                    </a:lnTo>
                    <a:lnTo>
                      <a:pt x="490" y="605"/>
                    </a:lnTo>
                    <a:lnTo>
                      <a:pt x="490" y="603"/>
                    </a:lnTo>
                    <a:lnTo>
                      <a:pt x="492" y="603"/>
                    </a:lnTo>
                    <a:lnTo>
                      <a:pt x="493" y="603"/>
                    </a:lnTo>
                    <a:lnTo>
                      <a:pt x="493" y="601"/>
                    </a:lnTo>
                    <a:lnTo>
                      <a:pt x="493" y="603"/>
                    </a:lnTo>
                    <a:lnTo>
                      <a:pt x="493" y="601"/>
                    </a:lnTo>
                    <a:lnTo>
                      <a:pt x="493" y="599"/>
                    </a:lnTo>
                    <a:lnTo>
                      <a:pt x="493" y="597"/>
                    </a:lnTo>
                    <a:lnTo>
                      <a:pt x="492" y="597"/>
                    </a:lnTo>
                    <a:lnTo>
                      <a:pt x="492" y="595"/>
                    </a:lnTo>
                    <a:lnTo>
                      <a:pt x="490" y="595"/>
                    </a:lnTo>
                    <a:lnTo>
                      <a:pt x="490" y="594"/>
                    </a:lnTo>
                    <a:lnTo>
                      <a:pt x="488" y="594"/>
                    </a:lnTo>
                    <a:lnTo>
                      <a:pt x="488" y="592"/>
                    </a:lnTo>
                    <a:lnTo>
                      <a:pt x="490" y="592"/>
                    </a:lnTo>
                    <a:lnTo>
                      <a:pt x="490" y="590"/>
                    </a:lnTo>
                    <a:lnTo>
                      <a:pt x="490" y="588"/>
                    </a:lnTo>
                    <a:lnTo>
                      <a:pt x="490" y="586"/>
                    </a:lnTo>
                    <a:lnTo>
                      <a:pt x="490" y="584"/>
                    </a:lnTo>
                    <a:lnTo>
                      <a:pt x="492" y="584"/>
                    </a:lnTo>
                    <a:lnTo>
                      <a:pt x="492" y="582"/>
                    </a:lnTo>
                    <a:lnTo>
                      <a:pt x="493" y="582"/>
                    </a:lnTo>
                    <a:lnTo>
                      <a:pt x="493" y="580"/>
                    </a:lnTo>
                    <a:lnTo>
                      <a:pt x="493" y="578"/>
                    </a:lnTo>
                    <a:lnTo>
                      <a:pt x="495" y="578"/>
                    </a:lnTo>
                    <a:lnTo>
                      <a:pt x="495" y="576"/>
                    </a:lnTo>
                    <a:lnTo>
                      <a:pt x="495" y="574"/>
                    </a:lnTo>
                    <a:lnTo>
                      <a:pt x="495" y="576"/>
                    </a:lnTo>
                    <a:lnTo>
                      <a:pt x="493" y="576"/>
                    </a:lnTo>
                    <a:lnTo>
                      <a:pt x="493" y="578"/>
                    </a:lnTo>
                    <a:lnTo>
                      <a:pt x="493" y="580"/>
                    </a:lnTo>
                    <a:lnTo>
                      <a:pt x="492" y="580"/>
                    </a:lnTo>
                    <a:lnTo>
                      <a:pt x="492" y="582"/>
                    </a:lnTo>
                    <a:lnTo>
                      <a:pt x="490" y="582"/>
                    </a:lnTo>
                    <a:lnTo>
                      <a:pt x="490" y="584"/>
                    </a:lnTo>
                    <a:lnTo>
                      <a:pt x="490" y="586"/>
                    </a:lnTo>
                    <a:lnTo>
                      <a:pt x="488" y="586"/>
                    </a:lnTo>
                    <a:lnTo>
                      <a:pt x="486" y="586"/>
                    </a:lnTo>
                    <a:lnTo>
                      <a:pt x="486" y="584"/>
                    </a:lnTo>
                    <a:lnTo>
                      <a:pt x="484" y="584"/>
                    </a:lnTo>
                    <a:lnTo>
                      <a:pt x="484" y="586"/>
                    </a:lnTo>
                    <a:lnTo>
                      <a:pt x="482" y="586"/>
                    </a:lnTo>
                    <a:lnTo>
                      <a:pt x="482" y="588"/>
                    </a:lnTo>
                    <a:lnTo>
                      <a:pt x="484" y="588"/>
                    </a:lnTo>
                    <a:lnTo>
                      <a:pt x="486" y="588"/>
                    </a:lnTo>
                    <a:lnTo>
                      <a:pt x="486" y="590"/>
                    </a:lnTo>
                    <a:lnTo>
                      <a:pt x="486" y="592"/>
                    </a:lnTo>
                    <a:lnTo>
                      <a:pt x="486" y="594"/>
                    </a:lnTo>
                    <a:lnTo>
                      <a:pt x="484" y="594"/>
                    </a:lnTo>
                    <a:lnTo>
                      <a:pt x="484" y="595"/>
                    </a:lnTo>
                    <a:lnTo>
                      <a:pt x="482" y="595"/>
                    </a:lnTo>
                    <a:lnTo>
                      <a:pt x="482" y="597"/>
                    </a:lnTo>
                    <a:lnTo>
                      <a:pt x="482" y="599"/>
                    </a:lnTo>
                    <a:lnTo>
                      <a:pt x="480" y="599"/>
                    </a:lnTo>
                    <a:lnTo>
                      <a:pt x="480" y="601"/>
                    </a:lnTo>
                    <a:lnTo>
                      <a:pt x="478" y="601"/>
                    </a:lnTo>
                    <a:lnTo>
                      <a:pt x="478" y="603"/>
                    </a:lnTo>
                    <a:lnTo>
                      <a:pt x="476" y="603"/>
                    </a:lnTo>
                    <a:lnTo>
                      <a:pt x="476" y="605"/>
                    </a:lnTo>
                    <a:lnTo>
                      <a:pt x="474" y="605"/>
                    </a:lnTo>
                    <a:lnTo>
                      <a:pt x="472" y="605"/>
                    </a:lnTo>
                    <a:lnTo>
                      <a:pt x="472" y="607"/>
                    </a:lnTo>
                    <a:lnTo>
                      <a:pt x="470" y="607"/>
                    </a:lnTo>
                    <a:lnTo>
                      <a:pt x="469" y="609"/>
                    </a:lnTo>
                    <a:lnTo>
                      <a:pt x="469" y="611"/>
                    </a:lnTo>
                    <a:lnTo>
                      <a:pt x="469" y="609"/>
                    </a:lnTo>
                    <a:lnTo>
                      <a:pt x="470" y="609"/>
                    </a:lnTo>
                    <a:lnTo>
                      <a:pt x="470" y="611"/>
                    </a:lnTo>
                    <a:lnTo>
                      <a:pt x="469" y="611"/>
                    </a:lnTo>
                    <a:lnTo>
                      <a:pt x="467" y="611"/>
                    </a:lnTo>
                    <a:lnTo>
                      <a:pt x="465" y="611"/>
                    </a:lnTo>
                    <a:lnTo>
                      <a:pt x="465" y="613"/>
                    </a:lnTo>
                    <a:lnTo>
                      <a:pt x="465" y="611"/>
                    </a:lnTo>
                    <a:lnTo>
                      <a:pt x="463" y="611"/>
                    </a:lnTo>
                    <a:lnTo>
                      <a:pt x="461" y="609"/>
                    </a:lnTo>
                    <a:lnTo>
                      <a:pt x="459" y="609"/>
                    </a:lnTo>
                    <a:lnTo>
                      <a:pt x="459" y="607"/>
                    </a:lnTo>
                    <a:lnTo>
                      <a:pt x="457" y="607"/>
                    </a:lnTo>
                    <a:lnTo>
                      <a:pt x="455" y="607"/>
                    </a:lnTo>
                    <a:lnTo>
                      <a:pt x="455" y="609"/>
                    </a:lnTo>
                    <a:lnTo>
                      <a:pt x="455" y="607"/>
                    </a:lnTo>
                    <a:lnTo>
                      <a:pt x="453" y="607"/>
                    </a:lnTo>
                    <a:lnTo>
                      <a:pt x="451" y="607"/>
                    </a:lnTo>
                    <a:lnTo>
                      <a:pt x="451" y="605"/>
                    </a:lnTo>
                    <a:lnTo>
                      <a:pt x="449" y="605"/>
                    </a:lnTo>
                    <a:lnTo>
                      <a:pt x="449" y="603"/>
                    </a:lnTo>
                    <a:lnTo>
                      <a:pt x="449" y="601"/>
                    </a:lnTo>
                    <a:lnTo>
                      <a:pt x="449" y="599"/>
                    </a:lnTo>
                    <a:lnTo>
                      <a:pt x="447" y="599"/>
                    </a:lnTo>
                    <a:lnTo>
                      <a:pt x="447" y="597"/>
                    </a:lnTo>
                    <a:lnTo>
                      <a:pt x="445" y="597"/>
                    </a:lnTo>
                    <a:lnTo>
                      <a:pt x="444" y="597"/>
                    </a:lnTo>
                    <a:lnTo>
                      <a:pt x="442" y="597"/>
                    </a:lnTo>
                    <a:lnTo>
                      <a:pt x="440" y="597"/>
                    </a:lnTo>
                    <a:lnTo>
                      <a:pt x="440" y="595"/>
                    </a:lnTo>
                    <a:lnTo>
                      <a:pt x="440" y="597"/>
                    </a:lnTo>
                    <a:lnTo>
                      <a:pt x="438" y="597"/>
                    </a:lnTo>
                    <a:lnTo>
                      <a:pt x="438" y="595"/>
                    </a:lnTo>
                    <a:lnTo>
                      <a:pt x="436" y="595"/>
                    </a:lnTo>
                    <a:lnTo>
                      <a:pt x="436" y="597"/>
                    </a:lnTo>
                    <a:lnTo>
                      <a:pt x="434" y="597"/>
                    </a:lnTo>
                    <a:lnTo>
                      <a:pt x="434" y="599"/>
                    </a:lnTo>
                    <a:lnTo>
                      <a:pt x="434" y="601"/>
                    </a:lnTo>
                    <a:lnTo>
                      <a:pt x="436" y="601"/>
                    </a:lnTo>
                    <a:lnTo>
                      <a:pt x="436" y="603"/>
                    </a:lnTo>
                    <a:lnTo>
                      <a:pt x="436" y="605"/>
                    </a:lnTo>
                    <a:lnTo>
                      <a:pt x="434" y="607"/>
                    </a:lnTo>
                    <a:lnTo>
                      <a:pt x="434" y="609"/>
                    </a:lnTo>
                    <a:lnTo>
                      <a:pt x="432" y="609"/>
                    </a:lnTo>
                    <a:lnTo>
                      <a:pt x="430" y="611"/>
                    </a:lnTo>
                    <a:lnTo>
                      <a:pt x="432" y="611"/>
                    </a:lnTo>
                    <a:lnTo>
                      <a:pt x="432" y="613"/>
                    </a:lnTo>
                    <a:lnTo>
                      <a:pt x="434" y="613"/>
                    </a:lnTo>
                    <a:lnTo>
                      <a:pt x="434" y="615"/>
                    </a:lnTo>
                    <a:lnTo>
                      <a:pt x="436" y="615"/>
                    </a:lnTo>
                    <a:lnTo>
                      <a:pt x="434" y="615"/>
                    </a:lnTo>
                    <a:lnTo>
                      <a:pt x="432" y="615"/>
                    </a:lnTo>
                    <a:lnTo>
                      <a:pt x="430" y="615"/>
                    </a:lnTo>
                    <a:lnTo>
                      <a:pt x="428" y="615"/>
                    </a:lnTo>
                    <a:lnTo>
                      <a:pt x="426" y="615"/>
                    </a:lnTo>
                    <a:lnTo>
                      <a:pt x="424" y="615"/>
                    </a:lnTo>
                    <a:lnTo>
                      <a:pt x="422" y="615"/>
                    </a:lnTo>
                    <a:lnTo>
                      <a:pt x="421" y="615"/>
                    </a:lnTo>
                    <a:lnTo>
                      <a:pt x="419" y="615"/>
                    </a:lnTo>
                    <a:lnTo>
                      <a:pt x="417" y="613"/>
                    </a:lnTo>
                    <a:lnTo>
                      <a:pt x="415" y="613"/>
                    </a:lnTo>
                    <a:lnTo>
                      <a:pt x="415" y="615"/>
                    </a:lnTo>
                    <a:lnTo>
                      <a:pt x="413" y="615"/>
                    </a:lnTo>
                    <a:lnTo>
                      <a:pt x="411" y="615"/>
                    </a:lnTo>
                    <a:lnTo>
                      <a:pt x="409" y="615"/>
                    </a:lnTo>
                    <a:lnTo>
                      <a:pt x="407" y="615"/>
                    </a:lnTo>
                    <a:lnTo>
                      <a:pt x="405" y="615"/>
                    </a:lnTo>
                    <a:lnTo>
                      <a:pt x="403" y="615"/>
                    </a:lnTo>
                    <a:lnTo>
                      <a:pt x="401" y="615"/>
                    </a:lnTo>
                    <a:lnTo>
                      <a:pt x="401" y="613"/>
                    </a:lnTo>
                    <a:lnTo>
                      <a:pt x="401" y="615"/>
                    </a:lnTo>
                    <a:lnTo>
                      <a:pt x="399" y="615"/>
                    </a:lnTo>
                    <a:lnTo>
                      <a:pt x="399" y="613"/>
                    </a:lnTo>
                    <a:lnTo>
                      <a:pt x="397" y="613"/>
                    </a:lnTo>
                    <a:lnTo>
                      <a:pt x="396" y="613"/>
                    </a:lnTo>
                    <a:lnTo>
                      <a:pt x="394" y="613"/>
                    </a:lnTo>
                    <a:lnTo>
                      <a:pt x="392" y="611"/>
                    </a:lnTo>
                    <a:lnTo>
                      <a:pt x="390" y="611"/>
                    </a:lnTo>
                    <a:lnTo>
                      <a:pt x="390" y="609"/>
                    </a:lnTo>
                    <a:lnTo>
                      <a:pt x="388" y="609"/>
                    </a:lnTo>
                    <a:lnTo>
                      <a:pt x="386" y="609"/>
                    </a:lnTo>
                    <a:lnTo>
                      <a:pt x="386" y="611"/>
                    </a:lnTo>
                    <a:lnTo>
                      <a:pt x="384" y="611"/>
                    </a:lnTo>
                    <a:lnTo>
                      <a:pt x="384" y="609"/>
                    </a:lnTo>
                    <a:lnTo>
                      <a:pt x="382" y="609"/>
                    </a:lnTo>
                    <a:lnTo>
                      <a:pt x="380" y="609"/>
                    </a:lnTo>
                    <a:lnTo>
                      <a:pt x="380" y="611"/>
                    </a:lnTo>
                    <a:lnTo>
                      <a:pt x="378" y="611"/>
                    </a:lnTo>
                    <a:lnTo>
                      <a:pt x="376" y="611"/>
                    </a:lnTo>
                    <a:lnTo>
                      <a:pt x="374" y="611"/>
                    </a:lnTo>
                    <a:lnTo>
                      <a:pt x="374" y="609"/>
                    </a:lnTo>
                    <a:lnTo>
                      <a:pt x="373" y="609"/>
                    </a:lnTo>
                    <a:lnTo>
                      <a:pt x="371" y="609"/>
                    </a:lnTo>
                    <a:lnTo>
                      <a:pt x="371" y="607"/>
                    </a:lnTo>
                    <a:lnTo>
                      <a:pt x="369" y="607"/>
                    </a:lnTo>
                    <a:lnTo>
                      <a:pt x="367" y="607"/>
                    </a:lnTo>
                    <a:lnTo>
                      <a:pt x="367" y="609"/>
                    </a:lnTo>
                    <a:lnTo>
                      <a:pt x="365" y="609"/>
                    </a:lnTo>
                    <a:lnTo>
                      <a:pt x="365" y="607"/>
                    </a:lnTo>
                    <a:lnTo>
                      <a:pt x="363" y="607"/>
                    </a:lnTo>
                    <a:lnTo>
                      <a:pt x="363" y="605"/>
                    </a:lnTo>
                    <a:lnTo>
                      <a:pt x="361" y="605"/>
                    </a:lnTo>
                    <a:lnTo>
                      <a:pt x="359" y="605"/>
                    </a:lnTo>
                    <a:lnTo>
                      <a:pt x="357" y="605"/>
                    </a:lnTo>
                    <a:lnTo>
                      <a:pt x="355" y="605"/>
                    </a:lnTo>
                    <a:lnTo>
                      <a:pt x="353" y="605"/>
                    </a:lnTo>
                    <a:lnTo>
                      <a:pt x="353" y="607"/>
                    </a:lnTo>
                    <a:lnTo>
                      <a:pt x="351" y="607"/>
                    </a:lnTo>
                    <a:lnTo>
                      <a:pt x="351" y="609"/>
                    </a:lnTo>
                    <a:lnTo>
                      <a:pt x="349" y="609"/>
                    </a:lnTo>
                    <a:lnTo>
                      <a:pt x="348" y="609"/>
                    </a:lnTo>
                    <a:lnTo>
                      <a:pt x="346" y="609"/>
                    </a:lnTo>
                    <a:lnTo>
                      <a:pt x="344" y="609"/>
                    </a:lnTo>
                    <a:lnTo>
                      <a:pt x="342" y="609"/>
                    </a:lnTo>
                    <a:lnTo>
                      <a:pt x="340" y="609"/>
                    </a:lnTo>
                    <a:lnTo>
                      <a:pt x="338" y="609"/>
                    </a:lnTo>
                    <a:lnTo>
                      <a:pt x="338" y="611"/>
                    </a:lnTo>
                    <a:lnTo>
                      <a:pt x="336" y="611"/>
                    </a:lnTo>
                    <a:lnTo>
                      <a:pt x="334" y="611"/>
                    </a:lnTo>
                    <a:lnTo>
                      <a:pt x="332" y="611"/>
                    </a:lnTo>
                    <a:lnTo>
                      <a:pt x="332" y="613"/>
                    </a:lnTo>
                    <a:lnTo>
                      <a:pt x="330" y="613"/>
                    </a:lnTo>
                    <a:lnTo>
                      <a:pt x="330" y="611"/>
                    </a:lnTo>
                    <a:lnTo>
                      <a:pt x="328" y="611"/>
                    </a:lnTo>
                    <a:lnTo>
                      <a:pt x="326" y="609"/>
                    </a:lnTo>
                    <a:lnTo>
                      <a:pt x="325" y="609"/>
                    </a:lnTo>
                    <a:lnTo>
                      <a:pt x="323" y="609"/>
                    </a:lnTo>
                    <a:lnTo>
                      <a:pt x="321" y="609"/>
                    </a:lnTo>
                    <a:lnTo>
                      <a:pt x="319" y="609"/>
                    </a:lnTo>
                    <a:lnTo>
                      <a:pt x="317" y="609"/>
                    </a:lnTo>
                    <a:lnTo>
                      <a:pt x="315" y="609"/>
                    </a:lnTo>
                    <a:lnTo>
                      <a:pt x="315" y="611"/>
                    </a:lnTo>
                    <a:lnTo>
                      <a:pt x="313" y="611"/>
                    </a:lnTo>
                    <a:lnTo>
                      <a:pt x="311" y="611"/>
                    </a:lnTo>
                    <a:lnTo>
                      <a:pt x="309" y="611"/>
                    </a:lnTo>
                    <a:lnTo>
                      <a:pt x="307" y="611"/>
                    </a:lnTo>
                    <a:lnTo>
                      <a:pt x="307" y="613"/>
                    </a:lnTo>
                    <a:lnTo>
                      <a:pt x="305" y="613"/>
                    </a:lnTo>
                    <a:lnTo>
                      <a:pt x="303" y="613"/>
                    </a:lnTo>
                    <a:lnTo>
                      <a:pt x="301" y="613"/>
                    </a:lnTo>
                    <a:lnTo>
                      <a:pt x="301" y="615"/>
                    </a:lnTo>
                    <a:lnTo>
                      <a:pt x="300" y="615"/>
                    </a:lnTo>
                    <a:lnTo>
                      <a:pt x="298" y="615"/>
                    </a:lnTo>
                    <a:lnTo>
                      <a:pt x="296" y="617"/>
                    </a:lnTo>
                    <a:lnTo>
                      <a:pt x="294" y="617"/>
                    </a:lnTo>
                    <a:lnTo>
                      <a:pt x="292" y="617"/>
                    </a:lnTo>
                    <a:lnTo>
                      <a:pt x="292" y="619"/>
                    </a:lnTo>
                    <a:lnTo>
                      <a:pt x="290" y="619"/>
                    </a:lnTo>
                    <a:lnTo>
                      <a:pt x="290" y="620"/>
                    </a:lnTo>
                    <a:lnTo>
                      <a:pt x="290" y="622"/>
                    </a:lnTo>
                    <a:lnTo>
                      <a:pt x="292" y="622"/>
                    </a:lnTo>
                    <a:lnTo>
                      <a:pt x="290" y="622"/>
                    </a:lnTo>
                    <a:lnTo>
                      <a:pt x="288" y="622"/>
                    </a:lnTo>
                    <a:lnTo>
                      <a:pt x="286" y="622"/>
                    </a:lnTo>
                    <a:lnTo>
                      <a:pt x="286" y="620"/>
                    </a:lnTo>
                    <a:lnTo>
                      <a:pt x="282" y="620"/>
                    </a:lnTo>
                    <a:lnTo>
                      <a:pt x="278" y="619"/>
                    </a:lnTo>
                    <a:lnTo>
                      <a:pt x="275" y="617"/>
                    </a:lnTo>
                    <a:lnTo>
                      <a:pt x="269" y="615"/>
                    </a:lnTo>
                    <a:lnTo>
                      <a:pt x="263" y="613"/>
                    </a:lnTo>
                    <a:lnTo>
                      <a:pt x="261" y="613"/>
                    </a:lnTo>
                    <a:lnTo>
                      <a:pt x="259" y="611"/>
                    </a:lnTo>
                    <a:lnTo>
                      <a:pt x="250" y="609"/>
                    </a:lnTo>
                    <a:lnTo>
                      <a:pt x="246" y="607"/>
                    </a:lnTo>
                    <a:lnTo>
                      <a:pt x="242" y="605"/>
                    </a:lnTo>
                    <a:lnTo>
                      <a:pt x="236" y="603"/>
                    </a:lnTo>
                    <a:lnTo>
                      <a:pt x="234" y="601"/>
                    </a:lnTo>
                    <a:lnTo>
                      <a:pt x="232" y="601"/>
                    </a:lnTo>
                    <a:lnTo>
                      <a:pt x="230" y="599"/>
                    </a:lnTo>
                    <a:lnTo>
                      <a:pt x="228" y="599"/>
                    </a:lnTo>
                    <a:lnTo>
                      <a:pt x="227" y="597"/>
                    </a:lnTo>
                    <a:lnTo>
                      <a:pt x="225" y="597"/>
                    </a:lnTo>
                    <a:lnTo>
                      <a:pt x="221" y="595"/>
                    </a:lnTo>
                    <a:lnTo>
                      <a:pt x="219" y="595"/>
                    </a:lnTo>
                    <a:lnTo>
                      <a:pt x="217" y="594"/>
                    </a:lnTo>
                    <a:lnTo>
                      <a:pt x="215" y="594"/>
                    </a:lnTo>
                    <a:lnTo>
                      <a:pt x="209" y="592"/>
                    </a:lnTo>
                    <a:lnTo>
                      <a:pt x="207" y="590"/>
                    </a:lnTo>
                    <a:lnTo>
                      <a:pt x="204" y="588"/>
                    </a:lnTo>
                    <a:lnTo>
                      <a:pt x="198" y="586"/>
                    </a:lnTo>
                    <a:lnTo>
                      <a:pt x="192" y="584"/>
                    </a:lnTo>
                    <a:lnTo>
                      <a:pt x="188" y="582"/>
                    </a:lnTo>
                    <a:lnTo>
                      <a:pt x="180" y="578"/>
                    </a:lnTo>
                    <a:lnTo>
                      <a:pt x="175" y="576"/>
                    </a:lnTo>
                    <a:lnTo>
                      <a:pt x="169" y="574"/>
                    </a:lnTo>
                    <a:lnTo>
                      <a:pt x="159" y="571"/>
                    </a:lnTo>
                    <a:lnTo>
                      <a:pt x="156" y="569"/>
                    </a:lnTo>
                    <a:lnTo>
                      <a:pt x="150" y="567"/>
                    </a:lnTo>
                    <a:lnTo>
                      <a:pt x="144" y="565"/>
                    </a:lnTo>
                    <a:lnTo>
                      <a:pt x="131" y="561"/>
                    </a:lnTo>
                    <a:lnTo>
                      <a:pt x="115" y="557"/>
                    </a:lnTo>
                    <a:lnTo>
                      <a:pt x="106" y="555"/>
                    </a:lnTo>
                    <a:lnTo>
                      <a:pt x="98" y="551"/>
                    </a:lnTo>
                    <a:lnTo>
                      <a:pt x="90" y="549"/>
                    </a:lnTo>
                    <a:lnTo>
                      <a:pt x="86" y="547"/>
                    </a:lnTo>
                    <a:lnTo>
                      <a:pt x="77" y="546"/>
                    </a:lnTo>
                    <a:lnTo>
                      <a:pt x="69" y="542"/>
                    </a:lnTo>
                    <a:lnTo>
                      <a:pt x="61" y="540"/>
                    </a:lnTo>
                    <a:lnTo>
                      <a:pt x="54" y="536"/>
                    </a:lnTo>
                    <a:lnTo>
                      <a:pt x="42" y="532"/>
                    </a:lnTo>
                    <a:lnTo>
                      <a:pt x="36" y="530"/>
                    </a:lnTo>
                    <a:lnTo>
                      <a:pt x="27" y="526"/>
                    </a:lnTo>
                    <a:lnTo>
                      <a:pt x="21" y="523"/>
                    </a:lnTo>
                    <a:lnTo>
                      <a:pt x="21" y="521"/>
                    </a:lnTo>
                    <a:lnTo>
                      <a:pt x="17" y="519"/>
                    </a:lnTo>
                    <a:lnTo>
                      <a:pt x="13" y="513"/>
                    </a:lnTo>
                    <a:lnTo>
                      <a:pt x="10" y="511"/>
                    </a:lnTo>
                    <a:lnTo>
                      <a:pt x="8" y="507"/>
                    </a:lnTo>
                    <a:lnTo>
                      <a:pt x="6" y="503"/>
                    </a:lnTo>
                    <a:lnTo>
                      <a:pt x="4" y="501"/>
                    </a:lnTo>
                    <a:lnTo>
                      <a:pt x="2" y="498"/>
                    </a:lnTo>
                    <a:lnTo>
                      <a:pt x="2" y="496"/>
                    </a:lnTo>
                    <a:lnTo>
                      <a:pt x="2" y="492"/>
                    </a:lnTo>
                    <a:lnTo>
                      <a:pt x="0" y="488"/>
                    </a:lnTo>
                    <a:lnTo>
                      <a:pt x="0" y="484"/>
                    </a:lnTo>
                    <a:lnTo>
                      <a:pt x="0" y="482"/>
                    </a:lnTo>
                    <a:lnTo>
                      <a:pt x="2" y="478"/>
                    </a:lnTo>
                    <a:lnTo>
                      <a:pt x="2" y="475"/>
                    </a:lnTo>
                    <a:lnTo>
                      <a:pt x="4" y="473"/>
                    </a:lnTo>
                    <a:lnTo>
                      <a:pt x="4" y="471"/>
                    </a:lnTo>
                    <a:lnTo>
                      <a:pt x="6" y="471"/>
                    </a:lnTo>
                    <a:lnTo>
                      <a:pt x="6" y="469"/>
                    </a:lnTo>
                    <a:lnTo>
                      <a:pt x="8" y="469"/>
                    </a:lnTo>
                    <a:lnTo>
                      <a:pt x="8" y="471"/>
                    </a:lnTo>
                    <a:lnTo>
                      <a:pt x="8" y="473"/>
                    </a:lnTo>
                    <a:lnTo>
                      <a:pt x="8" y="475"/>
                    </a:lnTo>
                    <a:lnTo>
                      <a:pt x="8" y="476"/>
                    </a:lnTo>
                    <a:lnTo>
                      <a:pt x="8" y="478"/>
                    </a:lnTo>
                    <a:lnTo>
                      <a:pt x="8" y="482"/>
                    </a:lnTo>
                    <a:lnTo>
                      <a:pt x="8" y="484"/>
                    </a:lnTo>
                    <a:lnTo>
                      <a:pt x="8" y="486"/>
                    </a:lnTo>
                    <a:lnTo>
                      <a:pt x="8" y="488"/>
                    </a:lnTo>
                    <a:lnTo>
                      <a:pt x="6" y="488"/>
                    </a:lnTo>
                    <a:lnTo>
                      <a:pt x="6" y="490"/>
                    </a:lnTo>
                    <a:lnTo>
                      <a:pt x="6" y="492"/>
                    </a:lnTo>
                    <a:lnTo>
                      <a:pt x="6" y="494"/>
                    </a:lnTo>
                    <a:lnTo>
                      <a:pt x="6" y="496"/>
                    </a:lnTo>
                    <a:lnTo>
                      <a:pt x="6" y="498"/>
                    </a:lnTo>
                    <a:lnTo>
                      <a:pt x="6" y="500"/>
                    </a:lnTo>
                    <a:lnTo>
                      <a:pt x="8" y="500"/>
                    </a:lnTo>
                    <a:lnTo>
                      <a:pt x="8" y="501"/>
                    </a:lnTo>
                    <a:lnTo>
                      <a:pt x="8" y="503"/>
                    </a:lnTo>
                    <a:lnTo>
                      <a:pt x="10" y="505"/>
                    </a:lnTo>
                    <a:lnTo>
                      <a:pt x="10" y="509"/>
                    </a:lnTo>
                    <a:lnTo>
                      <a:pt x="11" y="511"/>
                    </a:lnTo>
                    <a:lnTo>
                      <a:pt x="13" y="513"/>
                    </a:lnTo>
                    <a:lnTo>
                      <a:pt x="15" y="515"/>
                    </a:lnTo>
                    <a:lnTo>
                      <a:pt x="17" y="517"/>
                    </a:lnTo>
                    <a:lnTo>
                      <a:pt x="21" y="521"/>
                    </a:lnTo>
                    <a:lnTo>
                      <a:pt x="23" y="521"/>
                    </a:lnTo>
                    <a:lnTo>
                      <a:pt x="25" y="523"/>
                    </a:lnTo>
                    <a:lnTo>
                      <a:pt x="29" y="524"/>
                    </a:lnTo>
                    <a:lnTo>
                      <a:pt x="33" y="524"/>
                    </a:lnTo>
                    <a:lnTo>
                      <a:pt x="35" y="524"/>
                    </a:lnTo>
                    <a:lnTo>
                      <a:pt x="36" y="524"/>
                    </a:lnTo>
                    <a:lnTo>
                      <a:pt x="40" y="524"/>
                    </a:lnTo>
                    <a:lnTo>
                      <a:pt x="42" y="524"/>
                    </a:lnTo>
                    <a:lnTo>
                      <a:pt x="46" y="523"/>
                    </a:lnTo>
                    <a:lnTo>
                      <a:pt x="48" y="521"/>
                    </a:lnTo>
                    <a:lnTo>
                      <a:pt x="52" y="519"/>
                    </a:lnTo>
                    <a:lnTo>
                      <a:pt x="54" y="517"/>
                    </a:lnTo>
                    <a:lnTo>
                      <a:pt x="58" y="513"/>
                    </a:lnTo>
                    <a:lnTo>
                      <a:pt x="63" y="507"/>
                    </a:lnTo>
                    <a:lnTo>
                      <a:pt x="69" y="501"/>
                    </a:lnTo>
                    <a:lnTo>
                      <a:pt x="71" y="498"/>
                    </a:lnTo>
                    <a:lnTo>
                      <a:pt x="73" y="496"/>
                    </a:lnTo>
                    <a:lnTo>
                      <a:pt x="75" y="496"/>
                    </a:lnTo>
                    <a:lnTo>
                      <a:pt x="77" y="494"/>
                    </a:lnTo>
                    <a:lnTo>
                      <a:pt x="79" y="494"/>
                    </a:lnTo>
                    <a:lnTo>
                      <a:pt x="83" y="494"/>
                    </a:lnTo>
                    <a:lnTo>
                      <a:pt x="83" y="492"/>
                    </a:lnTo>
                    <a:lnTo>
                      <a:pt x="83" y="486"/>
                    </a:lnTo>
                    <a:lnTo>
                      <a:pt x="84" y="484"/>
                    </a:lnTo>
                    <a:lnTo>
                      <a:pt x="86" y="482"/>
                    </a:lnTo>
                    <a:lnTo>
                      <a:pt x="88" y="480"/>
                    </a:lnTo>
                    <a:lnTo>
                      <a:pt x="88" y="478"/>
                    </a:lnTo>
                    <a:lnTo>
                      <a:pt x="88" y="475"/>
                    </a:lnTo>
                    <a:lnTo>
                      <a:pt x="90" y="463"/>
                    </a:lnTo>
                    <a:lnTo>
                      <a:pt x="90" y="457"/>
                    </a:lnTo>
                    <a:lnTo>
                      <a:pt x="90" y="452"/>
                    </a:lnTo>
                    <a:lnTo>
                      <a:pt x="92" y="430"/>
                    </a:lnTo>
                    <a:lnTo>
                      <a:pt x="92" y="428"/>
                    </a:lnTo>
                    <a:lnTo>
                      <a:pt x="94" y="427"/>
                    </a:lnTo>
                    <a:lnTo>
                      <a:pt x="96" y="425"/>
                    </a:lnTo>
                    <a:lnTo>
                      <a:pt x="98" y="425"/>
                    </a:lnTo>
                    <a:lnTo>
                      <a:pt x="98" y="423"/>
                    </a:lnTo>
                    <a:lnTo>
                      <a:pt x="100" y="423"/>
                    </a:lnTo>
                    <a:lnTo>
                      <a:pt x="102" y="423"/>
                    </a:lnTo>
                    <a:lnTo>
                      <a:pt x="104" y="425"/>
                    </a:lnTo>
                    <a:lnTo>
                      <a:pt x="104" y="423"/>
                    </a:lnTo>
                    <a:lnTo>
                      <a:pt x="108" y="417"/>
                    </a:lnTo>
                    <a:lnTo>
                      <a:pt x="109" y="415"/>
                    </a:lnTo>
                    <a:lnTo>
                      <a:pt x="115" y="409"/>
                    </a:lnTo>
                    <a:lnTo>
                      <a:pt x="123" y="404"/>
                    </a:lnTo>
                    <a:lnTo>
                      <a:pt x="123" y="402"/>
                    </a:lnTo>
                    <a:lnTo>
                      <a:pt x="127" y="398"/>
                    </a:lnTo>
                    <a:lnTo>
                      <a:pt x="129" y="396"/>
                    </a:lnTo>
                    <a:lnTo>
                      <a:pt x="129" y="394"/>
                    </a:lnTo>
                    <a:lnTo>
                      <a:pt x="132" y="390"/>
                    </a:lnTo>
                    <a:lnTo>
                      <a:pt x="136" y="373"/>
                    </a:lnTo>
                    <a:lnTo>
                      <a:pt x="136" y="363"/>
                    </a:lnTo>
                    <a:lnTo>
                      <a:pt x="136" y="361"/>
                    </a:lnTo>
                    <a:lnTo>
                      <a:pt x="150" y="361"/>
                    </a:lnTo>
                    <a:lnTo>
                      <a:pt x="150" y="359"/>
                    </a:lnTo>
                    <a:lnTo>
                      <a:pt x="152" y="359"/>
                    </a:lnTo>
                    <a:lnTo>
                      <a:pt x="152" y="357"/>
                    </a:lnTo>
                    <a:lnTo>
                      <a:pt x="154" y="357"/>
                    </a:lnTo>
                    <a:lnTo>
                      <a:pt x="157" y="357"/>
                    </a:lnTo>
                    <a:lnTo>
                      <a:pt x="159" y="357"/>
                    </a:lnTo>
                    <a:lnTo>
                      <a:pt x="161" y="357"/>
                    </a:lnTo>
                    <a:lnTo>
                      <a:pt x="165" y="357"/>
                    </a:lnTo>
                    <a:lnTo>
                      <a:pt x="163" y="357"/>
                    </a:lnTo>
                    <a:lnTo>
                      <a:pt x="161" y="354"/>
                    </a:lnTo>
                    <a:lnTo>
                      <a:pt x="163" y="354"/>
                    </a:lnTo>
                    <a:lnTo>
                      <a:pt x="167" y="354"/>
                    </a:lnTo>
                    <a:lnTo>
                      <a:pt x="169" y="352"/>
                    </a:lnTo>
                    <a:lnTo>
                      <a:pt x="173" y="352"/>
                    </a:lnTo>
                    <a:lnTo>
                      <a:pt x="175" y="352"/>
                    </a:lnTo>
                    <a:lnTo>
                      <a:pt x="177" y="352"/>
                    </a:lnTo>
                    <a:lnTo>
                      <a:pt x="177" y="354"/>
                    </a:lnTo>
                    <a:lnTo>
                      <a:pt x="180" y="352"/>
                    </a:lnTo>
                    <a:lnTo>
                      <a:pt x="180" y="344"/>
                    </a:lnTo>
                    <a:lnTo>
                      <a:pt x="180" y="342"/>
                    </a:lnTo>
                    <a:lnTo>
                      <a:pt x="180" y="340"/>
                    </a:lnTo>
                    <a:lnTo>
                      <a:pt x="179" y="336"/>
                    </a:lnTo>
                    <a:lnTo>
                      <a:pt x="179" y="334"/>
                    </a:lnTo>
                    <a:lnTo>
                      <a:pt x="179" y="332"/>
                    </a:lnTo>
                    <a:lnTo>
                      <a:pt x="175" y="332"/>
                    </a:lnTo>
                    <a:lnTo>
                      <a:pt x="175" y="327"/>
                    </a:lnTo>
                    <a:lnTo>
                      <a:pt x="182" y="325"/>
                    </a:lnTo>
                    <a:lnTo>
                      <a:pt x="186" y="325"/>
                    </a:lnTo>
                    <a:lnTo>
                      <a:pt x="190" y="325"/>
                    </a:lnTo>
                    <a:lnTo>
                      <a:pt x="190" y="327"/>
                    </a:lnTo>
                    <a:lnTo>
                      <a:pt x="190" y="325"/>
                    </a:lnTo>
                    <a:lnTo>
                      <a:pt x="190" y="327"/>
                    </a:lnTo>
                    <a:lnTo>
                      <a:pt x="196" y="327"/>
                    </a:lnTo>
                    <a:lnTo>
                      <a:pt x="200" y="327"/>
                    </a:lnTo>
                    <a:lnTo>
                      <a:pt x="205" y="327"/>
                    </a:lnTo>
                    <a:lnTo>
                      <a:pt x="207" y="325"/>
                    </a:lnTo>
                    <a:lnTo>
                      <a:pt x="207" y="321"/>
                    </a:lnTo>
                    <a:lnTo>
                      <a:pt x="215" y="319"/>
                    </a:lnTo>
                    <a:lnTo>
                      <a:pt x="219" y="319"/>
                    </a:lnTo>
                    <a:lnTo>
                      <a:pt x="223" y="319"/>
                    </a:lnTo>
                    <a:lnTo>
                      <a:pt x="223" y="317"/>
                    </a:lnTo>
                    <a:lnTo>
                      <a:pt x="221" y="315"/>
                    </a:lnTo>
                    <a:lnTo>
                      <a:pt x="221" y="311"/>
                    </a:lnTo>
                    <a:lnTo>
                      <a:pt x="221" y="308"/>
                    </a:lnTo>
                    <a:lnTo>
                      <a:pt x="221" y="304"/>
                    </a:lnTo>
                    <a:lnTo>
                      <a:pt x="223" y="304"/>
                    </a:lnTo>
                    <a:lnTo>
                      <a:pt x="225" y="304"/>
                    </a:lnTo>
                    <a:lnTo>
                      <a:pt x="227" y="304"/>
                    </a:lnTo>
                    <a:lnTo>
                      <a:pt x="228" y="302"/>
                    </a:lnTo>
                    <a:lnTo>
                      <a:pt x="232" y="300"/>
                    </a:lnTo>
                    <a:lnTo>
                      <a:pt x="234" y="300"/>
                    </a:lnTo>
                    <a:lnTo>
                      <a:pt x="232" y="298"/>
                    </a:lnTo>
                    <a:lnTo>
                      <a:pt x="230" y="296"/>
                    </a:lnTo>
                    <a:lnTo>
                      <a:pt x="230" y="294"/>
                    </a:lnTo>
                    <a:lnTo>
                      <a:pt x="228" y="292"/>
                    </a:lnTo>
                    <a:lnTo>
                      <a:pt x="228" y="290"/>
                    </a:lnTo>
                    <a:lnTo>
                      <a:pt x="228" y="288"/>
                    </a:lnTo>
                    <a:lnTo>
                      <a:pt x="228" y="290"/>
                    </a:lnTo>
                    <a:lnTo>
                      <a:pt x="230" y="290"/>
                    </a:lnTo>
                    <a:lnTo>
                      <a:pt x="230" y="292"/>
                    </a:lnTo>
                    <a:lnTo>
                      <a:pt x="232" y="292"/>
                    </a:lnTo>
                    <a:lnTo>
                      <a:pt x="236" y="296"/>
                    </a:lnTo>
                    <a:lnTo>
                      <a:pt x="240" y="298"/>
                    </a:lnTo>
                    <a:lnTo>
                      <a:pt x="244" y="300"/>
                    </a:lnTo>
                    <a:lnTo>
                      <a:pt x="244" y="302"/>
                    </a:lnTo>
                    <a:lnTo>
                      <a:pt x="246" y="304"/>
                    </a:lnTo>
                    <a:lnTo>
                      <a:pt x="248" y="304"/>
                    </a:lnTo>
                    <a:lnTo>
                      <a:pt x="248" y="306"/>
                    </a:lnTo>
                    <a:lnTo>
                      <a:pt x="252" y="308"/>
                    </a:lnTo>
                    <a:lnTo>
                      <a:pt x="253" y="309"/>
                    </a:lnTo>
                    <a:lnTo>
                      <a:pt x="255" y="309"/>
                    </a:lnTo>
                    <a:lnTo>
                      <a:pt x="257" y="311"/>
                    </a:lnTo>
                    <a:lnTo>
                      <a:pt x="259" y="311"/>
                    </a:lnTo>
                    <a:lnTo>
                      <a:pt x="261" y="311"/>
                    </a:lnTo>
                    <a:lnTo>
                      <a:pt x="263" y="311"/>
                    </a:lnTo>
                    <a:lnTo>
                      <a:pt x="267" y="311"/>
                    </a:lnTo>
                    <a:lnTo>
                      <a:pt x="267" y="309"/>
                    </a:lnTo>
                    <a:lnTo>
                      <a:pt x="267" y="308"/>
                    </a:lnTo>
                    <a:lnTo>
                      <a:pt x="267" y="306"/>
                    </a:lnTo>
                    <a:lnTo>
                      <a:pt x="267" y="302"/>
                    </a:lnTo>
                    <a:lnTo>
                      <a:pt x="267" y="298"/>
                    </a:lnTo>
                    <a:lnTo>
                      <a:pt x="275" y="298"/>
                    </a:lnTo>
                    <a:lnTo>
                      <a:pt x="278" y="298"/>
                    </a:lnTo>
                    <a:lnTo>
                      <a:pt x="280" y="296"/>
                    </a:lnTo>
                    <a:lnTo>
                      <a:pt x="282" y="296"/>
                    </a:lnTo>
                    <a:lnTo>
                      <a:pt x="284" y="296"/>
                    </a:lnTo>
                    <a:lnTo>
                      <a:pt x="286" y="296"/>
                    </a:lnTo>
                    <a:lnTo>
                      <a:pt x="292" y="296"/>
                    </a:lnTo>
                    <a:lnTo>
                      <a:pt x="296" y="296"/>
                    </a:lnTo>
                    <a:lnTo>
                      <a:pt x="296" y="298"/>
                    </a:lnTo>
                    <a:lnTo>
                      <a:pt x="296" y="304"/>
                    </a:lnTo>
                    <a:lnTo>
                      <a:pt x="296" y="306"/>
                    </a:lnTo>
                    <a:lnTo>
                      <a:pt x="300" y="306"/>
                    </a:lnTo>
                    <a:lnTo>
                      <a:pt x="301" y="306"/>
                    </a:lnTo>
                    <a:lnTo>
                      <a:pt x="303" y="306"/>
                    </a:lnTo>
                    <a:lnTo>
                      <a:pt x="305" y="306"/>
                    </a:lnTo>
                    <a:lnTo>
                      <a:pt x="307" y="306"/>
                    </a:lnTo>
                    <a:lnTo>
                      <a:pt x="311" y="306"/>
                    </a:lnTo>
                    <a:lnTo>
                      <a:pt x="313" y="306"/>
                    </a:lnTo>
                    <a:lnTo>
                      <a:pt x="315" y="306"/>
                    </a:lnTo>
                    <a:lnTo>
                      <a:pt x="313" y="302"/>
                    </a:lnTo>
                    <a:lnTo>
                      <a:pt x="313" y="300"/>
                    </a:lnTo>
                    <a:lnTo>
                      <a:pt x="313" y="296"/>
                    </a:lnTo>
                    <a:lnTo>
                      <a:pt x="313" y="294"/>
                    </a:lnTo>
                    <a:lnTo>
                      <a:pt x="319" y="294"/>
                    </a:lnTo>
                    <a:lnTo>
                      <a:pt x="317" y="286"/>
                    </a:lnTo>
                    <a:lnTo>
                      <a:pt x="317" y="283"/>
                    </a:lnTo>
                    <a:lnTo>
                      <a:pt x="317" y="281"/>
                    </a:lnTo>
                    <a:lnTo>
                      <a:pt x="321" y="281"/>
                    </a:lnTo>
                    <a:lnTo>
                      <a:pt x="321" y="283"/>
                    </a:lnTo>
                    <a:lnTo>
                      <a:pt x="321" y="286"/>
                    </a:lnTo>
                    <a:lnTo>
                      <a:pt x="325" y="284"/>
                    </a:lnTo>
                    <a:lnTo>
                      <a:pt x="326" y="284"/>
                    </a:lnTo>
                    <a:lnTo>
                      <a:pt x="328" y="286"/>
                    </a:lnTo>
                    <a:lnTo>
                      <a:pt x="326" y="288"/>
                    </a:lnTo>
                    <a:lnTo>
                      <a:pt x="328" y="288"/>
                    </a:lnTo>
                    <a:lnTo>
                      <a:pt x="328" y="290"/>
                    </a:lnTo>
                    <a:lnTo>
                      <a:pt x="330" y="290"/>
                    </a:lnTo>
                    <a:lnTo>
                      <a:pt x="330" y="292"/>
                    </a:lnTo>
                    <a:lnTo>
                      <a:pt x="332" y="292"/>
                    </a:lnTo>
                    <a:lnTo>
                      <a:pt x="338" y="292"/>
                    </a:lnTo>
                    <a:lnTo>
                      <a:pt x="338" y="294"/>
                    </a:lnTo>
                    <a:lnTo>
                      <a:pt x="340" y="294"/>
                    </a:lnTo>
                    <a:lnTo>
                      <a:pt x="344" y="294"/>
                    </a:lnTo>
                    <a:lnTo>
                      <a:pt x="348" y="294"/>
                    </a:lnTo>
                    <a:lnTo>
                      <a:pt x="349" y="292"/>
                    </a:lnTo>
                    <a:lnTo>
                      <a:pt x="361" y="292"/>
                    </a:lnTo>
                    <a:lnTo>
                      <a:pt x="361" y="294"/>
                    </a:lnTo>
                    <a:lnTo>
                      <a:pt x="361" y="304"/>
                    </a:lnTo>
                    <a:lnTo>
                      <a:pt x="361" y="306"/>
                    </a:lnTo>
                    <a:lnTo>
                      <a:pt x="363" y="309"/>
                    </a:lnTo>
                    <a:lnTo>
                      <a:pt x="365" y="309"/>
                    </a:lnTo>
                    <a:lnTo>
                      <a:pt x="367" y="309"/>
                    </a:lnTo>
                    <a:lnTo>
                      <a:pt x="373" y="308"/>
                    </a:lnTo>
                    <a:lnTo>
                      <a:pt x="376" y="308"/>
                    </a:lnTo>
                    <a:lnTo>
                      <a:pt x="376" y="309"/>
                    </a:lnTo>
                    <a:lnTo>
                      <a:pt x="378" y="309"/>
                    </a:lnTo>
                    <a:lnTo>
                      <a:pt x="382" y="308"/>
                    </a:lnTo>
                    <a:lnTo>
                      <a:pt x="382" y="309"/>
                    </a:lnTo>
                    <a:lnTo>
                      <a:pt x="382" y="311"/>
                    </a:lnTo>
                    <a:lnTo>
                      <a:pt x="384" y="311"/>
                    </a:lnTo>
                    <a:lnTo>
                      <a:pt x="384" y="309"/>
                    </a:lnTo>
                    <a:lnTo>
                      <a:pt x="386" y="309"/>
                    </a:lnTo>
                    <a:lnTo>
                      <a:pt x="384" y="308"/>
                    </a:lnTo>
                    <a:lnTo>
                      <a:pt x="386" y="308"/>
                    </a:lnTo>
                    <a:lnTo>
                      <a:pt x="396" y="308"/>
                    </a:lnTo>
                    <a:lnTo>
                      <a:pt x="396" y="304"/>
                    </a:lnTo>
                    <a:lnTo>
                      <a:pt x="399" y="304"/>
                    </a:lnTo>
                    <a:lnTo>
                      <a:pt x="403" y="304"/>
                    </a:lnTo>
                    <a:lnTo>
                      <a:pt x="409" y="304"/>
                    </a:lnTo>
                    <a:lnTo>
                      <a:pt x="413" y="302"/>
                    </a:lnTo>
                    <a:lnTo>
                      <a:pt x="419" y="302"/>
                    </a:lnTo>
                    <a:lnTo>
                      <a:pt x="422" y="302"/>
                    </a:lnTo>
                    <a:lnTo>
                      <a:pt x="426" y="302"/>
                    </a:lnTo>
                    <a:lnTo>
                      <a:pt x="430" y="300"/>
                    </a:lnTo>
                    <a:lnTo>
                      <a:pt x="434" y="300"/>
                    </a:lnTo>
                    <a:lnTo>
                      <a:pt x="436" y="300"/>
                    </a:lnTo>
                    <a:lnTo>
                      <a:pt x="436" y="296"/>
                    </a:lnTo>
                    <a:lnTo>
                      <a:pt x="430" y="296"/>
                    </a:lnTo>
                    <a:lnTo>
                      <a:pt x="428" y="296"/>
                    </a:lnTo>
                    <a:lnTo>
                      <a:pt x="428" y="292"/>
                    </a:lnTo>
                    <a:lnTo>
                      <a:pt x="426" y="290"/>
                    </a:lnTo>
                    <a:lnTo>
                      <a:pt x="426" y="288"/>
                    </a:lnTo>
                    <a:lnTo>
                      <a:pt x="424" y="288"/>
                    </a:lnTo>
                    <a:lnTo>
                      <a:pt x="422" y="288"/>
                    </a:lnTo>
                    <a:lnTo>
                      <a:pt x="421" y="288"/>
                    </a:lnTo>
                    <a:lnTo>
                      <a:pt x="417" y="290"/>
                    </a:lnTo>
                    <a:lnTo>
                      <a:pt x="415" y="290"/>
                    </a:lnTo>
                    <a:lnTo>
                      <a:pt x="411" y="290"/>
                    </a:lnTo>
                    <a:lnTo>
                      <a:pt x="409" y="290"/>
                    </a:lnTo>
                    <a:lnTo>
                      <a:pt x="409" y="288"/>
                    </a:lnTo>
                    <a:lnTo>
                      <a:pt x="407" y="288"/>
                    </a:lnTo>
                    <a:lnTo>
                      <a:pt x="403" y="286"/>
                    </a:lnTo>
                    <a:lnTo>
                      <a:pt x="405" y="286"/>
                    </a:lnTo>
                    <a:lnTo>
                      <a:pt x="405" y="284"/>
                    </a:lnTo>
                    <a:lnTo>
                      <a:pt x="405" y="283"/>
                    </a:lnTo>
                    <a:lnTo>
                      <a:pt x="405" y="281"/>
                    </a:lnTo>
                    <a:lnTo>
                      <a:pt x="407" y="281"/>
                    </a:lnTo>
                    <a:lnTo>
                      <a:pt x="411" y="279"/>
                    </a:lnTo>
                    <a:lnTo>
                      <a:pt x="417" y="279"/>
                    </a:lnTo>
                    <a:lnTo>
                      <a:pt x="424" y="279"/>
                    </a:lnTo>
                    <a:lnTo>
                      <a:pt x="430" y="277"/>
                    </a:lnTo>
                    <a:lnTo>
                      <a:pt x="430" y="275"/>
                    </a:lnTo>
                    <a:lnTo>
                      <a:pt x="430" y="271"/>
                    </a:lnTo>
                    <a:lnTo>
                      <a:pt x="432" y="269"/>
                    </a:lnTo>
                    <a:lnTo>
                      <a:pt x="438" y="269"/>
                    </a:lnTo>
                    <a:lnTo>
                      <a:pt x="444" y="269"/>
                    </a:lnTo>
                    <a:lnTo>
                      <a:pt x="447" y="269"/>
                    </a:lnTo>
                    <a:lnTo>
                      <a:pt x="447" y="265"/>
                    </a:lnTo>
                    <a:lnTo>
                      <a:pt x="445" y="261"/>
                    </a:lnTo>
                    <a:lnTo>
                      <a:pt x="444" y="263"/>
                    </a:lnTo>
                    <a:lnTo>
                      <a:pt x="438" y="263"/>
                    </a:lnTo>
                    <a:lnTo>
                      <a:pt x="438" y="260"/>
                    </a:lnTo>
                    <a:lnTo>
                      <a:pt x="438" y="252"/>
                    </a:lnTo>
                    <a:lnTo>
                      <a:pt x="436" y="248"/>
                    </a:lnTo>
                    <a:lnTo>
                      <a:pt x="436" y="246"/>
                    </a:lnTo>
                    <a:lnTo>
                      <a:pt x="436" y="244"/>
                    </a:lnTo>
                    <a:lnTo>
                      <a:pt x="442" y="238"/>
                    </a:lnTo>
                    <a:lnTo>
                      <a:pt x="445" y="242"/>
                    </a:lnTo>
                    <a:lnTo>
                      <a:pt x="451" y="246"/>
                    </a:lnTo>
                    <a:lnTo>
                      <a:pt x="461" y="254"/>
                    </a:lnTo>
                    <a:lnTo>
                      <a:pt x="461" y="252"/>
                    </a:lnTo>
                    <a:lnTo>
                      <a:pt x="467" y="244"/>
                    </a:lnTo>
                    <a:lnTo>
                      <a:pt x="470" y="240"/>
                    </a:lnTo>
                    <a:lnTo>
                      <a:pt x="474" y="233"/>
                    </a:lnTo>
                    <a:lnTo>
                      <a:pt x="476" y="235"/>
                    </a:lnTo>
                    <a:lnTo>
                      <a:pt x="482" y="227"/>
                    </a:lnTo>
                    <a:lnTo>
                      <a:pt x="484" y="227"/>
                    </a:lnTo>
                    <a:lnTo>
                      <a:pt x="488" y="221"/>
                    </a:lnTo>
                    <a:lnTo>
                      <a:pt x="493" y="212"/>
                    </a:lnTo>
                    <a:lnTo>
                      <a:pt x="501" y="200"/>
                    </a:lnTo>
                    <a:lnTo>
                      <a:pt x="503" y="196"/>
                    </a:lnTo>
                    <a:lnTo>
                      <a:pt x="501" y="192"/>
                    </a:lnTo>
                    <a:lnTo>
                      <a:pt x="497" y="190"/>
                    </a:lnTo>
                    <a:lnTo>
                      <a:pt x="495" y="190"/>
                    </a:lnTo>
                    <a:lnTo>
                      <a:pt x="495" y="188"/>
                    </a:lnTo>
                    <a:lnTo>
                      <a:pt x="492" y="188"/>
                    </a:lnTo>
                    <a:lnTo>
                      <a:pt x="492" y="187"/>
                    </a:lnTo>
                    <a:lnTo>
                      <a:pt x="490" y="187"/>
                    </a:lnTo>
                    <a:lnTo>
                      <a:pt x="486" y="192"/>
                    </a:lnTo>
                    <a:lnTo>
                      <a:pt x="484" y="194"/>
                    </a:lnTo>
                    <a:lnTo>
                      <a:pt x="484" y="196"/>
                    </a:lnTo>
                    <a:lnTo>
                      <a:pt x="482" y="198"/>
                    </a:lnTo>
                    <a:lnTo>
                      <a:pt x="484" y="200"/>
                    </a:lnTo>
                    <a:lnTo>
                      <a:pt x="486" y="200"/>
                    </a:lnTo>
                    <a:lnTo>
                      <a:pt x="488" y="202"/>
                    </a:lnTo>
                    <a:lnTo>
                      <a:pt x="486" y="204"/>
                    </a:lnTo>
                    <a:lnTo>
                      <a:pt x="486" y="206"/>
                    </a:lnTo>
                    <a:lnTo>
                      <a:pt x="484" y="210"/>
                    </a:lnTo>
                    <a:lnTo>
                      <a:pt x="480" y="212"/>
                    </a:lnTo>
                    <a:lnTo>
                      <a:pt x="480" y="213"/>
                    </a:lnTo>
                    <a:lnTo>
                      <a:pt x="478" y="217"/>
                    </a:lnTo>
                    <a:lnTo>
                      <a:pt x="472" y="213"/>
                    </a:lnTo>
                    <a:lnTo>
                      <a:pt x="470" y="217"/>
                    </a:lnTo>
                    <a:lnTo>
                      <a:pt x="467" y="219"/>
                    </a:lnTo>
                    <a:lnTo>
                      <a:pt x="465" y="223"/>
                    </a:lnTo>
                    <a:lnTo>
                      <a:pt x="465" y="225"/>
                    </a:lnTo>
                    <a:lnTo>
                      <a:pt x="461" y="223"/>
                    </a:lnTo>
                    <a:lnTo>
                      <a:pt x="459" y="223"/>
                    </a:lnTo>
                    <a:lnTo>
                      <a:pt x="457" y="219"/>
                    </a:lnTo>
                    <a:lnTo>
                      <a:pt x="447" y="213"/>
                    </a:lnTo>
                    <a:lnTo>
                      <a:pt x="445" y="212"/>
                    </a:lnTo>
                    <a:lnTo>
                      <a:pt x="444" y="212"/>
                    </a:lnTo>
                    <a:lnTo>
                      <a:pt x="444" y="210"/>
                    </a:lnTo>
                    <a:lnTo>
                      <a:pt x="436" y="206"/>
                    </a:lnTo>
                    <a:lnTo>
                      <a:pt x="436" y="204"/>
                    </a:lnTo>
                    <a:lnTo>
                      <a:pt x="434" y="204"/>
                    </a:lnTo>
                    <a:lnTo>
                      <a:pt x="434" y="202"/>
                    </a:lnTo>
                    <a:lnTo>
                      <a:pt x="432" y="202"/>
                    </a:lnTo>
                    <a:lnTo>
                      <a:pt x="432" y="200"/>
                    </a:lnTo>
                    <a:lnTo>
                      <a:pt x="432" y="198"/>
                    </a:lnTo>
                    <a:lnTo>
                      <a:pt x="432" y="196"/>
                    </a:lnTo>
                    <a:lnTo>
                      <a:pt x="434" y="196"/>
                    </a:lnTo>
                    <a:lnTo>
                      <a:pt x="434" y="194"/>
                    </a:lnTo>
                    <a:lnTo>
                      <a:pt x="434" y="192"/>
                    </a:lnTo>
                    <a:lnTo>
                      <a:pt x="434" y="190"/>
                    </a:lnTo>
                    <a:lnTo>
                      <a:pt x="432" y="190"/>
                    </a:lnTo>
                    <a:lnTo>
                      <a:pt x="432" y="188"/>
                    </a:lnTo>
                    <a:lnTo>
                      <a:pt x="434" y="187"/>
                    </a:lnTo>
                    <a:lnTo>
                      <a:pt x="434" y="185"/>
                    </a:lnTo>
                    <a:lnTo>
                      <a:pt x="436" y="185"/>
                    </a:lnTo>
                    <a:lnTo>
                      <a:pt x="436" y="183"/>
                    </a:lnTo>
                    <a:lnTo>
                      <a:pt x="436" y="181"/>
                    </a:lnTo>
                    <a:lnTo>
                      <a:pt x="436" y="179"/>
                    </a:lnTo>
                    <a:lnTo>
                      <a:pt x="438" y="179"/>
                    </a:lnTo>
                    <a:lnTo>
                      <a:pt x="438" y="177"/>
                    </a:lnTo>
                    <a:lnTo>
                      <a:pt x="440" y="177"/>
                    </a:lnTo>
                    <a:lnTo>
                      <a:pt x="442" y="175"/>
                    </a:lnTo>
                    <a:lnTo>
                      <a:pt x="444" y="173"/>
                    </a:lnTo>
                    <a:lnTo>
                      <a:pt x="445" y="173"/>
                    </a:lnTo>
                    <a:lnTo>
                      <a:pt x="445" y="171"/>
                    </a:lnTo>
                    <a:lnTo>
                      <a:pt x="445" y="169"/>
                    </a:lnTo>
                    <a:lnTo>
                      <a:pt x="447" y="169"/>
                    </a:lnTo>
                    <a:lnTo>
                      <a:pt x="447" y="167"/>
                    </a:lnTo>
                    <a:lnTo>
                      <a:pt x="447" y="165"/>
                    </a:lnTo>
                    <a:lnTo>
                      <a:pt x="449" y="164"/>
                    </a:lnTo>
                    <a:lnTo>
                      <a:pt x="449" y="162"/>
                    </a:lnTo>
                    <a:lnTo>
                      <a:pt x="455" y="160"/>
                    </a:lnTo>
                    <a:lnTo>
                      <a:pt x="457" y="160"/>
                    </a:lnTo>
                    <a:lnTo>
                      <a:pt x="459" y="160"/>
                    </a:lnTo>
                    <a:lnTo>
                      <a:pt x="459" y="162"/>
                    </a:lnTo>
                    <a:lnTo>
                      <a:pt x="457" y="162"/>
                    </a:lnTo>
                    <a:lnTo>
                      <a:pt x="459" y="162"/>
                    </a:lnTo>
                    <a:lnTo>
                      <a:pt x="461" y="162"/>
                    </a:lnTo>
                    <a:lnTo>
                      <a:pt x="463" y="162"/>
                    </a:lnTo>
                    <a:lnTo>
                      <a:pt x="461" y="162"/>
                    </a:lnTo>
                    <a:lnTo>
                      <a:pt x="461" y="160"/>
                    </a:lnTo>
                    <a:lnTo>
                      <a:pt x="461" y="158"/>
                    </a:lnTo>
                    <a:lnTo>
                      <a:pt x="463" y="158"/>
                    </a:lnTo>
                    <a:lnTo>
                      <a:pt x="463" y="160"/>
                    </a:lnTo>
                    <a:lnTo>
                      <a:pt x="465" y="160"/>
                    </a:lnTo>
                    <a:lnTo>
                      <a:pt x="465" y="162"/>
                    </a:lnTo>
                    <a:lnTo>
                      <a:pt x="465" y="164"/>
                    </a:lnTo>
                    <a:lnTo>
                      <a:pt x="465" y="165"/>
                    </a:lnTo>
                    <a:lnTo>
                      <a:pt x="467" y="165"/>
                    </a:lnTo>
                    <a:lnTo>
                      <a:pt x="467" y="167"/>
                    </a:lnTo>
                    <a:lnTo>
                      <a:pt x="469" y="167"/>
                    </a:lnTo>
                    <a:lnTo>
                      <a:pt x="470" y="167"/>
                    </a:lnTo>
                    <a:lnTo>
                      <a:pt x="472" y="167"/>
                    </a:lnTo>
                    <a:lnTo>
                      <a:pt x="472" y="165"/>
                    </a:lnTo>
                    <a:lnTo>
                      <a:pt x="470" y="165"/>
                    </a:lnTo>
                    <a:lnTo>
                      <a:pt x="470" y="164"/>
                    </a:lnTo>
                    <a:lnTo>
                      <a:pt x="472" y="164"/>
                    </a:lnTo>
                    <a:lnTo>
                      <a:pt x="472" y="162"/>
                    </a:lnTo>
                    <a:lnTo>
                      <a:pt x="474" y="162"/>
                    </a:lnTo>
                    <a:lnTo>
                      <a:pt x="476" y="162"/>
                    </a:lnTo>
                    <a:lnTo>
                      <a:pt x="478" y="162"/>
                    </a:lnTo>
                    <a:lnTo>
                      <a:pt x="478" y="160"/>
                    </a:lnTo>
                    <a:lnTo>
                      <a:pt x="480" y="160"/>
                    </a:lnTo>
                    <a:lnTo>
                      <a:pt x="480" y="158"/>
                    </a:lnTo>
                    <a:lnTo>
                      <a:pt x="480" y="156"/>
                    </a:lnTo>
                    <a:lnTo>
                      <a:pt x="480" y="154"/>
                    </a:lnTo>
                    <a:lnTo>
                      <a:pt x="480" y="152"/>
                    </a:lnTo>
                    <a:lnTo>
                      <a:pt x="480" y="150"/>
                    </a:lnTo>
                    <a:lnTo>
                      <a:pt x="482" y="150"/>
                    </a:lnTo>
                    <a:lnTo>
                      <a:pt x="482" y="152"/>
                    </a:lnTo>
                    <a:lnTo>
                      <a:pt x="484" y="152"/>
                    </a:lnTo>
                    <a:lnTo>
                      <a:pt x="484" y="150"/>
                    </a:lnTo>
                    <a:lnTo>
                      <a:pt x="482" y="150"/>
                    </a:lnTo>
                    <a:lnTo>
                      <a:pt x="482" y="148"/>
                    </a:lnTo>
                    <a:lnTo>
                      <a:pt x="484" y="148"/>
                    </a:lnTo>
                    <a:lnTo>
                      <a:pt x="484" y="150"/>
                    </a:lnTo>
                    <a:lnTo>
                      <a:pt x="486" y="150"/>
                    </a:lnTo>
                    <a:lnTo>
                      <a:pt x="488" y="150"/>
                    </a:lnTo>
                    <a:lnTo>
                      <a:pt x="490" y="150"/>
                    </a:lnTo>
                    <a:lnTo>
                      <a:pt x="492" y="150"/>
                    </a:lnTo>
                    <a:lnTo>
                      <a:pt x="492" y="152"/>
                    </a:lnTo>
                    <a:lnTo>
                      <a:pt x="492" y="154"/>
                    </a:lnTo>
                    <a:lnTo>
                      <a:pt x="492" y="156"/>
                    </a:lnTo>
                    <a:lnTo>
                      <a:pt x="493" y="156"/>
                    </a:lnTo>
                    <a:lnTo>
                      <a:pt x="493" y="158"/>
                    </a:lnTo>
                    <a:lnTo>
                      <a:pt x="495" y="158"/>
                    </a:lnTo>
                    <a:lnTo>
                      <a:pt x="497" y="158"/>
                    </a:lnTo>
                    <a:lnTo>
                      <a:pt x="497" y="160"/>
                    </a:lnTo>
                    <a:lnTo>
                      <a:pt x="497" y="158"/>
                    </a:lnTo>
                    <a:lnTo>
                      <a:pt x="499" y="160"/>
                    </a:lnTo>
                    <a:lnTo>
                      <a:pt x="499" y="158"/>
                    </a:lnTo>
                    <a:lnTo>
                      <a:pt x="501" y="158"/>
                    </a:lnTo>
                    <a:lnTo>
                      <a:pt x="501" y="156"/>
                    </a:lnTo>
                    <a:lnTo>
                      <a:pt x="503" y="156"/>
                    </a:lnTo>
                    <a:lnTo>
                      <a:pt x="501" y="156"/>
                    </a:lnTo>
                    <a:lnTo>
                      <a:pt x="499" y="154"/>
                    </a:lnTo>
                    <a:lnTo>
                      <a:pt x="499" y="152"/>
                    </a:lnTo>
                    <a:lnTo>
                      <a:pt x="499" y="150"/>
                    </a:lnTo>
                    <a:lnTo>
                      <a:pt x="499" y="148"/>
                    </a:lnTo>
                    <a:lnTo>
                      <a:pt x="499" y="146"/>
                    </a:lnTo>
                    <a:lnTo>
                      <a:pt x="501" y="146"/>
                    </a:lnTo>
                    <a:lnTo>
                      <a:pt x="503" y="146"/>
                    </a:lnTo>
                    <a:lnTo>
                      <a:pt x="503" y="148"/>
                    </a:lnTo>
                    <a:lnTo>
                      <a:pt x="505" y="148"/>
                    </a:lnTo>
                    <a:lnTo>
                      <a:pt x="505" y="146"/>
                    </a:lnTo>
                    <a:lnTo>
                      <a:pt x="507" y="146"/>
                    </a:lnTo>
                    <a:lnTo>
                      <a:pt x="509" y="146"/>
                    </a:lnTo>
                    <a:lnTo>
                      <a:pt x="509" y="148"/>
                    </a:lnTo>
                    <a:lnTo>
                      <a:pt x="509" y="146"/>
                    </a:lnTo>
                    <a:lnTo>
                      <a:pt x="511" y="146"/>
                    </a:lnTo>
                    <a:lnTo>
                      <a:pt x="513" y="146"/>
                    </a:lnTo>
                    <a:lnTo>
                      <a:pt x="513" y="144"/>
                    </a:lnTo>
                    <a:lnTo>
                      <a:pt x="515" y="146"/>
                    </a:lnTo>
                    <a:lnTo>
                      <a:pt x="515" y="144"/>
                    </a:lnTo>
                    <a:lnTo>
                      <a:pt x="513" y="142"/>
                    </a:lnTo>
                    <a:lnTo>
                      <a:pt x="511" y="140"/>
                    </a:lnTo>
                    <a:lnTo>
                      <a:pt x="507" y="137"/>
                    </a:lnTo>
                    <a:lnTo>
                      <a:pt x="505" y="135"/>
                    </a:lnTo>
                    <a:lnTo>
                      <a:pt x="503" y="133"/>
                    </a:lnTo>
                    <a:lnTo>
                      <a:pt x="503" y="131"/>
                    </a:lnTo>
                    <a:lnTo>
                      <a:pt x="503" y="129"/>
                    </a:lnTo>
                    <a:lnTo>
                      <a:pt x="501" y="129"/>
                    </a:lnTo>
                    <a:lnTo>
                      <a:pt x="497" y="127"/>
                    </a:lnTo>
                    <a:lnTo>
                      <a:pt x="497" y="125"/>
                    </a:lnTo>
                    <a:lnTo>
                      <a:pt x="493" y="127"/>
                    </a:lnTo>
                    <a:lnTo>
                      <a:pt x="493" y="125"/>
                    </a:lnTo>
                    <a:lnTo>
                      <a:pt x="493" y="121"/>
                    </a:lnTo>
                    <a:lnTo>
                      <a:pt x="495" y="121"/>
                    </a:lnTo>
                    <a:lnTo>
                      <a:pt x="495" y="119"/>
                    </a:lnTo>
                    <a:lnTo>
                      <a:pt x="495" y="117"/>
                    </a:lnTo>
                    <a:lnTo>
                      <a:pt x="495" y="116"/>
                    </a:lnTo>
                    <a:lnTo>
                      <a:pt x="495" y="112"/>
                    </a:lnTo>
                    <a:lnTo>
                      <a:pt x="495" y="108"/>
                    </a:lnTo>
                    <a:lnTo>
                      <a:pt x="499" y="108"/>
                    </a:lnTo>
                    <a:lnTo>
                      <a:pt x="501" y="108"/>
                    </a:lnTo>
                    <a:lnTo>
                      <a:pt x="501" y="106"/>
                    </a:lnTo>
                    <a:lnTo>
                      <a:pt x="503" y="106"/>
                    </a:lnTo>
                    <a:lnTo>
                      <a:pt x="503" y="104"/>
                    </a:lnTo>
                    <a:lnTo>
                      <a:pt x="505" y="104"/>
                    </a:lnTo>
                    <a:lnTo>
                      <a:pt x="505" y="102"/>
                    </a:lnTo>
                    <a:lnTo>
                      <a:pt x="505" y="100"/>
                    </a:lnTo>
                    <a:lnTo>
                      <a:pt x="503" y="100"/>
                    </a:lnTo>
                    <a:lnTo>
                      <a:pt x="503" y="98"/>
                    </a:lnTo>
                    <a:lnTo>
                      <a:pt x="503" y="96"/>
                    </a:lnTo>
                    <a:lnTo>
                      <a:pt x="503" y="92"/>
                    </a:lnTo>
                    <a:lnTo>
                      <a:pt x="503" y="87"/>
                    </a:lnTo>
                    <a:lnTo>
                      <a:pt x="503" y="85"/>
                    </a:lnTo>
                    <a:lnTo>
                      <a:pt x="503" y="83"/>
                    </a:lnTo>
                    <a:lnTo>
                      <a:pt x="503" y="81"/>
                    </a:lnTo>
                    <a:lnTo>
                      <a:pt x="497" y="81"/>
                    </a:lnTo>
                    <a:lnTo>
                      <a:pt x="492" y="81"/>
                    </a:lnTo>
                    <a:lnTo>
                      <a:pt x="490" y="81"/>
                    </a:lnTo>
                    <a:lnTo>
                      <a:pt x="478" y="83"/>
                    </a:lnTo>
                    <a:lnTo>
                      <a:pt x="478" y="79"/>
                    </a:lnTo>
                    <a:lnTo>
                      <a:pt x="478" y="77"/>
                    </a:lnTo>
                    <a:lnTo>
                      <a:pt x="478" y="75"/>
                    </a:lnTo>
                    <a:lnTo>
                      <a:pt x="478" y="73"/>
                    </a:lnTo>
                    <a:lnTo>
                      <a:pt x="478" y="71"/>
                    </a:lnTo>
                    <a:lnTo>
                      <a:pt x="478" y="69"/>
                    </a:lnTo>
                    <a:lnTo>
                      <a:pt x="478" y="68"/>
                    </a:lnTo>
                    <a:lnTo>
                      <a:pt x="476" y="66"/>
                    </a:lnTo>
                    <a:lnTo>
                      <a:pt x="476" y="64"/>
                    </a:lnTo>
                    <a:lnTo>
                      <a:pt x="478" y="64"/>
                    </a:lnTo>
                    <a:lnTo>
                      <a:pt x="480" y="64"/>
                    </a:lnTo>
                    <a:lnTo>
                      <a:pt x="478" y="60"/>
                    </a:lnTo>
                    <a:lnTo>
                      <a:pt x="478" y="56"/>
                    </a:lnTo>
                    <a:lnTo>
                      <a:pt x="484" y="56"/>
                    </a:lnTo>
                    <a:lnTo>
                      <a:pt x="484" y="54"/>
                    </a:lnTo>
                    <a:lnTo>
                      <a:pt x="484" y="50"/>
                    </a:lnTo>
                    <a:lnTo>
                      <a:pt x="484" y="46"/>
                    </a:lnTo>
                    <a:lnTo>
                      <a:pt x="488" y="44"/>
                    </a:lnTo>
                    <a:lnTo>
                      <a:pt x="490" y="43"/>
                    </a:lnTo>
                    <a:lnTo>
                      <a:pt x="490" y="46"/>
                    </a:lnTo>
                    <a:lnTo>
                      <a:pt x="490" y="48"/>
                    </a:lnTo>
                    <a:lnTo>
                      <a:pt x="490" y="52"/>
                    </a:lnTo>
                    <a:lnTo>
                      <a:pt x="490" y="56"/>
                    </a:lnTo>
                    <a:lnTo>
                      <a:pt x="490" y="58"/>
                    </a:lnTo>
                    <a:lnTo>
                      <a:pt x="490" y="64"/>
                    </a:lnTo>
                    <a:lnTo>
                      <a:pt x="490" y="68"/>
                    </a:lnTo>
                    <a:lnTo>
                      <a:pt x="488" y="69"/>
                    </a:lnTo>
                    <a:lnTo>
                      <a:pt x="492" y="69"/>
                    </a:lnTo>
                    <a:lnTo>
                      <a:pt x="497" y="69"/>
                    </a:lnTo>
                    <a:lnTo>
                      <a:pt x="501" y="69"/>
                    </a:lnTo>
                    <a:lnTo>
                      <a:pt x="505" y="68"/>
                    </a:lnTo>
                    <a:lnTo>
                      <a:pt x="507" y="68"/>
                    </a:lnTo>
                    <a:lnTo>
                      <a:pt x="507" y="60"/>
                    </a:lnTo>
                    <a:lnTo>
                      <a:pt x="507" y="58"/>
                    </a:lnTo>
                    <a:lnTo>
                      <a:pt x="507" y="52"/>
                    </a:lnTo>
                    <a:lnTo>
                      <a:pt x="507" y="46"/>
                    </a:lnTo>
                    <a:lnTo>
                      <a:pt x="507" y="44"/>
                    </a:lnTo>
                    <a:lnTo>
                      <a:pt x="507" y="43"/>
                    </a:lnTo>
                    <a:lnTo>
                      <a:pt x="507" y="41"/>
                    </a:lnTo>
                    <a:lnTo>
                      <a:pt x="507" y="37"/>
                    </a:lnTo>
                    <a:lnTo>
                      <a:pt x="507" y="31"/>
                    </a:lnTo>
                    <a:lnTo>
                      <a:pt x="509" y="29"/>
                    </a:lnTo>
                    <a:lnTo>
                      <a:pt x="513" y="29"/>
                    </a:lnTo>
                    <a:lnTo>
                      <a:pt x="513" y="23"/>
                    </a:lnTo>
                    <a:lnTo>
                      <a:pt x="513" y="21"/>
                    </a:lnTo>
                    <a:lnTo>
                      <a:pt x="513" y="18"/>
                    </a:lnTo>
                    <a:lnTo>
                      <a:pt x="513" y="16"/>
                    </a:lnTo>
                    <a:lnTo>
                      <a:pt x="505" y="20"/>
                    </a:lnTo>
                    <a:lnTo>
                      <a:pt x="499" y="21"/>
                    </a:lnTo>
                    <a:lnTo>
                      <a:pt x="499" y="18"/>
                    </a:lnTo>
                    <a:lnTo>
                      <a:pt x="499" y="14"/>
                    </a:lnTo>
                    <a:lnTo>
                      <a:pt x="497" y="12"/>
                    </a:lnTo>
                    <a:lnTo>
                      <a:pt x="499" y="8"/>
                    </a:lnTo>
                    <a:lnTo>
                      <a:pt x="499" y="6"/>
                    </a:lnTo>
                    <a:lnTo>
                      <a:pt x="499" y="0"/>
                    </a:lnTo>
                    <a:lnTo>
                      <a:pt x="509" y="2"/>
                    </a:lnTo>
                    <a:lnTo>
                      <a:pt x="520" y="6"/>
                    </a:lnTo>
                    <a:lnTo>
                      <a:pt x="522" y="6"/>
                    </a:lnTo>
                    <a:lnTo>
                      <a:pt x="524" y="6"/>
                    </a:lnTo>
                    <a:lnTo>
                      <a:pt x="526" y="4"/>
                    </a:lnTo>
                    <a:lnTo>
                      <a:pt x="528" y="4"/>
                    </a:lnTo>
                    <a:lnTo>
                      <a:pt x="528" y="6"/>
                    </a:lnTo>
                    <a:lnTo>
                      <a:pt x="530" y="6"/>
                    </a:lnTo>
                    <a:lnTo>
                      <a:pt x="532" y="6"/>
                    </a:lnTo>
                    <a:lnTo>
                      <a:pt x="534" y="6"/>
                    </a:lnTo>
                    <a:lnTo>
                      <a:pt x="536" y="6"/>
                    </a:lnTo>
                    <a:lnTo>
                      <a:pt x="538" y="6"/>
                    </a:lnTo>
                    <a:lnTo>
                      <a:pt x="538" y="4"/>
                    </a:lnTo>
                    <a:lnTo>
                      <a:pt x="540" y="4"/>
                    </a:lnTo>
                    <a:lnTo>
                      <a:pt x="542" y="4"/>
                    </a:lnTo>
                    <a:lnTo>
                      <a:pt x="542" y="6"/>
                    </a:lnTo>
                    <a:lnTo>
                      <a:pt x="542" y="8"/>
                    </a:lnTo>
                    <a:lnTo>
                      <a:pt x="542" y="10"/>
                    </a:lnTo>
                    <a:lnTo>
                      <a:pt x="540" y="10"/>
                    </a:lnTo>
                    <a:lnTo>
                      <a:pt x="540" y="12"/>
                    </a:lnTo>
                    <a:lnTo>
                      <a:pt x="538" y="14"/>
                    </a:lnTo>
                    <a:lnTo>
                      <a:pt x="536" y="14"/>
                    </a:lnTo>
                    <a:lnTo>
                      <a:pt x="536" y="16"/>
                    </a:lnTo>
                    <a:lnTo>
                      <a:pt x="534" y="16"/>
                    </a:lnTo>
                    <a:lnTo>
                      <a:pt x="536" y="16"/>
                    </a:lnTo>
                    <a:lnTo>
                      <a:pt x="536" y="18"/>
                    </a:lnTo>
                    <a:lnTo>
                      <a:pt x="536" y="20"/>
                    </a:lnTo>
                    <a:lnTo>
                      <a:pt x="534" y="20"/>
                    </a:lnTo>
                    <a:lnTo>
                      <a:pt x="534" y="21"/>
                    </a:lnTo>
                    <a:lnTo>
                      <a:pt x="534" y="23"/>
                    </a:lnTo>
                    <a:lnTo>
                      <a:pt x="536" y="23"/>
                    </a:lnTo>
                    <a:lnTo>
                      <a:pt x="538" y="23"/>
                    </a:lnTo>
                    <a:lnTo>
                      <a:pt x="540" y="23"/>
                    </a:lnTo>
                    <a:lnTo>
                      <a:pt x="542" y="23"/>
                    </a:lnTo>
                    <a:lnTo>
                      <a:pt x="543" y="23"/>
                    </a:lnTo>
                    <a:lnTo>
                      <a:pt x="543" y="21"/>
                    </a:lnTo>
                    <a:lnTo>
                      <a:pt x="545" y="21"/>
                    </a:lnTo>
                    <a:lnTo>
                      <a:pt x="545" y="20"/>
                    </a:lnTo>
                    <a:lnTo>
                      <a:pt x="547" y="20"/>
                    </a:lnTo>
                    <a:lnTo>
                      <a:pt x="549" y="20"/>
                    </a:lnTo>
                    <a:lnTo>
                      <a:pt x="549" y="18"/>
                    </a:lnTo>
                    <a:lnTo>
                      <a:pt x="551" y="18"/>
                    </a:lnTo>
                    <a:lnTo>
                      <a:pt x="553" y="18"/>
                    </a:lnTo>
                    <a:lnTo>
                      <a:pt x="553" y="20"/>
                    </a:lnTo>
                    <a:lnTo>
                      <a:pt x="555" y="20"/>
                    </a:lnTo>
                    <a:lnTo>
                      <a:pt x="555" y="21"/>
                    </a:lnTo>
                    <a:lnTo>
                      <a:pt x="555" y="23"/>
                    </a:lnTo>
                    <a:lnTo>
                      <a:pt x="555" y="25"/>
                    </a:lnTo>
                    <a:lnTo>
                      <a:pt x="553" y="25"/>
                    </a:lnTo>
                    <a:lnTo>
                      <a:pt x="553" y="27"/>
                    </a:lnTo>
                    <a:lnTo>
                      <a:pt x="551" y="27"/>
                    </a:lnTo>
                    <a:lnTo>
                      <a:pt x="551" y="29"/>
                    </a:lnTo>
                    <a:lnTo>
                      <a:pt x="551" y="31"/>
                    </a:lnTo>
                    <a:lnTo>
                      <a:pt x="553" y="31"/>
                    </a:lnTo>
                    <a:lnTo>
                      <a:pt x="553" y="33"/>
                    </a:lnTo>
                    <a:lnTo>
                      <a:pt x="553" y="35"/>
                    </a:lnTo>
                    <a:lnTo>
                      <a:pt x="555" y="35"/>
                    </a:lnTo>
                    <a:lnTo>
                      <a:pt x="555" y="37"/>
                    </a:lnTo>
                    <a:lnTo>
                      <a:pt x="557" y="37"/>
                    </a:lnTo>
                    <a:lnTo>
                      <a:pt x="559" y="37"/>
                    </a:lnTo>
                    <a:lnTo>
                      <a:pt x="559" y="39"/>
                    </a:lnTo>
                    <a:lnTo>
                      <a:pt x="561" y="39"/>
                    </a:lnTo>
                    <a:lnTo>
                      <a:pt x="561" y="41"/>
                    </a:lnTo>
                    <a:lnTo>
                      <a:pt x="561" y="43"/>
                    </a:lnTo>
                    <a:lnTo>
                      <a:pt x="559" y="43"/>
                    </a:lnTo>
                    <a:lnTo>
                      <a:pt x="559" y="44"/>
                    </a:lnTo>
                    <a:lnTo>
                      <a:pt x="561" y="44"/>
                    </a:lnTo>
                    <a:lnTo>
                      <a:pt x="563" y="44"/>
                    </a:lnTo>
                    <a:lnTo>
                      <a:pt x="565" y="44"/>
                    </a:lnTo>
                    <a:lnTo>
                      <a:pt x="565" y="43"/>
                    </a:lnTo>
                    <a:lnTo>
                      <a:pt x="566" y="43"/>
                    </a:lnTo>
                    <a:lnTo>
                      <a:pt x="568" y="43"/>
                    </a:lnTo>
                    <a:lnTo>
                      <a:pt x="570" y="43"/>
                    </a:lnTo>
                    <a:lnTo>
                      <a:pt x="570" y="41"/>
                    </a:lnTo>
                    <a:lnTo>
                      <a:pt x="568" y="39"/>
                    </a:lnTo>
                    <a:lnTo>
                      <a:pt x="568" y="37"/>
                    </a:lnTo>
                    <a:lnTo>
                      <a:pt x="566" y="35"/>
                    </a:lnTo>
                    <a:lnTo>
                      <a:pt x="565" y="35"/>
                    </a:lnTo>
                    <a:lnTo>
                      <a:pt x="565" y="31"/>
                    </a:lnTo>
                    <a:lnTo>
                      <a:pt x="565" y="29"/>
                    </a:lnTo>
                    <a:lnTo>
                      <a:pt x="566" y="29"/>
                    </a:lnTo>
                    <a:lnTo>
                      <a:pt x="568" y="27"/>
                    </a:lnTo>
                    <a:lnTo>
                      <a:pt x="570" y="27"/>
                    </a:lnTo>
                    <a:lnTo>
                      <a:pt x="574" y="27"/>
                    </a:lnTo>
                    <a:lnTo>
                      <a:pt x="576" y="27"/>
                    </a:lnTo>
                    <a:lnTo>
                      <a:pt x="578" y="27"/>
                    </a:lnTo>
                    <a:lnTo>
                      <a:pt x="582" y="27"/>
                    </a:lnTo>
                    <a:lnTo>
                      <a:pt x="586" y="25"/>
                    </a:lnTo>
                    <a:lnTo>
                      <a:pt x="588" y="25"/>
                    </a:lnTo>
                    <a:lnTo>
                      <a:pt x="591" y="25"/>
                    </a:lnTo>
                    <a:lnTo>
                      <a:pt x="593" y="25"/>
                    </a:lnTo>
                    <a:lnTo>
                      <a:pt x="599" y="25"/>
                    </a:lnTo>
                    <a:lnTo>
                      <a:pt x="601" y="23"/>
                    </a:lnTo>
                    <a:lnTo>
                      <a:pt x="605" y="23"/>
                    </a:lnTo>
                    <a:lnTo>
                      <a:pt x="609" y="23"/>
                    </a:lnTo>
                    <a:lnTo>
                      <a:pt x="611" y="23"/>
                    </a:lnTo>
                    <a:lnTo>
                      <a:pt x="611" y="16"/>
                    </a:lnTo>
                    <a:lnTo>
                      <a:pt x="609" y="10"/>
                    </a:lnTo>
                    <a:lnTo>
                      <a:pt x="609" y="6"/>
                    </a:lnTo>
                    <a:lnTo>
                      <a:pt x="609" y="4"/>
                    </a:lnTo>
                    <a:lnTo>
                      <a:pt x="613" y="4"/>
                    </a:lnTo>
                    <a:lnTo>
                      <a:pt x="614" y="4"/>
                    </a:lnTo>
                    <a:lnTo>
                      <a:pt x="616" y="4"/>
                    </a:lnTo>
                    <a:lnTo>
                      <a:pt x="618" y="4"/>
                    </a:lnTo>
                    <a:lnTo>
                      <a:pt x="622" y="4"/>
                    </a:lnTo>
                    <a:lnTo>
                      <a:pt x="624" y="2"/>
                    </a:lnTo>
                    <a:lnTo>
                      <a:pt x="628" y="2"/>
                    </a:lnTo>
                    <a:lnTo>
                      <a:pt x="634" y="2"/>
                    </a:lnTo>
                    <a:lnTo>
                      <a:pt x="638" y="2"/>
                    </a:lnTo>
                    <a:lnTo>
                      <a:pt x="639" y="2"/>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108" name="Freeform 213">
                <a:extLst>
                  <a:ext uri="{FF2B5EF4-FFF2-40B4-BE49-F238E27FC236}">
                    <a16:creationId xmlns:a16="http://schemas.microsoft.com/office/drawing/2014/main" id="{AFC4679D-45F2-45E4-B4BC-5C17819A4E20}"/>
                  </a:ext>
                </a:extLst>
              </p:cNvPr>
              <p:cNvSpPr>
                <a:spLocks/>
              </p:cNvSpPr>
              <p:nvPr/>
            </p:nvSpPr>
            <p:spPr bwMode="auto">
              <a:xfrm>
                <a:off x="3570758" y="3410217"/>
                <a:ext cx="1164952" cy="543149"/>
              </a:xfrm>
              <a:custGeom>
                <a:avLst/>
                <a:gdLst>
                  <a:gd name="T0" fmla="*/ 348 w 785"/>
                  <a:gd name="T1" fmla="*/ 48 h 366"/>
                  <a:gd name="T2" fmla="*/ 380 w 785"/>
                  <a:gd name="T3" fmla="*/ 30 h 366"/>
                  <a:gd name="T4" fmla="*/ 382 w 785"/>
                  <a:gd name="T5" fmla="*/ 61 h 366"/>
                  <a:gd name="T6" fmla="*/ 396 w 785"/>
                  <a:gd name="T7" fmla="*/ 59 h 366"/>
                  <a:gd name="T8" fmla="*/ 405 w 785"/>
                  <a:gd name="T9" fmla="*/ 71 h 366"/>
                  <a:gd name="T10" fmla="*/ 442 w 785"/>
                  <a:gd name="T11" fmla="*/ 88 h 366"/>
                  <a:gd name="T12" fmla="*/ 471 w 785"/>
                  <a:gd name="T13" fmla="*/ 94 h 366"/>
                  <a:gd name="T14" fmla="*/ 505 w 785"/>
                  <a:gd name="T15" fmla="*/ 109 h 366"/>
                  <a:gd name="T16" fmla="*/ 532 w 785"/>
                  <a:gd name="T17" fmla="*/ 132 h 366"/>
                  <a:gd name="T18" fmla="*/ 559 w 785"/>
                  <a:gd name="T19" fmla="*/ 126 h 366"/>
                  <a:gd name="T20" fmla="*/ 543 w 785"/>
                  <a:gd name="T21" fmla="*/ 94 h 366"/>
                  <a:gd name="T22" fmla="*/ 568 w 785"/>
                  <a:gd name="T23" fmla="*/ 92 h 366"/>
                  <a:gd name="T24" fmla="*/ 586 w 785"/>
                  <a:gd name="T25" fmla="*/ 92 h 366"/>
                  <a:gd name="T26" fmla="*/ 605 w 785"/>
                  <a:gd name="T27" fmla="*/ 111 h 366"/>
                  <a:gd name="T28" fmla="*/ 643 w 785"/>
                  <a:gd name="T29" fmla="*/ 105 h 366"/>
                  <a:gd name="T30" fmla="*/ 693 w 785"/>
                  <a:gd name="T31" fmla="*/ 107 h 366"/>
                  <a:gd name="T32" fmla="*/ 718 w 785"/>
                  <a:gd name="T33" fmla="*/ 94 h 366"/>
                  <a:gd name="T34" fmla="*/ 762 w 785"/>
                  <a:gd name="T35" fmla="*/ 105 h 366"/>
                  <a:gd name="T36" fmla="*/ 774 w 785"/>
                  <a:gd name="T37" fmla="*/ 151 h 366"/>
                  <a:gd name="T38" fmla="*/ 768 w 785"/>
                  <a:gd name="T39" fmla="*/ 176 h 366"/>
                  <a:gd name="T40" fmla="*/ 739 w 785"/>
                  <a:gd name="T41" fmla="*/ 184 h 366"/>
                  <a:gd name="T42" fmla="*/ 720 w 785"/>
                  <a:gd name="T43" fmla="*/ 184 h 366"/>
                  <a:gd name="T44" fmla="*/ 686 w 785"/>
                  <a:gd name="T45" fmla="*/ 188 h 366"/>
                  <a:gd name="T46" fmla="*/ 657 w 785"/>
                  <a:gd name="T47" fmla="*/ 167 h 366"/>
                  <a:gd name="T48" fmla="*/ 645 w 785"/>
                  <a:gd name="T49" fmla="*/ 182 h 366"/>
                  <a:gd name="T50" fmla="*/ 613 w 785"/>
                  <a:gd name="T51" fmla="*/ 188 h 366"/>
                  <a:gd name="T52" fmla="*/ 593 w 785"/>
                  <a:gd name="T53" fmla="*/ 165 h 366"/>
                  <a:gd name="T54" fmla="*/ 555 w 785"/>
                  <a:gd name="T55" fmla="*/ 161 h 366"/>
                  <a:gd name="T56" fmla="*/ 580 w 785"/>
                  <a:gd name="T57" fmla="*/ 192 h 366"/>
                  <a:gd name="T58" fmla="*/ 561 w 785"/>
                  <a:gd name="T59" fmla="*/ 207 h 366"/>
                  <a:gd name="T60" fmla="*/ 543 w 785"/>
                  <a:gd name="T61" fmla="*/ 193 h 366"/>
                  <a:gd name="T62" fmla="*/ 520 w 785"/>
                  <a:gd name="T63" fmla="*/ 220 h 366"/>
                  <a:gd name="T64" fmla="*/ 497 w 785"/>
                  <a:gd name="T65" fmla="*/ 232 h 366"/>
                  <a:gd name="T66" fmla="*/ 467 w 785"/>
                  <a:gd name="T67" fmla="*/ 234 h 366"/>
                  <a:gd name="T68" fmla="*/ 442 w 785"/>
                  <a:gd name="T69" fmla="*/ 238 h 366"/>
                  <a:gd name="T70" fmla="*/ 413 w 785"/>
                  <a:gd name="T71" fmla="*/ 266 h 366"/>
                  <a:gd name="T72" fmla="*/ 376 w 785"/>
                  <a:gd name="T73" fmla="*/ 309 h 366"/>
                  <a:gd name="T74" fmla="*/ 321 w 785"/>
                  <a:gd name="T75" fmla="*/ 309 h 366"/>
                  <a:gd name="T76" fmla="*/ 261 w 785"/>
                  <a:gd name="T77" fmla="*/ 312 h 366"/>
                  <a:gd name="T78" fmla="*/ 219 w 785"/>
                  <a:gd name="T79" fmla="*/ 303 h 366"/>
                  <a:gd name="T80" fmla="*/ 158 w 785"/>
                  <a:gd name="T81" fmla="*/ 303 h 366"/>
                  <a:gd name="T82" fmla="*/ 111 w 785"/>
                  <a:gd name="T83" fmla="*/ 307 h 366"/>
                  <a:gd name="T84" fmla="*/ 81 w 785"/>
                  <a:gd name="T85" fmla="*/ 332 h 366"/>
                  <a:gd name="T86" fmla="*/ 54 w 785"/>
                  <a:gd name="T87" fmla="*/ 359 h 366"/>
                  <a:gd name="T88" fmla="*/ 21 w 785"/>
                  <a:gd name="T89" fmla="*/ 364 h 366"/>
                  <a:gd name="T90" fmla="*/ 10 w 785"/>
                  <a:gd name="T91" fmla="*/ 337 h 366"/>
                  <a:gd name="T92" fmla="*/ 31 w 785"/>
                  <a:gd name="T93" fmla="*/ 309 h 366"/>
                  <a:gd name="T94" fmla="*/ 25 w 785"/>
                  <a:gd name="T95" fmla="*/ 284 h 366"/>
                  <a:gd name="T96" fmla="*/ 17 w 785"/>
                  <a:gd name="T97" fmla="*/ 251 h 366"/>
                  <a:gd name="T98" fmla="*/ 33 w 785"/>
                  <a:gd name="T99" fmla="*/ 224 h 366"/>
                  <a:gd name="T100" fmla="*/ 50 w 785"/>
                  <a:gd name="T101" fmla="*/ 197 h 366"/>
                  <a:gd name="T102" fmla="*/ 77 w 785"/>
                  <a:gd name="T103" fmla="*/ 186 h 366"/>
                  <a:gd name="T104" fmla="*/ 92 w 785"/>
                  <a:gd name="T105" fmla="*/ 169 h 366"/>
                  <a:gd name="T106" fmla="*/ 117 w 785"/>
                  <a:gd name="T107" fmla="*/ 151 h 366"/>
                  <a:gd name="T108" fmla="*/ 144 w 785"/>
                  <a:gd name="T109" fmla="*/ 124 h 366"/>
                  <a:gd name="T110" fmla="*/ 179 w 785"/>
                  <a:gd name="T111" fmla="*/ 105 h 366"/>
                  <a:gd name="T112" fmla="*/ 221 w 785"/>
                  <a:gd name="T113" fmla="*/ 111 h 366"/>
                  <a:gd name="T114" fmla="*/ 248 w 785"/>
                  <a:gd name="T115" fmla="*/ 107 h 366"/>
                  <a:gd name="T116" fmla="*/ 250 w 785"/>
                  <a:gd name="T117" fmla="*/ 67 h 366"/>
                  <a:gd name="T118" fmla="*/ 255 w 785"/>
                  <a:gd name="T119" fmla="*/ 25 h 366"/>
                  <a:gd name="T120" fmla="*/ 290 w 785"/>
                  <a:gd name="T121" fmla="*/ 5 h 366"/>
                  <a:gd name="T122" fmla="*/ 315 w 785"/>
                  <a:gd name="T123" fmla="*/ 5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5" h="366">
                    <a:moveTo>
                      <a:pt x="327" y="26"/>
                    </a:moveTo>
                    <a:lnTo>
                      <a:pt x="327" y="28"/>
                    </a:lnTo>
                    <a:lnTo>
                      <a:pt x="328" y="28"/>
                    </a:lnTo>
                    <a:lnTo>
                      <a:pt x="328" y="30"/>
                    </a:lnTo>
                    <a:lnTo>
                      <a:pt x="328" y="32"/>
                    </a:lnTo>
                    <a:lnTo>
                      <a:pt x="330" y="32"/>
                    </a:lnTo>
                    <a:lnTo>
                      <a:pt x="330" y="34"/>
                    </a:lnTo>
                    <a:lnTo>
                      <a:pt x="328" y="34"/>
                    </a:lnTo>
                    <a:lnTo>
                      <a:pt x="328" y="36"/>
                    </a:lnTo>
                    <a:lnTo>
                      <a:pt x="327" y="36"/>
                    </a:lnTo>
                    <a:lnTo>
                      <a:pt x="327" y="38"/>
                    </a:lnTo>
                    <a:lnTo>
                      <a:pt x="327" y="40"/>
                    </a:lnTo>
                    <a:lnTo>
                      <a:pt x="327" y="42"/>
                    </a:lnTo>
                    <a:lnTo>
                      <a:pt x="328" y="42"/>
                    </a:lnTo>
                    <a:lnTo>
                      <a:pt x="330" y="42"/>
                    </a:lnTo>
                    <a:lnTo>
                      <a:pt x="332" y="42"/>
                    </a:lnTo>
                    <a:lnTo>
                      <a:pt x="334" y="42"/>
                    </a:lnTo>
                    <a:lnTo>
                      <a:pt x="334" y="44"/>
                    </a:lnTo>
                    <a:lnTo>
                      <a:pt x="336" y="44"/>
                    </a:lnTo>
                    <a:lnTo>
                      <a:pt x="336" y="46"/>
                    </a:lnTo>
                    <a:lnTo>
                      <a:pt x="338" y="46"/>
                    </a:lnTo>
                    <a:lnTo>
                      <a:pt x="340" y="48"/>
                    </a:lnTo>
                    <a:lnTo>
                      <a:pt x="342" y="48"/>
                    </a:lnTo>
                    <a:lnTo>
                      <a:pt x="342" y="49"/>
                    </a:lnTo>
                    <a:lnTo>
                      <a:pt x="344" y="49"/>
                    </a:lnTo>
                    <a:lnTo>
                      <a:pt x="346" y="49"/>
                    </a:lnTo>
                    <a:lnTo>
                      <a:pt x="348" y="49"/>
                    </a:lnTo>
                    <a:lnTo>
                      <a:pt x="348" y="48"/>
                    </a:lnTo>
                    <a:lnTo>
                      <a:pt x="350" y="48"/>
                    </a:lnTo>
                    <a:lnTo>
                      <a:pt x="351" y="46"/>
                    </a:lnTo>
                    <a:lnTo>
                      <a:pt x="353" y="46"/>
                    </a:lnTo>
                    <a:lnTo>
                      <a:pt x="353" y="44"/>
                    </a:lnTo>
                    <a:lnTo>
                      <a:pt x="355" y="44"/>
                    </a:lnTo>
                    <a:lnTo>
                      <a:pt x="355" y="42"/>
                    </a:lnTo>
                    <a:lnTo>
                      <a:pt x="357" y="42"/>
                    </a:lnTo>
                    <a:lnTo>
                      <a:pt x="359" y="40"/>
                    </a:lnTo>
                    <a:lnTo>
                      <a:pt x="361" y="38"/>
                    </a:lnTo>
                    <a:lnTo>
                      <a:pt x="363" y="38"/>
                    </a:lnTo>
                    <a:lnTo>
                      <a:pt x="365" y="38"/>
                    </a:lnTo>
                    <a:lnTo>
                      <a:pt x="367" y="38"/>
                    </a:lnTo>
                    <a:lnTo>
                      <a:pt x="367" y="40"/>
                    </a:lnTo>
                    <a:lnTo>
                      <a:pt x="369" y="40"/>
                    </a:lnTo>
                    <a:lnTo>
                      <a:pt x="371" y="42"/>
                    </a:lnTo>
                    <a:lnTo>
                      <a:pt x="371" y="44"/>
                    </a:lnTo>
                    <a:lnTo>
                      <a:pt x="373" y="44"/>
                    </a:lnTo>
                    <a:lnTo>
                      <a:pt x="375" y="44"/>
                    </a:lnTo>
                    <a:lnTo>
                      <a:pt x="376" y="44"/>
                    </a:lnTo>
                    <a:lnTo>
                      <a:pt x="376" y="42"/>
                    </a:lnTo>
                    <a:lnTo>
                      <a:pt x="378" y="42"/>
                    </a:lnTo>
                    <a:lnTo>
                      <a:pt x="378" y="40"/>
                    </a:lnTo>
                    <a:lnTo>
                      <a:pt x="378" y="38"/>
                    </a:lnTo>
                    <a:lnTo>
                      <a:pt x="378" y="36"/>
                    </a:lnTo>
                    <a:lnTo>
                      <a:pt x="378" y="34"/>
                    </a:lnTo>
                    <a:lnTo>
                      <a:pt x="378" y="32"/>
                    </a:lnTo>
                    <a:lnTo>
                      <a:pt x="380" y="32"/>
                    </a:lnTo>
                    <a:lnTo>
                      <a:pt x="380" y="30"/>
                    </a:lnTo>
                    <a:lnTo>
                      <a:pt x="382" y="30"/>
                    </a:lnTo>
                    <a:lnTo>
                      <a:pt x="382" y="28"/>
                    </a:lnTo>
                    <a:lnTo>
                      <a:pt x="384" y="28"/>
                    </a:lnTo>
                    <a:lnTo>
                      <a:pt x="386" y="30"/>
                    </a:lnTo>
                    <a:lnTo>
                      <a:pt x="388" y="30"/>
                    </a:lnTo>
                    <a:lnTo>
                      <a:pt x="388" y="32"/>
                    </a:lnTo>
                    <a:lnTo>
                      <a:pt x="388" y="34"/>
                    </a:lnTo>
                    <a:lnTo>
                      <a:pt x="388" y="36"/>
                    </a:lnTo>
                    <a:lnTo>
                      <a:pt x="388" y="38"/>
                    </a:lnTo>
                    <a:lnTo>
                      <a:pt x="386" y="40"/>
                    </a:lnTo>
                    <a:lnTo>
                      <a:pt x="386" y="42"/>
                    </a:lnTo>
                    <a:lnTo>
                      <a:pt x="386" y="44"/>
                    </a:lnTo>
                    <a:lnTo>
                      <a:pt x="386" y="46"/>
                    </a:lnTo>
                    <a:lnTo>
                      <a:pt x="388" y="48"/>
                    </a:lnTo>
                    <a:lnTo>
                      <a:pt x="386" y="48"/>
                    </a:lnTo>
                    <a:lnTo>
                      <a:pt x="386" y="49"/>
                    </a:lnTo>
                    <a:lnTo>
                      <a:pt x="384" y="49"/>
                    </a:lnTo>
                    <a:lnTo>
                      <a:pt x="384" y="51"/>
                    </a:lnTo>
                    <a:lnTo>
                      <a:pt x="382" y="51"/>
                    </a:lnTo>
                    <a:lnTo>
                      <a:pt x="380" y="51"/>
                    </a:lnTo>
                    <a:lnTo>
                      <a:pt x="380" y="53"/>
                    </a:lnTo>
                    <a:lnTo>
                      <a:pt x="380" y="55"/>
                    </a:lnTo>
                    <a:lnTo>
                      <a:pt x="378" y="55"/>
                    </a:lnTo>
                    <a:lnTo>
                      <a:pt x="380" y="55"/>
                    </a:lnTo>
                    <a:lnTo>
                      <a:pt x="380" y="57"/>
                    </a:lnTo>
                    <a:lnTo>
                      <a:pt x="380" y="59"/>
                    </a:lnTo>
                    <a:lnTo>
                      <a:pt x="380" y="61"/>
                    </a:lnTo>
                    <a:lnTo>
                      <a:pt x="382" y="61"/>
                    </a:lnTo>
                    <a:lnTo>
                      <a:pt x="382" y="63"/>
                    </a:lnTo>
                    <a:lnTo>
                      <a:pt x="384" y="65"/>
                    </a:lnTo>
                    <a:lnTo>
                      <a:pt x="386" y="67"/>
                    </a:lnTo>
                    <a:lnTo>
                      <a:pt x="386" y="69"/>
                    </a:lnTo>
                    <a:lnTo>
                      <a:pt x="388" y="69"/>
                    </a:lnTo>
                    <a:lnTo>
                      <a:pt x="388" y="71"/>
                    </a:lnTo>
                    <a:lnTo>
                      <a:pt x="388" y="73"/>
                    </a:lnTo>
                    <a:lnTo>
                      <a:pt x="388" y="74"/>
                    </a:lnTo>
                    <a:lnTo>
                      <a:pt x="388" y="76"/>
                    </a:lnTo>
                    <a:lnTo>
                      <a:pt x="390" y="76"/>
                    </a:lnTo>
                    <a:lnTo>
                      <a:pt x="390" y="78"/>
                    </a:lnTo>
                    <a:lnTo>
                      <a:pt x="392" y="78"/>
                    </a:lnTo>
                    <a:lnTo>
                      <a:pt x="394" y="78"/>
                    </a:lnTo>
                    <a:lnTo>
                      <a:pt x="396" y="76"/>
                    </a:lnTo>
                    <a:lnTo>
                      <a:pt x="398" y="76"/>
                    </a:lnTo>
                    <a:lnTo>
                      <a:pt x="398" y="74"/>
                    </a:lnTo>
                    <a:lnTo>
                      <a:pt x="399" y="74"/>
                    </a:lnTo>
                    <a:lnTo>
                      <a:pt x="399" y="73"/>
                    </a:lnTo>
                    <a:lnTo>
                      <a:pt x="401" y="71"/>
                    </a:lnTo>
                    <a:lnTo>
                      <a:pt x="401" y="69"/>
                    </a:lnTo>
                    <a:lnTo>
                      <a:pt x="401" y="67"/>
                    </a:lnTo>
                    <a:lnTo>
                      <a:pt x="399" y="67"/>
                    </a:lnTo>
                    <a:lnTo>
                      <a:pt x="399" y="65"/>
                    </a:lnTo>
                    <a:lnTo>
                      <a:pt x="399" y="63"/>
                    </a:lnTo>
                    <a:lnTo>
                      <a:pt x="398" y="63"/>
                    </a:lnTo>
                    <a:lnTo>
                      <a:pt x="398" y="61"/>
                    </a:lnTo>
                    <a:lnTo>
                      <a:pt x="396" y="61"/>
                    </a:lnTo>
                    <a:lnTo>
                      <a:pt x="396" y="59"/>
                    </a:lnTo>
                    <a:lnTo>
                      <a:pt x="396" y="57"/>
                    </a:lnTo>
                    <a:lnTo>
                      <a:pt x="396" y="55"/>
                    </a:lnTo>
                    <a:lnTo>
                      <a:pt x="396" y="53"/>
                    </a:lnTo>
                    <a:lnTo>
                      <a:pt x="396" y="51"/>
                    </a:lnTo>
                    <a:lnTo>
                      <a:pt x="396" y="49"/>
                    </a:lnTo>
                    <a:lnTo>
                      <a:pt x="396" y="48"/>
                    </a:lnTo>
                    <a:lnTo>
                      <a:pt x="398" y="48"/>
                    </a:lnTo>
                    <a:lnTo>
                      <a:pt x="398" y="46"/>
                    </a:lnTo>
                    <a:lnTo>
                      <a:pt x="399" y="46"/>
                    </a:lnTo>
                    <a:lnTo>
                      <a:pt x="401" y="44"/>
                    </a:lnTo>
                    <a:lnTo>
                      <a:pt x="403" y="46"/>
                    </a:lnTo>
                    <a:lnTo>
                      <a:pt x="405" y="48"/>
                    </a:lnTo>
                    <a:lnTo>
                      <a:pt x="405" y="49"/>
                    </a:lnTo>
                    <a:lnTo>
                      <a:pt x="405" y="51"/>
                    </a:lnTo>
                    <a:lnTo>
                      <a:pt x="407" y="51"/>
                    </a:lnTo>
                    <a:lnTo>
                      <a:pt x="407" y="53"/>
                    </a:lnTo>
                    <a:lnTo>
                      <a:pt x="407" y="55"/>
                    </a:lnTo>
                    <a:lnTo>
                      <a:pt x="409" y="55"/>
                    </a:lnTo>
                    <a:lnTo>
                      <a:pt x="409" y="57"/>
                    </a:lnTo>
                    <a:lnTo>
                      <a:pt x="407" y="57"/>
                    </a:lnTo>
                    <a:lnTo>
                      <a:pt x="407" y="59"/>
                    </a:lnTo>
                    <a:lnTo>
                      <a:pt x="407" y="61"/>
                    </a:lnTo>
                    <a:lnTo>
                      <a:pt x="407" y="63"/>
                    </a:lnTo>
                    <a:lnTo>
                      <a:pt x="407" y="65"/>
                    </a:lnTo>
                    <a:lnTo>
                      <a:pt x="405" y="65"/>
                    </a:lnTo>
                    <a:lnTo>
                      <a:pt x="405" y="67"/>
                    </a:lnTo>
                    <a:lnTo>
                      <a:pt x="405" y="69"/>
                    </a:lnTo>
                    <a:lnTo>
                      <a:pt x="405" y="71"/>
                    </a:lnTo>
                    <a:lnTo>
                      <a:pt x="405" y="73"/>
                    </a:lnTo>
                    <a:lnTo>
                      <a:pt x="405" y="74"/>
                    </a:lnTo>
                    <a:lnTo>
                      <a:pt x="405" y="76"/>
                    </a:lnTo>
                    <a:lnTo>
                      <a:pt x="405" y="78"/>
                    </a:lnTo>
                    <a:lnTo>
                      <a:pt x="405" y="80"/>
                    </a:lnTo>
                    <a:lnTo>
                      <a:pt x="407" y="82"/>
                    </a:lnTo>
                    <a:lnTo>
                      <a:pt x="407" y="84"/>
                    </a:lnTo>
                    <a:lnTo>
                      <a:pt x="409" y="84"/>
                    </a:lnTo>
                    <a:lnTo>
                      <a:pt x="409" y="86"/>
                    </a:lnTo>
                    <a:lnTo>
                      <a:pt x="411" y="86"/>
                    </a:lnTo>
                    <a:lnTo>
                      <a:pt x="413" y="86"/>
                    </a:lnTo>
                    <a:lnTo>
                      <a:pt x="413" y="88"/>
                    </a:lnTo>
                    <a:lnTo>
                      <a:pt x="415" y="88"/>
                    </a:lnTo>
                    <a:lnTo>
                      <a:pt x="417" y="88"/>
                    </a:lnTo>
                    <a:lnTo>
                      <a:pt x="419" y="88"/>
                    </a:lnTo>
                    <a:lnTo>
                      <a:pt x="421" y="88"/>
                    </a:lnTo>
                    <a:lnTo>
                      <a:pt x="423" y="88"/>
                    </a:lnTo>
                    <a:lnTo>
                      <a:pt x="424" y="88"/>
                    </a:lnTo>
                    <a:lnTo>
                      <a:pt x="426" y="88"/>
                    </a:lnTo>
                    <a:lnTo>
                      <a:pt x="428" y="88"/>
                    </a:lnTo>
                    <a:lnTo>
                      <a:pt x="430" y="86"/>
                    </a:lnTo>
                    <a:lnTo>
                      <a:pt x="432" y="86"/>
                    </a:lnTo>
                    <a:lnTo>
                      <a:pt x="434" y="86"/>
                    </a:lnTo>
                    <a:lnTo>
                      <a:pt x="436" y="86"/>
                    </a:lnTo>
                    <a:lnTo>
                      <a:pt x="438" y="86"/>
                    </a:lnTo>
                    <a:lnTo>
                      <a:pt x="440" y="86"/>
                    </a:lnTo>
                    <a:lnTo>
                      <a:pt x="442" y="86"/>
                    </a:lnTo>
                    <a:lnTo>
                      <a:pt x="442" y="88"/>
                    </a:lnTo>
                    <a:lnTo>
                      <a:pt x="442" y="90"/>
                    </a:lnTo>
                    <a:lnTo>
                      <a:pt x="442" y="92"/>
                    </a:lnTo>
                    <a:lnTo>
                      <a:pt x="444" y="94"/>
                    </a:lnTo>
                    <a:lnTo>
                      <a:pt x="444" y="96"/>
                    </a:lnTo>
                    <a:lnTo>
                      <a:pt x="444" y="97"/>
                    </a:lnTo>
                    <a:lnTo>
                      <a:pt x="444" y="99"/>
                    </a:lnTo>
                    <a:lnTo>
                      <a:pt x="446" y="99"/>
                    </a:lnTo>
                    <a:lnTo>
                      <a:pt x="447" y="101"/>
                    </a:lnTo>
                    <a:lnTo>
                      <a:pt x="447" y="99"/>
                    </a:lnTo>
                    <a:lnTo>
                      <a:pt x="449" y="99"/>
                    </a:lnTo>
                    <a:lnTo>
                      <a:pt x="451" y="97"/>
                    </a:lnTo>
                    <a:lnTo>
                      <a:pt x="453" y="97"/>
                    </a:lnTo>
                    <a:lnTo>
                      <a:pt x="453" y="99"/>
                    </a:lnTo>
                    <a:lnTo>
                      <a:pt x="455" y="99"/>
                    </a:lnTo>
                    <a:lnTo>
                      <a:pt x="455" y="101"/>
                    </a:lnTo>
                    <a:lnTo>
                      <a:pt x="457" y="101"/>
                    </a:lnTo>
                    <a:lnTo>
                      <a:pt x="459" y="103"/>
                    </a:lnTo>
                    <a:lnTo>
                      <a:pt x="461" y="103"/>
                    </a:lnTo>
                    <a:lnTo>
                      <a:pt x="463" y="103"/>
                    </a:lnTo>
                    <a:lnTo>
                      <a:pt x="463" y="101"/>
                    </a:lnTo>
                    <a:lnTo>
                      <a:pt x="465" y="101"/>
                    </a:lnTo>
                    <a:lnTo>
                      <a:pt x="465" y="99"/>
                    </a:lnTo>
                    <a:lnTo>
                      <a:pt x="467" y="99"/>
                    </a:lnTo>
                    <a:lnTo>
                      <a:pt x="467" y="97"/>
                    </a:lnTo>
                    <a:lnTo>
                      <a:pt x="469" y="97"/>
                    </a:lnTo>
                    <a:lnTo>
                      <a:pt x="469" y="96"/>
                    </a:lnTo>
                    <a:lnTo>
                      <a:pt x="471" y="96"/>
                    </a:lnTo>
                    <a:lnTo>
                      <a:pt x="471" y="94"/>
                    </a:lnTo>
                    <a:lnTo>
                      <a:pt x="472" y="94"/>
                    </a:lnTo>
                    <a:lnTo>
                      <a:pt x="474" y="94"/>
                    </a:lnTo>
                    <a:lnTo>
                      <a:pt x="476" y="94"/>
                    </a:lnTo>
                    <a:lnTo>
                      <a:pt x="478" y="94"/>
                    </a:lnTo>
                    <a:lnTo>
                      <a:pt x="480" y="94"/>
                    </a:lnTo>
                    <a:lnTo>
                      <a:pt x="482" y="94"/>
                    </a:lnTo>
                    <a:lnTo>
                      <a:pt x="482" y="96"/>
                    </a:lnTo>
                    <a:lnTo>
                      <a:pt x="484" y="96"/>
                    </a:lnTo>
                    <a:lnTo>
                      <a:pt x="486" y="96"/>
                    </a:lnTo>
                    <a:lnTo>
                      <a:pt x="486" y="94"/>
                    </a:lnTo>
                    <a:lnTo>
                      <a:pt x="488" y="94"/>
                    </a:lnTo>
                    <a:lnTo>
                      <a:pt x="490" y="94"/>
                    </a:lnTo>
                    <a:lnTo>
                      <a:pt x="492" y="94"/>
                    </a:lnTo>
                    <a:lnTo>
                      <a:pt x="494" y="94"/>
                    </a:lnTo>
                    <a:lnTo>
                      <a:pt x="494" y="92"/>
                    </a:lnTo>
                    <a:lnTo>
                      <a:pt x="495" y="92"/>
                    </a:lnTo>
                    <a:lnTo>
                      <a:pt x="497" y="92"/>
                    </a:lnTo>
                    <a:lnTo>
                      <a:pt x="499" y="94"/>
                    </a:lnTo>
                    <a:lnTo>
                      <a:pt x="501" y="94"/>
                    </a:lnTo>
                    <a:lnTo>
                      <a:pt x="501" y="96"/>
                    </a:lnTo>
                    <a:lnTo>
                      <a:pt x="501" y="97"/>
                    </a:lnTo>
                    <a:lnTo>
                      <a:pt x="501" y="99"/>
                    </a:lnTo>
                    <a:lnTo>
                      <a:pt x="501" y="101"/>
                    </a:lnTo>
                    <a:lnTo>
                      <a:pt x="503" y="101"/>
                    </a:lnTo>
                    <a:lnTo>
                      <a:pt x="503" y="105"/>
                    </a:lnTo>
                    <a:lnTo>
                      <a:pt x="503" y="107"/>
                    </a:lnTo>
                    <a:lnTo>
                      <a:pt x="503" y="109"/>
                    </a:lnTo>
                    <a:lnTo>
                      <a:pt x="505" y="109"/>
                    </a:lnTo>
                    <a:lnTo>
                      <a:pt x="505" y="111"/>
                    </a:lnTo>
                    <a:lnTo>
                      <a:pt x="505" y="113"/>
                    </a:lnTo>
                    <a:lnTo>
                      <a:pt x="507" y="113"/>
                    </a:lnTo>
                    <a:lnTo>
                      <a:pt x="507" y="115"/>
                    </a:lnTo>
                    <a:lnTo>
                      <a:pt x="507" y="117"/>
                    </a:lnTo>
                    <a:lnTo>
                      <a:pt x="509" y="117"/>
                    </a:lnTo>
                    <a:lnTo>
                      <a:pt x="509" y="119"/>
                    </a:lnTo>
                    <a:lnTo>
                      <a:pt x="509" y="121"/>
                    </a:lnTo>
                    <a:lnTo>
                      <a:pt x="509" y="122"/>
                    </a:lnTo>
                    <a:lnTo>
                      <a:pt x="511" y="124"/>
                    </a:lnTo>
                    <a:lnTo>
                      <a:pt x="511" y="126"/>
                    </a:lnTo>
                    <a:lnTo>
                      <a:pt x="511" y="128"/>
                    </a:lnTo>
                    <a:lnTo>
                      <a:pt x="513" y="130"/>
                    </a:lnTo>
                    <a:lnTo>
                      <a:pt x="513" y="132"/>
                    </a:lnTo>
                    <a:lnTo>
                      <a:pt x="515" y="134"/>
                    </a:lnTo>
                    <a:lnTo>
                      <a:pt x="515" y="136"/>
                    </a:lnTo>
                    <a:lnTo>
                      <a:pt x="517" y="136"/>
                    </a:lnTo>
                    <a:lnTo>
                      <a:pt x="519" y="136"/>
                    </a:lnTo>
                    <a:lnTo>
                      <a:pt x="520" y="138"/>
                    </a:lnTo>
                    <a:lnTo>
                      <a:pt x="522" y="138"/>
                    </a:lnTo>
                    <a:lnTo>
                      <a:pt x="524" y="138"/>
                    </a:lnTo>
                    <a:lnTo>
                      <a:pt x="526" y="138"/>
                    </a:lnTo>
                    <a:lnTo>
                      <a:pt x="528" y="138"/>
                    </a:lnTo>
                    <a:lnTo>
                      <a:pt x="530" y="138"/>
                    </a:lnTo>
                    <a:lnTo>
                      <a:pt x="530" y="136"/>
                    </a:lnTo>
                    <a:lnTo>
                      <a:pt x="532" y="136"/>
                    </a:lnTo>
                    <a:lnTo>
                      <a:pt x="532" y="134"/>
                    </a:lnTo>
                    <a:lnTo>
                      <a:pt x="532" y="132"/>
                    </a:lnTo>
                    <a:lnTo>
                      <a:pt x="532" y="130"/>
                    </a:lnTo>
                    <a:lnTo>
                      <a:pt x="532" y="128"/>
                    </a:lnTo>
                    <a:lnTo>
                      <a:pt x="532" y="126"/>
                    </a:lnTo>
                    <a:lnTo>
                      <a:pt x="532" y="124"/>
                    </a:lnTo>
                    <a:lnTo>
                      <a:pt x="530" y="124"/>
                    </a:lnTo>
                    <a:lnTo>
                      <a:pt x="530" y="122"/>
                    </a:lnTo>
                    <a:lnTo>
                      <a:pt x="530" y="121"/>
                    </a:lnTo>
                    <a:lnTo>
                      <a:pt x="530" y="119"/>
                    </a:lnTo>
                    <a:lnTo>
                      <a:pt x="530" y="117"/>
                    </a:lnTo>
                    <a:lnTo>
                      <a:pt x="532" y="115"/>
                    </a:lnTo>
                    <a:lnTo>
                      <a:pt x="534" y="115"/>
                    </a:lnTo>
                    <a:lnTo>
                      <a:pt x="536" y="115"/>
                    </a:lnTo>
                    <a:lnTo>
                      <a:pt x="538" y="117"/>
                    </a:lnTo>
                    <a:lnTo>
                      <a:pt x="540" y="119"/>
                    </a:lnTo>
                    <a:lnTo>
                      <a:pt x="540" y="121"/>
                    </a:lnTo>
                    <a:lnTo>
                      <a:pt x="542" y="121"/>
                    </a:lnTo>
                    <a:lnTo>
                      <a:pt x="542" y="122"/>
                    </a:lnTo>
                    <a:lnTo>
                      <a:pt x="542" y="124"/>
                    </a:lnTo>
                    <a:lnTo>
                      <a:pt x="543" y="126"/>
                    </a:lnTo>
                    <a:lnTo>
                      <a:pt x="545" y="126"/>
                    </a:lnTo>
                    <a:lnTo>
                      <a:pt x="547" y="126"/>
                    </a:lnTo>
                    <a:lnTo>
                      <a:pt x="549" y="126"/>
                    </a:lnTo>
                    <a:lnTo>
                      <a:pt x="549" y="128"/>
                    </a:lnTo>
                    <a:lnTo>
                      <a:pt x="553" y="128"/>
                    </a:lnTo>
                    <a:lnTo>
                      <a:pt x="555" y="128"/>
                    </a:lnTo>
                    <a:lnTo>
                      <a:pt x="557" y="128"/>
                    </a:lnTo>
                    <a:lnTo>
                      <a:pt x="557" y="126"/>
                    </a:lnTo>
                    <a:lnTo>
                      <a:pt x="559" y="126"/>
                    </a:lnTo>
                    <a:lnTo>
                      <a:pt x="559" y="124"/>
                    </a:lnTo>
                    <a:lnTo>
                      <a:pt x="559" y="122"/>
                    </a:lnTo>
                    <a:lnTo>
                      <a:pt x="559" y="121"/>
                    </a:lnTo>
                    <a:lnTo>
                      <a:pt x="557" y="119"/>
                    </a:lnTo>
                    <a:lnTo>
                      <a:pt x="557" y="117"/>
                    </a:lnTo>
                    <a:lnTo>
                      <a:pt x="555" y="115"/>
                    </a:lnTo>
                    <a:lnTo>
                      <a:pt x="553" y="113"/>
                    </a:lnTo>
                    <a:lnTo>
                      <a:pt x="553" y="111"/>
                    </a:lnTo>
                    <a:lnTo>
                      <a:pt x="551" y="111"/>
                    </a:lnTo>
                    <a:lnTo>
                      <a:pt x="551" y="109"/>
                    </a:lnTo>
                    <a:lnTo>
                      <a:pt x="551" y="107"/>
                    </a:lnTo>
                    <a:lnTo>
                      <a:pt x="551" y="105"/>
                    </a:lnTo>
                    <a:lnTo>
                      <a:pt x="551" y="103"/>
                    </a:lnTo>
                    <a:lnTo>
                      <a:pt x="549" y="103"/>
                    </a:lnTo>
                    <a:lnTo>
                      <a:pt x="547" y="103"/>
                    </a:lnTo>
                    <a:lnTo>
                      <a:pt x="545" y="103"/>
                    </a:lnTo>
                    <a:lnTo>
                      <a:pt x="543" y="103"/>
                    </a:lnTo>
                    <a:lnTo>
                      <a:pt x="542" y="103"/>
                    </a:lnTo>
                    <a:lnTo>
                      <a:pt x="540" y="103"/>
                    </a:lnTo>
                    <a:lnTo>
                      <a:pt x="538" y="103"/>
                    </a:lnTo>
                    <a:lnTo>
                      <a:pt x="536" y="101"/>
                    </a:lnTo>
                    <a:lnTo>
                      <a:pt x="536" y="99"/>
                    </a:lnTo>
                    <a:lnTo>
                      <a:pt x="536" y="97"/>
                    </a:lnTo>
                    <a:lnTo>
                      <a:pt x="538" y="97"/>
                    </a:lnTo>
                    <a:lnTo>
                      <a:pt x="538" y="96"/>
                    </a:lnTo>
                    <a:lnTo>
                      <a:pt x="540" y="94"/>
                    </a:lnTo>
                    <a:lnTo>
                      <a:pt x="542" y="94"/>
                    </a:lnTo>
                    <a:lnTo>
                      <a:pt x="543" y="94"/>
                    </a:lnTo>
                    <a:lnTo>
                      <a:pt x="545" y="94"/>
                    </a:lnTo>
                    <a:lnTo>
                      <a:pt x="547" y="94"/>
                    </a:lnTo>
                    <a:lnTo>
                      <a:pt x="549" y="96"/>
                    </a:lnTo>
                    <a:lnTo>
                      <a:pt x="551" y="96"/>
                    </a:lnTo>
                    <a:lnTo>
                      <a:pt x="551" y="97"/>
                    </a:lnTo>
                    <a:lnTo>
                      <a:pt x="553" y="99"/>
                    </a:lnTo>
                    <a:lnTo>
                      <a:pt x="553" y="101"/>
                    </a:lnTo>
                    <a:lnTo>
                      <a:pt x="555" y="103"/>
                    </a:lnTo>
                    <a:lnTo>
                      <a:pt x="557" y="105"/>
                    </a:lnTo>
                    <a:lnTo>
                      <a:pt x="559" y="107"/>
                    </a:lnTo>
                    <a:lnTo>
                      <a:pt x="561" y="109"/>
                    </a:lnTo>
                    <a:lnTo>
                      <a:pt x="563" y="109"/>
                    </a:lnTo>
                    <a:lnTo>
                      <a:pt x="565" y="109"/>
                    </a:lnTo>
                    <a:lnTo>
                      <a:pt x="567" y="109"/>
                    </a:lnTo>
                    <a:lnTo>
                      <a:pt x="568" y="109"/>
                    </a:lnTo>
                    <a:lnTo>
                      <a:pt x="568" y="107"/>
                    </a:lnTo>
                    <a:lnTo>
                      <a:pt x="570" y="107"/>
                    </a:lnTo>
                    <a:lnTo>
                      <a:pt x="570" y="105"/>
                    </a:lnTo>
                    <a:lnTo>
                      <a:pt x="570" y="103"/>
                    </a:lnTo>
                    <a:lnTo>
                      <a:pt x="570" y="101"/>
                    </a:lnTo>
                    <a:lnTo>
                      <a:pt x="572" y="101"/>
                    </a:lnTo>
                    <a:lnTo>
                      <a:pt x="572" y="99"/>
                    </a:lnTo>
                    <a:lnTo>
                      <a:pt x="572" y="97"/>
                    </a:lnTo>
                    <a:lnTo>
                      <a:pt x="570" y="97"/>
                    </a:lnTo>
                    <a:lnTo>
                      <a:pt x="570" y="96"/>
                    </a:lnTo>
                    <a:lnTo>
                      <a:pt x="570" y="94"/>
                    </a:lnTo>
                    <a:lnTo>
                      <a:pt x="568" y="94"/>
                    </a:lnTo>
                    <a:lnTo>
                      <a:pt x="568" y="92"/>
                    </a:lnTo>
                    <a:lnTo>
                      <a:pt x="567" y="92"/>
                    </a:lnTo>
                    <a:lnTo>
                      <a:pt x="567" y="90"/>
                    </a:lnTo>
                    <a:lnTo>
                      <a:pt x="567" y="88"/>
                    </a:lnTo>
                    <a:lnTo>
                      <a:pt x="568" y="86"/>
                    </a:lnTo>
                    <a:lnTo>
                      <a:pt x="570" y="86"/>
                    </a:lnTo>
                    <a:lnTo>
                      <a:pt x="570" y="88"/>
                    </a:lnTo>
                    <a:lnTo>
                      <a:pt x="572" y="88"/>
                    </a:lnTo>
                    <a:lnTo>
                      <a:pt x="572" y="90"/>
                    </a:lnTo>
                    <a:lnTo>
                      <a:pt x="574" y="90"/>
                    </a:lnTo>
                    <a:lnTo>
                      <a:pt x="574" y="92"/>
                    </a:lnTo>
                    <a:lnTo>
                      <a:pt x="574" y="94"/>
                    </a:lnTo>
                    <a:lnTo>
                      <a:pt x="574" y="96"/>
                    </a:lnTo>
                    <a:lnTo>
                      <a:pt x="574" y="97"/>
                    </a:lnTo>
                    <a:lnTo>
                      <a:pt x="574" y="99"/>
                    </a:lnTo>
                    <a:lnTo>
                      <a:pt x="574" y="101"/>
                    </a:lnTo>
                    <a:lnTo>
                      <a:pt x="576" y="101"/>
                    </a:lnTo>
                    <a:lnTo>
                      <a:pt x="576" y="103"/>
                    </a:lnTo>
                    <a:lnTo>
                      <a:pt x="576" y="105"/>
                    </a:lnTo>
                    <a:lnTo>
                      <a:pt x="578" y="105"/>
                    </a:lnTo>
                    <a:lnTo>
                      <a:pt x="580" y="105"/>
                    </a:lnTo>
                    <a:lnTo>
                      <a:pt x="582" y="105"/>
                    </a:lnTo>
                    <a:lnTo>
                      <a:pt x="584" y="103"/>
                    </a:lnTo>
                    <a:lnTo>
                      <a:pt x="586" y="101"/>
                    </a:lnTo>
                    <a:lnTo>
                      <a:pt x="586" y="99"/>
                    </a:lnTo>
                    <a:lnTo>
                      <a:pt x="588" y="97"/>
                    </a:lnTo>
                    <a:lnTo>
                      <a:pt x="586" y="96"/>
                    </a:lnTo>
                    <a:lnTo>
                      <a:pt x="586" y="94"/>
                    </a:lnTo>
                    <a:lnTo>
                      <a:pt x="586" y="92"/>
                    </a:lnTo>
                    <a:lnTo>
                      <a:pt x="584" y="92"/>
                    </a:lnTo>
                    <a:lnTo>
                      <a:pt x="584" y="90"/>
                    </a:lnTo>
                    <a:lnTo>
                      <a:pt x="584" y="88"/>
                    </a:lnTo>
                    <a:lnTo>
                      <a:pt x="584" y="86"/>
                    </a:lnTo>
                    <a:lnTo>
                      <a:pt x="586" y="84"/>
                    </a:lnTo>
                    <a:lnTo>
                      <a:pt x="588" y="84"/>
                    </a:lnTo>
                    <a:lnTo>
                      <a:pt x="588" y="82"/>
                    </a:lnTo>
                    <a:lnTo>
                      <a:pt x="590" y="82"/>
                    </a:lnTo>
                    <a:lnTo>
                      <a:pt x="592" y="80"/>
                    </a:lnTo>
                    <a:lnTo>
                      <a:pt x="593" y="80"/>
                    </a:lnTo>
                    <a:lnTo>
                      <a:pt x="595" y="80"/>
                    </a:lnTo>
                    <a:lnTo>
                      <a:pt x="595" y="82"/>
                    </a:lnTo>
                    <a:lnTo>
                      <a:pt x="597" y="82"/>
                    </a:lnTo>
                    <a:lnTo>
                      <a:pt x="597" y="84"/>
                    </a:lnTo>
                    <a:lnTo>
                      <a:pt x="597" y="86"/>
                    </a:lnTo>
                    <a:lnTo>
                      <a:pt x="597" y="88"/>
                    </a:lnTo>
                    <a:lnTo>
                      <a:pt x="595" y="90"/>
                    </a:lnTo>
                    <a:lnTo>
                      <a:pt x="595" y="92"/>
                    </a:lnTo>
                    <a:lnTo>
                      <a:pt x="595" y="94"/>
                    </a:lnTo>
                    <a:lnTo>
                      <a:pt x="595" y="96"/>
                    </a:lnTo>
                    <a:lnTo>
                      <a:pt x="595" y="97"/>
                    </a:lnTo>
                    <a:lnTo>
                      <a:pt x="597" y="99"/>
                    </a:lnTo>
                    <a:lnTo>
                      <a:pt x="597" y="101"/>
                    </a:lnTo>
                    <a:lnTo>
                      <a:pt x="599" y="103"/>
                    </a:lnTo>
                    <a:lnTo>
                      <a:pt x="599" y="105"/>
                    </a:lnTo>
                    <a:lnTo>
                      <a:pt x="601" y="107"/>
                    </a:lnTo>
                    <a:lnTo>
                      <a:pt x="603" y="109"/>
                    </a:lnTo>
                    <a:lnTo>
                      <a:pt x="605" y="111"/>
                    </a:lnTo>
                    <a:lnTo>
                      <a:pt x="607" y="111"/>
                    </a:lnTo>
                    <a:lnTo>
                      <a:pt x="607" y="113"/>
                    </a:lnTo>
                    <a:lnTo>
                      <a:pt x="609" y="113"/>
                    </a:lnTo>
                    <a:lnTo>
                      <a:pt x="611" y="113"/>
                    </a:lnTo>
                    <a:lnTo>
                      <a:pt x="613" y="113"/>
                    </a:lnTo>
                    <a:lnTo>
                      <a:pt x="613" y="111"/>
                    </a:lnTo>
                    <a:lnTo>
                      <a:pt x="615" y="111"/>
                    </a:lnTo>
                    <a:lnTo>
                      <a:pt x="616" y="111"/>
                    </a:lnTo>
                    <a:lnTo>
                      <a:pt x="616" y="109"/>
                    </a:lnTo>
                    <a:lnTo>
                      <a:pt x="620" y="105"/>
                    </a:lnTo>
                    <a:lnTo>
                      <a:pt x="622" y="103"/>
                    </a:lnTo>
                    <a:lnTo>
                      <a:pt x="622" y="101"/>
                    </a:lnTo>
                    <a:lnTo>
                      <a:pt x="624" y="101"/>
                    </a:lnTo>
                    <a:lnTo>
                      <a:pt x="626" y="101"/>
                    </a:lnTo>
                    <a:lnTo>
                      <a:pt x="628" y="101"/>
                    </a:lnTo>
                    <a:lnTo>
                      <a:pt x="630" y="101"/>
                    </a:lnTo>
                    <a:lnTo>
                      <a:pt x="632" y="103"/>
                    </a:lnTo>
                    <a:lnTo>
                      <a:pt x="634" y="103"/>
                    </a:lnTo>
                    <a:lnTo>
                      <a:pt x="636" y="103"/>
                    </a:lnTo>
                    <a:lnTo>
                      <a:pt x="638" y="101"/>
                    </a:lnTo>
                    <a:lnTo>
                      <a:pt x="640" y="99"/>
                    </a:lnTo>
                    <a:lnTo>
                      <a:pt x="641" y="99"/>
                    </a:lnTo>
                    <a:lnTo>
                      <a:pt x="641" y="97"/>
                    </a:lnTo>
                    <a:lnTo>
                      <a:pt x="643" y="97"/>
                    </a:lnTo>
                    <a:lnTo>
                      <a:pt x="643" y="99"/>
                    </a:lnTo>
                    <a:lnTo>
                      <a:pt x="643" y="101"/>
                    </a:lnTo>
                    <a:lnTo>
                      <a:pt x="643" y="103"/>
                    </a:lnTo>
                    <a:lnTo>
                      <a:pt x="643" y="105"/>
                    </a:lnTo>
                    <a:lnTo>
                      <a:pt x="645" y="107"/>
                    </a:lnTo>
                    <a:lnTo>
                      <a:pt x="647" y="107"/>
                    </a:lnTo>
                    <a:lnTo>
                      <a:pt x="649" y="107"/>
                    </a:lnTo>
                    <a:lnTo>
                      <a:pt x="651" y="109"/>
                    </a:lnTo>
                    <a:lnTo>
                      <a:pt x="653" y="109"/>
                    </a:lnTo>
                    <a:lnTo>
                      <a:pt x="655" y="109"/>
                    </a:lnTo>
                    <a:lnTo>
                      <a:pt x="655" y="111"/>
                    </a:lnTo>
                    <a:lnTo>
                      <a:pt x="657" y="111"/>
                    </a:lnTo>
                    <a:lnTo>
                      <a:pt x="659" y="111"/>
                    </a:lnTo>
                    <a:lnTo>
                      <a:pt x="661" y="111"/>
                    </a:lnTo>
                    <a:lnTo>
                      <a:pt x="661" y="113"/>
                    </a:lnTo>
                    <a:lnTo>
                      <a:pt x="663" y="113"/>
                    </a:lnTo>
                    <a:lnTo>
                      <a:pt x="664" y="113"/>
                    </a:lnTo>
                    <a:lnTo>
                      <a:pt x="668" y="115"/>
                    </a:lnTo>
                    <a:lnTo>
                      <a:pt x="668" y="117"/>
                    </a:lnTo>
                    <a:lnTo>
                      <a:pt x="670" y="117"/>
                    </a:lnTo>
                    <a:lnTo>
                      <a:pt x="672" y="117"/>
                    </a:lnTo>
                    <a:lnTo>
                      <a:pt x="674" y="117"/>
                    </a:lnTo>
                    <a:lnTo>
                      <a:pt x="676" y="117"/>
                    </a:lnTo>
                    <a:lnTo>
                      <a:pt x="678" y="115"/>
                    </a:lnTo>
                    <a:lnTo>
                      <a:pt x="680" y="115"/>
                    </a:lnTo>
                    <a:lnTo>
                      <a:pt x="682" y="113"/>
                    </a:lnTo>
                    <a:lnTo>
                      <a:pt x="684" y="111"/>
                    </a:lnTo>
                    <a:lnTo>
                      <a:pt x="686" y="109"/>
                    </a:lnTo>
                    <a:lnTo>
                      <a:pt x="688" y="107"/>
                    </a:lnTo>
                    <a:lnTo>
                      <a:pt x="689" y="107"/>
                    </a:lnTo>
                    <a:lnTo>
                      <a:pt x="691" y="107"/>
                    </a:lnTo>
                    <a:lnTo>
                      <a:pt x="693" y="107"/>
                    </a:lnTo>
                    <a:lnTo>
                      <a:pt x="695" y="109"/>
                    </a:lnTo>
                    <a:lnTo>
                      <a:pt x="697" y="109"/>
                    </a:lnTo>
                    <a:lnTo>
                      <a:pt x="697" y="111"/>
                    </a:lnTo>
                    <a:lnTo>
                      <a:pt x="699" y="111"/>
                    </a:lnTo>
                    <a:lnTo>
                      <a:pt x="701" y="113"/>
                    </a:lnTo>
                    <a:lnTo>
                      <a:pt x="703" y="117"/>
                    </a:lnTo>
                    <a:lnTo>
                      <a:pt x="705" y="119"/>
                    </a:lnTo>
                    <a:lnTo>
                      <a:pt x="707" y="119"/>
                    </a:lnTo>
                    <a:lnTo>
                      <a:pt x="709" y="119"/>
                    </a:lnTo>
                    <a:lnTo>
                      <a:pt x="711" y="119"/>
                    </a:lnTo>
                    <a:lnTo>
                      <a:pt x="712" y="119"/>
                    </a:lnTo>
                    <a:lnTo>
                      <a:pt x="714" y="119"/>
                    </a:lnTo>
                    <a:lnTo>
                      <a:pt x="716" y="119"/>
                    </a:lnTo>
                    <a:lnTo>
                      <a:pt x="718" y="117"/>
                    </a:lnTo>
                    <a:lnTo>
                      <a:pt x="718" y="115"/>
                    </a:lnTo>
                    <a:lnTo>
                      <a:pt x="718" y="113"/>
                    </a:lnTo>
                    <a:lnTo>
                      <a:pt x="718" y="111"/>
                    </a:lnTo>
                    <a:lnTo>
                      <a:pt x="718" y="109"/>
                    </a:lnTo>
                    <a:lnTo>
                      <a:pt x="716" y="107"/>
                    </a:lnTo>
                    <a:lnTo>
                      <a:pt x="716" y="105"/>
                    </a:lnTo>
                    <a:lnTo>
                      <a:pt x="716" y="103"/>
                    </a:lnTo>
                    <a:lnTo>
                      <a:pt x="714" y="103"/>
                    </a:lnTo>
                    <a:lnTo>
                      <a:pt x="712" y="101"/>
                    </a:lnTo>
                    <a:lnTo>
                      <a:pt x="711" y="99"/>
                    </a:lnTo>
                    <a:lnTo>
                      <a:pt x="712" y="99"/>
                    </a:lnTo>
                    <a:lnTo>
                      <a:pt x="714" y="97"/>
                    </a:lnTo>
                    <a:lnTo>
                      <a:pt x="716" y="96"/>
                    </a:lnTo>
                    <a:lnTo>
                      <a:pt x="718" y="94"/>
                    </a:lnTo>
                    <a:lnTo>
                      <a:pt x="722" y="94"/>
                    </a:lnTo>
                    <a:lnTo>
                      <a:pt x="724" y="96"/>
                    </a:lnTo>
                    <a:lnTo>
                      <a:pt x="726" y="96"/>
                    </a:lnTo>
                    <a:lnTo>
                      <a:pt x="728" y="97"/>
                    </a:lnTo>
                    <a:lnTo>
                      <a:pt x="730" y="99"/>
                    </a:lnTo>
                    <a:lnTo>
                      <a:pt x="730" y="101"/>
                    </a:lnTo>
                    <a:lnTo>
                      <a:pt x="732" y="105"/>
                    </a:lnTo>
                    <a:lnTo>
                      <a:pt x="732" y="107"/>
                    </a:lnTo>
                    <a:lnTo>
                      <a:pt x="734" y="107"/>
                    </a:lnTo>
                    <a:lnTo>
                      <a:pt x="734" y="109"/>
                    </a:lnTo>
                    <a:lnTo>
                      <a:pt x="736" y="109"/>
                    </a:lnTo>
                    <a:lnTo>
                      <a:pt x="737" y="107"/>
                    </a:lnTo>
                    <a:lnTo>
                      <a:pt x="739" y="107"/>
                    </a:lnTo>
                    <a:lnTo>
                      <a:pt x="741" y="107"/>
                    </a:lnTo>
                    <a:lnTo>
                      <a:pt x="743" y="105"/>
                    </a:lnTo>
                    <a:lnTo>
                      <a:pt x="743" y="103"/>
                    </a:lnTo>
                    <a:lnTo>
                      <a:pt x="745" y="101"/>
                    </a:lnTo>
                    <a:lnTo>
                      <a:pt x="745" y="97"/>
                    </a:lnTo>
                    <a:lnTo>
                      <a:pt x="747" y="97"/>
                    </a:lnTo>
                    <a:lnTo>
                      <a:pt x="749" y="97"/>
                    </a:lnTo>
                    <a:lnTo>
                      <a:pt x="751" y="97"/>
                    </a:lnTo>
                    <a:lnTo>
                      <a:pt x="753" y="97"/>
                    </a:lnTo>
                    <a:lnTo>
                      <a:pt x="755" y="99"/>
                    </a:lnTo>
                    <a:lnTo>
                      <a:pt x="757" y="99"/>
                    </a:lnTo>
                    <a:lnTo>
                      <a:pt x="759" y="101"/>
                    </a:lnTo>
                    <a:lnTo>
                      <a:pt x="760" y="103"/>
                    </a:lnTo>
                    <a:lnTo>
                      <a:pt x="762" y="103"/>
                    </a:lnTo>
                    <a:lnTo>
                      <a:pt x="762" y="105"/>
                    </a:lnTo>
                    <a:lnTo>
                      <a:pt x="764" y="105"/>
                    </a:lnTo>
                    <a:lnTo>
                      <a:pt x="764" y="107"/>
                    </a:lnTo>
                    <a:lnTo>
                      <a:pt x="766" y="107"/>
                    </a:lnTo>
                    <a:lnTo>
                      <a:pt x="768" y="109"/>
                    </a:lnTo>
                    <a:lnTo>
                      <a:pt x="768" y="111"/>
                    </a:lnTo>
                    <a:lnTo>
                      <a:pt x="770" y="111"/>
                    </a:lnTo>
                    <a:lnTo>
                      <a:pt x="770" y="113"/>
                    </a:lnTo>
                    <a:lnTo>
                      <a:pt x="772" y="115"/>
                    </a:lnTo>
                    <a:lnTo>
                      <a:pt x="772" y="117"/>
                    </a:lnTo>
                    <a:lnTo>
                      <a:pt x="772" y="119"/>
                    </a:lnTo>
                    <a:lnTo>
                      <a:pt x="772" y="121"/>
                    </a:lnTo>
                    <a:lnTo>
                      <a:pt x="774" y="121"/>
                    </a:lnTo>
                    <a:lnTo>
                      <a:pt x="774" y="122"/>
                    </a:lnTo>
                    <a:lnTo>
                      <a:pt x="774" y="124"/>
                    </a:lnTo>
                    <a:lnTo>
                      <a:pt x="774" y="126"/>
                    </a:lnTo>
                    <a:lnTo>
                      <a:pt x="774" y="128"/>
                    </a:lnTo>
                    <a:lnTo>
                      <a:pt x="774" y="130"/>
                    </a:lnTo>
                    <a:lnTo>
                      <a:pt x="776" y="132"/>
                    </a:lnTo>
                    <a:lnTo>
                      <a:pt x="776" y="134"/>
                    </a:lnTo>
                    <a:lnTo>
                      <a:pt x="776" y="136"/>
                    </a:lnTo>
                    <a:lnTo>
                      <a:pt x="776" y="138"/>
                    </a:lnTo>
                    <a:lnTo>
                      <a:pt x="776" y="140"/>
                    </a:lnTo>
                    <a:lnTo>
                      <a:pt x="776" y="142"/>
                    </a:lnTo>
                    <a:lnTo>
                      <a:pt x="776" y="144"/>
                    </a:lnTo>
                    <a:lnTo>
                      <a:pt x="776" y="145"/>
                    </a:lnTo>
                    <a:lnTo>
                      <a:pt x="776" y="147"/>
                    </a:lnTo>
                    <a:lnTo>
                      <a:pt x="774" y="149"/>
                    </a:lnTo>
                    <a:lnTo>
                      <a:pt x="774" y="151"/>
                    </a:lnTo>
                    <a:lnTo>
                      <a:pt x="774" y="153"/>
                    </a:lnTo>
                    <a:lnTo>
                      <a:pt x="774" y="155"/>
                    </a:lnTo>
                    <a:lnTo>
                      <a:pt x="774" y="157"/>
                    </a:lnTo>
                    <a:lnTo>
                      <a:pt x="774" y="159"/>
                    </a:lnTo>
                    <a:lnTo>
                      <a:pt x="776" y="159"/>
                    </a:lnTo>
                    <a:lnTo>
                      <a:pt x="776" y="161"/>
                    </a:lnTo>
                    <a:lnTo>
                      <a:pt x="776" y="163"/>
                    </a:lnTo>
                    <a:lnTo>
                      <a:pt x="778" y="165"/>
                    </a:lnTo>
                    <a:lnTo>
                      <a:pt x="778" y="167"/>
                    </a:lnTo>
                    <a:lnTo>
                      <a:pt x="780" y="167"/>
                    </a:lnTo>
                    <a:lnTo>
                      <a:pt x="780" y="169"/>
                    </a:lnTo>
                    <a:lnTo>
                      <a:pt x="782" y="169"/>
                    </a:lnTo>
                    <a:lnTo>
                      <a:pt x="782" y="170"/>
                    </a:lnTo>
                    <a:lnTo>
                      <a:pt x="784" y="170"/>
                    </a:lnTo>
                    <a:lnTo>
                      <a:pt x="785" y="170"/>
                    </a:lnTo>
                    <a:lnTo>
                      <a:pt x="785" y="172"/>
                    </a:lnTo>
                    <a:lnTo>
                      <a:pt x="785" y="170"/>
                    </a:lnTo>
                    <a:lnTo>
                      <a:pt x="785" y="172"/>
                    </a:lnTo>
                    <a:lnTo>
                      <a:pt x="784" y="172"/>
                    </a:lnTo>
                    <a:lnTo>
                      <a:pt x="784" y="174"/>
                    </a:lnTo>
                    <a:lnTo>
                      <a:pt x="782" y="174"/>
                    </a:lnTo>
                    <a:lnTo>
                      <a:pt x="780" y="174"/>
                    </a:lnTo>
                    <a:lnTo>
                      <a:pt x="778" y="176"/>
                    </a:lnTo>
                    <a:lnTo>
                      <a:pt x="776" y="176"/>
                    </a:lnTo>
                    <a:lnTo>
                      <a:pt x="774" y="174"/>
                    </a:lnTo>
                    <a:lnTo>
                      <a:pt x="772" y="174"/>
                    </a:lnTo>
                    <a:lnTo>
                      <a:pt x="770" y="176"/>
                    </a:lnTo>
                    <a:lnTo>
                      <a:pt x="768" y="176"/>
                    </a:lnTo>
                    <a:lnTo>
                      <a:pt x="766" y="176"/>
                    </a:lnTo>
                    <a:lnTo>
                      <a:pt x="766" y="178"/>
                    </a:lnTo>
                    <a:lnTo>
                      <a:pt x="764" y="178"/>
                    </a:lnTo>
                    <a:lnTo>
                      <a:pt x="764" y="180"/>
                    </a:lnTo>
                    <a:lnTo>
                      <a:pt x="764" y="182"/>
                    </a:lnTo>
                    <a:lnTo>
                      <a:pt x="764" y="184"/>
                    </a:lnTo>
                    <a:lnTo>
                      <a:pt x="762" y="184"/>
                    </a:lnTo>
                    <a:lnTo>
                      <a:pt x="762" y="186"/>
                    </a:lnTo>
                    <a:lnTo>
                      <a:pt x="762" y="188"/>
                    </a:lnTo>
                    <a:lnTo>
                      <a:pt x="760" y="188"/>
                    </a:lnTo>
                    <a:lnTo>
                      <a:pt x="760" y="190"/>
                    </a:lnTo>
                    <a:lnTo>
                      <a:pt x="759" y="192"/>
                    </a:lnTo>
                    <a:lnTo>
                      <a:pt x="759" y="193"/>
                    </a:lnTo>
                    <a:lnTo>
                      <a:pt x="757" y="193"/>
                    </a:lnTo>
                    <a:lnTo>
                      <a:pt x="755" y="192"/>
                    </a:lnTo>
                    <a:lnTo>
                      <a:pt x="753" y="192"/>
                    </a:lnTo>
                    <a:lnTo>
                      <a:pt x="751" y="192"/>
                    </a:lnTo>
                    <a:lnTo>
                      <a:pt x="751" y="190"/>
                    </a:lnTo>
                    <a:lnTo>
                      <a:pt x="749" y="190"/>
                    </a:lnTo>
                    <a:lnTo>
                      <a:pt x="749" y="192"/>
                    </a:lnTo>
                    <a:lnTo>
                      <a:pt x="747" y="192"/>
                    </a:lnTo>
                    <a:lnTo>
                      <a:pt x="745" y="190"/>
                    </a:lnTo>
                    <a:lnTo>
                      <a:pt x="743" y="190"/>
                    </a:lnTo>
                    <a:lnTo>
                      <a:pt x="741" y="190"/>
                    </a:lnTo>
                    <a:lnTo>
                      <a:pt x="739" y="190"/>
                    </a:lnTo>
                    <a:lnTo>
                      <a:pt x="739" y="188"/>
                    </a:lnTo>
                    <a:lnTo>
                      <a:pt x="739" y="186"/>
                    </a:lnTo>
                    <a:lnTo>
                      <a:pt x="739" y="184"/>
                    </a:lnTo>
                    <a:lnTo>
                      <a:pt x="739" y="182"/>
                    </a:lnTo>
                    <a:lnTo>
                      <a:pt x="739" y="180"/>
                    </a:lnTo>
                    <a:lnTo>
                      <a:pt x="741" y="180"/>
                    </a:lnTo>
                    <a:lnTo>
                      <a:pt x="739" y="180"/>
                    </a:lnTo>
                    <a:lnTo>
                      <a:pt x="739" y="178"/>
                    </a:lnTo>
                    <a:lnTo>
                      <a:pt x="739" y="176"/>
                    </a:lnTo>
                    <a:lnTo>
                      <a:pt x="737" y="176"/>
                    </a:lnTo>
                    <a:lnTo>
                      <a:pt x="736" y="174"/>
                    </a:lnTo>
                    <a:lnTo>
                      <a:pt x="736" y="172"/>
                    </a:lnTo>
                    <a:lnTo>
                      <a:pt x="734" y="172"/>
                    </a:lnTo>
                    <a:lnTo>
                      <a:pt x="734" y="174"/>
                    </a:lnTo>
                    <a:lnTo>
                      <a:pt x="734" y="176"/>
                    </a:lnTo>
                    <a:lnTo>
                      <a:pt x="734" y="174"/>
                    </a:lnTo>
                    <a:lnTo>
                      <a:pt x="732" y="174"/>
                    </a:lnTo>
                    <a:lnTo>
                      <a:pt x="732" y="172"/>
                    </a:lnTo>
                    <a:lnTo>
                      <a:pt x="730" y="172"/>
                    </a:lnTo>
                    <a:lnTo>
                      <a:pt x="730" y="174"/>
                    </a:lnTo>
                    <a:lnTo>
                      <a:pt x="728" y="174"/>
                    </a:lnTo>
                    <a:lnTo>
                      <a:pt x="726" y="174"/>
                    </a:lnTo>
                    <a:lnTo>
                      <a:pt x="724" y="172"/>
                    </a:lnTo>
                    <a:lnTo>
                      <a:pt x="724" y="174"/>
                    </a:lnTo>
                    <a:lnTo>
                      <a:pt x="724" y="176"/>
                    </a:lnTo>
                    <a:lnTo>
                      <a:pt x="722" y="176"/>
                    </a:lnTo>
                    <a:lnTo>
                      <a:pt x="722" y="178"/>
                    </a:lnTo>
                    <a:lnTo>
                      <a:pt x="722" y="180"/>
                    </a:lnTo>
                    <a:lnTo>
                      <a:pt x="722" y="182"/>
                    </a:lnTo>
                    <a:lnTo>
                      <a:pt x="720" y="182"/>
                    </a:lnTo>
                    <a:lnTo>
                      <a:pt x="720" y="184"/>
                    </a:lnTo>
                    <a:lnTo>
                      <a:pt x="718" y="184"/>
                    </a:lnTo>
                    <a:lnTo>
                      <a:pt x="718" y="186"/>
                    </a:lnTo>
                    <a:lnTo>
                      <a:pt x="716" y="186"/>
                    </a:lnTo>
                    <a:lnTo>
                      <a:pt x="716" y="188"/>
                    </a:lnTo>
                    <a:lnTo>
                      <a:pt x="714" y="190"/>
                    </a:lnTo>
                    <a:lnTo>
                      <a:pt x="714" y="192"/>
                    </a:lnTo>
                    <a:lnTo>
                      <a:pt x="714" y="195"/>
                    </a:lnTo>
                    <a:lnTo>
                      <a:pt x="712" y="197"/>
                    </a:lnTo>
                    <a:lnTo>
                      <a:pt x="712" y="199"/>
                    </a:lnTo>
                    <a:lnTo>
                      <a:pt x="711" y="201"/>
                    </a:lnTo>
                    <a:lnTo>
                      <a:pt x="709" y="201"/>
                    </a:lnTo>
                    <a:lnTo>
                      <a:pt x="709" y="199"/>
                    </a:lnTo>
                    <a:lnTo>
                      <a:pt x="707" y="199"/>
                    </a:lnTo>
                    <a:lnTo>
                      <a:pt x="705" y="197"/>
                    </a:lnTo>
                    <a:lnTo>
                      <a:pt x="703" y="197"/>
                    </a:lnTo>
                    <a:lnTo>
                      <a:pt x="701" y="199"/>
                    </a:lnTo>
                    <a:lnTo>
                      <a:pt x="699" y="199"/>
                    </a:lnTo>
                    <a:lnTo>
                      <a:pt x="697" y="199"/>
                    </a:lnTo>
                    <a:lnTo>
                      <a:pt x="695" y="197"/>
                    </a:lnTo>
                    <a:lnTo>
                      <a:pt x="695" y="195"/>
                    </a:lnTo>
                    <a:lnTo>
                      <a:pt x="693" y="195"/>
                    </a:lnTo>
                    <a:lnTo>
                      <a:pt x="693" y="193"/>
                    </a:lnTo>
                    <a:lnTo>
                      <a:pt x="691" y="192"/>
                    </a:lnTo>
                    <a:lnTo>
                      <a:pt x="689" y="192"/>
                    </a:lnTo>
                    <a:lnTo>
                      <a:pt x="688" y="192"/>
                    </a:lnTo>
                    <a:lnTo>
                      <a:pt x="688" y="190"/>
                    </a:lnTo>
                    <a:lnTo>
                      <a:pt x="686" y="190"/>
                    </a:lnTo>
                    <a:lnTo>
                      <a:pt x="686" y="188"/>
                    </a:lnTo>
                    <a:lnTo>
                      <a:pt x="686" y="190"/>
                    </a:lnTo>
                    <a:lnTo>
                      <a:pt x="684" y="190"/>
                    </a:lnTo>
                    <a:lnTo>
                      <a:pt x="682" y="190"/>
                    </a:lnTo>
                    <a:lnTo>
                      <a:pt x="682" y="192"/>
                    </a:lnTo>
                    <a:lnTo>
                      <a:pt x="680" y="192"/>
                    </a:lnTo>
                    <a:lnTo>
                      <a:pt x="678" y="193"/>
                    </a:lnTo>
                    <a:lnTo>
                      <a:pt x="676" y="193"/>
                    </a:lnTo>
                    <a:lnTo>
                      <a:pt x="674" y="193"/>
                    </a:lnTo>
                    <a:lnTo>
                      <a:pt x="672" y="193"/>
                    </a:lnTo>
                    <a:lnTo>
                      <a:pt x="670" y="193"/>
                    </a:lnTo>
                    <a:lnTo>
                      <a:pt x="668" y="193"/>
                    </a:lnTo>
                    <a:lnTo>
                      <a:pt x="666" y="193"/>
                    </a:lnTo>
                    <a:lnTo>
                      <a:pt x="666" y="192"/>
                    </a:lnTo>
                    <a:lnTo>
                      <a:pt x="664" y="190"/>
                    </a:lnTo>
                    <a:lnTo>
                      <a:pt x="664" y="188"/>
                    </a:lnTo>
                    <a:lnTo>
                      <a:pt x="663" y="186"/>
                    </a:lnTo>
                    <a:lnTo>
                      <a:pt x="663" y="184"/>
                    </a:lnTo>
                    <a:lnTo>
                      <a:pt x="663" y="182"/>
                    </a:lnTo>
                    <a:lnTo>
                      <a:pt x="661" y="182"/>
                    </a:lnTo>
                    <a:lnTo>
                      <a:pt x="661" y="180"/>
                    </a:lnTo>
                    <a:lnTo>
                      <a:pt x="659" y="178"/>
                    </a:lnTo>
                    <a:lnTo>
                      <a:pt x="659" y="176"/>
                    </a:lnTo>
                    <a:lnTo>
                      <a:pt x="659" y="174"/>
                    </a:lnTo>
                    <a:lnTo>
                      <a:pt x="659" y="172"/>
                    </a:lnTo>
                    <a:lnTo>
                      <a:pt x="659" y="170"/>
                    </a:lnTo>
                    <a:lnTo>
                      <a:pt x="659" y="169"/>
                    </a:lnTo>
                    <a:lnTo>
                      <a:pt x="659" y="167"/>
                    </a:lnTo>
                    <a:lnTo>
                      <a:pt x="657" y="167"/>
                    </a:lnTo>
                    <a:lnTo>
                      <a:pt x="655" y="167"/>
                    </a:lnTo>
                    <a:lnTo>
                      <a:pt x="655" y="169"/>
                    </a:lnTo>
                    <a:lnTo>
                      <a:pt x="653" y="169"/>
                    </a:lnTo>
                    <a:lnTo>
                      <a:pt x="653" y="170"/>
                    </a:lnTo>
                    <a:lnTo>
                      <a:pt x="651" y="170"/>
                    </a:lnTo>
                    <a:lnTo>
                      <a:pt x="649" y="170"/>
                    </a:lnTo>
                    <a:lnTo>
                      <a:pt x="649" y="169"/>
                    </a:lnTo>
                    <a:lnTo>
                      <a:pt x="647" y="169"/>
                    </a:lnTo>
                    <a:lnTo>
                      <a:pt x="645" y="169"/>
                    </a:lnTo>
                    <a:lnTo>
                      <a:pt x="643" y="169"/>
                    </a:lnTo>
                    <a:lnTo>
                      <a:pt x="643" y="167"/>
                    </a:lnTo>
                    <a:lnTo>
                      <a:pt x="641" y="167"/>
                    </a:lnTo>
                    <a:lnTo>
                      <a:pt x="640" y="167"/>
                    </a:lnTo>
                    <a:lnTo>
                      <a:pt x="640" y="169"/>
                    </a:lnTo>
                    <a:lnTo>
                      <a:pt x="638" y="169"/>
                    </a:lnTo>
                    <a:lnTo>
                      <a:pt x="638" y="170"/>
                    </a:lnTo>
                    <a:lnTo>
                      <a:pt x="638" y="169"/>
                    </a:lnTo>
                    <a:lnTo>
                      <a:pt x="638" y="170"/>
                    </a:lnTo>
                    <a:lnTo>
                      <a:pt x="640" y="170"/>
                    </a:lnTo>
                    <a:lnTo>
                      <a:pt x="641" y="170"/>
                    </a:lnTo>
                    <a:lnTo>
                      <a:pt x="641" y="172"/>
                    </a:lnTo>
                    <a:lnTo>
                      <a:pt x="643" y="172"/>
                    </a:lnTo>
                    <a:lnTo>
                      <a:pt x="643" y="174"/>
                    </a:lnTo>
                    <a:lnTo>
                      <a:pt x="645" y="174"/>
                    </a:lnTo>
                    <a:lnTo>
                      <a:pt x="643" y="176"/>
                    </a:lnTo>
                    <a:lnTo>
                      <a:pt x="645" y="178"/>
                    </a:lnTo>
                    <a:lnTo>
                      <a:pt x="645" y="180"/>
                    </a:lnTo>
                    <a:lnTo>
                      <a:pt x="645" y="182"/>
                    </a:lnTo>
                    <a:lnTo>
                      <a:pt x="645" y="184"/>
                    </a:lnTo>
                    <a:lnTo>
                      <a:pt x="645" y="186"/>
                    </a:lnTo>
                    <a:lnTo>
                      <a:pt x="645" y="188"/>
                    </a:lnTo>
                    <a:lnTo>
                      <a:pt x="645" y="190"/>
                    </a:lnTo>
                    <a:lnTo>
                      <a:pt x="643" y="190"/>
                    </a:lnTo>
                    <a:lnTo>
                      <a:pt x="641" y="190"/>
                    </a:lnTo>
                    <a:lnTo>
                      <a:pt x="641" y="188"/>
                    </a:lnTo>
                    <a:lnTo>
                      <a:pt x="640" y="188"/>
                    </a:lnTo>
                    <a:lnTo>
                      <a:pt x="640" y="186"/>
                    </a:lnTo>
                    <a:lnTo>
                      <a:pt x="638" y="186"/>
                    </a:lnTo>
                    <a:lnTo>
                      <a:pt x="636" y="186"/>
                    </a:lnTo>
                    <a:lnTo>
                      <a:pt x="634" y="186"/>
                    </a:lnTo>
                    <a:lnTo>
                      <a:pt x="632" y="186"/>
                    </a:lnTo>
                    <a:lnTo>
                      <a:pt x="632" y="188"/>
                    </a:lnTo>
                    <a:lnTo>
                      <a:pt x="632" y="190"/>
                    </a:lnTo>
                    <a:lnTo>
                      <a:pt x="632" y="192"/>
                    </a:lnTo>
                    <a:lnTo>
                      <a:pt x="632" y="193"/>
                    </a:lnTo>
                    <a:lnTo>
                      <a:pt x="630" y="192"/>
                    </a:lnTo>
                    <a:lnTo>
                      <a:pt x="630" y="193"/>
                    </a:lnTo>
                    <a:lnTo>
                      <a:pt x="628" y="193"/>
                    </a:lnTo>
                    <a:lnTo>
                      <a:pt x="626" y="193"/>
                    </a:lnTo>
                    <a:lnTo>
                      <a:pt x="624" y="192"/>
                    </a:lnTo>
                    <a:lnTo>
                      <a:pt x="622" y="192"/>
                    </a:lnTo>
                    <a:lnTo>
                      <a:pt x="620" y="190"/>
                    </a:lnTo>
                    <a:lnTo>
                      <a:pt x="618" y="190"/>
                    </a:lnTo>
                    <a:lnTo>
                      <a:pt x="616" y="188"/>
                    </a:lnTo>
                    <a:lnTo>
                      <a:pt x="615" y="188"/>
                    </a:lnTo>
                    <a:lnTo>
                      <a:pt x="613" y="188"/>
                    </a:lnTo>
                    <a:lnTo>
                      <a:pt x="613" y="186"/>
                    </a:lnTo>
                    <a:lnTo>
                      <a:pt x="611" y="186"/>
                    </a:lnTo>
                    <a:lnTo>
                      <a:pt x="611" y="188"/>
                    </a:lnTo>
                    <a:lnTo>
                      <a:pt x="613" y="188"/>
                    </a:lnTo>
                    <a:lnTo>
                      <a:pt x="613" y="190"/>
                    </a:lnTo>
                    <a:lnTo>
                      <a:pt x="611" y="190"/>
                    </a:lnTo>
                    <a:lnTo>
                      <a:pt x="611" y="188"/>
                    </a:lnTo>
                    <a:lnTo>
                      <a:pt x="609" y="188"/>
                    </a:lnTo>
                    <a:lnTo>
                      <a:pt x="607" y="186"/>
                    </a:lnTo>
                    <a:lnTo>
                      <a:pt x="607" y="184"/>
                    </a:lnTo>
                    <a:lnTo>
                      <a:pt x="605" y="182"/>
                    </a:lnTo>
                    <a:lnTo>
                      <a:pt x="603" y="180"/>
                    </a:lnTo>
                    <a:lnTo>
                      <a:pt x="603" y="178"/>
                    </a:lnTo>
                    <a:lnTo>
                      <a:pt x="603" y="176"/>
                    </a:lnTo>
                    <a:lnTo>
                      <a:pt x="603" y="174"/>
                    </a:lnTo>
                    <a:lnTo>
                      <a:pt x="605" y="174"/>
                    </a:lnTo>
                    <a:lnTo>
                      <a:pt x="605" y="172"/>
                    </a:lnTo>
                    <a:lnTo>
                      <a:pt x="603" y="172"/>
                    </a:lnTo>
                    <a:lnTo>
                      <a:pt x="603" y="170"/>
                    </a:lnTo>
                    <a:lnTo>
                      <a:pt x="603" y="169"/>
                    </a:lnTo>
                    <a:lnTo>
                      <a:pt x="601" y="167"/>
                    </a:lnTo>
                    <a:lnTo>
                      <a:pt x="601" y="165"/>
                    </a:lnTo>
                    <a:lnTo>
                      <a:pt x="599" y="165"/>
                    </a:lnTo>
                    <a:lnTo>
                      <a:pt x="599" y="163"/>
                    </a:lnTo>
                    <a:lnTo>
                      <a:pt x="597" y="163"/>
                    </a:lnTo>
                    <a:lnTo>
                      <a:pt x="597" y="165"/>
                    </a:lnTo>
                    <a:lnTo>
                      <a:pt x="595" y="165"/>
                    </a:lnTo>
                    <a:lnTo>
                      <a:pt x="593" y="165"/>
                    </a:lnTo>
                    <a:lnTo>
                      <a:pt x="592" y="165"/>
                    </a:lnTo>
                    <a:lnTo>
                      <a:pt x="590" y="165"/>
                    </a:lnTo>
                    <a:lnTo>
                      <a:pt x="588" y="165"/>
                    </a:lnTo>
                    <a:lnTo>
                      <a:pt x="586" y="163"/>
                    </a:lnTo>
                    <a:lnTo>
                      <a:pt x="584" y="163"/>
                    </a:lnTo>
                    <a:lnTo>
                      <a:pt x="582" y="163"/>
                    </a:lnTo>
                    <a:lnTo>
                      <a:pt x="580" y="161"/>
                    </a:lnTo>
                    <a:lnTo>
                      <a:pt x="578" y="161"/>
                    </a:lnTo>
                    <a:lnTo>
                      <a:pt x="576" y="161"/>
                    </a:lnTo>
                    <a:lnTo>
                      <a:pt x="574" y="161"/>
                    </a:lnTo>
                    <a:lnTo>
                      <a:pt x="574" y="159"/>
                    </a:lnTo>
                    <a:lnTo>
                      <a:pt x="572" y="159"/>
                    </a:lnTo>
                    <a:lnTo>
                      <a:pt x="570" y="159"/>
                    </a:lnTo>
                    <a:lnTo>
                      <a:pt x="570" y="161"/>
                    </a:lnTo>
                    <a:lnTo>
                      <a:pt x="570" y="163"/>
                    </a:lnTo>
                    <a:lnTo>
                      <a:pt x="568" y="163"/>
                    </a:lnTo>
                    <a:lnTo>
                      <a:pt x="568" y="165"/>
                    </a:lnTo>
                    <a:lnTo>
                      <a:pt x="568" y="163"/>
                    </a:lnTo>
                    <a:lnTo>
                      <a:pt x="567" y="165"/>
                    </a:lnTo>
                    <a:lnTo>
                      <a:pt x="565" y="165"/>
                    </a:lnTo>
                    <a:lnTo>
                      <a:pt x="565" y="167"/>
                    </a:lnTo>
                    <a:lnTo>
                      <a:pt x="563" y="167"/>
                    </a:lnTo>
                    <a:lnTo>
                      <a:pt x="561" y="165"/>
                    </a:lnTo>
                    <a:lnTo>
                      <a:pt x="561" y="163"/>
                    </a:lnTo>
                    <a:lnTo>
                      <a:pt x="559" y="163"/>
                    </a:lnTo>
                    <a:lnTo>
                      <a:pt x="559" y="161"/>
                    </a:lnTo>
                    <a:lnTo>
                      <a:pt x="557" y="161"/>
                    </a:lnTo>
                    <a:lnTo>
                      <a:pt x="555" y="161"/>
                    </a:lnTo>
                    <a:lnTo>
                      <a:pt x="553" y="161"/>
                    </a:lnTo>
                    <a:lnTo>
                      <a:pt x="551" y="163"/>
                    </a:lnTo>
                    <a:lnTo>
                      <a:pt x="553" y="163"/>
                    </a:lnTo>
                    <a:lnTo>
                      <a:pt x="553" y="165"/>
                    </a:lnTo>
                    <a:lnTo>
                      <a:pt x="555" y="167"/>
                    </a:lnTo>
                    <a:lnTo>
                      <a:pt x="555" y="169"/>
                    </a:lnTo>
                    <a:lnTo>
                      <a:pt x="555" y="170"/>
                    </a:lnTo>
                    <a:lnTo>
                      <a:pt x="557" y="170"/>
                    </a:lnTo>
                    <a:lnTo>
                      <a:pt x="559" y="172"/>
                    </a:lnTo>
                    <a:lnTo>
                      <a:pt x="559" y="174"/>
                    </a:lnTo>
                    <a:lnTo>
                      <a:pt x="559" y="176"/>
                    </a:lnTo>
                    <a:lnTo>
                      <a:pt x="561" y="178"/>
                    </a:lnTo>
                    <a:lnTo>
                      <a:pt x="561" y="180"/>
                    </a:lnTo>
                    <a:lnTo>
                      <a:pt x="563" y="182"/>
                    </a:lnTo>
                    <a:lnTo>
                      <a:pt x="563" y="184"/>
                    </a:lnTo>
                    <a:lnTo>
                      <a:pt x="563" y="186"/>
                    </a:lnTo>
                    <a:lnTo>
                      <a:pt x="565" y="186"/>
                    </a:lnTo>
                    <a:lnTo>
                      <a:pt x="565" y="188"/>
                    </a:lnTo>
                    <a:lnTo>
                      <a:pt x="567" y="188"/>
                    </a:lnTo>
                    <a:lnTo>
                      <a:pt x="568" y="188"/>
                    </a:lnTo>
                    <a:lnTo>
                      <a:pt x="568" y="190"/>
                    </a:lnTo>
                    <a:lnTo>
                      <a:pt x="570" y="190"/>
                    </a:lnTo>
                    <a:lnTo>
                      <a:pt x="570" y="192"/>
                    </a:lnTo>
                    <a:lnTo>
                      <a:pt x="572" y="192"/>
                    </a:lnTo>
                    <a:lnTo>
                      <a:pt x="574" y="190"/>
                    </a:lnTo>
                    <a:lnTo>
                      <a:pt x="576" y="190"/>
                    </a:lnTo>
                    <a:lnTo>
                      <a:pt x="578" y="192"/>
                    </a:lnTo>
                    <a:lnTo>
                      <a:pt x="580" y="192"/>
                    </a:lnTo>
                    <a:lnTo>
                      <a:pt x="580" y="193"/>
                    </a:lnTo>
                    <a:lnTo>
                      <a:pt x="580" y="195"/>
                    </a:lnTo>
                    <a:lnTo>
                      <a:pt x="580" y="197"/>
                    </a:lnTo>
                    <a:lnTo>
                      <a:pt x="580" y="199"/>
                    </a:lnTo>
                    <a:lnTo>
                      <a:pt x="580" y="201"/>
                    </a:lnTo>
                    <a:lnTo>
                      <a:pt x="578" y="201"/>
                    </a:lnTo>
                    <a:lnTo>
                      <a:pt x="578" y="203"/>
                    </a:lnTo>
                    <a:lnTo>
                      <a:pt x="578" y="205"/>
                    </a:lnTo>
                    <a:lnTo>
                      <a:pt x="580" y="205"/>
                    </a:lnTo>
                    <a:lnTo>
                      <a:pt x="580" y="207"/>
                    </a:lnTo>
                    <a:lnTo>
                      <a:pt x="578" y="207"/>
                    </a:lnTo>
                    <a:lnTo>
                      <a:pt x="576" y="207"/>
                    </a:lnTo>
                    <a:lnTo>
                      <a:pt x="578" y="207"/>
                    </a:lnTo>
                    <a:lnTo>
                      <a:pt x="578" y="209"/>
                    </a:lnTo>
                    <a:lnTo>
                      <a:pt x="578" y="211"/>
                    </a:lnTo>
                    <a:lnTo>
                      <a:pt x="576" y="211"/>
                    </a:lnTo>
                    <a:lnTo>
                      <a:pt x="576" y="213"/>
                    </a:lnTo>
                    <a:lnTo>
                      <a:pt x="574" y="213"/>
                    </a:lnTo>
                    <a:lnTo>
                      <a:pt x="572" y="215"/>
                    </a:lnTo>
                    <a:lnTo>
                      <a:pt x="570" y="215"/>
                    </a:lnTo>
                    <a:lnTo>
                      <a:pt x="568" y="215"/>
                    </a:lnTo>
                    <a:lnTo>
                      <a:pt x="568" y="213"/>
                    </a:lnTo>
                    <a:lnTo>
                      <a:pt x="567" y="213"/>
                    </a:lnTo>
                    <a:lnTo>
                      <a:pt x="567" y="211"/>
                    </a:lnTo>
                    <a:lnTo>
                      <a:pt x="565" y="211"/>
                    </a:lnTo>
                    <a:lnTo>
                      <a:pt x="563" y="209"/>
                    </a:lnTo>
                    <a:lnTo>
                      <a:pt x="561" y="209"/>
                    </a:lnTo>
                    <a:lnTo>
                      <a:pt x="561" y="207"/>
                    </a:lnTo>
                    <a:lnTo>
                      <a:pt x="561" y="205"/>
                    </a:lnTo>
                    <a:lnTo>
                      <a:pt x="561" y="203"/>
                    </a:lnTo>
                    <a:lnTo>
                      <a:pt x="561" y="201"/>
                    </a:lnTo>
                    <a:lnTo>
                      <a:pt x="561" y="199"/>
                    </a:lnTo>
                    <a:lnTo>
                      <a:pt x="559" y="199"/>
                    </a:lnTo>
                    <a:lnTo>
                      <a:pt x="555" y="201"/>
                    </a:lnTo>
                    <a:lnTo>
                      <a:pt x="553" y="203"/>
                    </a:lnTo>
                    <a:lnTo>
                      <a:pt x="553" y="201"/>
                    </a:lnTo>
                    <a:lnTo>
                      <a:pt x="553" y="199"/>
                    </a:lnTo>
                    <a:lnTo>
                      <a:pt x="551" y="195"/>
                    </a:lnTo>
                    <a:lnTo>
                      <a:pt x="551" y="193"/>
                    </a:lnTo>
                    <a:lnTo>
                      <a:pt x="549" y="192"/>
                    </a:lnTo>
                    <a:lnTo>
                      <a:pt x="549" y="190"/>
                    </a:lnTo>
                    <a:lnTo>
                      <a:pt x="547" y="188"/>
                    </a:lnTo>
                    <a:lnTo>
                      <a:pt x="547" y="186"/>
                    </a:lnTo>
                    <a:lnTo>
                      <a:pt x="545" y="186"/>
                    </a:lnTo>
                    <a:lnTo>
                      <a:pt x="545" y="184"/>
                    </a:lnTo>
                    <a:lnTo>
                      <a:pt x="545" y="182"/>
                    </a:lnTo>
                    <a:lnTo>
                      <a:pt x="545" y="180"/>
                    </a:lnTo>
                    <a:lnTo>
                      <a:pt x="543" y="180"/>
                    </a:lnTo>
                    <a:lnTo>
                      <a:pt x="543" y="182"/>
                    </a:lnTo>
                    <a:lnTo>
                      <a:pt x="542" y="182"/>
                    </a:lnTo>
                    <a:lnTo>
                      <a:pt x="542" y="184"/>
                    </a:lnTo>
                    <a:lnTo>
                      <a:pt x="542" y="186"/>
                    </a:lnTo>
                    <a:lnTo>
                      <a:pt x="542" y="188"/>
                    </a:lnTo>
                    <a:lnTo>
                      <a:pt x="542" y="190"/>
                    </a:lnTo>
                    <a:lnTo>
                      <a:pt x="543" y="192"/>
                    </a:lnTo>
                    <a:lnTo>
                      <a:pt x="543" y="193"/>
                    </a:lnTo>
                    <a:lnTo>
                      <a:pt x="542" y="193"/>
                    </a:lnTo>
                    <a:lnTo>
                      <a:pt x="540" y="193"/>
                    </a:lnTo>
                    <a:lnTo>
                      <a:pt x="538" y="193"/>
                    </a:lnTo>
                    <a:lnTo>
                      <a:pt x="538" y="195"/>
                    </a:lnTo>
                    <a:lnTo>
                      <a:pt x="536" y="195"/>
                    </a:lnTo>
                    <a:lnTo>
                      <a:pt x="536" y="197"/>
                    </a:lnTo>
                    <a:lnTo>
                      <a:pt x="536" y="199"/>
                    </a:lnTo>
                    <a:lnTo>
                      <a:pt x="534" y="199"/>
                    </a:lnTo>
                    <a:lnTo>
                      <a:pt x="532" y="199"/>
                    </a:lnTo>
                    <a:lnTo>
                      <a:pt x="530" y="199"/>
                    </a:lnTo>
                    <a:lnTo>
                      <a:pt x="530" y="201"/>
                    </a:lnTo>
                    <a:lnTo>
                      <a:pt x="528" y="201"/>
                    </a:lnTo>
                    <a:lnTo>
                      <a:pt x="528" y="203"/>
                    </a:lnTo>
                    <a:lnTo>
                      <a:pt x="528" y="205"/>
                    </a:lnTo>
                    <a:lnTo>
                      <a:pt x="526" y="205"/>
                    </a:lnTo>
                    <a:lnTo>
                      <a:pt x="526" y="207"/>
                    </a:lnTo>
                    <a:lnTo>
                      <a:pt x="524" y="207"/>
                    </a:lnTo>
                    <a:lnTo>
                      <a:pt x="524" y="209"/>
                    </a:lnTo>
                    <a:lnTo>
                      <a:pt x="522" y="209"/>
                    </a:lnTo>
                    <a:lnTo>
                      <a:pt x="520" y="211"/>
                    </a:lnTo>
                    <a:lnTo>
                      <a:pt x="519" y="211"/>
                    </a:lnTo>
                    <a:lnTo>
                      <a:pt x="519" y="213"/>
                    </a:lnTo>
                    <a:lnTo>
                      <a:pt x="517" y="213"/>
                    </a:lnTo>
                    <a:lnTo>
                      <a:pt x="517" y="215"/>
                    </a:lnTo>
                    <a:lnTo>
                      <a:pt x="519" y="215"/>
                    </a:lnTo>
                    <a:lnTo>
                      <a:pt x="519" y="216"/>
                    </a:lnTo>
                    <a:lnTo>
                      <a:pt x="519" y="218"/>
                    </a:lnTo>
                    <a:lnTo>
                      <a:pt x="520" y="220"/>
                    </a:lnTo>
                    <a:lnTo>
                      <a:pt x="519" y="220"/>
                    </a:lnTo>
                    <a:lnTo>
                      <a:pt x="519" y="222"/>
                    </a:lnTo>
                    <a:lnTo>
                      <a:pt x="520" y="222"/>
                    </a:lnTo>
                    <a:lnTo>
                      <a:pt x="519" y="222"/>
                    </a:lnTo>
                    <a:lnTo>
                      <a:pt x="519" y="224"/>
                    </a:lnTo>
                    <a:lnTo>
                      <a:pt x="517" y="224"/>
                    </a:lnTo>
                    <a:lnTo>
                      <a:pt x="517" y="222"/>
                    </a:lnTo>
                    <a:lnTo>
                      <a:pt x="515" y="222"/>
                    </a:lnTo>
                    <a:lnTo>
                      <a:pt x="515" y="224"/>
                    </a:lnTo>
                    <a:lnTo>
                      <a:pt x="517" y="226"/>
                    </a:lnTo>
                    <a:lnTo>
                      <a:pt x="517" y="228"/>
                    </a:lnTo>
                    <a:lnTo>
                      <a:pt x="515" y="228"/>
                    </a:lnTo>
                    <a:lnTo>
                      <a:pt x="513" y="226"/>
                    </a:lnTo>
                    <a:lnTo>
                      <a:pt x="511" y="226"/>
                    </a:lnTo>
                    <a:lnTo>
                      <a:pt x="509" y="226"/>
                    </a:lnTo>
                    <a:lnTo>
                      <a:pt x="509" y="224"/>
                    </a:lnTo>
                    <a:lnTo>
                      <a:pt x="507" y="224"/>
                    </a:lnTo>
                    <a:lnTo>
                      <a:pt x="507" y="222"/>
                    </a:lnTo>
                    <a:lnTo>
                      <a:pt x="505" y="224"/>
                    </a:lnTo>
                    <a:lnTo>
                      <a:pt x="503" y="224"/>
                    </a:lnTo>
                    <a:lnTo>
                      <a:pt x="501" y="226"/>
                    </a:lnTo>
                    <a:lnTo>
                      <a:pt x="501" y="228"/>
                    </a:lnTo>
                    <a:lnTo>
                      <a:pt x="501" y="230"/>
                    </a:lnTo>
                    <a:lnTo>
                      <a:pt x="501" y="232"/>
                    </a:lnTo>
                    <a:lnTo>
                      <a:pt x="501" y="234"/>
                    </a:lnTo>
                    <a:lnTo>
                      <a:pt x="499" y="234"/>
                    </a:lnTo>
                    <a:lnTo>
                      <a:pt x="499" y="232"/>
                    </a:lnTo>
                    <a:lnTo>
                      <a:pt x="497" y="232"/>
                    </a:lnTo>
                    <a:lnTo>
                      <a:pt x="495" y="230"/>
                    </a:lnTo>
                    <a:lnTo>
                      <a:pt x="494" y="232"/>
                    </a:lnTo>
                    <a:lnTo>
                      <a:pt x="494" y="234"/>
                    </a:lnTo>
                    <a:lnTo>
                      <a:pt x="492" y="234"/>
                    </a:lnTo>
                    <a:lnTo>
                      <a:pt x="490" y="234"/>
                    </a:lnTo>
                    <a:lnTo>
                      <a:pt x="490" y="236"/>
                    </a:lnTo>
                    <a:lnTo>
                      <a:pt x="488" y="236"/>
                    </a:lnTo>
                    <a:lnTo>
                      <a:pt x="486" y="236"/>
                    </a:lnTo>
                    <a:lnTo>
                      <a:pt x="486" y="234"/>
                    </a:lnTo>
                    <a:lnTo>
                      <a:pt x="484" y="234"/>
                    </a:lnTo>
                    <a:lnTo>
                      <a:pt x="484" y="236"/>
                    </a:lnTo>
                    <a:lnTo>
                      <a:pt x="484" y="234"/>
                    </a:lnTo>
                    <a:lnTo>
                      <a:pt x="482" y="234"/>
                    </a:lnTo>
                    <a:lnTo>
                      <a:pt x="482" y="232"/>
                    </a:lnTo>
                    <a:lnTo>
                      <a:pt x="480" y="232"/>
                    </a:lnTo>
                    <a:lnTo>
                      <a:pt x="478" y="230"/>
                    </a:lnTo>
                    <a:lnTo>
                      <a:pt x="478" y="232"/>
                    </a:lnTo>
                    <a:lnTo>
                      <a:pt x="476" y="232"/>
                    </a:lnTo>
                    <a:lnTo>
                      <a:pt x="474" y="232"/>
                    </a:lnTo>
                    <a:lnTo>
                      <a:pt x="474" y="230"/>
                    </a:lnTo>
                    <a:lnTo>
                      <a:pt x="472" y="230"/>
                    </a:lnTo>
                    <a:lnTo>
                      <a:pt x="472" y="228"/>
                    </a:lnTo>
                    <a:lnTo>
                      <a:pt x="471" y="228"/>
                    </a:lnTo>
                    <a:lnTo>
                      <a:pt x="471" y="230"/>
                    </a:lnTo>
                    <a:lnTo>
                      <a:pt x="469" y="230"/>
                    </a:lnTo>
                    <a:lnTo>
                      <a:pt x="469" y="232"/>
                    </a:lnTo>
                    <a:lnTo>
                      <a:pt x="469" y="234"/>
                    </a:lnTo>
                    <a:lnTo>
                      <a:pt x="467" y="234"/>
                    </a:lnTo>
                    <a:lnTo>
                      <a:pt x="465" y="234"/>
                    </a:lnTo>
                    <a:lnTo>
                      <a:pt x="463" y="234"/>
                    </a:lnTo>
                    <a:lnTo>
                      <a:pt x="461" y="234"/>
                    </a:lnTo>
                    <a:lnTo>
                      <a:pt x="461" y="236"/>
                    </a:lnTo>
                    <a:lnTo>
                      <a:pt x="461" y="238"/>
                    </a:lnTo>
                    <a:lnTo>
                      <a:pt x="463" y="238"/>
                    </a:lnTo>
                    <a:lnTo>
                      <a:pt x="461" y="238"/>
                    </a:lnTo>
                    <a:lnTo>
                      <a:pt x="459" y="238"/>
                    </a:lnTo>
                    <a:lnTo>
                      <a:pt x="459" y="236"/>
                    </a:lnTo>
                    <a:lnTo>
                      <a:pt x="459" y="234"/>
                    </a:lnTo>
                    <a:lnTo>
                      <a:pt x="457" y="234"/>
                    </a:lnTo>
                    <a:lnTo>
                      <a:pt x="457" y="236"/>
                    </a:lnTo>
                    <a:lnTo>
                      <a:pt x="455" y="236"/>
                    </a:lnTo>
                    <a:lnTo>
                      <a:pt x="455" y="238"/>
                    </a:lnTo>
                    <a:lnTo>
                      <a:pt x="453" y="238"/>
                    </a:lnTo>
                    <a:lnTo>
                      <a:pt x="451" y="238"/>
                    </a:lnTo>
                    <a:lnTo>
                      <a:pt x="451" y="240"/>
                    </a:lnTo>
                    <a:lnTo>
                      <a:pt x="449" y="240"/>
                    </a:lnTo>
                    <a:lnTo>
                      <a:pt x="449" y="238"/>
                    </a:lnTo>
                    <a:lnTo>
                      <a:pt x="447" y="238"/>
                    </a:lnTo>
                    <a:lnTo>
                      <a:pt x="447" y="240"/>
                    </a:lnTo>
                    <a:lnTo>
                      <a:pt x="446" y="240"/>
                    </a:lnTo>
                    <a:lnTo>
                      <a:pt x="446" y="238"/>
                    </a:lnTo>
                    <a:lnTo>
                      <a:pt x="446" y="236"/>
                    </a:lnTo>
                    <a:lnTo>
                      <a:pt x="446" y="234"/>
                    </a:lnTo>
                    <a:lnTo>
                      <a:pt x="444" y="234"/>
                    </a:lnTo>
                    <a:lnTo>
                      <a:pt x="442" y="236"/>
                    </a:lnTo>
                    <a:lnTo>
                      <a:pt x="442" y="238"/>
                    </a:lnTo>
                    <a:lnTo>
                      <a:pt x="440" y="238"/>
                    </a:lnTo>
                    <a:lnTo>
                      <a:pt x="438" y="238"/>
                    </a:lnTo>
                    <a:lnTo>
                      <a:pt x="438" y="236"/>
                    </a:lnTo>
                    <a:lnTo>
                      <a:pt x="436" y="236"/>
                    </a:lnTo>
                    <a:lnTo>
                      <a:pt x="436" y="238"/>
                    </a:lnTo>
                    <a:lnTo>
                      <a:pt x="436" y="240"/>
                    </a:lnTo>
                    <a:lnTo>
                      <a:pt x="434" y="240"/>
                    </a:lnTo>
                    <a:lnTo>
                      <a:pt x="434" y="238"/>
                    </a:lnTo>
                    <a:lnTo>
                      <a:pt x="432" y="238"/>
                    </a:lnTo>
                    <a:lnTo>
                      <a:pt x="430" y="240"/>
                    </a:lnTo>
                    <a:lnTo>
                      <a:pt x="430" y="241"/>
                    </a:lnTo>
                    <a:lnTo>
                      <a:pt x="430" y="243"/>
                    </a:lnTo>
                    <a:lnTo>
                      <a:pt x="430" y="245"/>
                    </a:lnTo>
                    <a:lnTo>
                      <a:pt x="430" y="247"/>
                    </a:lnTo>
                    <a:lnTo>
                      <a:pt x="428" y="249"/>
                    </a:lnTo>
                    <a:lnTo>
                      <a:pt x="428" y="251"/>
                    </a:lnTo>
                    <a:lnTo>
                      <a:pt x="426" y="251"/>
                    </a:lnTo>
                    <a:lnTo>
                      <a:pt x="424" y="251"/>
                    </a:lnTo>
                    <a:lnTo>
                      <a:pt x="423" y="253"/>
                    </a:lnTo>
                    <a:lnTo>
                      <a:pt x="421" y="253"/>
                    </a:lnTo>
                    <a:lnTo>
                      <a:pt x="419" y="255"/>
                    </a:lnTo>
                    <a:lnTo>
                      <a:pt x="419" y="257"/>
                    </a:lnTo>
                    <a:lnTo>
                      <a:pt x="417" y="257"/>
                    </a:lnTo>
                    <a:lnTo>
                      <a:pt x="417" y="259"/>
                    </a:lnTo>
                    <a:lnTo>
                      <a:pt x="415" y="261"/>
                    </a:lnTo>
                    <a:lnTo>
                      <a:pt x="415" y="263"/>
                    </a:lnTo>
                    <a:lnTo>
                      <a:pt x="413" y="264"/>
                    </a:lnTo>
                    <a:lnTo>
                      <a:pt x="413" y="266"/>
                    </a:lnTo>
                    <a:lnTo>
                      <a:pt x="413" y="268"/>
                    </a:lnTo>
                    <a:lnTo>
                      <a:pt x="411" y="270"/>
                    </a:lnTo>
                    <a:lnTo>
                      <a:pt x="409" y="272"/>
                    </a:lnTo>
                    <a:lnTo>
                      <a:pt x="409" y="274"/>
                    </a:lnTo>
                    <a:lnTo>
                      <a:pt x="409" y="276"/>
                    </a:lnTo>
                    <a:lnTo>
                      <a:pt x="407" y="278"/>
                    </a:lnTo>
                    <a:lnTo>
                      <a:pt x="405" y="280"/>
                    </a:lnTo>
                    <a:lnTo>
                      <a:pt x="403" y="280"/>
                    </a:lnTo>
                    <a:lnTo>
                      <a:pt x="401" y="282"/>
                    </a:lnTo>
                    <a:lnTo>
                      <a:pt x="399" y="282"/>
                    </a:lnTo>
                    <a:lnTo>
                      <a:pt x="398" y="282"/>
                    </a:lnTo>
                    <a:lnTo>
                      <a:pt x="396" y="284"/>
                    </a:lnTo>
                    <a:lnTo>
                      <a:pt x="394" y="284"/>
                    </a:lnTo>
                    <a:lnTo>
                      <a:pt x="392" y="286"/>
                    </a:lnTo>
                    <a:lnTo>
                      <a:pt x="390" y="286"/>
                    </a:lnTo>
                    <a:lnTo>
                      <a:pt x="390" y="288"/>
                    </a:lnTo>
                    <a:lnTo>
                      <a:pt x="388" y="288"/>
                    </a:lnTo>
                    <a:lnTo>
                      <a:pt x="388" y="289"/>
                    </a:lnTo>
                    <a:lnTo>
                      <a:pt x="386" y="291"/>
                    </a:lnTo>
                    <a:lnTo>
                      <a:pt x="386" y="293"/>
                    </a:lnTo>
                    <a:lnTo>
                      <a:pt x="386" y="295"/>
                    </a:lnTo>
                    <a:lnTo>
                      <a:pt x="386" y="297"/>
                    </a:lnTo>
                    <a:lnTo>
                      <a:pt x="384" y="299"/>
                    </a:lnTo>
                    <a:lnTo>
                      <a:pt x="384" y="301"/>
                    </a:lnTo>
                    <a:lnTo>
                      <a:pt x="382" y="303"/>
                    </a:lnTo>
                    <a:lnTo>
                      <a:pt x="382" y="305"/>
                    </a:lnTo>
                    <a:lnTo>
                      <a:pt x="380" y="307"/>
                    </a:lnTo>
                    <a:lnTo>
                      <a:pt x="376" y="309"/>
                    </a:lnTo>
                    <a:lnTo>
                      <a:pt x="376" y="311"/>
                    </a:lnTo>
                    <a:lnTo>
                      <a:pt x="373" y="311"/>
                    </a:lnTo>
                    <a:lnTo>
                      <a:pt x="371" y="311"/>
                    </a:lnTo>
                    <a:lnTo>
                      <a:pt x="369" y="311"/>
                    </a:lnTo>
                    <a:lnTo>
                      <a:pt x="367" y="311"/>
                    </a:lnTo>
                    <a:lnTo>
                      <a:pt x="365" y="311"/>
                    </a:lnTo>
                    <a:lnTo>
                      <a:pt x="365" y="312"/>
                    </a:lnTo>
                    <a:lnTo>
                      <a:pt x="363" y="312"/>
                    </a:lnTo>
                    <a:lnTo>
                      <a:pt x="361" y="311"/>
                    </a:lnTo>
                    <a:lnTo>
                      <a:pt x="359" y="311"/>
                    </a:lnTo>
                    <a:lnTo>
                      <a:pt x="357" y="312"/>
                    </a:lnTo>
                    <a:lnTo>
                      <a:pt x="355" y="312"/>
                    </a:lnTo>
                    <a:lnTo>
                      <a:pt x="353" y="312"/>
                    </a:lnTo>
                    <a:lnTo>
                      <a:pt x="351" y="312"/>
                    </a:lnTo>
                    <a:lnTo>
                      <a:pt x="348" y="311"/>
                    </a:lnTo>
                    <a:lnTo>
                      <a:pt x="344" y="309"/>
                    </a:lnTo>
                    <a:lnTo>
                      <a:pt x="342" y="307"/>
                    </a:lnTo>
                    <a:lnTo>
                      <a:pt x="340" y="307"/>
                    </a:lnTo>
                    <a:lnTo>
                      <a:pt x="338" y="307"/>
                    </a:lnTo>
                    <a:lnTo>
                      <a:pt x="336" y="307"/>
                    </a:lnTo>
                    <a:lnTo>
                      <a:pt x="334" y="307"/>
                    </a:lnTo>
                    <a:lnTo>
                      <a:pt x="332" y="307"/>
                    </a:lnTo>
                    <a:lnTo>
                      <a:pt x="330" y="307"/>
                    </a:lnTo>
                    <a:lnTo>
                      <a:pt x="328" y="307"/>
                    </a:lnTo>
                    <a:lnTo>
                      <a:pt x="327" y="307"/>
                    </a:lnTo>
                    <a:lnTo>
                      <a:pt x="325" y="307"/>
                    </a:lnTo>
                    <a:lnTo>
                      <a:pt x="323" y="307"/>
                    </a:lnTo>
                    <a:lnTo>
                      <a:pt x="321" y="309"/>
                    </a:lnTo>
                    <a:lnTo>
                      <a:pt x="319" y="309"/>
                    </a:lnTo>
                    <a:lnTo>
                      <a:pt x="317" y="309"/>
                    </a:lnTo>
                    <a:lnTo>
                      <a:pt x="315" y="309"/>
                    </a:lnTo>
                    <a:lnTo>
                      <a:pt x="309" y="309"/>
                    </a:lnTo>
                    <a:lnTo>
                      <a:pt x="307" y="307"/>
                    </a:lnTo>
                    <a:lnTo>
                      <a:pt x="305" y="307"/>
                    </a:lnTo>
                    <a:lnTo>
                      <a:pt x="303" y="305"/>
                    </a:lnTo>
                    <a:lnTo>
                      <a:pt x="302" y="305"/>
                    </a:lnTo>
                    <a:lnTo>
                      <a:pt x="300" y="305"/>
                    </a:lnTo>
                    <a:lnTo>
                      <a:pt x="298" y="305"/>
                    </a:lnTo>
                    <a:lnTo>
                      <a:pt x="298" y="307"/>
                    </a:lnTo>
                    <a:lnTo>
                      <a:pt x="298" y="309"/>
                    </a:lnTo>
                    <a:lnTo>
                      <a:pt x="296" y="309"/>
                    </a:lnTo>
                    <a:lnTo>
                      <a:pt x="294" y="309"/>
                    </a:lnTo>
                    <a:lnTo>
                      <a:pt x="292" y="311"/>
                    </a:lnTo>
                    <a:lnTo>
                      <a:pt x="288" y="309"/>
                    </a:lnTo>
                    <a:lnTo>
                      <a:pt x="286" y="307"/>
                    </a:lnTo>
                    <a:lnTo>
                      <a:pt x="284" y="305"/>
                    </a:lnTo>
                    <a:lnTo>
                      <a:pt x="278" y="305"/>
                    </a:lnTo>
                    <a:lnTo>
                      <a:pt x="277" y="305"/>
                    </a:lnTo>
                    <a:lnTo>
                      <a:pt x="275" y="305"/>
                    </a:lnTo>
                    <a:lnTo>
                      <a:pt x="273" y="305"/>
                    </a:lnTo>
                    <a:lnTo>
                      <a:pt x="271" y="309"/>
                    </a:lnTo>
                    <a:lnTo>
                      <a:pt x="269" y="309"/>
                    </a:lnTo>
                    <a:lnTo>
                      <a:pt x="269" y="311"/>
                    </a:lnTo>
                    <a:lnTo>
                      <a:pt x="265" y="311"/>
                    </a:lnTo>
                    <a:lnTo>
                      <a:pt x="263" y="312"/>
                    </a:lnTo>
                    <a:lnTo>
                      <a:pt x="261" y="312"/>
                    </a:lnTo>
                    <a:lnTo>
                      <a:pt x="259" y="312"/>
                    </a:lnTo>
                    <a:lnTo>
                      <a:pt x="257" y="312"/>
                    </a:lnTo>
                    <a:lnTo>
                      <a:pt x="254" y="312"/>
                    </a:lnTo>
                    <a:lnTo>
                      <a:pt x="252" y="312"/>
                    </a:lnTo>
                    <a:lnTo>
                      <a:pt x="248" y="311"/>
                    </a:lnTo>
                    <a:lnTo>
                      <a:pt x="246" y="311"/>
                    </a:lnTo>
                    <a:lnTo>
                      <a:pt x="246" y="309"/>
                    </a:lnTo>
                    <a:lnTo>
                      <a:pt x="244" y="309"/>
                    </a:lnTo>
                    <a:lnTo>
                      <a:pt x="242" y="309"/>
                    </a:lnTo>
                    <a:lnTo>
                      <a:pt x="242" y="311"/>
                    </a:lnTo>
                    <a:lnTo>
                      <a:pt x="240" y="311"/>
                    </a:lnTo>
                    <a:lnTo>
                      <a:pt x="240" y="309"/>
                    </a:lnTo>
                    <a:lnTo>
                      <a:pt x="238" y="309"/>
                    </a:lnTo>
                    <a:lnTo>
                      <a:pt x="236" y="309"/>
                    </a:lnTo>
                    <a:lnTo>
                      <a:pt x="236" y="307"/>
                    </a:lnTo>
                    <a:lnTo>
                      <a:pt x="234" y="307"/>
                    </a:lnTo>
                    <a:lnTo>
                      <a:pt x="232" y="307"/>
                    </a:lnTo>
                    <a:lnTo>
                      <a:pt x="230" y="307"/>
                    </a:lnTo>
                    <a:lnTo>
                      <a:pt x="230" y="305"/>
                    </a:lnTo>
                    <a:lnTo>
                      <a:pt x="230" y="307"/>
                    </a:lnTo>
                    <a:lnTo>
                      <a:pt x="230" y="305"/>
                    </a:lnTo>
                    <a:lnTo>
                      <a:pt x="229" y="305"/>
                    </a:lnTo>
                    <a:lnTo>
                      <a:pt x="227" y="305"/>
                    </a:lnTo>
                    <a:lnTo>
                      <a:pt x="227" y="303"/>
                    </a:lnTo>
                    <a:lnTo>
                      <a:pt x="225" y="303"/>
                    </a:lnTo>
                    <a:lnTo>
                      <a:pt x="223" y="303"/>
                    </a:lnTo>
                    <a:lnTo>
                      <a:pt x="221" y="303"/>
                    </a:lnTo>
                    <a:lnTo>
                      <a:pt x="219" y="303"/>
                    </a:lnTo>
                    <a:lnTo>
                      <a:pt x="217" y="303"/>
                    </a:lnTo>
                    <a:lnTo>
                      <a:pt x="215" y="303"/>
                    </a:lnTo>
                    <a:lnTo>
                      <a:pt x="211" y="303"/>
                    </a:lnTo>
                    <a:lnTo>
                      <a:pt x="207" y="305"/>
                    </a:lnTo>
                    <a:lnTo>
                      <a:pt x="206" y="305"/>
                    </a:lnTo>
                    <a:lnTo>
                      <a:pt x="204" y="305"/>
                    </a:lnTo>
                    <a:lnTo>
                      <a:pt x="202" y="305"/>
                    </a:lnTo>
                    <a:lnTo>
                      <a:pt x="200" y="305"/>
                    </a:lnTo>
                    <a:lnTo>
                      <a:pt x="198" y="305"/>
                    </a:lnTo>
                    <a:lnTo>
                      <a:pt x="196" y="305"/>
                    </a:lnTo>
                    <a:lnTo>
                      <a:pt x="196" y="303"/>
                    </a:lnTo>
                    <a:lnTo>
                      <a:pt x="194" y="303"/>
                    </a:lnTo>
                    <a:lnTo>
                      <a:pt x="192" y="303"/>
                    </a:lnTo>
                    <a:lnTo>
                      <a:pt x="190" y="303"/>
                    </a:lnTo>
                    <a:lnTo>
                      <a:pt x="188" y="303"/>
                    </a:lnTo>
                    <a:lnTo>
                      <a:pt x="184" y="303"/>
                    </a:lnTo>
                    <a:lnTo>
                      <a:pt x="182" y="303"/>
                    </a:lnTo>
                    <a:lnTo>
                      <a:pt x="181" y="303"/>
                    </a:lnTo>
                    <a:lnTo>
                      <a:pt x="179" y="303"/>
                    </a:lnTo>
                    <a:lnTo>
                      <a:pt x="175" y="303"/>
                    </a:lnTo>
                    <a:lnTo>
                      <a:pt x="173" y="303"/>
                    </a:lnTo>
                    <a:lnTo>
                      <a:pt x="171" y="303"/>
                    </a:lnTo>
                    <a:lnTo>
                      <a:pt x="169" y="303"/>
                    </a:lnTo>
                    <a:lnTo>
                      <a:pt x="167" y="303"/>
                    </a:lnTo>
                    <a:lnTo>
                      <a:pt x="163" y="303"/>
                    </a:lnTo>
                    <a:lnTo>
                      <a:pt x="161" y="303"/>
                    </a:lnTo>
                    <a:lnTo>
                      <a:pt x="159" y="303"/>
                    </a:lnTo>
                    <a:lnTo>
                      <a:pt x="158" y="303"/>
                    </a:lnTo>
                    <a:lnTo>
                      <a:pt x="156" y="303"/>
                    </a:lnTo>
                    <a:lnTo>
                      <a:pt x="154" y="303"/>
                    </a:lnTo>
                    <a:lnTo>
                      <a:pt x="152" y="303"/>
                    </a:lnTo>
                    <a:lnTo>
                      <a:pt x="150" y="303"/>
                    </a:lnTo>
                    <a:lnTo>
                      <a:pt x="148" y="303"/>
                    </a:lnTo>
                    <a:lnTo>
                      <a:pt x="146" y="303"/>
                    </a:lnTo>
                    <a:lnTo>
                      <a:pt x="144" y="303"/>
                    </a:lnTo>
                    <a:lnTo>
                      <a:pt x="142" y="303"/>
                    </a:lnTo>
                    <a:lnTo>
                      <a:pt x="140" y="301"/>
                    </a:lnTo>
                    <a:lnTo>
                      <a:pt x="138" y="301"/>
                    </a:lnTo>
                    <a:lnTo>
                      <a:pt x="136" y="301"/>
                    </a:lnTo>
                    <a:lnTo>
                      <a:pt x="134" y="301"/>
                    </a:lnTo>
                    <a:lnTo>
                      <a:pt x="134" y="303"/>
                    </a:lnTo>
                    <a:lnTo>
                      <a:pt x="133" y="303"/>
                    </a:lnTo>
                    <a:lnTo>
                      <a:pt x="131" y="303"/>
                    </a:lnTo>
                    <a:lnTo>
                      <a:pt x="131" y="301"/>
                    </a:lnTo>
                    <a:lnTo>
                      <a:pt x="131" y="303"/>
                    </a:lnTo>
                    <a:lnTo>
                      <a:pt x="131" y="301"/>
                    </a:lnTo>
                    <a:lnTo>
                      <a:pt x="129" y="301"/>
                    </a:lnTo>
                    <a:lnTo>
                      <a:pt x="127" y="301"/>
                    </a:lnTo>
                    <a:lnTo>
                      <a:pt x="125" y="301"/>
                    </a:lnTo>
                    <a:lnTo>
                      <a:pt x="123" y="301"/>
                    </a:lnTo>
                    <a:lnTo>
                      <a:pt x="121" y="303"/>
                    </a:lnTo>
                    <a:lnTo>
                      <a:pt x="119" y="303"/>
                    </a:lnTo>
                    <a:lnTo>
                      <a:pt x="117" y="305"/>
                    </a:lnTo>
                    <a:lnTo>
                      <a:pt x="115" y="305"/>
                    </a:lnTo>
                    <a:lnTo>
                      <a:pt x="113" y="307"/>
                    </a:lnTo>
                    <a:lnTo>
                      <a:pt x="111" y="307"/>
                    </a:lnTo>
                    <a:lnTo>
                      <a:pt x="110" y="307"/>
                    </a:lnTo>
                    <a:lnTo>
                      <a:pt x="108" y="307"/>
                    </a:lnTo>
                    <a:lnTo>
                      <a:pt x="106" y="305"/>
                    </a:lnTo>
                    <a:lnTo>
                      <a:pt x="104" y="307"/>
                    </a:lnTo>
                    <a:lnTo>
                      <a:pt x="104" y="305"/>
                    </a:lnTo>
                    <a:lnTo>
                      <a:pt x="102" y="305"/>
                    </a:lnTo>
                    <a:lnTo>
                      <a:pt x="100" y="305"/>
                    </a:lnTo>
                    <a:lnTo>
                      <a:pt x="100" y="307"/>
                    </a:lnTo>
                    <a:lnTo>
                      <a:pt x="98" y="309"/>
                    </a:lnTo>
                    <a:lnTo>
                      <a:pt x="96" y="309"/>
                    </a:lnTo>
                    <a:lnTo>
                      <a:pt x="96" y="311"/>
                    </a:lnTo>
                    <a:lnTo>
                      <a:pt x="98" y="312"/>
                    </a:lnTo>
                    <a:lnTo>
                      <a:pt x="96" y="314"/>
                    </a:lnTo>
                    <a:lnTo>
                      <a:pt x="96" y="318"/>
                    </a:lnTo>
                    <a:lnTo>
                      <a:pt x="94" y="320"/>
                    </a:lnTo>
                    <a:lnTo>
                      <a:pt x="92" y="320"/>
                    </a:lnTo>
                    <a:lnTo>
                      <a:pt x="90" y="320"/>
                    </a:lnTo>
                    <a:lnTo>
                      <a:pt x="90" y="322"/>
                    </a:lnTo>
                    <a:lnTo>
                      <a:pt x="88" y="322"/>
                    </a:lnTo>
                    <a:lnTo>
                      <a:pt x="88" y="324"/>
                    </a:lnTo>
                    <a:lnTo>
                      <a:pt x="88" y="326"/>
                    </a:lnTo>
                    <a:lnTo>
                      <a:pt x="86" y="326"/>
                    </a:lnTo>
                    <a:lnTo>
                      <a:pt x="86" y="328"/>
                    </a:lnTo>
                    <a:lnTo>
                      <a:pt x="85" y="328"/>
                    </a:lnTo>
                    <a:lnTo>
                      <a:pt x="85" y="330"/>
                    </a:lnTo>
                    <a:lnTo>
                      <a:pt x="83" y="330"/>
                    </a:lnTo>
                    <a:lnTo>
                      <a:pt x="81" y="330"/>
                    </a:lnTo>
                    <a:lnTo>
                      <a:pt x="81" y="332"/>
                    </a:lnTo>
                    <a:lnTo>
                      <a:pt x="81" y="334"/>
                    </a:lnTo>
                    <a:lnTo>
                      <a:pt x="81" y="336"/>
                    </a:lnTo>
                    <a:lnTo>
                      <a:pt x="79" y="336"/>
                    </a:lnTo>
                    <a:lnTo>
                      <a:pt x="77" y="337"/>
                    </a:lnTo>
                    <a:lnTo>
                      <a:pt x="75" y="337"/>
                    </a:lnTo>
                    <a:lnTo>
                      <a:pt x="77" y="337"/>
                    </a:lnTo>
                    <a:lnTo>
                      <a:pt x="77" y="339"/>
                    </a:lnTo>
                    <a:lnTo>
                      <a:pt x="77" y="341"/>
                    </a:lnTo>
                    <a:lnTo>
                      <a:pt x="77" y="343"/>
                    </a:lnTo>
                    <a:lnTo>
                      <a:pt x="75" y="343"/>
                    </a:lnTo>
                    <a:lnTo>
                      <a:pt x="75" y="345"/>
                    </a:lnTo>
                    <a:lnTo>
                      <a:pt x="73" y="345"/>
                    </a:lnTo>
                    <a:lnTo>
                      <a:pt x="71" y="345"/>
                    </a:lnTo>
                    <a:lnTo>
                      <a:pt x="69" y="343"/>
                    </a:lnTo>
                    <a:lnTo>
                      <a:pt x="69" y="345"/>
                    </a:lnTo>
                    <a:lnTo>
                      <a:pt x="67" y="345"/>
                    </a:lnTo>
                    <a:lnTo>
                      <a:pt x="65" y="347"/>
                    </a:lnTo>
                    <a:lnTo>
                      <a:pt x="63" y="347"/>
                    </a:lnTo>
                    <a:lnTo>
                      <a:pt x="63" y="349"/>
                    </a:lnTo>
                    <a:lnTo>
                      <a:pt x="61" y="349"/>
                    </a:lnTo>
                    <a:lnTo>
                      <a:pt x="61" y="351"/>
                    </a:lnTo>
                    <a:lnTo>
                      <a:pt x="60" y="351"/>
                    </a:lnTo>
                    <a:lnTo>
                      <a:pt x="58" y="353"/>
                    </a:lnTo>
                    <a:lnTo>
                      <a:pt x="58" y="355"/>
                    </a:lnTo>
                    <a:lnTo>
                      <a:pt x="58" y="357"/>
                    </a:lnTo>
                    <a:lnTo>
                      <a:pt x="56" y="357"/>
                    </a:lnTo>
                    <a:lnTo>
                      <a:pt x="54" y="357"/>
                    </a:lnTo>
                    <a:lnTo>
                      <a:pt x="54" y="359"/>
                    </a:lnTo>
                    <a:lnTo>
                      <a:pt x="52" y="359"/>
                    </a:lnTo>
                    <a:lnTo>
                      <a:pt x="50" y="359"/>
                    </a:lnTo>
                    <a:lnTo>
                      <a:pt x="48" y="359"/>
                    </a:lnTo>
                    <a:lnTo>
                      <a:pt x="48" y="360"/>
                    </a:lnTo>
                    <a:lnTo>
                      <a:pt x="46" y="360"/>
                    </a:lnTo>
                    <a:lnTo>
                      <a:pt x="46" y="359"/>
                    </a:lnTo>
                    <a:lnTo>
                      <a:pt x="44" y="359"/>
                    </a:lnTo>
                    <a:lnTo>
                      <a:pt x="44" y="360"/>
                    </a:lnTo>
                    <a:lnTo>
                      <a:pt x="42" y="360"/>
                    </a:lnTo>
                    <a:lnTo>
                      <a:pt x="40" y="360"/>
                    </a:lnTo>
                    <a:lnTo>
                      <a:pt x="40" y="359"/>
                    </a:lnTo>
                    <a:lnTo>
                      <a:pt x="38" y="359"/>
                    </a:lnTo>
                    <a:lnTo>
                      <a:pt x="38" y="360"/>
                    </a:lnTo>
                    <a:lnTo>
                      <a:pt x="37" y="360"/>
                    </a:lnTo>
                    <a:lnTo>
                      <a:pt x="37" y="362"/>
                    </a:lnTo>
                    <a:lnTo>
                      <a:pt x="35" y="362"/>
                    </a:lnTo>
                    <a:lnTo>
                      <a:pt x="35" y="364"/>
                    </a:lnTo>
                    <a:lnTo>
                      <a:pt x="35" y="366"/>
                    </a:lnTo>
                    <a:lnTo>
                      <a:pt x="33" y="366"/>
                    </a:lnTo>
                    <a:lnTo>
                      <a:pt x="33" y="364"/>
                    </a:lnTo>
                    <a:lnTo>
                      <a:pt x="31" y="364"/>
                    </a:lnTo>
                    <a:lnTo>
                      <a:pt x="31" y="362"/>
                    </a:lnTo>
                    <a:lnTo>
                      <a:pt x="29" y="362"/>
                    </a:lnTo>
                    <a:lnTo>
                      <a:pt x="27" y="362"/>
                    </a:lnTo>
                    <a:lnTo>
                      <a:pt x="27" y="360"/>
                    </a:lnTo>
                    <a:lnTo>
                      <a:pt x="25" y="360"/>
                    </a:lnTo>
                    <a:lnTo>
                      <a:pt x="23" y="362"/>
                    </a:lnTo>
                    <a:lnTo>
                      <a:pt x="21" y="364"/>
                    </a:lnTo>
                    <a:lnTo>
                      <a:pt x="21" y="362"/>
                    </a:lnTo>
                    <a:lnTo>
                      <a:pt x="19" y="362"/>
                    </a:lnTo>
                    <a:lnTo>
                      <a:pt x="17" y="360"/>
                    </a:lnTo>
                    <a:lnTo>
                      <a:pt x="12" y="360"/>
                    </a:lnTo>
                    <a:lnTo>
                      <a:pt x="8" y="359"/>
                    </a:lnTo>
                    <a:lnTo>
                      <a:pt x="6" y="359"/>
                    </a:lnTo>
                    <a:lnTo>
                      <a:pt x="4" y="359"/>
                    </a:lnTo>
                    <a:lnTo>
                      <a:pt x="2" y="359"/>
                    </a:lnTo>
                    <a:lnTo>
                      <a:pt x="0" y="359"/>
                    </a:lnTo>
                    <a:lnTo>
                      <a:pt x="0" y="357"/>
                    </a:lnTo>
                    <a:lnTo>
                      <a:pt x="2" y="357"/>
                    </a:lnTo>
                    <a:lnTo>
                      <a:pt x="2" y="355"/>
                    </a:lnTo>
                    <a:lnTo>
                      <a:pt x="2" y="353"/>
                    </a:lnTo>
                    <a:lnTo>
                      <a:pt x="4" y="353"/>
                    </a:lnTo>
                    <a:lnTo>
                      <a:pt x="4" y="351"/>
                    </a:lnTo>
                    <a:lnTo>
                      <a:pt x="4" y="349"/>
                    </a:lnTo>
                    <a:lnTo>
                      <a:pt x="6" y="349"/>
                    </a:lnTo>
                    <a:lnTo>
                      <a:pt x="6" y="347"/>
                    </a:lnTo>
                    <a:lnTo>
                      <a:pt x="8" y="347"/>
                    </a:lnTo>
                    <a:lnTo>
                      <a:pt x="8" y="345"/>
                    </a:lnTo>
                    <a:lnTo>
                      <a:pt x="8" y="343"/>
                    </a:lnTo>
                    <a:lnTo>
                      <a:pt x="8" y="341"/>
                    </a:lnTo>
                    <a:lnTo>
                      <a:pt x="10" y="341"/>
                    </a:lnTo>
                    <a:lnTo>
                      <a:pt x="8" y="341"/>
                    </a:lnTo>
                    <a:lnTo>
                      <a:pt x="10" y="341"/>
                    </a:lnTo>
                    <a:lnTo>
                      <a:pt x="8" y="341"/>
                    </a:lnTo>
                    <a:lnTo>
                      <a:pt x="10" y="339"/>
                    </a:lnTo>
                    <a:lnTo>
                      <a:pt x="10" y="337"/>
                    </a:lnTo>
                    <a:lnTo>
                      <a:pt x="10" y="336"/>
                    </a:lnTo>
                    <a:lnTo>
                      <a:pt x="12" y="336"/>
                    </a:lnTo>
                    <a:lnTo>
                      <a:pt x="12" y="334"/>
                    </a:lnTo>
                    <a:lnTo>
                      <a:pt x="13" y="334"/>
                    </a:lnTo>
                    <a:lnTo>
                      <a:pt x="13" y="332"/>
                    </a:lnTo>
                    <a:lnTo>
                      <a:pt x="12" y="332"/>
                    </a:lnTo>
                    <a:lnTo>
                      <a:pt x="13" y="332"/>
                    </a:lnTo>
                    <a:lnTo>
                      <a:pt x="13" y="330"/>
                    </a:lnTo>
                    <a:lnTo>
                      <a:pt x="15" y="330"/>
                    </a:lnTo>
                    <a:lnTo>
                      <a:pt x="15" y="328"/>
                    </a:lnTo>
                    <a:lnTo>
                      <a:pt x="17" y="328"/>
                    </a:lnTo>
                    <a:lnTo>
                      <a:pt x="17" y="326"/>
                    </a:lnTo>
                    <a:lnTo>
                      <a:pt x="19" y="326"/>
                    </a:lnTo>
                    <a:lnTo>
                      <a:pt x="19" y="324"/>
                    </a:lnTo>
                    <a:lnTo>
                      <a:pt x="21" y="324"/>
                    </a:lnTo>
                    <a:lnTo>
                      <a:pt x="23" y="322"/>
                    </a:lnTo>
                    <a:lnTo>
                      <a:pt x="23" y="320"/>
                    </a:lnTo>
                    <a:lnTo>
                      <a:pt x="25" y="320"/>
                    </a:lnTo>
                    <a:lnTo>
                      <a:pt x="27" y="318"/>
                    </a:lnTo>
                    <a:lnTo>
                      <a:pt x="25" y="318"/>
                    </a:lnTo>
                    <a:lnTo>
                      <a:pt x="27" y="318"/>
                    </a:lnTo>
                    <a:lnTo>
                      <a:pt x="27" y="316"/>
                    </a:lnTo>
                    <a:lnTo>
                      <a:pt x="27" y="314"/>
                    </a:lnTo>
                    <a:lnTo>
                      <a:pt x="29" y="314"/>
                    </a:lnTo>
                    <a:lnTo>
                      <a:pt x="29" y="312"/>
                    </a:lnTo>
                    <a:lnTo>
                      <a:pt x="31" y="312"/>
                    </a:lnTo>
                    <a:lnTo>
                      <a:pt x="31" y="311"/>
                    </a:lnTo>
                    <a:lnTo>
                      <a:pt x="31" y="309"/>
                    </a:lnTo>
                    <a:lnTo>
                      <a:pt x="29" y="309"/>
                    </a:lnTo>
                    <a:lnTo>
                      <a:pt x="29" y="307"/>
                    </a:lnTo>
                    <a:lnTo>
                      <a:pt x="27" y="307"/>
                    </a:lnTo>
                    <a:lnTo>
                      <a:pt x="29" y="305"/>
                    </a:lnTo>
                    <a:lnTo>
                      <a:pt x="29" y="303"/>
                    </a:lnTo>
                    <a:lnTo>
                      <a:pt x="27" y="303"/>
                    </a:lnTo>
                    <a:lnTo>
                      <a:pt x="27" y="301"/>
                    </a:lnTo>
                    <a:lnTo>
                      <a:pt x="25" y="299"/>
                    </a:lnTo>
                    <a:lnTo>
                      <a:pt x="27" y="299"/>
                    </a:lnTo>
                    <a:lnTo>
                      <a:pt x="25" y="299"/>
                    </a:lnTo>
                    <a:lnTo>
                      <a:pt x="23" y="299"/>
                    </a:lnTo>
                    <a:lnTo>
                      <a:pt x="23" y="297"/>
                    </a:lnTo>
                    <a:lnTo>
                      <a:pt x="21" y="297"/>
                    </a:lnTo>
                    <a:lnTo>
                      <a:pt x="21" y="295"/>
                    </a:lnTo>
                    <a:lnTo>
                      <a:pt x="23" y="295"/>
                    </a:lnTo>
                    <a:lnTo>
                      <a:pt x="23" y="293"/>
                    </a:lnTo>
                    <a:lnTo>
                      <a:pt x="21" y="293"/>
                    </a:lnTo>
                    <a:lnTo>
                      <a:pt x="21" y="291"/>
                    </a:lnTo>
                    <a:lnTo>
                      <a:pt x="21" y="289"/>
                    </a:lnTo>
                    <a:lnTo>
                      <a:pt x="19" y="289"/>
                    </a:lnTo>
                    <a:lnTo>
                      <a:pt x="19" y="288"/>
                    </a:lnTo>
                    <a:lnTo>
                      <a:pt x="21" y="288"/>
                    </a:lnTo>
                    <a:lnTo>
                      <a:pt x="21" y="286"/>
                    </a:lnTo>
                    <a:lnTo>
                      <a:pt x="23" y="286"/>
                    </a:lnTo>
                    <a:lnTo>
                      <a:pt x="23" y="288"/>
                    </a:lnTo>
                    <a:lnTo>
                      <a:pt x="25" y="288"/>
                    </a:lnTo>
                    <a:lnTo>
                      <a:pt x="25" y="286"/>
                    </a:lnTo>
                    <a:lnTo>
                      <a:pt x="25" y="284"/>
                    </a:lnTo>
                    <a:lnTo>
                      <a:pt x="25" y="282"/>
                    </a:lnTo>
                    <a:lnTo>
                      <a:pt x="25" y="280"/>
                    </a:lnTo>
                    <a:lnTo>
                      <a:pt x="25" y="278"/>
                    </a:lnTo>
                    <a:lnTo>
                      <a:pt x="23" y="278"/>
                    </a:lnTo>
                    <a:lnTo>
                      <a:pt x="23" y="280"/>
                    </a:lnTo>
                    <a:lnTo>
                      <a:pt x="23" y="278"/>
                    </a:lnTo>
                    <a:lnTo>
                      <a:pt x="23" y="276"/>
                    </a:lnTo>
                    <a:lnTo>
                      <a:pt x="23" y="274"/>
                    </a:lnTo>
                    <a:lnTo>
                      <a:pt x="21" y="274"/>
                    </a:lnTo>
                    <a:lnTo>
                      <a:pt x="21" y="272"/>
                    </a:lnTo>
                    <a:lnTo>
                      <a:pt x="19" y="272"/>
                    </a:lnTo>
                    <a:lnTo>
                      <a:pt x="17" y="270"/>
                    </a:lnTo>
                    <a:lnTo>
                      <a:pt x="17" y="268"/>
                    </a:lnTo>
                    <a:lnTo>
                      <a:pt x="17" y="266"/>
                    </a:lnTo>
                    <a:lnTo>
                      <a:pt x="17" y="264"/>
                    </a:lnTo>
                    <a:lnTo>
                      <a:pt x="19" y="264"/>
                    </a:lnTo>
                    <a:lnTo>
                      <a:pt x="19" y="263"/>
                    </a:lnTo>
                    <a:lnTo>
                      <a:pt x="17" y="263"/>
                    </a:lnTo>
                    <a:lnTo>
                      <a:pt x="17" y="261"/>
                    </a:lnTo>
                    <a:lnTo>
                      <a:pt x="17" y="259"/>
                    </a:lnTo>
                    <a:lnTo>
                      <a:pt x="17" y="261"/>
                    </a:lnTo>
                    <a:lnTo>
                      <a:pt x="19" y="261"/>
                    </a:lnTo>
                    <a:lnTo>
                      <a:pt x="19" y="259"/>
                    </a:lnTo>
                    <a:lnTo>
                      <a:pt x="17" y="259"/>
                    </a:lnTo>
                    <a:lnTo>
                      <a:pt x="17" y="257"/>
                    </a:lnTo>
                    <a:lnTo>
                      <a:pt x="17" y="255"/>
                    </a:lnTo>
                    <a:lnTo>
                      <a:pt x="17" y="253"/>
                    </a:lnTo>
                    <a:lnTo>
                      <a:pt x="17" y="251"/>
                    </a:lnTo>
                    <a:lnTo>
                      <a:pt x="17" y="249"/>
                    </a:lnTo>
                    <a:lnTo>
                      <a:pt x="17" y="247"/>
                    </a:lnTo>
                    <a:lnTo>
                      <a:pt x="17" y="245"/>
                    </a:lnTo>
                    <a:lnTo>
                      <a:pt x="19" y="245"/>
                    </a:lnTo>
                    <a:lnTo>
                      <a:pt x="19" y="243"/>
                    </a:lnTo>
                    <a:lnTo>
                      <a:pt x="19" y="241"/>
                    </a:lnTo>
                    <a:lnTo>
                      <a:pt x="21" y="241"/>
                    </a:lnTo>
                    <a:lnTo>
                      <a:pt x="21" y="240"/>
                    </a:lnTo>
                    <a:lnTo>
                      <a:pt x="19" y="240"/>
                    </a:lnTo>
                    <a:lnTo>
                      <a:pt x="19" y="238"/>
                    </a:lnTo>
                    <a:lnTo>
                      <a:pt x="21" y="238"/>
                    </a:lnTo>
                    <a:lnTo>
                      <a:pt x="19" y="238"/>
                    </a:lnTo>
                    <a:lnTo>
                      <a:pt x="19" y="236"/>
                    </a:lnTo>
                    <a:lnTo>
                      <a:pt x="21" y="236"/>
                    </a:lnTo>
                    <a:lnTo>
                      <a:pt x="21" y="234"/>
                    </a:lnTo>
                    <a:lnTo>
                      <a:pt x="21" y="232"/>
                    </a:lnTo>
                    <a:lnTo>
                      <a:pt x="23" y="232"/>
                    </a:lnTo>
                    <a:lnTo>
                      <a:pt x="25" y="232"/>
                    </a:lnTo>
                    <a:lnTo>
                      <a:pt x="23" y="232"/>
                    </a:lnTo>
                    <a:lnTo>
                      <a:pt x="23" y="230"/>
                    </a:lnTo>
                    <a:lnTo>
                      <a:pt x="25" y="230"/>
                    </a:lnTo>
                    <a:lnTo>
                      <a:pt x="27" y="230"/>
                    </a:lnTo>
                    <a:lnTo>
                      <a:pt x="27" y="228"/>
                    </a:lnTo>
                    <a:lnTo>
                      <a:pt x="29" y="228"/>
                    </a:lnTo>
                    <a:lnTo>
                      <a:pt x="31" y="228"/>
                    </a:lnTo>
                    <a:lnTo>
                      <a:pt x="31" y="226"/>
                    </a:lnTo>
                    <a:lnTo>
                      <a:pt x="31" y="224"/>
                    </a:lnTo>
                    <a:lnTo>
                      <a:pt x="33" y="224"/>
                    </a:lnTo>
                    <a:lnTo>
                      <a:pt x="35" y="224"/>
                    </a:lnTo>
                    <a:lnTo>
                      <a:pt x="35" y="222"/>
                    </a:lnTo>
                    <a:lnTo>
                      <a:pt x="37" y="222"/>
                    </a:lnTo>
                    <a:lnTo>
                      <a:pt x="37" y="220"/>
                    </a:lnTo>
                    <a:lnTo>
                      <a:pt x="38" y="220"/>
                    </a:lnTo>
                    <a:lnTo>
                      <a:pt x="38" y="218"/>
                    </a:lnTo>
                    <a:lnTo>
                      <a:pt x="40" y="218"/>
                    </a:lnTo>
                    <a:lnTo>
                      <a:pt x="40" y="216"/>
                    </a:lnTo>
                    <a:lnTo>
                      <a:pt x="42" y="216"/>
                    </a:lnTo>
                    <a:lnTo>
                      <a:pt x="42" y="218"/>
                    </a:lnTo>
                    <a:lnTo>
                      <a:pt x="42" y="216"/>
                    </a:lnTo>
                    <a:lnTo>
                      <a:pt x="44" y="216"/>
                    </a:lnTo>
                    <a:lnTo>
                      <a:pt x="44" y="215"/>
                    </a:lnTo>
                    <a:lnTo>
                      <a:pt x="46" y="215"/>
                    </a:lnTo>
                    <a:lnTo>
                      <a:pt x="46" y="213"/>
                    </a:lnTo>
                    <a:lnTo>
                      <a:pt x="48" y="213"/>
                    </a:lnTo>
                    <a:lnTo>
                      <a:pt x="48" y="211"/>
                    </a:lnTo>
                    <a:lnTo>
                      <a:pt x="50" y="211"/>
                    </a:lnTo>
                    <a:lnTo>
                      <a:pt x="50" y="209"/>
                    </a:lnTo>
                    <a:lnTo>
                      <a:pt x="48" y="209"/>
                    </a:lnTo>
                    <a:lnTo>
                      <a:pt x="48" y="207"/>
                    </a:lnTo>
                    <a:lnTo>
                      <a:pt x="48" y="205"/>
                    </a:lnTo>
                    <a:lnTo>
                      <a:pt x="46" y="203"/>
                    </a:lnTo>
                    <a:lnTo>
                      <a:pt x="46" y="201"/>
                    </a:lnTo>
                    <a:lnTo>
                      <a:pt x="48" y="201"/>
                    </a:lnTo>
                    <a:lnTo>
                      <a:pt x="48" y="199"/>
                    </a:lnTo>
                    <a:lnTo>
                      <a:pt x="50" y="199"/>
                    </a:lnTo>
                    <a:lnTo>
                      <a:pt x="50" y="197"/>
                    </a:lnTo>
                    <a:lnTo>
                      <a:pt x="52" y="197"/>
                    </a:lnTo>
                    <a:lnTo>
                      <a:pt x="52" y="199"/>
                    </a:lnTo>
                    <a:lnTo>
                      <a:pt x="54" y="199"/>
                    </a:lnTo>
                    <a:lnTo>
                      <a:pt x="56" y="199"/>
                    </a:lnTo>
                    <a:lnTo>
                      <a:pt x="56" y="201"/>
                    </a:lnTo>
                    <a:lnTo>
                      <a:pt x="58" y="203"/>
                    </a:lnTo>
                    <a:lnTo>
                      <a:pt x="60" y="203"/>
                    </a:lnTo>
                    <a:lnTo>
                      <a:pt x="60" y="205"/>
                    </a:lnTo>
                    <a:lnTo>
                      <a:pt x="61" y="205"/>
                    </a:lnTo>
                    <a:lnTo>
                      <a:pt x="61" y="203"/>
                    </a:lnTo>
                    <a:lnTo>
                      <a:pt x="63" y="203"/>
                    </a:lnTo>
                    <a:lnTo>
                      <a:pt x="63" y="201"/>
                    </a:lnTo>
                    <a:lnTo>
                      <a:pt x="63" y="199"/>
                    </a:lnTo>
                    <a:lnTo>
                      <a:pt x="63" y="197"/>
                    </a:lnTo>
                    <a:lnTo>
                      <a:pt x="65" y="197"/>
                    </a:lnTo>
                    <a:lnTo>
                      <a:pt x="67" y="197"/>
                    </a:lnTo>
                    <a:lnTo>
                      <a:pt x="69" y="197"/>
                    </a:lnTo>
                    <a:lnTo>
                      <a:pt x="71" y="197"/>
                    </a:lnTo>
                    <a:lnTo>
                      <a:pt x="73" y="197"/>
                    </a:lnTo>
                    <a:lnTo>
                      <a:pt x="73" y="195"/>
                    </a:lnTo>
                    <a:lnTo>
                      <a:pt x="73" y="193"/>
                    </a:lnTo>
                    <a:lnTo>
                      <a:pt x="75" y="193"/>
                    </a:lnTo>
                    <a:lnTo>
                      <a:pt x="75" y="192"/>
                    </a:lnTo>
                    <a:lnTo>
                      <a:pt x="75" y="190"/>
                    </a:lnTo>
                    <a:lnTo>
                      <a:pt x="73" y="190"/>
                    </a:lnTo>
                    <a:lnTo>
                      <a:pt x="73" y="188"/>
                    </a:lnTo>
                    <a:lnTo>
                      <a:pt x="75" y="186"/>
                    </a:lnTo>
                    <a:lnTo>
                      <a:pt x="77" y="186"/>
                    </a:lnTo>
                    <a:lnTo>
                      <a:pt x="79" y="186"/>
                    </a:lnTo>
                    <a:lnTo>
                      <a:pt x="81" y="186"/>
                    </a:lnTo>
                    <a:lnTo>
                      <a:pt x="83" y="186"/>
                    </a:lnTo>
                    <a:lnTo>
                      <a:pt x="83" y="184"/>
                    </a:lnTo>
                    <a:lnTo>
                      <a:pt x="81" y="184"/>
                    </a:lnTo>
                    <a:lnTo>
                      <a:pt x="81" y="182"/>
                    </a:lnTo>
                    <a:lnTo>
                      <a:pt x="81" y="180"/>
                    </a:lnTo>
                    <a:lnTo>
                      <a:pt x="81" y="178"/>
                    </a:lnTo>
                    <a:lnTo>
                      <a:pt x="83" y="178"/>
                    </a:lnTo>
                    <a:lnTo>
                      <a:pt x="83" y="176"/>
                    </a:lnTo>
                    <a:lnTo>
                      <a:pt x="85" y="176"/>
                    </a:lnTo>
                    <a:lnTo>
                      <a:pt x="86" y="176"/>
                    </a:lnTo>
                    <a:lnTo>
                      <a:pt x="88" y="176"/>
                    </a:lnTo>
                    <a:lnTo>
                      <a:pt x="90" y="176"/>
                    </a:lnTo>
                    <a:lnTo>
                      <a:pt x="90" y="178"/>
                    </a:lnTo>
                    <a:lnTo>
                      <a:pt x="92" y="180"/>
                    </a:lnTo>
                    <a:lnTo>
                      <a:pt x="94" y="180"/>
                    </a:lnTo>
                    <a:lnTo>
                      <a:pt x="96" y="180"/>
                    </a:lnTo>
                    <a:lnTo>
                      <a:pt x="96" y="178"/>
                    </a:lnTo>
                    <a:lnTo>
                      <a:pt x="98" y="178"/>
                    </a:lnTo>
                    <a:lnTo>
                      <a:pt x="98" y="176"/>
                    </a:lnTo>
                    <a:lnTo>
                      <a:pt x="98" y="174"/>
                    </a:lnTo>
                    <a:lnTo>
                      <a:pt x="98" y="172"/>
                    </a:lnTo>
                    <a:lnTo>
                      <a:pt x="96" y="172"/>
                    </a:lnTo>
                    <a:lnTo>
                      <a:pt x="96" y="170"/>
                    </a:lnTo>
                    <a:lnTo>
                      <a:pt x="94" y="170"/>
                    </a:lnTo>
                    <a:lnTo>
                      <a:pt x="94" y="169"/>
                    </a:lnTo>
                    <a:lnTo>
                      <a:pt x="92" y="169"/>
                    </a:lnTo>
                    <a:lnTo>
                      <a:pt x="92" y="167"/>
                    </a:lnTo>
                    <a:lnTo>
                      <a:pt x="92" y="165"/>
                    </a:lnTo>
                    <a:lnTo>
                      <a:pt x="94" y="165"/>
                    </a:lnTo>
                    <a:lnTo>
                      <a:pt x="94" y="163"/>
                    </a:lnTo>
                    <a:lnTo>
                      <a:pt x="92" y="163"/>
                    </a:lnTo>
                    <a:lnTo>
                      <a:pt x="92" y="161"/>
                    </a:lnTo>
                    <a:lnTo>
                      <a:pt x="90" y="161"/>
                    </a:lnTo>
                    <a:lnTo>
                      <a:pt x="90" y="159"/>
                    </a:lnTo>
                    <a:lnTo>
                      <a:pt x="92" y="159"/>
                    </a:lnTo>
                    <a:lnTo>
                      <a:pt x="94" y="159"/>
                    </a:lnTo>
                    <a:lnTo>
                      <a:pt x="96" y="159"/>
                    </a:lnTo>
                    <a:lnTo>
                      <a:pt x="96" y="157"/>
                    </a:lnTo>
                    <a:lnTo>
                      <a:pt x="98" y="157"/>
                    </a:lnTo>
                    <a:lnTo>
                      <a:pt x="98" y="155"/>
                    </a:lnTo>
                    <a:lnTo>
                      <a:pt x="100" y="155"/>
                    </a:lnTo>
                    <a:lnTo>
                      <a:pt x="102" y="155"/>
                    </a:lnTo>
                    <a:lnTo>
                      <a:pt x="102" y="153"/>
                    </a:lnTo>
                    <a:lnTo>
                      <a:pt x="104" y="153"/>
                    </a:lnTo>
                    <a:lnTo>
                      <a:pt x="106" y="153"/>
                    </a:lnTo>
                    <a:lnTo>
                      <a:pt x="108" y="153"/>
                    </a:lnTo>
                    <a:lnTo>
                      <a:pt x="110" y="153"/>
                    </a:lnTo>
                    <a:lnTo>
                      <a:pt x="110" y="155"/>
                    </a:lnTo>
                    <a:lnTo>
                      <a:pt x="111" y="155"/>
                    </a:lnTo>
                    <a:lnTo>
                      <a:pt x="113" y="155"/>
                    </a:lnTo>
                    <a:lnTo>
                      <a:pt x="113" y="153"/>
                    </a:lnTo>
                    <a:lnTo>
                      <a:pt x="115" y="153"/>
                    </a:lnTo>
                    <a:lnTo>
                      <a:pt x="117" y="153"/>
                    </a:lnTo>
                    <a:lnTo>
                      <a:pt x="117" y="151"/>
                    </a:lnTo>
                    <a:lnTo>
                      <a:pt x="119" y="151"/>
                    </a:lnTo>
                    <a:lnTo>
                      <a:pt x="119" y="149"/>
                    </a:lnTo>
                    <a:lnTo>
                      <a:pt x="121" y="149"/>
                    </a:lnTo>
                    <a:lnTo>
                      <a:pt x="121" y="147"/>
                    </a:lnTo>
                    <a:lnTo>
                      <a:pt x="123" y="145"/>
                    </a:lnTo>
                    <a:lnTo>
                      <a:pt x="123" y="144"/>
                    </a:lnTo>
                    <a:lnTo>
                      <a:pt x="125" y="144"/>
                    </a:lnTo>
                    <a:lnTo>
                      <a:pt x="127" y="144"/>
                    </a:lnTo>
                    <a:lnTo>
                      <a:pt x="127" y="142"/>
                    </a:lnTo>
                    <a:lnTo>
                      <a:pt x="127" y="140"/>
                    </a:lnTo>
                    <a:lnTo>
                      <a:pt x="129" y="140"/>
                    </a:lnTo>
                    <a:lnTo>
                      <a:pt x="129" y="138"/>
                    </a:lnTo>
                    <a:lnTo>
                      <a:pt x="131" y="138"/>
                    </a:lnTo>
                    <a:lnTo>
                      <a:pt x="133" y="138"/>
                    </a:lnTo>
                    <a:lnTo>
                      <a:pt x="133" y="136"/>
                    </a:lnTo>
                    <a:lnTo>
                      <a:pt x="133" y="134"/>
                    </a:lnTo>
                    <a:lnTo>
                      <a:pt x="134" y="134"/>
                    </a:lnTo>
                    <a:lnTo>
                      <a:pt x="134" y="132"/>
                    </a:lnTo>
                    <a:lnTo>
                      <a:pt x="136" y="132"/>
                    </a:lnTo>
                    <a:lnTo>
                      <a:pt x="136" y="130"/>
                    </a:lnTo>
                    <a:lnTo>
                      <a:pt x="138" y="128"/>
                    </a:lnTo>
                    <a:lnTo>
                      <a:pt x="138" y="130"/>
                    </a:lnTo>
                    <a:lnTo>
                      <a:pt x="140" y="130"/>
                    </a:lnTo>
                    <a:lnTo>
                      <a:pt x="140" y="128"/>
                    </a:lnTo>
                    <a:lnTo>
                      <a:pt x="140" y="126"/>
                    </a:lnTo>
                    <a:lnTo>
                      <a:pt x="142" y="126"/>
                    </a:lnTo>
                    <a:lnTo>
                      <a:pt x="142" y="124"/>
                    </a:lnTo>
                    <a:lnTo>
                      <a:pt x="144" y="124"/>
                    </a:lnTo>
                    <a:lnTo>
                      <a:pt x="144" y="126"/>
                    </a:lnTo>
                    <a:lnTo>
                      <a:pt x="146" y="126"/>
                    </a:lnTo>
                    <a:lnTo>
                      <a:pt x="146" y="124"/>
                    </a:lnTo>
                    <a:lnTo>
                      <a:pt x="146" y="122"/>
                    </a:lnTo>
                    <a:lnTo>
                      <a:pt x="148" y="122"/>
                    </a:lnTo>
                    <a:lnTo>
                      <a:pt x="148" y="121"/>
                    </a:lnTo>
                    <a:lnTo>
                      <a:pt x="150" y="119"/>
                    </a:lnTo>
                    <a:lnTo>
                      <a:pt x="152" y="119"/>
                    </a:lnTo>
                    <a:lnTo>
                      <a:pt x="154" y="119"/>
                    </a:lnTo>
                    <a:lnTo>
                      <a:pt x="154" y="117"/>
                    </a:lnTo>
                    <a:lnTo>
                      <a:pt x="156" y="117"/>
                    </a:lnTo>
                    <a:lnTo>
                      <a:pt x="156" y="115"/>
                    </a:lnTo>
                    <a:lnTo>
                      <a:pt x="158" y="115"/>
                    </a:lnTo>
                    <a:lnTo>
                      <a:pt x="158" y="113"/>
                    </a:lnTo>
                    <a:lnTo>
                      <a:pt x="159" y="113"/>
                    </a:lnTo>
                    <a:lnTo>
                      <a:pt x="159" y="111"/>
                    </a:lnTo>
                    <a:lnTo>
                      <a:pt x="161" y="111"/>
                    </a:lnTo>
                    <a:lnTo>
                      <a:pt x="163" y="111"/>
                    </a:lnTo>
                    <a:lnTo>
                      <a:pt x="165" y="111"/>
                    </a:lnTo>
                    <a:lnTo>
                      <a:pt x="167" y="109"/>
                    </a:lnTo>
                    <a:lnTo>
                      <a:pt x="169" y="109"/>
                    </a:lnTo>
                    <a:lnTo>
                      <a:pt x="171" y="109"/>
                    </a:lnTo>
                    <a:lnTo>
                      <a:pt x="171" y="107"/>
                    </a:lnTo>
                    <a:lnTo>
                      <a:pt x="173" y="107"/>
                    </a:lnTo>
                    <a:lnTo>
                      <a:pt x="175" y="107"/>
                    </a:lnTo>
                    <a:lnTo>
                      <a:pt x="177" y="107"/>
                    </a:lnTo>
                    <a:lnTo>
                      <a:pt x="179" y="107"/>
                    </a:lnTo>
                    <a:lnTo>
                      <a:pt x="179" y="105"/>
                    </a:lnTo>
                    <a:lnTo>
                      <a:pt x="181" y="105"/>
                    </a:lnTo>
                    <a:lnTo>
                      <a:pt x="182" y="105"/>
                    </a:lnTo>
                    <a:lnTo>
                      <a:pt x="184" y="105"/>
                    </a:lnTo>
                    <a:lnTo>
                      <a:pt x="186" y="105"/>
                    </a:lnTo>
                    <a:lnTo>
                      <a:pt x="188" y="105"/>
                    </a:lnTo>
                    <a:lnTo>
                      <a:pt x="188" y="103"/>
                    </a:lnTo>
                    <a:lnTo>
                      <a:pt x="188" y="105"/>
                    </a:lnTo>
                    <a:lnTo>
                      <a:pt x="190" y="105"/>
                    </a:lnTo>
                    <a:lnTo>
                      <a:pt x="192" y="105"/>
                    </a:lnTo>
                    <a:lnTo>
                      <a:pt x="194" y="105"/>
                    </a:lnTo>
                    <a:lnTo>
                      <a:pt x="196" y="105"/>
                    </a:lnTo>
                    <a:lnTo>
                      <a:pt x="198" y="105"/>
                    </a:lnTo>
                    <a:lnTo>
                      <a:pt x="198" y="103"/>
                    </a:lnTo>
                    <a:lnTo>
                      <a:pt x="200" y="103"/>
                    </a:lnTo>
                    <a:lnTo>
                      <a:pt x="202" y="103"/>
                    </a:lnTo>
                    <a:lnTo>
                      <a:pt x="202" y="105"/>
                    </a:lnTo>
                    <a:lnTo>
                      <a:pt x="204" y="105"/>
                    </a:lnTo>
                    <a:lnTo>
                      <a:pt x="206" y="105"/>
                    </a:lnTo>
                    <a:lnTo>
                      <a:pt x="207" y="105"/>
                    </a:lnTo>
                    <a:lnTo>
                      <a:pt x="209" y="105"/>
                    </a:lnTo>
                    <a:lnTo>
                      <a:pt x="211" y="105"/>
                    </a:lnTo>
                    <a:lnTo>
                      <a:pt x="211" y="107"/>
                    </a:lnTo>
                    <a:lnTo>
                      <a:pt x="213" y="107"/>
                    </a:lnTo>
                    <a:lnTo>
                      <a:pt x="215" y="107"/>
                    </a:lnTo>
                    <a:lnTo>
                      <a:pt x="217" y="107"/>
                    </a:lnTo>
                    <a:lnTo>
                      <a:pt x="219" y="107"/>
                    </a:lnTo>
                    <a:lnTo>
                      <a:pt x="221" y="109"/>
                    </a:lnTo>
                    <a:lnTo>
                      <a:pt x="221" y="111"/>
                    </a:lnTo>
                    <a:lnTo>
                      <a:pt x="223" y="111"/>
                    </a:lnTo>
                    <a:lnTo>
                      <a:pt x="223" y="113"/>
                    </a:lnTo>
                    <a:lnTo>
                      <a:pt x="223" y="115"/>
                    </a:lnTo>
                    <a:lnTo>
                      <a:pt x="225" y="115"/>
                    </a:lnTo>
                    <a:lnTo>
                      <a:pt x="227" y="115"/>
                    </a:lnTo>
                    <a:lnTo>
                      <a:pt x="227" y="117"/>
                    </a:lnTo>
                    <a:lnTo>
                      <a:pt x="229" y="117"/>
                    </a:lnTo>
                    <a:lnTo>
                      <a:pt x="230" y="117"/>
                    </a:lnTo>
                    <a:lnTo>
                      <a:pt x="230" y="119"/>
                    </a:lnTo>
                    <a:lnTo>
                      <a:pt x="232" y="119"/>
                    </a:lnTo>
                    <a:lnTo>
                      <a:pt x="234" y="119"/>
                    </a:lnTo>
                    <a:lnTo>
                      <a:pt x="236" y="119"/>
                    </a:lnTo>
                    <a:lnTo>
                      <a:pt x="236" y="121"/>
                    </a:lnTo>
                    <a:lnTo>
                      <a:pt x="238" y="121"/>
                    </a:lnTo>
                    <a:lnTo>
                      <a:pt x="240" y="121"/>
                    </a:lnTo>
                    <a:lnTo>
                      <a:pt x="242" y="121"/>
                    </a:lnTo>
                    <a:lnTo>
                      <a:pt x="244" y="121"/>
                    </a:lnTo>
                    <a:lnTo>
                      <a:pt x="246" y="121"/>
                    </a:lnTo>
                    <a:lnTo>
                      <a:pt x="246" y="119"/>
                    </a:lnTo>
                    <a:lnTo>
                      <a:pt x="248" y="119"/>
                    </a:lnTo>
                    <a:lnTo>
                      <a:pt x="248" y="117"/>
                    </a:lnTo>
                    <a:lnTo>
                      <a:pt x="246" y="117"/>
                    </a:lnTo>
                    <a:lnTo>
                      <a:pt x="246" y="115"/>
                    </a:lnTo>
                    <a:lnTo>
                      <a:pt x="248" y="115"/>
                    </a:lnTo>
                    <a:lnTo>
                      <a:pt x="248" y="113"/>
                    </a:lnTo>
                    <a:lnTo>
                      <a:pt x="248" y="111"/>
                    </a:lnTo>
                    <a:lnTo>
                      <a:pt x="248" y="109"/>
                    </a:lnTo>
                    <a:lnTo>
                      <a:pt x="248" y="107"/>
                    </a:lnTo>
                    <a:lnTo>
                      <a:pt x="246" y="107"/>
                    </a:lnTo>
                    <a:lnTo>
                      <a:pt x="244" y="107"/>
                    </a:lnTo>
                    <a:lnTo>
                      <a:pt x="244" y="105"/>
                    </a:lnTo>
                    <a:lnTo>
                      <a:pt x="244" y="103"/>
                    </a:lnTo>
                    <a:lnTo>
                      <a:pt x="246" y="103"/>
                    </a:lnTo>
                    <a:lnTo>
                      <a:pt x="246" y="101"/>
                    </a:lnTo>
                    <a:lnTo>
                      <a:pt x="248" y="101"/>
                    </a:lnTo>
                    <a:lnTo>
                      <a:pt x="248" y="99"/>
                    </a:lnTo>
                    <a:lnTo>
                      <a:pt x="248" y="97"/>
                    </a:lnTo>
                    <a:lnTo>
                      <a:pt x="246" y="97"/>
                    </a:lnTo>
                    <a:lnTo>
                      <a:pt x="246" y="96"/>
                    </a:lnTo>
                    <a:lnTo>
                      <a:pt x="246" y="94"/>
                    </a:lnTo>
                    <a:lnTo>
                      <a:pt x="246" y="92"/>
                    </a:lnTo>
                    <a:lnTo>
                      <a:pt x="248" y="92"/>
                    </a:lnTo>
                    <a:lnTo>
                      <a:pt x="248" y="90"/>
                    </a:lnTo>
                    <a:lnTo>
                      <a:pt x="248" y="88"/>
                    </a:lnTo>
                    <a:lnTo>
                      <a:pt x="248" y="86"/>
                    </a:lnTo>
                    <a:lnTo>
                      <a:pt x="248" y="84"/>
                    </a:lnTo>
                    <a:lnTo>
                      <a:pt x="248" y="82"/>
                    </a:lnTo>
                    <a:lnTo>
                      <a:pt x="248" y="80"/>
                    </a:lnTo>
                    <a:lnTo>
                      <a:pt x="248" y="78"/>
                    </a:lnTo>
                    <a:lnTo>
                      <a:pt x="248" y="76"/>
                    </a:lnTo>
                    <a:lnTo>
                      <a:pt x="250" y="76"/>
                    </a:lnTo>
                    <a:lnTo>
                      <a:pt x="250" y="74"/>
                    </a:lnTo>
                    <a:lnTo>
                      <a:pt x="250" y="73"/>
                    </a:lnTo>
                    <a:lnTo>
                      <a:pt x="250" y="71"/>
                    </a:lnTo>
                    <a:lnTo>
                      <a:pt x="250" y="69"/>
                    </a:lnTo>
                    <a:lnTo>
                      <a:pt x="250" y="67"/>
                    </a:lnTo>
                    <a:lnTo>
                      <a:pt x="252" y="67"/>
                    </a:lnTo>
                    <a:lnTo>
                      <a:pt x="252" y="65"/>
                    </a:lnTo>
                    <a:lnTo>
                      <a:pt x="252" y="63"/>
                    </a:lnTo>
                    <a:lnTo>
                      <a:pt x="254" y="63"/>
                    </a:lnTo>
                    <a:lnTo>
                      <a:pt x="254" y="61"/>
                    </a:lnTo>
                    <a:lnTo>
                      <a:pt x="254" y="59"/>
                    </a:lnTo>
                    <a:lnTo>
                      <a:pt x="254" y="57"/>
                    </a:lnTo>
                    <a:lnTo>
                      <a:pt x="254" y="55"/>
                    </a:lnTo>
                    <a:lnTo>
                      <a:pt x="254" y="53"/>
                    </a:lnTo>
                    <a:lnTo>
                      <a:pt x="254" y="51"/>
                    </a:lnTo>
                    <a:lnTo>
                      <a:pt x="254" y="49"/>
                    </a:lnTo>
                    <a:lnTo>
                      <a:pt x="254" y="48"/>
                    </a:lnTo>
                    <a:lnTo>
                      <a:pt x="254" y="46"/>
                    </a:lnTo>
                    <a:lnTo>
                      <a:pt x="254" y="44"/>
                    </a:lnTo>
                    <a:lnTo>
                      <a:pt x="254" y="42"/>
                    </a:lnTo>
                    <a:lnTo>
                      <a:pt x="255" y="42"/>
                    </a:lnTo>
                    <a:lnTo>
                      <a:pt x="255" y="40"/>
                    </a:lnTo>
                    <a:lnTo>
                      <a:pt x="255" y="38"/>
                    </a:lnTo>
                    <a:lnTo>
                      <a:pt x="254" y="38"/>
                    </a:lnTo>
                    <a:lnTo>
                      <a:pt x="255" y="38"/>
                    </a:lnTo>
                    <a:lnTo>
                      <a:pt x="254" y="38"/>
                    </a:lnTo>
                    <a:lnTo>
                      <a:pt x="254" y="36"/>
                    </a:lnTo>
                    <a:lnTo>
                      <a:pt x="254" y="34"/>
                    </a:lnTo>
                    <a:lnTo>
                      <a:pt x="254" y="32"/>
                    </a:lnTo>
                    <a:lnTo>
                      <a:pt x="254" y="30"/>
                    </a:lnTo>
                    <a:lnTo>
                      <a:pt x="254" y="28"/>
                    </a:lnTo>
                    <a:lnTo>
                      <a:pt x="254" y="26"/>
                    </a:lnTo>
                    <a:lnTo>
                      <a:pt x="255" y="25"/>
                    </a:lnTo>
                    <a:lnTo>
                      <a:pt x="255" y="23"/>
                    </a:lnTo>
                    <a:lnTo>
                      <a:pt x="255" y="19"/>
                    </a:lnTo>
                    <a:lnTo>
                      <a:pt x="255" y="17"/>
                    </a:lnTo>
                    <a:lnTo>
                      <a:pt x="255" y="15"/>
                    </a:lnTo>
                    <a:lnTo>
                      <a:pt x="255" y="13"/>
                    </a:lnTo>
                    <a:lnTo>
                      <a:pt x="257" y="11"/>
                    </a:lnTo>
                    <a:lnTo>
                      <a:pt x="259" y="9"/>
                    </a:lnTo>
                    <a:lnTo>
                      <a:pt x="261" y="7"/>
                    </a:lnTo>
                    <a:lnTo>
                      <a:pt x="263" y="7"/>
                    </a:lnTo>
                    <a:lnTo>
                      <a:pt x="263" y="5"/>
                    </a:lnTo>
                    <a:lnTo>
                      <a:pt x="265" y="5"/>
                    </a:lnTo>
                    <a:lnTo>
                      <a:pt x="267" y="3"/>
                    </a:lnTo>
                    <a:lnTo>
                      <a:pt x="269" y="1"/>
                    </a:lnTo>
                    <a:lnTo>
                      <a:pt x="269" y="0"/>
                    </a:lnTo>
                    <a:lnTo>
                      <a:pt x="271" y="0"/>
                    </a:lnTo>
                    <a:lnTo>
                      <a:pt x="273" y="0"/>
                    </a:lnTo>
                    <a:lnTo>
                      <a:pt x="273" y="1"/>
                    </a:lnTo>
                    <a:lnTo>
                      <a:pt x="275" y="1"/>
                    </a:lnTo>
                    <a:lnTo>
                      <a:pt x="277" y="1"/>
                    </a:lnTo>
                    <a:lnTo>
                      <a:pt x="277" y="3"/>
                    </a:lnTo>
                    <a:lnTo>
                      <a:pt x="278" y="3"/>
                    </a:lnTo>
                    <a:lnTo>
                      <a:pt x="280" y="3"/>
                    </a:lnTo>
                    <a:lnTo>
                      <a:pt x="282" y="3"/>
                    </a:lnTo>
                    <a:lnTo>
                      <a:pt x="282" y="5"/>
                    </a:lnTo>
                    <a:lnTo>
                      <a:pt x="284" y="5"/>
                    </a:lnTo>
                    <a:lnTo>
                      <a:pt x="286" y="5"/>
                    </a:lnTo>
                    <a:lnTo>
                      <a:pt x="288" y="5"/>
                    </a:lnTo>
                    <a:lnTo>
                      <a:pt x="290" y="5"/>
                    </a:lnTo>
                    <a:lnTo>
                      <a:pt x="292" y="5"/>
                    </a:lnTo>
                    <a:lnTo>
                      <a:pt x="292" y="7"/>
                    </a:lnTo>
                    <a:lnTo>
                      <a:pt x="294" y="7"/>
                    </a:lnTo>
                    <a:lnTo>
                      <a:pt x="294" y="9"/>
                    </a:lnTo>
                    <a:lnTo>
                      <a:pt x="294" y="11"/>
                    </a:lnTo>
                    <a:lnTo>
                      <a:pt x="296" y="11"/>
                    </a:lnTo>
                    <a:lnTo>
                      <a:pt x="296" y="13"/>
                    </a:lnTo>
                    <a:lnTo>
                      <a:pt x="296" y="15"/>
                    </a:lnTo>
                    <a:lnTo>
                      <a:pt x="294" y="17"/>
                    </a:lnTo>
                    <a:lnTo>
                      <a:pt x="296" y="17"/>
                    </a:lnTo>
                    <a:lnTo>
                      <a:pt x="296" y="19"/>
                    </a:lnTo>
                    <a:lnTo>
                      <a:pt x="296" y="21"/>
                    </a:lnTo>
                    <a:lnTo>
                      <a:pt x="298" y="21"/>
                    </a:lnTo>
                    <a:lnTo>
                      <a:pt x="300" y="21"/>
                    </a:lnTo>
                    <a:lnTo>
                      <a:pt x="300" y="19"/>
                    </a:lnTo>
                    <a:lnTo>
                      <a:pt x="302" y="19"/>
                    </a:lnTo>
                    <a:lnTo>
                      <a:pt x="302" y="17"/>
                    </a:lnTo>
                    <a:lnTo>
                      <a:pt x="302" y="15"/>
                    </a:lnTo>
                    <a:lnTo>
                      <a:pt x="302" y="13"/>
                    </a:lnTo>
                    <a:lnTo>
                      <a:pt x="303" y="13"/>
                    </a:lnTo>
                    <a:lnTo>
                      <a:pt x="303" y="11"/>
                    </a:lnTo>
                    <a:lnTo>
                      <a:pt x="305" y="9"/>
                    </a:lnTo>
                    <a:lnTo>
                      <a:pt x="307" y="7"/>
                    </a:lnTo>
                    <a:lnTo>
                      <a:pt x="309" y="7"/>
                    </a:lnTo>
                    <a:lnTo>
                      <a:pt x="309" y="5"/>
                    </a:lnTo>
                    <a:lnTo>
                      <a:pt x="311" y="5"/>
                    </a:lnTo>
                    <a:lnTo>
                      <a:pt x="313" y="5"/>
                    </a:lnTo>
                    <a:lnTo>
                      <a:pt x="315" y="5"/>
                    </a:lnTo>
                    <a:lnTo>
                      <a:pt x="315" y="7"/>
                    </a:lnTo>
                    <a:lnTo>
                      <a:pt x="317" y="7"/>
                    </a:lnTo>
                    <a:lnTo>
                      <a:pt x="317" y="9"/>
                    </a:lnTo>
                    <a:lnTo>
                      <a:pt x="319" y="9"/>
                    </a:lnTo>
                    <a:lnTo>
                      <a:pt x="319" y="11"/>
                    </a:lnTo>
                    <a:lnTo>
                      <a:pt x="321" y="11"/>
                    </a:lnTo>
                    <a:lnTo>
                      <a:pt x="321" y="15"/>
                    </a:lnTo>
                    <a:lnTo>
                      <a:pt x="323" y="17"/>
                    </a:lnTo>
                    <a:lnTo>
                      <a:pt x="323" y="19"/>
                    </a:lnTo>
                    <a:lnTo>
                      <a:pt x="323" y="21"/>
                    </a:lnTo>
                    <a:lnTo>
                      <a:pt x="325" y="21"/>
                    </a:lnTo>
                    <a:lnTo>
                      <a:pt x="325" y="23"/>
                    </a:lnTo>
                    <a:lnTo>
                      <a:pt x="325" y="25"/>
                    </a:lnTo>
                    <a:lnTo>
                      <a:pt x="327" y="25"/>
                    </a:lnTo>
                    <a:lnTo>
                      <a:pt x="327" y="26"/>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sp>
            <p:nvSpPr>
              <p:cNvPr id="109" name="Freeform 222">
                <a:extLst>
                  <a:ext uri="{FF2B5EF4-FFF2-40B4-BE49-F238E27FC236}">
                    <a16:creationId xmlns:a16="http://schemas.microsoft.com/office/drawing/2014/main" id="{A99FCEC1-564C-41C5-84CC-7BD546786B1B}"/>
                  </a:ext>
                </a:extLst>
              </p:cNvPr>
              <p:cNvSpPr>
                <a:spLocks noEditPoints="1"/>
              </p:cNvSpPr>
              <p:nvPr/>
            </p:nvSpPr>
            <p:spPr bwMode="auto">
              <a:xfrm>
                <a:off x="5998609" y="2503482"/>
                <a:ext cx="241895" cy="241895"/>
              </a:xfrm>
              <a:custGeom>
                <a:avLst/>
                <a:gdLst>
                  <a:gd name="T0" fmla="*/ 152 w 163"/>
                  <a:gd name="T1" fmla="*/ 15 h 163"/>
                  <a:gd name="T2" fmla="*/ 161 w 163"/>
                  <a:gd name="T3" fmla="*/ 23 h 163"/>
                  <a:gd name="T4" fmla="*/ 161 w 163"/>
                  <a:gd name="T5" fmla="*/ 33 h 163"/>
                  <a:gd name="T6" fmla="*/ 152 w 163"/>
                  <a:gd name="T7" fmla="*/ 37 h 163"/>
                  <a:gd name="T8" fmla="*/ 144 w 163"/>
                  <a:gd name="T9" fmla="*/ 40 h 163"/>
                  <a:gd name="T10" fmla="*/ 140 w 163"/>
                  <a:gd name="T11" fmla="*/ 46 h 163"/>
                  <a:gd name="T12" fmla="*/ 142 w 163"/>
                  <a:gd name="T13" fmla="*/ 54 h 163"/>
                  <a:gd name="T14" fmla="*/ 140 w 163"/>
                  <a:gd name="T15" fmla="*/ 61 h 163"/>
                  <a:gd name="T16" fmla="*/ 146 w 163"/>
                  <a:gd name="T17" fmla="*/ 75 h 163"/>
                  <a:gd name="T18" fmla="*/ 150 w 163"/>
                  <a:gd name="T19" fmla="*/ 85 h 163"/>
                  <a:gd name="T20" fmla="*/ 156 w 163"/>
                  <a:gd name="T21" fmla="*/ 92 h 163"/>
                  <a:gd name="T22" fmla="*/ 144 w 163"/>
                  <a:gd name="T23" fmla="*/ 92 h 163"/>
                  <a:gd name="T24" fmla="*/ 138 w 163"/>
                  <a:gd name="T25" fmla="*/ 102 h 163"/>
                  <a:gd name="T26" fmla="*/ 127 w 163"/>
                  <a:gd name="T27" fmla="*/ 96 h 163"/>
                  <a:gd name="T28" fmla="*/ 125 w 163"/>
                  <a:gd name="T29" fmla="*/ 108 h 163"/>
                  <a:gd name="T30" fmla="*/ 113 w 163"/>
                  <a:gd name="T31" fmla="*/ 104 h 163"/>
                  <a:gd name="T32" fmla="*/ 100 w 163"/>
                  <a:gd name="T33" fmla="*/ 106 h 163"/>
                  <a:gd name="T34" fmla="*/ 102 w 163"/>
                  <a:gd name="T35" fmla="*/ 111 h 163"/>
                  <a:gd name="T36" fmla="*/ 102 w 163"/>
                  <a:gd name="T37" fmla="*/ 121 h 163"/>
                  <a:gd name="T38" fmla="*/ 102 w 163"/>
                  <a:gd name="T39" fmla="*/ 133 h 163"/>
                  <a:gd name="T40" fmla="*/ 102 w 163"/>
                  <a:gd name="T41" fmla="*/ 134 h 163"/>
                  <a:gd name="T42" fmla="*/ 94 w 163"/>
                  <a:gd name="T43" fmla="*/ 142 h 163"/>
                  <a:gd name="T44" fmla="*/ 100 w 163"/>
                  <a:gd name="T45" fmla="*/ 152 h 163"/>
                  <a:gd name="T46" fmla="*/ 94 w 163"/>
                  <a:gd name="T47" fmla="*/ 161 h 163"/>
                  <a:gd name="T48" fmla="*/ 87 w 163"/>
                  <a:gd name="T49" fmla="*/ 154 h 163"/>
                  <a:gd name="T50" fmla="*/ 79 w 163"/>
                  <a:gd name="T51" fmla="*/ 142 h 163"/>
                  <a:gd name="T52" fmla="*/ 77 w 163"/>
                  <a:gd name="T53" fmla="*/ 129 h 163"/>
                  <a:gd name="T54" fmla="*/ 75 w 163"/>
                  <a:gd name="T55" fmla="*/ 121 h 163"/>
                  <a:gd name="T56" fmla="*/ 65 w 163"/>
                  <a:gd name="T57" fmla="*/ 113 h 163"/>
                  <a:gd name="T58" fmla="*/ 62 w 163"/>
                  <a:gd name="T59" fmla="*/ 106 h 163"/>
                  <a:gd name="T60" fmla="*/ 56 w 163"/>
                  <a:gd name="T61" fmla="*/ 98 h 163"/>
                  <a:gd name="T62" fmla="*/ 52 w 163"/>
                  <a:gd name="T63" fmla="*/ 92 h 163"/>
                  <a:gd name="T64" fmla="*/ 48 w 163"/>
                  <a:gd name="T65" fmla="*/ 81 h 163"/>
                  <a:gd name="T66" fmla="*/ 39 w 163"/>
                  <a:gd name="T67" fmla="*/ 73 h 163"/>
                  <a:gd name="T68" fmla="*/ 33 w 163"/>
                  <a:gd name="T69" fmla="*/ 61 h 163"/>
                  <a:gd name="T70" fmla="*/ 29 w 163"/>
                  <a:gd name="T71" fmla="*/ 56 h 163"/>
                  <a:gd name="T72" fmla="*/ 17 w 163"/>
                  <a:gd name="T73" fmla="*/ 56 h 163"/>
                  <a:gd name="T74" fmla="*/ 10 w 163"/>
                  <a:gd name="T75" fmla="*/ 61 h 163"/>
                  <a:gd name="T76" fmla="*/ 0 w 163"/>
                  <a:gd name="T77" fmla="*/ 60 h 163"/>
                  <a:gd name="T78" fmla="*/ 4 w 163"/>
                  <a:gd name="T79" fmla="*/ 48 h 163"/>
                  <a:gd name="T80" fmla="*/ 8 w 163"/>
                  <a:gd name="T81" fmla="*/ 38 h 163"/>
                  <a:gd name="T82" fmla="*/ 12 w 163"/>
                  <a:gd name="T83" fmla="*/ 31 h 163"/>
                  <a:gd name="T84" fmla="*/ 19 w 163"/>
                  <a:gd name="T85" fmla="*/ 21 h 163"/>
                  <a:gd name="T86" fmla="*/ 23 w 163"/>
                  <a:gd name="T87" fmla="*/ 12 h 163"/>
                  <a:gd name="T88" fmla="*/ 31 w 163"/>
                  <a:gd name="T89" fmla="*/ 13 h 163"/>
                  <a:gd name="T90" fmla="*/ 35 w 163"/>
                  <a:gd name="T91" fmla="*/ 12 h 163"/>
                  <a:gd name="T92" fmla="*/ 33 w 163"/>
                  <a:gd name="T93" fmla="*/ 4 h 163"/>
                  <a:gd name="T94" fmla="*/ 46 w 163"/>
                  <a:gd name="T95" fmla="*/ 0 h 163"/>
                  <a:gd name="T96" fmla="*/ 64 w 163"/>
                  <a:gd name="T97" fmla="*/ 2 h 163"/>
                  <a:gd name="T98" fmla="*/ 73 w 163"/>
                  <a:gd name="T99" fmla="*/ 8 h 163"/>
                  <a:gd name="T100" fmla="*/ 77 w 163"/>
                  <a:gd name="T101" fmla="*/ 21 h 163"/>
                  <a:gd name="T102" fmla="*/ 87 w 163"/>
                  <a:gd name="T103" fmla="*/ 31 h 163"/>
                  <a:gd name="T104" fmla="*/ 92 w 163"/>
                  <a:gd name="T105" fmla="*/ 23 h 163"/>
                  <a:gd name="T106" fmla="*/ 106 w 163"/>
                  <a:gd name="T107" fmla="*/ 27 h 163"/>
                  <a:gd name="T108" fmla="*/ 121 w 163"/>
                  <a:gd name="T109" fmla="*/ 25 h 163"/>
                  <a:gd name="T110" fmla="*/ 131 w 163"/>
                  <a:gd name="T111" fmla="*/ 19 h 163"/>
                  <a:gd name="T112" fmla="*/ 136 w 163"/>
                  <a:gd name="T113" fmla="*/ 12 h 163"/>
                  <a:gd name="T114" fmla="*/ 27 w 163"/>
                  <a:gd name="T115" fmla="*/ 37 h 163"/>
                  <a:gd name="T116" fmla="*/ 31 w 163"/>
                  <a:gd name="T117" fmla="*/ 42 h 163"/>
                  <a:gd name="T118" fmla="*/ 31 w 163"/>
                  <a:gd name="T119" fmla="*/ 3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163">
                    <a:moveTo>
                      <a:pt x="140" y="10"/>
                    </a:moveTo>
                    <a:lnTo>
                      <a:pt x="142" y="10"/>
                    </a:lnTo>
                    <a:lnTo>
                      <a:pt x="144" y="12"/>
                    </a:lnTo>
                    <a:lnTo>
                      <a:pt x="146" y="12"/>
                    </a:lnTo>
                    <a:lnTo>
                      <a:pt x="148" y="12"/>
                    </a:lnTo>
                    <a:lnTo>
                      <a:pt x="150" y="12"/>
                    </a:lnTo>
                    <a:lnTo>
                      <a:pt x="150" y="13"/>
                    </a:lnTo>
                    <a:lnTo>
                      <a:pt x="150" y="15"/>
                    </a:lnTo>
                    <a:lnTo>
                      <a:pt x="152" y="15"/>
                    </a:lnTo>
                    <a:lnTo>
                      <a:pt x="154" y="15"/>
                    </a:lnTo>
                    <a:lnTo>
                      <a:pt x="156" y="15"/>
                    </a:lnTo>
                    <a:lnTo>
                      <a:pt x="156" y="17"/>
                    </a:lnTo>
                    <a:lnTo>
                      <a:pt x="158" y="17"/>
                    </a:lnTo>
                    <a:lnTo>
                      <a:pt x="158" y="19"/>
                    </a:lnTo>
                    <a:lnTo>
                      <a:pt x="160" y="19"/>
                    </a:lnTo>
                    <a:lnTo>
                      <a:pt x="160" y="21"/>
                    </a:lnTo>
                    <a:lnTo>
                      <a:pt x="161" y="21"/>
                    </a:lnTo>
                    <a:lnTo>
                      <a:pt x="161" y="23"/>
                    </a:lnTo>
                    <a:lnTo>
                      <a:pt x="161" y="25"/>
                    </a:lnTo>
                    <a:lnTo>
                      <a:pt x="161" y="27"/>
                    </a:lnTo>
                    <a:lnTo>
                      <a:pt x="161" y="29"/>
                    </a:lnTo>
                    <a:lnTo>
                      <a:pt x="161" y="31"/>
                    </a:lnTo>
                    <a:lnTo>
                      <a:pt x="163" y="31"/>
                    </a:lnTo>
                    <a:lnTo>
                      <a:pt x="161" y="31"/>
                    </a:lnTo>
                    <a:lnTo>
                      <a:pt x="161" y="33"/>
                    </a:lnTo>
                    <a:lnTo>
                      <a:pt x="163" y="33"/>
                    </a:lnTo>
                    <a:lnTo>
                      <a:pt x="161" y="33"/>
                    </a:lnTo>
                    <a:lnTo>
                      <a:pt x="163" y="33"/>
                    </a:lnTo>
                    <a:lnTo>
                      <a:pt x="163" y="35"/>
                    </a:lnTo>
                    <a:lnTo>
                      <a:pt x="161" y="35"/>
                    </a:lnTo>
                    <a:lnTo>
                      <a:pt x="160" y="35"/>
                    </a:lnTo>
                    <a:lnTo>
                      <a:pt x="158" y="35"/>
                    </a:lnTo>
                    <a:lnTo>
                      <a:pt x="158" y="37"/>
                    </a:lnTo>
                    <a:lnTo>
                      <a:pt x="156" y="37"/>
                    </a:lnTo>
                    <a:lnTo>
                      <a:pt x="154" y="37"/>
                    </a:lnTo>
                    <a:lnTo>
                      <a:pt x="152" y="37"/>
                    </a:lnTo>
                    <a:lnTo>
                      <a:pt x="150" y="37"/>
                    </a:lnTo>
                    <a:lnTo>
                      <a:pt x="150" y="38"/>
                    </a:lnTo>
                    <a:lnTo>
                      <a:pt x="148" y="38"/>
                    </a:lnTo>
                    <a:lnTo>
                      <a:pt x="146" y="38"/>
                    </a:lnTo>
                    <a:lnTo>
                      <a:pt x="148" y="40"/>
                    </a:lnTo>
                    <a:lnTo>
                      <a:pt x="146" y="40"/>
                    </a:lnTo>
                    <a:lnTo>
                      <a:pt x="146" y="42"/>
                    </a:lnTo>
                    <a:lnTo>
                      <a:pt x="146" y="40"/>
                    </a:lnTo>
                    <a:lnTo>
                      <a:pt x="144" y="40"/>
                    </a:lnTo>
                    <a:lnTo>
                      <a:pt x="144" y="38"/>
                    </a:lnTo>
                    <a:lnTo>
                      <a:pt x="144" y="40"/>
                    </a:lnTo>
                    <a:lnTo>
                      <a:pt x="144" y="42"/>
                    </a:lnTo>
                    <a:lnTo>
                      <a:pt x="146" y="42"/>
                    </a:lnTo>
                    <a:lnTo>
                      <a:pt x="144" y="42"/>
                    </a:lnTo>
                    <a:lnTo>
                      <a:pt x="144" y="44"/>
                    </a:lnTo>
                    <a:lnTo>
                      <a:pt x="142" y="44"/>
                    </a:lnTo>
                    <a:lnTo>
                      <a:pt x="142" y="46"/>
                    </a:lnTo>
                    <a:lnTo>
                      <a:pt x="140" y="46"/>
                    </a:lnTo>
                    <a:lnTo>
                      <a:pt x="138" y="46"/>
                    </a:lnTo>
                    <a:lnTo>
                      <a:pt x="138" y="48"/>
                    </a:lnTo>
                    <a:lnTo>
                      <a:pt x="138" y="46"/>
                    </a:lnTo>
                    <a:lnTo>
                      <a:pt x="138" y="48"/>
                    </a:lnTo>
                    <a:lnTo>
                      <a:pt x="138" y="50"/>
                    </a:lnTo>
                    <a:lnTo>
                      <a:pt x="140" y="50"/>
                    </a:lnTo>
                    <a:lnTo>
                      <a:pt x="140" y="52"/>
                    </a:lnTo>
                    <a:lnTo>
                      <a:pt x="142" y="52"/>
                    </a:lnTo>
                    <a:lnTo>
                      <a:pt x="142" y="54"/>
                    </a:lnTo>
                    <a:lnTo>
                      <a:pt x="144" y="54"/>
                    </a:lnTo>
                    <a:lnTo>
                      <a:pt x="144" y="56"/>
                    </a:lnTo>
                    <a:lnTo>
                      <a:pt x="142" y="54"/>
                    </a:lnTo>
                    <a:lnTo>
                      <a:pt x="140" y="54"/>
                    </a:lnTo>
                    <a:lnTo>
                      <a:pt x="140" y="56"/>
                    </a:lnTo>
                    <a:lnTo>
                      <a:pt x="140" y="58"/>
                    </a:lnTo>
                    <a:lnTo>
                      <a:pt x="138" y="60"/>
                    </a:lnTo>
                    <a:lnTo>
                      <a:pt x="140" y="60"/>
                    </a:lnTo>
                    <a:lnTo>
                      <a:pt x="140" y="61"/>
                    </a:lnTo>
                    <a:lnTo>
                      <a:pt x="140" y="63"/>
                    </a:lnTo>
                    <a:lnTo>
                      <a:pt x="138" y="63"/>
                    </a:lnTo>
                    <a:lnTo>
                      <a:pt x="138" y="65"/>
                    </a:lnTo>
                    <a:lnTo>
                      <a:pt x="140" y="67"/>
                    </a:lnTo>
                    <a:lnTo>
                      <a:pt x="142" y="69"/>
                    </a:lnTo>
                    <a:lnTo>
                      <a:pt x="144" y="71"/>
                    </a:lnTo>
                    <a:lnTo>
                      <a:pt x="146" y="71"/>
                    </a:lnTo>
                    <a:lnTo>
                      <a:pt x="146" y="73"/>
                    </a:lnTo>
                    <a:lnTo>
                      <a:pt x="146" y="75"/>
                    </a:lnTo>
                    <a:lnTo>
                      <a:pt x="148" y="75"/>
                    </a:lnTo>
                    <a:lnTo>
                      <a:pt x="148" y="77"/>
                    </a:lnTo>
                    <a:lnTo>
                      <a:pt x="150" y="77"/>
                    </a:lnTo>
                    <a:lnTo>
                      <a:pt x="150" y="79"/>
                    </a:lnTo>
                    <a:lnTo>
                      <a:pt x="152" y="79"/>
                    </a:lnTo>
                    <a:lnTo>
                      <a:pt x="152" y="81"/>
                    </a:lnTo>
                    <a:lnTo>
                      <a:pt x="152" y="83"/>
                    </a:lnTo>
                    <a:lnTo>
                      <a:pt x="150" y="83"/>
                    </a:lnTo>
                    <a:lnTo>
                      <a:pt x="150" y="85"/>
                    </a:lnTo>
                    <a:lnTo>
                      <a:pt x="152" y="85"/>
                    </a:lnTo>
                    <a:lnTo>
                      <a:pt x="152" y="86"/>
                    </a:lnTo>
                    <a:lnTo>
                      <a:pt x="154" y="86"/>
                    </a:lnTo>
                    <a:lnTo>
                      <a:pt x="156" y="86"/>
                    </a:lnTo>
                    <a:lnTo>
                      <a:pt x="156" y="88"/>
                    </a:lnTo>
                    <a:lnTo>
                      <a:pt x="158" y="88"/>
                    </a:lnTo>
                    <a:lnTo>
                      <a:pt x="158" y="90"/>
                    </a:lnTo>
                    <a:lnTo>
                      <a:pt x="156" y="90"/>
                    </a:lnTo>
                    <a:lnTo>
                      <a:pt x="156" y="92"/>
                    </a:lnTo>
                    <a:lnTo>
                      <a:pt x="156" y="94"/>
                    </a:lnTo>
                    <a:lnTo>
                      <a:pt x="154" y="94"/>
                    </a:lnTo>
                    <a:lnTo>
                      <a:pt x="152" y="94"/>
                    </a:lnTo>
                    <a:lnTo>
                      <a:pt x="150" y="94"/>
                    </a:lnTo>
                    <a:lnTo>
                      <a:pt x="150" y="92"/>
                    </a:lnTo>
                    <a:lnTo>
                      <a:pt x="148" y="92"/>
                    </a:lnTo>
                    <a:lnTo>
                      <a:pt x="148" y="90"/>
                    </a:lnTo>
                    <a:lnTo>
                      <a:pt x="146" y="92"/>
                    </a:lnTo>
                    <a:lnTo>
                      <a:pt x="144" y="92"/>
                    </a:lnTo>
                    <a:lnTo>
                      <a:pt x="142" y="94"/>
                    </a:lnTo>
                    <a:lnTo>
                      <a:pt x="144" y="94"/>
                    </a:lnTo>
                    <a:lnTo>
                      <a:pt x="144" y="96"/>
                    </a:lnTo>
                    <a:lnTo>
                      <a:pt x="144" y="98"/>
                    </a:lnTo>
                    <a:lnTo>
                      <a:pt x="142" y="98"/>
                    </a:lnTo>
                    <a:lnTo>
                      <a:pt x="142" y="100"/>
                    </a:lnTo>
                    <a:lnTo>
                      <a:pt x="142" y="102"/>
                    </a:lnTo>
                    <a:lnTo>
                      <a:pt x="140" y="102"/>
                    </a:lnTo>
                    <a:lnTo>
                      <a:pt x="138" y="102"/>
                    </a:lnTo>
                    <a:lnTo>
                      <a:pt x="136" y="100"/>
                    </a:lnTo>
                    <a:lnTo>
                      <a:pt x="136" y="102"/>
                    </a:lnTo>
                    <a:lnTo>
                      <a:pt x="135" y="102"/>
                    </a:lnTo>
                    <a:lnTo>
                      <a:pt x="133" y="100"/>
                    </a:lnTo>
                    <a:lnTo>
                      <a:pt x="131" y="100"/>
                    </a:lnTo>
                    <a:lnTo>
                      <a:pt x="129" y="98"/>
                    </a:lnTo>
                    <a:lnTo>
                      <a:pt x="131" y="98"/>
                    </a:lnTo>
                    <a:lnTo>
                      <a:pt x="129" y="96"/>
                    </a:lnTo>
                    <a:lnTo>
                      <a:pt x="127" y="96"/>
                    </a:lnTo>
                    <a:lnTo>
                      <a:pt x="125" y="96"/>
                    </a:lnTo>
                    <a:lnTo>
                      <a:pt x="125" y="98"/>
                    </a:lnTo>
                    <a:lnTo>
                      <a:pt x="125" y="100"/>
                    </a:lnTo>
                    <a:lnTo>
                      <a:pt x="125" y="102"/>
                    </a:lnTo>
                    <a:lnTo>
                      <a:pt x="123" y="102"/>
                    </a:lnTo>
                    <a:lnTo>
                      <a:pt x="123" y="104"/>
                    </a:lnTo>
                    <a:lnTo>
                      <a:pt x="125" y="104"/>
                    </a:lnTo>
                    <a:lnTo>
                      <a:pt x="125" y="106"/>
                    </a:lnTo>
                    <a:lnTo>
                      <a:pt x="125" y="108"/>
                    </a:lnTo>
                    <a:lnTo>
                      <a:pt x="123" y="108"/>
                    </a:lnTo>
                    <a:lnTo>
                      <a:pt x="121" y="109"/>
                    </a:lnTo>
                    <a:lnTo>
                      <a:pt x="119" y="109"/>
                    </a:lnTo>
                    <a:lnTo>
                      <a:pt x="119" y="108"/>
                    </a:lnTo>
                    <a:lnTo>
                      <a:pt x="117" y="108"/>
                    </a:lnTo>
                    <a:lnTo>
                      <a:pt x="115" y="108"/>
                    </a:lnTo>
                    <a:lnTo>
                      <a:pt x="115" y="106"/>
                    </a:lnTo>
                    <a:lnTo>
                      <a:pt x="113" y="106"/>
                    </a:lnTo>
                    <a:lnTo>
                      <a:pt x="113" y="104"/>
                    </a:lnTo>
                    <a:lnTo>
                      <a:pt x="112" y="104"/>
                    </a:lnTo>
                    <a:lnTo>
                      <a:pt x="110" y="104"/>
                    </a:lnTo>
                    <a:lnTo>
                      <a:pt x="108" y="104"/>
                    </a:lnTo>
                    <a:lnTo>
                      <a:pt x="108" y="102"/>
                    </a:lnTo>
                    <a:lnTo>
                      <a:pt x="104" y="102"/>
                    </a:lnTo>
                    <a:lnTo>
                      <a:pt x="102" y="102"/>
                    </a:lnTo>
                    <a:lnTo>
                      <a:pt x="102" y="104"/>
                    </a:lnTo>
                    <a:lnTo>
                      <a:pt x="102" y="106"/>
                    </a:lnTo>
                    <a:lnTo>
                      <a:pt x="100" y="106"/>
                    </a:lnTo>
                    <a:lnTo>
                      <a:pt x="100" y="108"/>
                    </a:lnTo>
                    <a:lnTo>
                      <a:pt x="102" y="108"/>
                    </a:lnTo>
                    <a:lnTo>
                      <a:pt x="104" y="108"/>
                    </a:lnTo>
                    <a:lnTo>
                      <a:pt x="102" y="109"/>
                    </a:lnTo>
                    <a:lnTo>
                      <a:pt x="104" y="109"/>
                    </a:lnTo>
                    <a:lnTo>
                      <a:pt x="102" y="109"/>
                    </a:lnTo>
                    <a:lnTo>
                      <a:pt x="102" y="111"/>
                    </a:lnTo>
                    <a:lnTo>
                      <a:pt x="102" y="109"/>
                    </a:lnTo>
                    <a:lnTo>
                      <a:pt x="102" y="111"/>
                    </a:lnTo>
                    <a:lnTo>
                      <a:pt x="100" y="111"/>
                    </a:lnTo>
                    <a:lnTo>
                      <a:pt x="98" y="111"/>
                    </a:lnTo>
                    <a:lnTo>
                      <a:pt x="98" y="113"/>
                    </a:lnTo>
                    <a:lnTo>
                      <a:pt x="100" y="113"/>
                    </a:lnTo>
                    <a:lnTo>
                      <a:pt x="100" y="115"/>
                    </a:lnTo>
                    <a:lnTo>
                      <a:pt x="100" y="117"/>
                    </a:lnTo>
                    <a:lnTo>
                      <a:pt x="100" y="119"/>
                    </a:lnTo>
                    <a:lnTo>
                      <a:pt x="102" y="119"/>
                    </a:lnTo>
                    <a:lnTo>
                      <a:pt x="102" y="121"/>
                    </a:lnTo>
                    <a:lnTo>
                      <a:pt x="102" y="123"/>
                    </a:lnTo>
                    <a:lnTo>
                      <a:pt x="104" y="123"/>
                    </a:lnTo>
                    <a:lnTo>
                      <a:pt x="104" y="125"/>
                    </a:lnTo>
                    <a:lnTo>
                      <a:pt x="104" y="127"/>
                    </a:lnTo>
                    <a:lnTo>
                      <a:pt x="106" y="127"/>
                    </a:lnTo>
                    <a:lnTo>
                      <a:pt x="106" y="129"/>
                    </a:lnTo>
                    <a:lnTo>
                      <a:pt x="106" y="131"/>
                    </a:lnTo>
                    <a:lnTo>
                      <a:pt x="104" y="131"/>
                    </a:lnTo>
                    <a:lnTo>
                      <a:pt x="102" y="133"/>
                    </a:lnTo>
                    <a:lnTo>
                      <a:pt x="102" y="134"/>
                    </a:lnTo>
                    <a:lnTo>
                      <a:pt x="102" y="133"/>
                    </a:lnTo>
                    <a:lnTo>
                      <a:pt x="102" y="134"/>
                    </a:lnTo>
                    <a:lnTo>
                      <a:pt x="100" y="134"/>
                    </a:lnTo>
                    <a:lnTo>
                      <a:pt x="102" y="134"/>
                    </a:lnTo>
                    <a:lnTo>
                      <a:pt x="100" y="134"/>
                    </a:lnTo>
                    <a:lnTo>
                      <a:pt x="102" y="134"/>
                    </a:lnTo>
                    <a:lnTo>
                      <a:pt x="100" y="134"/>
                    </a:lnTo>
                    <a:lnTo>
                      <a:pt x="102" y="134"/>
                    </a:lnTo>
                    <a:lnTo>
                      <a:pt x="102" y="136"/>
                    </a:lnTo>
                    <a:lnTo>
                      <a:pt x="100" y="136"/>
                    </a:lnTo>
                    <a:lnTo>
                      <a:pt x="98" y="136"/>
                    </a:lnTo>
                    <a:lnTo>
                      <a:pt x="96" y="134"/>
                    </a:lnTo>
                    <a:lnTo>
                      <a:pt x="94" y="134"/>
                    </a:lnTo>
                    <a:lnTo>
                      <a:pt x="94" y="136"/>
                    </a:lnTo>
                    <a:lnTo>
                      <a:pt x="94" y="138"/>
                    </a:lnTo>
                    <a:lnTo>
                      <a:pt x="94" y="140"/>
                    </a:lnTo>
                    <a:lnTo>
                      <a:pt x="94" y="142"/>
                    </a:lnTo>
                    <a:lnTo>
                      <a:pt x="96" y="142"/>
                    </a:lnTo>
                    <a:lnTo>
                      <a:pt x="98" y="142"/>
                    </a:lnTo>
                    <a:lnTo>
                      <a:pt x="96" y="142"/>
                    </a:lnTo>
                    <a:lnTo>
                      <a:pt x="96" y="144"/>
                    </a:lnTo>
                    <a:lnTo>
                      <a:pt x="96" y="146"/>
                    </a:lnTo>
                    <a:lnTo>
                      <a:pt x="98" y="146"/>
                    </a:lnTo>
                    <a:lnTo>
                      <a:pt x="98" y="148"/>
                    </a:lnTo>
                    <a:lnTo>
                      <a:pt x="98" y="150"/>
                    </a:lnTo>
                    <a:lnTo>
                      <a:pt x="100" y="152"/>
                    </a:lnTo>
                    <a:lnTo>
                      <a:pt x="102" y="152"/>
                    </a:lnTo>
                    <a:lnTo>
                      <a:pt x="102" y="154"/>
                    </a:lnTo>
                    <a:lnTo>
                      <a:pt x="100" y="154"/>
                    </a:lnTo>
                    <a:lnTo>
                      <a:pt x="100" y="156"/>
                    </a:lnTo>
                    <a:lnTo>
                      <a:pt x="98" y="156"/>
                    </a:lnTo>
                    <a:lnTo>
                      <a:pt x="100" y="159"/>
                    </a:lnTo>
                    <a:lnTo>
                      <a:pt x="98" y="159"/>
                    </a:lnTo>
                    <a:lnTo>
                      <a:pt x="94" y="159"/>
                    </a:lnTo>
                    <a:lnTo>
                      <a:pt x="94" y="161"/>
                    </a:lnTo>
                    <a:lnTo>
                      <a:pt x="92" y="161"/>
                    </a:lnTo>
                    <a:lnTo>
                      <a:pt x="90" y="161"/>
                    </a:lnTo>
                    <a:lnTo>
                      <a:pt x="87" y="163"/>
                    </a:lnTo>
                    <a:lnTo>
                      <a:pt x="87" y="161"/>
                    </a:lnTo>
                    <a:lnTo>
                      <a:pt x="85" y="161"/>
                    </a:lnTo>
                    <a:lnTo>
                      <a:pt x="85" y="159"/>
                    </a:lnTo>
                    <a:lnTo>
                      <a:pt x="87" y="157"/>
                    </a:lnTo>
                    <a:lnTo>
                      <a:pt x="87" y="156"/>
                    </a:lnTo>
                    <a:lnTo>
                      <a:pt x="87" y="154"/>
                    </a:lnTo>
                    <a:lnTo>
                      <a:pt x="87" y="152"/>
                    </a:lnTo>
                    <a:lnTo>
                      <a:pt x="85" y="150"/>
                    </a:lnTo>
                    <a:lnTo>
                      <a:pt x="85" y="148"/>
                    </a:lnTo>
                    <a:lnTo>
                      <a:pt x="85" y="146"/>
                    </a:lnTo>
                    <a:lnTo>
                      <a:pt x="85" y="144"/>
                    </a:lnTo>
                    <a:lnTo>
                      <a:pt x="83" y="144"/>
                    </a:lnTo>
                    <a:lnTo>
                      <a:pt x="83" y="142"/>
                    </a:lnTo>
                    <a:lnTo>
                      <a:pt x="81" y="142"/>
                    </a:lnTo>
                    <a:lnTo>
                      <a:pt x="79" y="142"/>
                    </a:lnTo>
                    <a:lnTo>
                      <a:pt x="77" y="142"/>
                    </a:lnTo>
                    <a:lnTo>
                      <a:pt x="77" y="140"/>
                    </a:lnTo>
                    <a:lnTo>
                      <a:pt x="77" y="138"/>
                    </a:lnTo>
                    <a:lnTo>
                      <a:pt x="77" y="136"/>
                    </a:lnTo>
                    <a:lnTo>
                      <a:pt x="75" y="136"/>
                    </a:lnTo>
                    <a:lnTo>
                      <a:pt x="75" y="134"/>
                    </a:lnTo>
                    <a:lnTo>
                      <a:pt x="77" y="133"/>
                    </a:lnTo>
                    <a:lnTo>
                      <a:pt x="77" y="131"/>
                    </a:lnTo>
                    <a:lnTo>
                      <a:pt x="77" y="129"/>
                    </a:lnTo>
                    <a:lnTo>
                      <a:pt x="75" y="129"/>
                    </a:lnTo>
                    <a:lnTo>
                      <a:pt x="73" y="129"/>
                    </a:lnTo>
                    <a:lnTo>
                      <a:pt x="71" y="129"/>
                    </a:lnTo>
                    <a:lnTo>
                      <a:pt x="73" y="127"/>
                    </a:lnTo>
                    <a:lnTo>
                      <a:pt x="73" y="125"/>
                    </a:lnTo>
                    <a:lnTo>
                      <a:pt x="75" y="125"/>
                    </a:lnTo>
                    <a:lnTo>
                      <a:pt x="73" y="123"/>
                    </a:lnTo>
                    <a:lnTo>
                      <a:pt x="73" y="121"/>
                    </a:lnTo>
                    <a:lnTo>
                      <a:pt x="75" y="121"/>
                    </a:lnTo>
                    <a:lnTo>
                      <a:pt x="75" y="119"/>
                    </a:lnTo>
                    <a:lnTo>
                      <a:pt x="75" y="117"/>
                    </a:lnTo>
                    <a:lnTo>
                      <a:pt x="73" y="117"/>
                    </a:lnTo>
                    <a:lnTo>
                      <a:pt x="73" y="115"/>
                    </a:lnTo>
                    <a:lnTo>
                      <a:pt x="71" y="115"/>
                    </a:lnTo>
                    <a:lnTo>
                      <a:pt x="69" y="115"/>
                    </a:lnTo>
                    <a:lnTo>
                      <a:pt x="69" y="113"/>
                    </a:lnTo>
                    <a:lnTo>
                      <a:pt x="67" y="113"/>
                    </a:lnTo>
                    <a:lnTo>
                      <a:pt x="65" y="113"/>
                    </a:lnTo>
                    <a:lnTo>
                      <a:pt x="64" y="111"/>
                    </a:lnTo>
                    <a:lnTo>
                      <a:pt x="65" y="109"/>
                    </a:lnTo>
                    <a:lnTo>
                      <a:pt x="64" y="109"/>
                    </a:lnTo>
                    <a:lnTo>
                      <a:pt x="64" y="108"/>
                    </a:lnTo>
                    <a:lnTo>
                      <a:pt x="64" y="109"/>
                    </a:lnTo>
                    <a:lnTo>
                      <a:pt x="62" y="109"/>
                    </a:lnTo>
                    <a:lnTo>
                      <a:pt x="60" y="109"/>
                    </a:lnTo>
                    <a:lnTo>
                      <a:pt x="60" y="108"/>
                    </a:lnTo>
                    <a:lnTo>
                      <a:pt x="62" y="106"/>
                    </a:lnTo>
                    <a:lnTo>
                      <a:pt x="60" y="106"/>
                    </a:lnTo>
                    <a:lnTo>
                      <a:pt x="60" y="104"/>
                    </a:lnTo>
                    <a:lnTo>
                      <a:pt x="60" y="102"/>
                    </a:lnTo>
                    <a:lnTo>
                      <a:pt x="60" y="100"/>
                    </a:lnTo>
                    <a:lnTo>
                      <a:pt x="60" y="98"/>
                    </a:lnTo>
                    <a:lnTo>
                      <a:pt x="58" y="98"/>
                    </a:lnTo>
                    <a:lnTo>
                      <a:pt x="58" y="96"/>
                    </a:lnTo>
                    <a:lnTo>
                      <a:pt x="56" y="96"/>
                    </a:lnTo>
                    <a:lnTo>
                      <a:pt x="56" y="98"/>
                    </a:lnTo>
                    <a:lnTo>
                      <a:pt x="54" y="100"/>
                    </a:lnTo>
                    <a:lnTo>
                      <a:pt x="54" y="98"/>
                    </a:lnTo>
                    <a:lnTo>
                      <a:pt x="52" y="98"/>
                    </a:lnTo>
                    <a:lnTo>
                      <a:pt x="50" y="98"/>
                    </a:lnTo>
                    <a:lnTo>
                      <a:pt x="52" y="96"/>
                    </a:lnTo>
                    <a:lnTo>
                      <a:pt x="50" y="96"/>
                    </a:lnTo>
                    <a:lnTo>
                      <a:pt x="50" y="94"/>
                    </a:lnTo>
                    <a:lnTo>
                      <a:pt x="52" y="94"/>
                    </a:lnTo>
                    <a:lnTo>
                      <a:pt x="52" y="92"/>
                    </a:lnTo>
                    <a:lnTo>
                      <a:pt x="50" y="92"/>
                    </a:lnTo>
                    <a:lnTo>
                      <a:pt x="50" y="90"/>
                    </a:lnTo>
                    <a:lnTo>
                      <a:pt x="52" y="88"/>
                    </a:lnTo>
                    <a:lnTo>
                      <a:pt x="54" y="88"/>
                    </a:lnTo>
                    <a:lnTo>
                      <a:pt x="54" y="86"/>
                    </a:lnTo>
                    <a:lnTo>
                      <a:pt x="52" y="85"/>
                    </a:lnTo>
                    <a:lnTo>
                      <a:pt x="50" y="83"/>
                    </a:lnTo>
                    <a:lnTo>
                      <a:pt x="48" y="83"/>
                    </a:lnTo>
                    <a:lnTo>
                      <a:pt x="48" y="81"/>
                    </a:lnTo>
                    <a:lnTo>
                      <a:pt x="48" y="79"/>
                    </a:lnTo>
                    <a:lnTo>
                      <a:pt x="46" y="79"/>
                    </a:lnTo>
                    <a:lnTo>
                      <a:pt x="44" y="79"/>
                    </a:lnTo>
                    <a:lnTo>
                      <a:pt x="44" y="77"/>
                    </a:lnTo>
                    <a:lnTo>
                      <a:pt x="42" y="77"/>
                    </a:lnTo>
                    <a:lnTo>
                      <a:pt x="42" y="75"/>
                    </a:lnTo>
                    <a:lnTo>
                      <a:pt x="40" y="75"/>
                    </a:lnTo>
                    <a:lnTo>
                      <a:pt x="40" y="73"/>
                    </a:lnTo>
                    <a:lnTo>
                      <a:pt x="39" y="73"/>
                    </a:lnTo>
                    <a:lnTo>
                      <a:pt x="39" y="71"/>
                    </a:lnTo>
                    <a:lnTo>
                      <a:pt x="37" y="71"/>
                    </a:lnTo>
                    <a:lnTo>
                      <a:pt x="37" y="69"/>
                    </a:lnTo>
                    <a:lnTo>
                      <a:pt x="35" y="69"/>
                    </a:lnTo>
                    <a:lnTo>
                      <a:pt x="35" y="67"/>
                    </a:lnTo>
                    <a:lnTo>
                      <a:pt x="35" y="65"/>
                    </a:lnTo>
                    <a:lnTo>
                      <a:pt x="35" y="63"/>
                    </a:lnTo>
                    <a:lnTo>
                      <a:pt x="33" y="63"/>
                    </a:lnTo>
                    <a:lnTo>
                      <a:pt x="33" y="61"/>
                    </a:lnTo>
                    <a:lnTo>
                      <a:pt x="33" y="60"/>
                    </a:lnTo>
                    <a:lnTo>
                      <a:pt x="35" y="60"/>
                    </a:lnTo>
                    <a:lnTo>
                      <a:pt x="35" y="58"/>
                    </a:lnTo>
                    <a:lnTo>
                      <a:pt x="33" y="58"/>
                    </a:lnTo>
                    <a:lnTo>
                      <a:pt x="33" y="56"/>
                    </a:lnTo>
                    <a:lnTo>
                      <a:pt x="31" y="56"/>
                    </a:lnTo>
                    <a:lnTo>
                      <a:pt x="31" y="54"/>
                    </a:lnTo>
                    <a:lnTo>
                      <a:pt x="29" y="54"/>
                    </a:lnTo>
                    <a:lnTo>
                      <a:pt x="29" y="56"/>
                    </a:lnTo>
                    <a:lnTo>
                      <a:pt x="31" y="56"/>
                    </a:lnTo>
                    <a:lnTo>
                      <a:pt x="31" y="58"/>
                    </a:lnTo>
                    <a:lnTo>
                      <a:pt x="29" y="58"/>
                    </a:lnTo>
                    <a:lnTo>
                      <a:pt x="27" y="58"/>
                    </a:lnTo>
                    <a:lnTo>
                      <a:pt x="25" y="58"/>
                    </a:lnTo>
                    <a:lnTo>
                      <a:pt x="23" y="58"/>
                    </a:lnTo>
                    <a:lnTo>
                      <a:pt x="21" y="58"/>
                    </a:lnTo>
                    <a:lnTo>
                      <a:pt x="19" y="58"/>
                    </a:lnTo>
                    <a:lnTo>
                      <a:pt x="17" y="56"/>
                    </a:lnTo>
                    <a:lnTo>
                      <a:pt x="16" y="56"/>
                    </a:lnTo>
                    <a:lnTo>
                      <a:pt x="14" y="56"/>
                    </a:lnTo>
                    <a:lnTo>
                      <a:pt x="14" y="54"/>
                    </a:lnTo>
                    <a:lnTo>
                      <a:pt x="14" y="56"/>
                    </a:lnTo>
                    <a:lnTo>
                      <a:pt x="14" y="58"/>
                    </a:lnTo>
                    <a:lnTo>
                      <a:pt x="12" y="58"/>
                    </a:lnTo>
                    <a:lnTo>
                      <a:pt x="12" y="60"/>
                    </a:lnTo>
                    <a:lnTo>
                      <a:pt x="12" y="61"/>
                    </a:lnTo>
                    <a:lnTo>
                      <a:pt x="10" y="61"/>
                    </a:lnTo>
                    <a:lnTo>
                      <a:pt x="10" y="63"/>
                    </a:lnTo>
                    <a:lnTo>
                      <a:pt x="8" y="61"/>
                    </a:lnTo>
                    <a:lnTo>
                      <a:pt x="6" y="61"/>
                    </a:lnTo>
                    <a:lnTo>
                      <a:pt x="4" y="61"/>
                    </a:lnTo>
                    <a:lnTo>
                      <a:pt x="4" y="63"/>
                    </a:lnTo>
                    <a:lnTo>
                      <a:pt x="2" y="63"/>
                    </a:lnTo>
                    <a:lnTo>
                      <a:pt x="2" y="61"/>
                    </a:lnTo>
                    <a:lnTo>
                      <a:pt x="0" y="61"/>
                    </a:lnTo>
                    <a:lnTo>
                      <a:pt x="0" y="60"/>
                    </a:lnTo>
                    <a:lnTo>
                      <a:pt x="2" y="60"/>
                    </a:lnTo>
                    <a:lnTo>
                      <a:pt x="2" y="58"/>
                    </a:lnTo>
                    <a:lnTo>
                      <a:pt x="4" y="58"/>
                    </a:lnTo>
                    <a:lnTo>
                      <a:pt x="4" y="56"/>
                    </a:lnTo>
                    <a:lnTo>
                      <a:pt x="2" y="54"/>
                    </a:lnTo>
                    <a:lnTo>
                      <a:pt x="2" y="52"/>
                    </a:lnTo>
                    <a:lnTo>
                      <a:pt x="2" y="50"/>
                    </a:lnTo>
                    <a:lnTo>
                      <a:pt x="4" y="50"/>
                    </a:lnTo>
                    <a:lnTo>
                      <a:pt x="4" y="48"/>
                    </a:lnTo>
                    <a:lnTo>
                      <a:pt x="6" y="48"/>
                    </a:lnTo>
                    <a:lnTo>
                      <a:pt x="6" y="46"/>
                    </a:lnTo>
                    <a:lnTo>
                      <a:pt x="8" y="46"/>
                    </a:lnTo>
                    <a:lnTo>
                      <a:pt x="8" y="44"/>
                    </a:lnTo>
                    <a:lnTo>
                      <a:pt x="8" y="42"/>
                    </a:lnTo>
                    <a:lnTo>
                      <a:pt x="6" y="42"/>
                    </a:lnTo>
                    <a:lnTo>
                      <a:pt x="6" y="40"/>
                    </a:lnTo>
                    <a:lnTo>
                      <a:pt x="8" y="40"/>
                    </a:lnTo>
                    <a:lnTo>
                      <a:pt x="8" y="38"/>
                    </a:lnTo>
                    <a:lnTo>
                      <a:pt x="8" y="37"/>
                    </a:lnTo>
                    <a:lnTo>
                      <a:pt x="8" y="38"/>
                    </a:lnTo>
                    <a:lnTo>
                      <a:pt x="10" y="38"/>
                    </a:lnTo>
                    <a:lnTo>
                      <a:pt x="10" y="37"/>
                    </a:lnTo>
                    <a:lnTo>
                      <a:pt x="12" y="37"/>
                    </a:lnTo>
                    <a:lnTo>
                      <a:pt x="12" y="35"/>
                    </a:lnTo>
                    <a:lnTo>
                      <a:pt x="14" y="33"/>
                    </a:lnTo>
                    <a:lnTo>
                      <a:pt x="14" y="31"/>
                    </a:lnTo>
                    <a:lnTo>
                      <a:pt x="12" y="31"/>
                    </a:lnTo>
                    <a:lnTo>
                      <a:pt x="12" y="29"/>
                    </a:lnTo>
                    <a:lnTo>
                      <a:pt x="10" y="27"/>
                    </a:lnTo>
                    <a:lnTo>
                      <a:pt x="12" y="27"/>
                    </a:lnTo>
                    <a:lnTo>
                      <a:pt x="12" y="25"/>
                    </a:lnTo>
                    <a:lnTo>
                      <a:pt x="14" y="25"/>
                    </a:lnTo>
                    <a:lnTo>
                      <a:pt x="16" y="23"/>
                    </a:lnTo>
                    <a:lnTo>
                      <a:pt x="17" y="23"/>
                    </a:lnTo>
                    <a:lnTo>
                      <a:pt x="19" y="23"/>
                    </a:lnTo>
                    <a:lnTo>
                      <a:pt x="19" y="21"/>
                    </a:lnTo>
                    <a:lnTo>
                      <a:pt x="21" y="19"/>
                    </a:lnTo>
                    <a:lnTo>
                      <a:pt x="23" y="19"/>
                    </a:lnTo>
                    <a:lnTo>
                      <a:pt x="23" y="17"/>
                    </a:lnTo>
                    <a:lnTo>
                      <a:pt x="23" y="15"/>
                    </a:lnTo>
                    <a:lnTo>
                      <a:pt x="25" y="15"/>
                    </a:lnTo>
                    <a:lnTo>
                      <a:pt x="23" y="13"/>
                    </a:lnTo>
                    <a:lnTo>
                      <a:pt x="25" y="13"/>
                    </a:lnTo>
                    <a:lnTo>
                      <a:pt x="23" y="13"/>
                    </a:lnTo>
                    <a:lnTo>
                      <a:pt x="23" y="12"/>
                    </a:lnTo>
                    <a:lnTo>
                      <a:pt x="23" y="10"/>
                    </a:lnTo>
                    <a:lnTo>
                      <a:pt x="23" y="12"/>
                    </a:lnTo>
                    <a:lnTo>
                      <a:pt x="25" y="12"/>
                    </a:lnTo>
                    <a:lnTo>
                      <a:pt x="25" y="10"/>
                    </a:lnTo>
                    <a:lnTo>
                      <a:pt x="27" y="10"/>
                    </a:lnTo>
                    <a:lnTo>
                      <a:pt x="27" y="12"/>
                    </a:lnTo>
                    <a:lnTo>
                      <a:pt x="29" y="12"/>
                    </a:lnTo>
                    <a:lnTo>
                      <a:pt x="29" y="13"/>
                    </a:lnTo>
                    <a:lnTo>
                      <a:pt x="31" y="13"/>
                    </a:lnTo>
                    <a:lnTo>
                      <a:pt x="31" y="15"/>
                    </a:lnTo>
                    <a:lnTo>
                      <a:pt x="31" y="13"/>
                    </a:lnTo>
                    <a:lnTo>
                      <a:pt x="33" y="13"/>
                    </a:lnTo>
                    <a:lnTo>
                      <a:pt x="33" y="12"/>
                    </a:lnTo>
                    <a:lnTo>
                      <a:pt x="31" y="12"/>
                    </a:lnTo>
                    <a:lnTo>
                      <a:pt x="33" y="12"/>
                    </a:lnTo>
                    <a:lnTo>
                      <a:pt x="33" y="10"/>
                    </a:lnTo>
                    <a:lnTo>
                      <a:pt x="33" y="12"/>
                    </a:lnTo>
                    <a:lnTo>
                      <a:pt x="35" y="12"/>
                    </a:lnTo>
                    <a:lnTo>
                      <a:pt x="35" y="10"/>
                    </a:lnTo>
                    <a:lnTo>
                      <a:pt x="33" y="10"/>
                    </a:lnTo>
                    <a:lnTo>
                      <a:pt x="31" y="8"/>
                    </a:lnTo>
                    <a:lnTo>
                      <a:pt x="31" y="6"/>
                    </a:lnTo>
                    <a:lnTo>
                      <a:pt x="29" y="6"/>
                    </a:lnTo>
                    <a:lnTo>
                      <a:pt x="27" y="4"/>
                    </a:lnTo>
                    <a:lnTo>
                      <a:pt x="29" y="4"/>
                    </a:lnTo>
                    <a:lnTo>
                      <a:pt x="31" y="4"/>
                    </a:lnTo>
                    <a:lnTo>
                      <a:pt x="33" y="4"/>
                    </a:lnTo>
                    <a:lnTo>
                      <a:pt x="35" y="4"/>
                    </a:lnTo>
                    <a:lnTo>
                      <a:pt x="37" y="4"/>
                    </a:lnTo>
                    <a:lnTo>
                      <a:pt x="39" y="4"/>
                    </a:lnTo>
                    <a:lnTo>
                      <a:pt x="40" y="4"/>
                    </a:lnTo>
                    <a:lnTo>
                      <a:pt x="42" y="4"/>
                    </a:lnTo>
                    <a:lnTo>
                      <a:pt x="44" y="4"/>
                    </a:lnTo>
                    <a:lnTo>
                      <a:pt x="44" y="2"/>
                    </a:lnTo>
                    <a:lnTo>
                      <a:pt x="44" y="0"/>
                    </a:lnTo>
                    <a:lnTo>
                      <a:pt x="46" y="0"/>
                    </a:lnTo>
                    <a:lnTo>
                      <a:pt x="48" y="0"/>
                    </a:lnTo>
                    <a:lnTo>
                      <a:pt x="50" y="0"/>
                    </a:lnTo>
                    <a:lnTo>
                      <a:pt x="52" y="0"/>
                    </a:lnTo>
                    <a:lnTo>
                      <a:pt x="54" y="0"/>
                    </a:lnTo>
                    <a:lnTo>
                      <a:pt x="56" y="0"/>
                    </a:lnTo>
                    <a:lnTo>
                      <a:pt x="58" y="2"/>
                    </a:lnTo>
                    <a:lnTo>
                      <a:pt x="60" y="2"/>
                    </a:lnTo>
                    <a:lnTo>
                      <a:pt x="62" y="2"/>
                    </a:lnTo>
                    <a:lnTo>
                      <a:pt x="64" y="2"/>
                    </a:lnTo>
                    <a:lnTo>
                      <a:pt x="65" y="2"/>
                    </a:lnTo>
                    <a:lnTo>
                      <a:pt x="67" y="2"/>
                    </a:lnTo>
                    <a:lnTo>
                      <a:pt x="69" y="4"/>
                    </a:lnTo>
                    <a:lnTo>
                      <a:pt x="69" y="2"/>
                    </a:lnTo>
                    <a:lnTo>
                      <a:pt x="69" y="4"/>
                    </a:lnTo>
                    <a:lnTo>
                      <a:pt x="69" y="6"/>
                    </a:lnTo>
                    <a:lnTo>
                      <a:pt x="69" y="8"/>
                    </a:lnTo>
                    <a:lnTo>
                      <a:pt x="71" y="8"/>
                    </a:lnTo>
                    <a:lnTo>
                      <a:pt x="73" y="8"/>
                    </a:lnTo>
                    <a:lnTo>
                      <a:pt x="73" y="10"/>
                    </a:lnTo>
                    <a:lnTo>
                      <a:pt x="75" y="10"/>
                    </a:lnTo>
                    <a:lnTo>
                      <a:pt x="75" y="12"/>
                    </a:lnTo>
                    <a:lnTo>
                      <a:pt x="75" y="13"/>
                    </a:lnTo>
                    <a:lnTo>
                      <a:pt x="75" y="15"/>
                    </a:lnTo>
                    <a:lnTo>
                      <a:pt x="75" y="17"/>
                    </a:lnTo>
                    <a:lnTo>
                      <a:pt x="77" y="17"/>
                    </a:lnTo>
                    <a:lnTo>
                      <a:pt x="77" y="19"/>
                    </a:lnTo>
                    <a:lnTo>
                      <a:pt x="77" y="21"/>
                    </a:lnTo>
                    <a:lnTo>
                      <a:pt x="79" y="21"/>
                    </a:lnTo>
                    <a:lnTo>
                      <a:pt x="81" y="21"/>
                    </a:lnTo>
                    <a:lnTo>
                      <a:pt x="81" y="23"/>
                    </a:lnTo>
                    <a:lnTo>
                      <a:pt x="83" y="23"/>
                    </a:lnTo>
                    <a:lnTo>
                      <a:pt x="83" y="25"/>
                    </a:lnTo>
                    <a:lnTo>
                      <a:pt x="85" y="25"/>
                    </a:lnTo>
                    <a:lnTo>
                      <a:pt x="85" y="27"/>
                    </a:lnTo>
                    <a:lnTo>
                      <a:pt x="85" y="29"/>
                    </a:lnTo>
                    <a:lnTo>
                      <a:pt x="87" y="31"/>
                    </a:lnTo>
                    <a:lnTo>
                      <a:pt x="88" y="29"/>
                    </a:lnTo>
                    <a:lnTo>
                      <a:pt x="87" y="25"/>
                    </a:lnTo>
                    <a:lnTo>
                      <a:pt x="85" y="23"/>
                    </a:lnTo>
                    <a:lnTo>
                      <a:pt x="85" y="21"/>
                    </a:lnTo>
                    <a:lnTo>
                      <a:pt x="87" y="19"/>
                    </a:lnTo>
                    <a:lnTo>
                      <a:pt x="88" y="19"/>
                    </a:lnTo>
                    <a:lnTo>
                      <a:pt x="90" y="21"/>
                    </a:lnTo>
                    <a:lnTo>
                      <a:pt x="92" y="21"/>
                    </a:lnTo>
                    <a:lnTo>
                      <a:pt x="92" y="23"/>
                    </a:lnTo>
                    <a:lnTo>
                      <a:pt x="94" y="23"/>
                    </a:lnTo>
                    <a:lnTo>
                      <a:pt x="96" y="23"/>
                    </a:lnTo>
                    <a:lnTo>
                      <a:pt x="96" y="21"/>
                    </a:lnTo>
                    <a:lnTo>
                      <a:pt x="96" y="23"/>
                    </a:lnTo>
                    <a:lnTo>
                      <a:pt x="96" y="25"/>
                    </a:lnTo>
                    <a:lnTo>
                      <a:pt x="98" y="27"/>
                    </a:lnTo>
                    <a:lnTo>
                      <a:pt x="102" y="27"/>
                    </a:lnTo>
                    <a:lnTo>
                      <a:pt x="104" y="27"/>
                    </a:lnTo>
                    <a:lnTo>
                      <a:pt x="106" y="27"/>
                    </a:lnTo>
                    <a:lnTo>
                      <a:pt x="106" y="29"/>
                    </a:lnTo>
                    <a:lnTo>
                      <a:pt x="108" y="29"/>
                    </a:lnTo>
                    <a:lnTo>
                      <a:pt x="110" y="29"/>
                    </a:lnTo>
                    <a:lnTo>
                      <a:pt x="112" y="29"/>
                    </a:lnTo>
                    <a:lnTo>
                      <a:pt x="113" y="29"/>
                    </a:lnTo>
                    <a:lnTo>
                      <a:pt x="117" y="29"/>
                    </a:lnTo>
                    <a:lnTo>
                      <a:pt x="119" y="27"/>
                    </a:lnTo>
                    <a:lnTo>
                      <a:pt x="119" y="25"/>
                    </a:lnTo>
                    <a:lnTo>
                      <a:pt x="121" y="25"/>
                    </a:lnTo>
                    <a:lnTo>
                      <a:pt x="121" y="23"/>
                    </a:lnTo>
                    <a:lnTo>
                      <a:pt x="123" y="23"/>
                    </a:lnTo>
                    <a:lnTo>
                      <a:pt x="123" y="21"/>
                    </a:lnTo>
                    <a:lnTo>
                      <a:pt x="123" y="23"/>
                    </a:lnTo>
                    <a:lnTo>
                      <a:pt x="125" y="21"/>
                    </a:lnTo>
                    <a:lnTo>
                      <a:pt x="127" y="21"/>
                    </a:lnTo>
                    <a:lnTo>
                      <a:pt x="129" y="21"/>
                    </a:lnTo>
                    <a:lnTo>
                      <a:pt x="129" y="19"/>
                    </a:lnTo>
                    <a:lnTo>
                      <a:pt x="131" y="19"/>
                    </a:lnTo>
                    <a:lnTo>
                      <a:pt x="131" y="21"/>
                    </a:lnTo>
                    <a:lnTo>
                      <a:pt x="133" y="21"/>
                    </a:lnTo>
                    <a:lnTo>
                      <a:pt x="135" y="21"/>
                    </a:lnTo>
                    <a:lnTo>
                      <a:pt x="135" y="19"/>
                    </a:lnTo>
                    <a:lnTo>
                      <a:pt x="135" y="17"/>
                    </a:lnTo>
                    <a:lnTo>
                      <a:pt x="135" y="15"/>
                    </a:lnTo>
                    <a:lnTo>
                      <a:pt x="135" y="13"/>
                    </a:lnTo>
                    <a:lnTo>
                      <a:pt x="136" y="13"/>
                    </a:lnTo>
                    <a:lnTo>
                      <a:pt x="136" y="12"/>
                    </a:lnTo>
                    <a:lnTo>
                      <a:pt x="136" y="10"/>
                    </a:lnTo>
                    <a:lnTo>
                      <a:pt x="138" y="10"/>
                    </a:lnTo>
                    <a:lnTo>
                      <a:pt x="136" y="10"/>
                    </a:lnTo>
                    <a:lnTo>
                      <a:pt x="136" y="8"/>
                    </a:lnTo>
                    <a:lnTo>
                      <a:pt x="138" y="8"/>
                    </a:lnTo>
                    <a:lnTo>
                      <a:pt x="140" y="10"/>
                    </a:lnTo>
                    <a:close/>
                    <a:moveTo>
                      <a:pt x="31" y="37"/>
                    </a:moveTo>
                    <a:lnTo>
                      <a:pt x="29" y="37"/>
                    </a:lnTo>
                    <a:lnTo>
                      <a:pt x="27" y="37"/>
                    </a:lnTo>
                    <a:lnTo>
                      <a:pt x="25" y="37"/>
                    </a:lnTo>
                    <a:lnTo>
                      <a:pt x="25" y="38"/>
                    </a:lnTo>
                    <a:lnTo>
                      <a:pt x="25" y="40"/>
                    </a:lnTo>
                    <a:lnTo>
                      <a:pt x="27" y="40"/>
                    </a:lnTo>
                    <a:lnTo>
                      <a:pt x="29" y="40"/>
                    </a:lnTo>
                    <a:lnTo>
                      <a:pt x="29" y="42"/>
                    </a:lnTo>
                    <a:lnTo>
                      <a:pt x="31" y="42"/>
                    </a:lnTo>
                    <a:lnTo>
                      <a:pt x="31" y="40"/>
                    </a:lnTo>
                    <a:lnTo>
                      <a:pt x="31" y="42"/>
                    </a:lnTo>
                    <a:lnTo>
                      <a:pt x="33" y="42"/>
                    </a:lnTo>
                    <a:lnTo>
                      <a:pt x="35" y="42"/>
                    </a:lnTo>
                    <a:lnTo>
                      <a:pt x="35" y="40"/>
                    </a:lnTo>
                    <a:lnTo>
                      <a:pt x="35" y="38"/>
                    </a:lnTo>
                    <a:lnTo>
                      <a:pt x="33" y="38"/>
                    </a:lnTo>
                    <a:lnTo>
                      <a:pt x="33" y="37"/>
                    </a:lnTo>
                    <a:lnTo>
                      <a:pt x="33" y="35"/>
                    </a:lnTo>
                    <a:lnTo>
                      <a:pt x="31" y="35"/>
                    </a:lnTo>
                    <a:lnTo>
                      <a:pt x="31" y="37"/>
                    </a:lnTo>
                    <a:close/>
                  </a:path>
                </a:pathLst>
              </a:custGeom>
              <a:solidFill>
                <a:schemeClr val="bg1">
                  <a:lumMod val="85000"/>
                </a:schemeClr>
              </a:solidFill>
              <a:ln w="6350" cap="flat" cmpd="sng">
                <a:solidFill>
                  <a:schemeClr val="bg1"/>
                </a:solidFill>
                <a:prstDash val="solid"/>
                <a:round/>
                <a:headEnd type="none" w="med" len="med"/>
                <a:tailEnd type="none" w="med" len="me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Ubuntu"/>
                  <a:ea typeface="+mn-ea"/>
                  <a:cs typeface="+mn-cs"/>
                </a:endParaRPr>
              </a:p>
            </p:txBody>
          </p:sp>
        </p:grpSp>
        <p:sp>
          <p:nvSpPr>
            <p:cNvPr id="57" name="ZoneTexte 10">
              <a:extLst>
                <a:ext uri="{FF2B5EF4-FFF2-40B4-BE49-F238E27FC236}">
                  <a16:creationId xmlns:a16="http://schemas.microsoft.com/office/drawing/2014/main" id="{7953ED06-EEB6-4C86-80B1-EBF785758118}"/>
                </a:ext>
              </a:extLst>
            </p:cNvPr>
            <p:cNvSpPr txBox="1"/>
            <p:nvPr/>
          </p:nvSpPr>
          <p:spPr>
            <a:xfrm>
              <a:off x="9164014" y="4486964"/>
              <a:ext cx="125707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prstClr val="black"/>
                  </a:solidFill>
                  <a:effectLst/>
                  <a:uLnTx/>
                  <a:uFillTx/>
                  <a:latin typeface="Ubuntu"/>
                  <a:ea typeface="+mn-ea"/>
                  <a:cs typeface="+mn-cs"/>
                </a:rPr>
                <a:t>Marioupol</a:t>
              </a:r>
            </a:p>
          </p:txBody>
        </p:sp>
        <p:sp>
          <p:nvSpPr>
            <p:cNvPr id="58" name="ZoneTexte 120">
              <a:extLst>
                <a:ext uri="{FF2B5EF4-FFF2-40B4-BE49-F238E27FC236}">
                  <a16:creationId xmlns:a16="http://schemas.microsoft.com/office/drawing/2014/main" id="{30E2AD6B-6BA0-48E2-BBAC-E53E8B17BD19}"/>
                </a:ext>
              </a:extLst>
            </p:cNvPr>
            <p:cNvSpPr txBox="1"/>
            <p:nvPr/>
          </p:nvSpPr>
          <p:spPr>
            <a:xfrm>
              <a:off x="5816075" y="6029780"/>
              <a:ext cx="1045479" cy="400110"/>
            </a:xfrm>
            <a:prstGeom prst="rect">
              <a:avLst/>
            </a:prstGeom>
            <a:solidFill>
              <a:schemeClr val="accent5">
                <a:lumMod val="75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err="1">
                  <a:ln>
                    <a:noFill/>
                  </a:ln>
                  <a:solidFill>
                    <a:srgbClr val="FFFFFF"/>
                  </a:solidFill>
                  <a:effectLst/>
                  <a:uLnTx/>
                  <a:uFillTx/>
                  <a:latin typeface="Ubuntu"/>
                  <a:ea typeface="+mn-ea"/>
                  <a:cs typeface="+mn-cs"/>
                </a:rPr>
                <a:t>Crimea</a:t>
              </a:r>
              <a:endParaRPr kumimoji="0" lang="fr-FR" sz="2000" b="1" i="0" u="none" strike="noStrike" kern="1200" cap="none" spc="0" normalizeH="0" baseline="0" noProof="0">
                <a:ln>
                  <a:noFill/>
                </a:ln>
                <a:solidFill>
                  <a:srgbClr val="FFFFFF"/>
                </a:solidFill>
                <a:effectLst/>
                <a:uLnTx/>
                <a:uFillTx/>
                <a:latin typeface="Ubuntu"/>
                <a:ea typeface="+mn-ea"/>
                <a:cs typeface="+mn-cs"/>
              </a:endParaRPr>
            </a:p>
          </p:txBody>
        </p:sp>
        <p:sp>
          <p:nvSpPr>
            <p:cNvPr id="59" name="ZoneTexte 118">
              <a:extLst>
                <a:ext uri="{FF2B5EF4-FFF2-40B4-BE49-F238E27FC236}">
                  <a16:creationId xmlns:a16="http://schemas.microsoft.com/office/drawing/2014/main" id="{FE12BC42-5BE3-4220-808F-795EB9C9A1B1}"/>
                </a:ext>
              </a:extLst>
            </p:cNvPr>
            <p:cNvSpPr txBox="1"/>
            <p:nvPr/>
          </p:nvSpPr>
          <p:spPr>
            <a:xfrm>
              <a:off x="6492077" y="4597431"/>
              <a:ext cx="213452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black"/>
                  </a:solidFill>
                  <a:effectLst/>
                  <a:uLnTx/>
                  <a:uFillTx/>
                  <a:latin typeface="Ubuntu"/>
                  <a:ea typeface="+mn-ea"/>
                  <a:cs typeface="+mn-cs"/>
                </a:rPr>
                <a:t>Zaporizhia</a:t>
              </a:r>
              <a:r>
                <a:rPr kumimoji="0" lang="en-US" sz="1800" b="0" i="0" u="none" strike="noStrike" kern="1200" cap="none" spc="0" normalizeH="0" baseline="0" noProof="0">
                  <a:ln>
                    <a:noFill/>
                  </a:ln>
                  <a:solidFill>
                    <a:prstClr val="black"/>
                  </a:solidFill>
                  <a:effectLst/>
                  <a:uLnTx/>
                  <a:uFillTx/>
                  <a:latin typeface="Ubuntu"/>
                  <a:ea typeface="+mn-ea"/>
                  <a:cs typeface="+mn-cs"/>
                </a:rPr>
                <a:t> Nuclear Power Plant</a:t>
              </a:r>
            </a:p>
          </p:txBody>
        </p:sp>
        <p:sp>
          <p:nvSpPr>
            <p:cNvPr id="60" name="ZoneTexte 9">
              <a:extLst>
                <a:ext uri="{FF2B5EF4-FFF2-40B4-BE49-F238E27FC236}">
                  <a16:creationId xmlns:a16="http://schemas.microsoft.com/office/drawing/2014/main" id="{03FF2C20-177A-4518-8584-92CCB51403D4}"/>
                </a:ext>
              </a:extLst>
            </p:cNvPr>
            <p:cNvSpPr txBox="1"/>
            <p:nvPr/>
          </p:nvSpPr>
          <p:spPr>
            <a:xfrm>
              <a:off x="9241759" y="2634076"/>
              <a:ext cx="1101584" cy="400110"/>
            </a:xfrm>
            <a:prstGeom prst="rect">
              <a:avLst/>
            </a:prstGeom>
            <a:solidFill>
              <a:srgbClr val="2EA657"/>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Ubuntu"/>
                  <a:ea typeface="+mn-ea"/>
                  <a:cs typeface="+mn-cs"/>
                </a:rPr>
                <a:t>Donbas</a:t>
              </a:r>
            </a:p>
          </p:txBody>
        </p:sp>
        <p:sp>
          <p:nvSpPr>
            <p:cNvPr id="61" name="Freeform 1242">
              <a:extLst>
                <a:ext uri="{FF2B5EF4-FFF2-40B4-BE49-F238E27FC236}">
                  <a16:creationId xmlns:a16="http://schemas.microsoft.com/office/drawing/2014/main" id="{93AC4CCF-AAFF-4384-AA09-DFAD48D525DA}"/>
                </a:ext>
              </a:extLst>
            </p:cNvPr>
            <p:cNvSpPr>
              <a:spLocks noEditPoints="1"/>
            </p:cNvSpPr>
            <p:nvPr/>
          </p:nvSpPr>
          <p:spPr bwMode="auto">
            <a:xfrm>
              <a:off x="9137848" y="4242448"/>
              <a:ext cx="204368" cy="308503"/>
            </a:xfrm>
            <a:custGeom>
              <a:avLst/>
              <a:gdLst>
                <a:gd name="T0" fmla="*/ 112 w 219"/>
                <a:gd name="T1" fmla="*/ 333 h 333"/>
                <a:gd name="T2" fmla="*/ 103 w 219"/>
                <a:gd name="T3" fmla="*/ 318 h 333"/>
                <a:gd name="T4" fmla="*/ 39 w 219"/>
                <a:gd name="T5" fmla="*/ 206 h 333"/>
                <a:gd name="T6" fmla="*/ 11 w 219"/>
                <a:gd name="T7" fmla="*/ 133 h 333"/>
                <a:gd name="T8" fmla="*/ 91 w 219"/>
                <a:gd name="T9" fmla="*/ 10 h 333"/>
                <a:gd name="T10" fmla="*/ 199 w 219"/>
                <a:gd name="T11" fmla="*/ 55 h 333"/>
                <a:gd name="T12" fmla="*/ 212 w 219"/>
                <a:gd name="T13" fmla="*/ 139 h 333"/>
                <a:gd name="T14" fmla="*/ 185 w 219"/>
                <a:gd name="T15" fmla="*/ 207 h 333"/>
                <a:gd name="T16" fmla="*/ 113 w 219"/>
                <a:gd name="T17" fmla="*/ 331 h 333"/>
                <a:gd name="T18" fmla="*/ 112 w 219"/>
                <a:gd name="T19" fmla="*/ 333 h 333"/>
                <a:gd name="T20" fmla="*/ 112 w 219"/>
                <a:gd name="T21" fmla="*/ 145 h 333"/>
                <a:gd name="T22" fmla="*/ 149 w 219"/>
                <a:gd name="T23" fmla="*/ 108 h 333"/>
                <a:gd name="T24" fmla="*/ 112 w 219"/>
                <a:gd name="T25" fmla="*/ 71 h 333"/>
                <a:gd name="T26" fmla="*/ 75 w 219"/>
                <a:gd name="T27" fmla="*/ 108 h 333"/>
                <a:gd name="T28" fmla="*/ 112 w 219"/>
                <a:gd name="T29" fmla="*/ 14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333">
                  <a:moveTo>
                    <a:pt x="112" y="333"/>
                  </a:moveTo>
                  <a:cubicBezTo>
                    <a:pt x="109" y="328"/>
                    <a:pt x="106" y="323"/>
                    <a:pt x="103" y="318"/>
                  </a:cubicBezTo>
                  <a:cubicBezTo>
                    <a:pt x="81" y="280"/>
                    <a:pt x="59" y="243"/>
                    <a:pt x="39" y="206"/>
                  </a:cubicBezTo>
                  <a:cubicBezTo>
                    <a:pt x="26" y="183"/>
                    <a:pt x="16" y="159"/>
                    <a:pt x="11" y="133"/>
                  </a:cubicBezTo>
                  <a:cubicBezTo>
                    <a:pt x="0" y="76"/>
                    <a:pt x="34" y="23"/>
                    <a:pt x="91" y="10"/>
                  </a:cubicBezTo>
                  <a:cubicBezTo>
                    <a:pt x="131" y="0"/>
                    <a:pt x="177" y="19"/>
                    <a:pt x="199" y="55"/>
                  </a:cubicBezTo>
                  <a:cubicBezTo>
                    <a:pt x="215" y="81"/>
                    <a:pt x="219" y="109"/>
                    <a:pt x="212" y="139"/>
                  </a:cubicBezTo>
                  <a:cubicBezTo>
                    <a:pt x="206" y="163"/>
                    <a:pt x="197" y="186"/>
                    <a:pt x="185" y="207"/>
                  </a:cubicBezTo>
                  <a:cubicBezTo>
                    <a:pt x="161" y="249"/>
                    <a:pt x="137" y="290"/>
                    <a:pt x="113" y="331"/>
                  </a:cubicBezTo>
                  <a:cubicBezTo>
                    <a:pt x="113" y="332"/>
                    <a:pt x="113" y="332"/>
                    <a:pt x="112" y="333"/>
                  </a:cubicBezTo>
                  <a:close/>
                  <a:moveTo>
                    <a:pt x="112" y="145"/>
                  </a:moveTo>
                  <a:cubicBezTo>
                    <a:pt x="132" y="145"/>
                    <a:pt x="149" y="129"/>
                    <a:pt x="149" y="108"/>
                  </a:cubicBezTo>
                  <a:cubicBezTo>
                    <a:pt x="149" y="88"/>
                    <a:pt x="132" y="71"/>
                    <a:pt x="112" y="71"/>
                  </a:cubicBezTo>
                  <a:cubicBezTo>
                    <a:pt x="92" y="71"/>
                    <a:pt x="75" y="88"/>
                    <a:pt x="75" y="108"/>
                  </a:cubicBezTo>
                  <a:cubicBezTo>
                    <a:pt x="75" y="128"/>
                    <a:pt x="92" y="145"/>
                    <a:pt x="112" y="14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11" name="Ellipse 1">
            <a:extLst>
              <a:ext uri="{FF2B5EF4-FFF2-40B4-BE49-F238E27FC236}">
                <a16:creationId xmlns:a16="http://schemas.microsoft.com/office/drawing/2014/main" id="{1066FDEF-9DC3-46B8-A29B-E0878A3FD676}"/>
              </a:ext>
            </a:extLst>
          </p:cNvPr>
          <p:cNvSpPr/>
          <p:nvPr/>
        </p:nvSpPr>
        <p:spPr>
          <a:xfrm rot="1798689">
            <a:off x="3679193" y="2520549"/>
            <a:ext cx="4072052" cy="1142692"/>
          </a:xfrm>
          <a:prstGeom prst="ellipse">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12" name="Text Placeholder 7">
            <a:extLst>
              <a:ext uri="{FF2B5EF4-FFF2-40B4-BE49-F238E27FC236}">
                <a16:creationId xmlns:a16="http://schemas.microsoft.com/office/drawing/2014/main" id="{39AA0AF1-5B58-46C9-AE06-DF783A1898A6}"/>
              </a:ext>
            </a:extLst>
          </p:cNvPr>
          <p:cNvSpPr txBox="1">
            <a:spLocks/>
          </p:cNvSpPr>
          <p:nvPr/>
        </p:nvSpPr>
        <p:spPr>
          <a:xfrm>
            <a:off x="8428943" y="1375968"/>
            <a:ext cx="3358243" cy="4460617"/>
          </a:xfrm>
          <a:prstGeom prst="rect">
            <a:avLst/>
          </a:prstGeom>
          <a:noFill/>
        </p:spPr>
        <p:txBody>
          <a:bodyPr>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6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1463" marR="0" lvl="0" indent="-271463"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Ukraine has strategic position for the Russian gas export to Europe  (Brotherhood pipeline from Russia to Germany through Ukraine)</a:t>
            </a:r>
          </a:p>
          <a:p>
            <a:pPr marL="271463" marR="0" lvl="0" indent="-271463"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Donbas and Crimea have important energy resources (coal, gas, oil)</a:t>
            </a:r>
            <a:r>
              <a:rPr kumimoji="0" lang="en-US" sz="1600" b="0" i="0" u="none" strike="noStrike" kern="1200" cap="none" spc="0" normalizeH="0" baseline="30000" noProof="0">
                <a:ln>
                  <a:noFill/>
                </a:ln>
                <a:solidFill>
                  <a:srgbClr val="FFFFFF"/>
                </a:solidFill>
                <a:effectLst/>
                <a:uLnTx/>
                <a:uFillTx/>
                <a:latin typeface="Ubuntu Light" panose="020B0304030602030204" pitchFamily="34" charset="0"/>
                <a:ea typeface="+mn-ea"/>
                <a:cs typeface="+mn-cs"/>
              </a:rPr>
              <a:t>1</a:t>
            </a:r>
            <a:endPar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endParaRPr>
          </a:p>
          <a:p>
            <a:pPr marL="271463" marR="0" lvl="0" indent="-271463" algn="l" defTabSz="914400" rtl="0" eaLnBrk="1" fontAlgn="auto" latinLnBrk="0" hangingPunct="1">
              <a:lnSpc>
                <a:spcPct val="100000"/>
              </a:lnSpc>
              <a:spcBef>
                <a:spcPts val="0"/>
              </a:spcBef>
              <a:spcAft>
                <a:spcPts val="600"/>
              </a:spcAft>
              <a:buClr>
                <a:srgbClr val="12ABDB"/>
              </a:buClr>
              <a:buSzTx/>
              <a:buFont typeface="Wingdings" panose="05000000000000000000" pitchFamily="2" charset="2"/>
              <a:buChar char="§"/>
              <a:tabLst/>
              <a:defRPr/>
            </a:pPr>
            <a:r>
              <a:rPr kumimoji="0" lang="en-US" sz="1600" b="0" i="0" u="none" strike="noStrike" kern="1200" cap="none" spc="0" normalizeH="0" baseline="0" noProof="0">
                <a:ln>
                  <a:noFill/>
                </a:ln>
                <a:solidFill>
                  <a:srgbClr val="FFFFFF"/>
                </a:solidFill>
                <a:effectLst/>
                <a:uLnTx/>
                <a:uFillTx/>
                <a:latin typeface="Ubuntu Light" panose="020B0304030602030204" pitchFamily="34" charset="0"/>
                <a:ea typeface="+mn-ea"/>
                <a:cs typeface="+mn-cs"/>
              </a:rPr>
              <a:t>The largest nuclear plant in Europe is in the war zone </a:t>
            </a:r>
          </a:p>
        </p:txBody>
      </p:sp>
      <p:sp>
        <p:nvSpPr>
          <p:cNvPr id="113" name="ZoneTexte 3">
            <a:extLst>
              <a:ext uri="{FF2B5EF4-FFF2-40B4-BE49-F238E27FC236}">
                <a16:creationId xmlns:a16="http://schemas.microsoft.com/office/drawing/2014/main" id="{1A63CB9C-AA65-412F-9BCC-78E3DA021CF6}"/>
              </a:ext>
            </a:extLst>
          </p:cNvPr>
          <p:cNvSpPr txBox="1"/>
          <p:nvPr/>
        </p:nvSpPr>
        <p:spPr>
          <a:xfrm>
            <a:off x="4764463" y="2557315"/>
            <a:ext cx="148776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Main gas, coal and oil fields in Ukraine</a:t>
            </a:r>
            <a:r>
              <a:rPr kumimoji="0" lang="en-US" sz="1600" b="0" i="0" u="none" strike="noStrike" kern="1200" cap="none" spc="0" normalizeH="0" baseline="30000" noProof="0">
                <a:ln>
                  <a:noFill/>
                </a:ln>
                <a:solidFill>
                  <a:prstClr val="black"/>
                </a:solidFill>
                <a:effectLst/>
                <a:uLnTx/>
                <a:uFillTx/>
                <a:latin typeface="Ubuntu"/>
                <a:ea typeface="+mn-ea"/>
                <a:cs typeface="+mn-cs"/>
              </a:rPr>
              <a:t>2</a:t>
            </a:r>
            <a:endParaRPr kumimoji="0" lang="en-US" sz="1600" b="0" i="0" u="none" strike="noStrike" kern="1200" cap="none" spc="0" normalizeH="0" baseline="0" noProof="0">
              <a:ln>
                <a:noFill/>
              </a:ln>
              <a:solidFill>
                <a:prstClr val="black"/>
              </a:solidFill>
              <a:effectLst/>
              <a:uLnTx/>
              <a:uFillTx/>
              <a:latin typeface="Ubuntu"/>
              <a:ea typeface="+mn-ea"/>
              <a:cs typeface="+mn-cs"/>
            </a:endParaRPr>
          </a:p>
        </p:txBody>
      </p:sp>
      <p:grpSp>
        <p:nvGrpSpPr>
          <p:cNvPr id="115" name="Group 5">
            <a:extLst>
              <a:ext uri="{FF2B5EF4-FFF2-40B4-BE49-F238E27FC236}">
                <a16:creationId xmlns:a16="http://schemas.microsoft.com/office/drawing/2014/main" id="{CB91E5F0-76A1-477B-84ED-FCF8CF008C4D}"/>
              </a:ext>
            </a:extLst>
          </p:cNvPr>
          <p:cNvGrpSpPr/>
          <p:nvPr/>
        </p:nvGrpSpPr>
        <p:grpSpPr>
          <a:xfrm>
            <a:off x="5455928" y="4334790"/>
            <a:ext cx="317472" cy="302706"/>
            <a:chOff x="2928394" y="1817761"/>
            <a:chExt cx="521536" cy="497278"/>
          </a:xfrm>
          <a:solidFill>
            <a:srgbClr val="336B7D"/>
          </a:solidFill>
        </p:grpSpPr>
        <p:sp>
          <p:nvSpPr>
            <p:cNvPr id="116" name="Freeform 6">
              <a:extLst>
                <a:ext uri="{FF2B5EF4-FFF2-40B4-BE49-F238E27FC236}">
                  <a16:creationId xmlns:a16="http://schemas.microsoft.com/office/drawing/2014/main" id="{AA69B502-B7C8-4394-A3FA-D8B79E7396D0}"/>
                </a:ext>
              </a:extLst>
            </p:cNvPr>
            <p:cNvSpPr>
              <a:spLocks/>
            </p:cNvSpPr>
            <p:nvPr/>
          </p:nvSpPr>
          <p:spPr bwMode="gray">
            <a:xfrm>
              <a:off x="2928394" y="2043943"/>
              <a:ext cx="291472" cy="271096"/>
            </a:xfrm>
            <a:custGeom>
              <a:avLst/>
              <a:gdLst>
                <a:gd name="T0" fmla="*/ 539 w 539"/>
                <a:gd name="T1" fmla="*/ 501 h 501"/>
                <a:gd name="T2" fmla="*/ 2 w 539"/>
                <a:gd name="T3" fmla="*/ 501 h 501"/>
                <a:gd name="T4" fmla="*/ 8 w 539"/>
                <a:gd name="T5" fmla="*/ 491 h 501"/>
                <a:gd name="T6" fmla="*/ 127 w 539"/>
                <a:gd name="T7" fmla="*/ 0 h 501"/>
                <a:gd name="T8" fmla="*/ 411 w 539"/>
                <a:gd name="T9" fmla="*/ 22 h 501"/>
                <a:gd name="T10" fmla="*/ 406 w 539"/>
                <a:gd name="T11" fmla="*/ 106 h 501"/>
                <a:gd name="T12" fmla="*/ 539 w 539"/>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539" h="501">
                  <a:moveTo>
                    <a:pt x="539" y="501"/>
                  </a:moveTo>
                  <a:cubicBezTo>
                    <a:pt x="360" y="501"/>
                    <a:pt x="181" y="501"/>
                    <a:pt x="2" y="501"/>
                  </a:cubicBezTo>
                  <a:cubicBezTo>
                    <a:pt x="0" y="496"/>
                    <a:pt x="6" y="494"/>
                    <a:pt x="8" y="491"/>
                  </a:cubicBezTo>
                  <a:cubicBezTo>
                    <a:pt x="94" y="378"/>
                    <a:pt x="153" y="207"/>
                    <a:pt x="127" y="0"/>
                  </a:cubicBezTo>
                  <a:cubicBezTo>
                    <a:pt x="229" y="0"/>
                    <a:pt x="324" y="6"/>
                    <a:pt x="411" y="22"/>
                  </a:cubicBezTo>
                  <a:cubicBezTo>
                    <a:pt x="409" y="50"/>
                    <a:pt x="406" y="78"/>
                    <a:pt x="406" y="106"/>
                  </a:cubicBezTo>
                  <a:cubicBezTo>
                    <a:pt x="404" y="274"/>
                    <a:pt x="470" y="405"/>
                    <a:pt x="539"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
          <p:nvSpPr>
            <p:cNvPr id="117" name="Freeform 63">
              <a:extLst>
                <a:ext uri="{FF2B5EF4-FFF2-40B4-BE49-F238E27FC236}">
                  <a16:creationId xmlns:a16="http://schemas.microsoft.com/office/drawing/2014/main" id="{06961489-3B04-49E6-95CC-F93F1D5B5F1F}"/>
                </a:ext>
              </a:extLst>
            </p:cNvPr>
            <p:cNvSpPr>
              <a:spLocks/>
            </p:cNvSpPr>
            <p:nvPr/>
          </p:nvSpPr>
          <p:spPr bwMode="gray">
            <a:xfrm>
              <a:off x="3014503" y="1817761"/>
              <a:ext cx="435427" cy="194572"/>
            </a:xfrm>
            <a:custGeom>
              <a:avLst/>
              <a:gdLst>
                <a:gd name="T0" fmla="*/ 99 w 215"/>
                <a:gd name="T1" fmla="*/ 17 h 96"/>
                <a:gd name="T2" fmla="*/ 118 w 215"/>
                <a:gd name="T3" fmla="*/ 14 h 96"/>
                <a:gd name="T4" fmla="*/ 124 w 215"/>
                <a:gd name="T5" fmla="*/ 23 h 96"/>
                <a:gd name="T6" fmla="*/ 214 w 215"/>
                <a:gd name="T7" fmla="*/ 42 h 96"/>
                <a:gd name="T8" fmla="*/ 200 w 215"/>
                <a:gd name="T9" fmla="*/ 56 h 96"/>
                <a:gd name="T10" fmla="*/ 142 w 215"/>
                <a:gd name="T11" fmla="*/ 65 h 96"/>
                <a:gd name="T12" fmla="*/ 112 w 215"/>
                <a:gd name="T13" fmla="*/ 75 h 96"/>
                <a:gd name="T14" fmla="*/ 92 w 215"/>
                <a:gd name="T15" fmla="*/ 88 h 96"/>
                <a:gd name="T16" fmla="*/ 55 w 215"/>
                <a:gd name="T17" fmla="*/ 78 h 96"/>
                <a:gd name="T18" fmla="*/ 35 w 215"/>
                <a:gd name="T19" fmla="*/ 96 h 96"/>
                <a:gd name="T20" fmla="*/ 27 w 215"/>
                <a:gd name="T21" fmla="*/ 96 h 96"/>
                <a:gd name="T22" fmla="*/ 15 w 215"/>
                <a:gd name="T23" fmla="*/ 50 h 96"/>
                <a:gd name="T24" fmla="*/ 53 w 215"/>
                <a:gd name="T25" fmla="*/ 16 h 96"/>
                <a:gd name="T26" fmla="*/ 99 w 215"/>
                <a:gd name="T27"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96">
                  <a:moveTo>
                    <a:pt x="99" y="17"/>
                  </a:moveTo>
                  <a:cubicBezTo>
                    <a:pt x="104" y="15"/>
                    <a:pt x="109" y="13"/>
                    <a:pt x="118" y="14"/>
                  </a:cubicBezTo>
                  <a:cubicBezTo>
                    <a:pt x="120" y="16"/>
                    <a:pt x="124" y="18"/>
                    <a:pt x="124" y="23"/>
                  </a:cubicBezTo>
                  <a:cubicBezTo>
                    <a:pt x="162" y="11"/>
                    <a:pt x="171" y="54"/>
                    <a:pt x="214" y="42"/>
                  </a:cubicBezTo>
                  <a:cubicBezTo>
                    <a:pt x="215" y="48"/>
                    <a:pt x="206" y="52"/>
                    <a:pt x="200" y="56"/>
                  </a:cubicBezTo>
                  <a:cubicBezTo>
                    <a:pt x="187" y="64"/>
                    <a:pt x="164" y="72"/>
                    <a:pt x="142" y="65"/>
                  </a:cubicBezTo>
                  <a:cubicBezTo>
                    <a:pt x="139" y="76"/>
                    <a:pt x="125" y="80"/>
                    <a:pt x="112" y="75"/>
                  </a:cubicBezTo>
                  <a:cubicBezTo>
                    <a:pt x="104" y="82"/>
                    <a:pt x="101" y="87"/>
                    <a:pt x="92" y="88"/>
                  </a:cubicBezTo>
                  <a:cubicBezTo>
                    <a:pt x="78" y="90"/>
                    <a:pt x="66" y="78"/>
                    <a:pt x="55" y="78"/>
                  </a:cubicBezTo>
                  <a:cubicBezTo>
                    <a:pt x="44" y="77"/>
                    <a:pt x="40" y="85"/>
                    <a:pt x="35" y="96"/>
                  </a:cubicBezTo>
                  <a:cubicBezTo>
                    <a:pt x="32" y="96"/>
                    <a:pt x="29" y="96"/>
                    <a:pt x="27" y="96"/>
                  </a:cubicBezTo>
                  <a:cubicBezTo>
                    <a:pt x="25" y="80"/>
                    <a:pt x="0" y="65"/>
                    <a:pt x="15" y="50"/>
                  </a:cubicBezTo>
                  <a:cubicBezTo>
                    <a:pt x="12" y="25"/>
                    <a:pt x="32" y="3"/>
                    <a:pt x="53" y="16"/>
                  </a:cubicBezTo>
                  <a:cubicBezTo>
                    <a:pt x="64" y="7"/>
                    <a:pt x="92" y="0"/>
                    <a:pt x="99" y="17"/>
                  </a:cubicBezTo>
                  <a:close/>
                </a:path>
              </a:pathLst>
            </a:custGeom>
            <a:grpFill/>
            <a:ln w="4"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grpSp>
      <p:sp>
        <p:nvSpPr>
          <p:cNvPr id="118" name="Rectangle 117">
            <a:extLst>
              <a:ext uri="{FF2B5EF4-FFF2-40B4-BE49-F238E27FC236}">
                <a16:creationId xmlns:a16="http://schemas.microsoft.com/office/drawing/2014/main" id="{3B58ED09-95A0-4FF5-9DE3-83F54E3F8CEB}"/>
              </a:ext>
            </a:extLst>
          </p:cNvPr>
          <p:cNvSpPr/>
          <p:nvPr/>
        </p:nvSpPr>
        <p:spPr>
          <a:xfrm>
            <a:off x="404813" y="4074674"/>
            <a:ext cx="2857878" cy="1972641"/>
          </a:xfrm>
          <a:prstGeom prst="rect">
            <a:avLst/>
          </a:prstGeom>
          <a:solidFill>
            <a:srgbClr val="00D5D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marR="0" lvl="0" indent="-177800" algn="l" defTabSz="914400" rtl="0" eaLnBrk="1" fontAlgn="auto" latinLnBrk="0" hangingPunct="1">
              <a:lnSpc>
                <a:spcPct val="100000"/>
              </a:lnSpc>
              <a:spcBef>
                <a:spcPts val="0"/>
              </a:spcBef>
              <a:spcAft>
                <a:spcPts val="0"/>
              </a:spcAft>
              <a:buClr>
                <a:srgbClr val="178C3D"/>
              </a:buClr>
              <a:buSzTx/>
              <a:buFont typeface="Wingdings" panose="05000000000000000000" pitchFamily="2" charset="2"/>
              <a:buChar char="§"/>
              <a:tabLst/>
              <a:defRPr/>
            </a:pPr>
            <a:r>
              <a:rPr kumimoji="0" lang="en-US" sz="1800" b="1" i="0" u="none" strike="noStrike" kern="1200" cap="none" spc="0" normalizeH="0" baseline="0" noProof="0">
                <a:ln>
                  <a:noFill/>
                </a:ln>
                <a:solidFill>
                  <a:srgbClr val="178C3D"/>
                </a:solidFill>
                <a:effectLst/>
                <a:uLnTx/>
                <a:uFillTx/>
                <a:latin typeface="Ubuntu"/>
                <a:ea typeface="+mn-ea"/>
                <a:cs typeface="+mn-cs"/>
              </a:rPr>
              <a:t>6</a:t>
            </a:r>
            <a:r>
              <a:rPr kumimoji="0" lang="en-US" sz="1800" b="1" i="0" u="none" strike="noStrike" kern="1200" cap="none" spc="0" normalizeH="0" baseline="30000" noProof="0">
                <a:ln>
                  <a:noFill/>
                </a:ln>
                <a:solidFill>
                  <a:srgbClr val="178C3D"/>
                </a:solidFill>
                <a:effectLst/>
                <a:uLnTx/>
                <a:uFillTx/>
                <a:latin typeface="Ubuntu"/>
                <a:ea typeface="+mn-ea"/>
                <a:cs typeface="+mn-cs"/>
              </a:rPr>
              <a:t>th</a:t>
            </a:r>
            <a:r>
              <a:rPr kumimoji="0" lang="en-US" sz="1400" b="0" i="0" u="none" strike="noStrike" kern="1200" cap="none" spc="0" normalizeH="0" baseline="0" noProof="0">
                <a:ln>
                  <a:noFill/>
                </a:ln>
                <a:solidFill>
                  <a:srgbClr val="272936"/>
                </a:solidFill>
                <a:effectLst/>
                <a:uLnTx/>
                <a:uFillTx/>
                <a:latin typeface="Ubuntu"/>
                <a:ea typeface="+mn-ea"/>
                <a:cs typeface="+mn-cs"/>
              </a:rPr>
              <a:t> largest coal country in the world</a:t>
            </a:r>
            <a:r>
              <a:rPr kumimoji="0" lang="en-US" sz="1400" b="0" i="0" u="none" strike="noStrike" kern="1200" cap="none" spc="0" normalizeH="0" baseline="30000" noProof="0">
                <a:ln>
                  <a:noFill/>
                </a:ln>
                <a:solidFill>
                  <a:srgbClr val="272936"/>
                </a:solidFill>
                <a:effectLst/>
                <a:uLnTx/>
                <a:uFillTx/>
                <a:latin typeface="Ubuntu"/>
                <a:ea typeface="+mn-ea"/>
                <a:cs typeface="+mn-cs"/>
              </a:rPr>
              <a:t>1</a:t>
            </a:r>
            <a:endParaRPr kumimoji="0" lang="en-US" sz="1400" b="0" i="0" u="none" strike="noStrike" kern="1200" cap="none" spc="0" normalizeH="0" baseline="0" noProof="0">
              <a:ln>
                <a:noFill/>
              </a:ln>
              <a:solidFill>
                <a:srgbClr val="272936"/>
              </a:solidFill>
              <a:effectLst/>
              <a:uLnTx/>
              <a:uFillTx/>
              <a:latin typeface="Ubuntu"/>
              <a:ea typeface="+mn-ea"/>
              <a:cs typeface="+mn-cs"/>
            </a:endParaRPr>
          </a:p>
          <a:p>
            <a:pPr marL="177800" marR="0" lvl="0" indent="-177800" algn="l" defTabSz="914400" rtl="0" eaLnBrk="1" fontAlgn="auto" latinLnBrk="0" hangingPunct="1">
              <a:lnSpc>
                <a:spcPct val="100000"/>
              </a:lnSpc>
              <a:spcBef>
                <a:spcPts val="0"/>
              </a:spcBef>
              <a:spcAft>
                <a:spcPts val="0"/>
              </a:spcAft>
              <a:buClr>
                <a:srgbClr val="178C3D"/>
              </a:buClr>
              <a:buSzTx/>
              <a:buFont typeface="Wingdings" panose="05000000000000000000" pitchFamily="2" charset="2"/>
              <a:buChar char="§"/>
              <a:tabLst/>
              <a:defRPr/>
            </a:pPr>
            <a:r>
              <a:rPr kumimoji="0" lang="en-US" sz="1800" b="1" i="0" u="none" strike="noStrike" kern="1200" cap="none" spc="0" normalizeH="0" baseline="0" noProof="0">
                <a:ln>
                  <a:noFill/>
                </a:ln>
                <a:solidFill>
                  <a:srgbClr val="178C3D"/>
                </a:solidFill>
                <a:effectLst/>
                <a:uLnTx/>
                <a:uFillTx/>
                <a:latin typeface="Ubuntu"/>
                <a:ea typeface="+mn-ea"/>
                <a:cs typeface="+mn-cs"/>
              </a:rPr>
              <a:t>9 </a:t>
            </a:r>
            <a:r>
              <a:rPr kumimoji="0" lang="en-US" sz="1800" b="1" i="0" u="none" strike="noStrike" kern="1200" cap="none" spc="0" normalizeH="0" baseline="0" noProof="0" err="1">
                <a:ln>
                  <a:noFill/>
                </a:ln>
                <a:solidFill>
                  <a:srgbClr val="178C3D"/>
                </a:solidFill>
                <a:effectLst/>
                <a:uLnTx/>
                <a:uFillTx/>
                <a:latin typeface="Ubuntu"/>
                <a:ea typeface="+mn-ea"/>
                <a:cs typeface="+mn-cs"/>
              </a:rPr>
              <a:t>Btoe</a:t>
            </a:r>
            <a:r>
              <a:rPr kumimoji="0" lang="en-US" sz="1800" b="1" i="0" u="none" strike="noStrike" kern="1200" cap="none" spc="0" normalizeH="0" baseline="0" noProof="0">
                <a:ln>
                  <a:noFill/>
                </a:ln>
                <a:solidFill>
                  <a:srgbClr val="178C3D"/>
                </a:solidFill>
                <a:effectLst/>
                <a:uLnTx/>
                <a:uFillTx/>
                <a:latin typeface="Ubuntu"/>
                <a:ea typeface="+mn-ea"/>
                <a:cs typeface="+mn-cs"/>
              </a:rPr>
              <a:t> </a:t>
            </a:r>
            <a:r>
              <a:rPr kumimoji="0" lang="en-US" sz="1400" b="0" i="0" u="none" strike="noStrike" kern="1200" cap="none" spc="0" normalizeH="0" baseline="0" noProof="0">
                <a:ln>
                  <a:noFill/>
                </a:ln>
                <a:solidFill>
                  <a:srgbClr val="272936"/>
                </a:solidFill>
                <a:effectLst/>
                <a:uLnTx/>
                <a:uFillTx/>
                <a:latin typeface="Ubuntu"/>
                <a:ea typeface="+mn-ea"/>
                <a:cs typeface="+mn-cs"/>
              </a:rPr>
              <a:t>of hydrocarbon reserves</a:t>
            </a:r>
            <a:r>
              <a:rPr kumimoji="0" lang="en-US" sz="1400" b="0" i="0" u="none" strike="noStrike" kern="1200" cap="none" spc="0" normalizeH="0" baseline="30000" noProof="0">
                <a:ln>
                  <a:noFill/>
                </a:ln>
                <a:solidFill>
                  <a:srgbClr val="272936"/>
                </a:solidFill>
                <a:effectLst/>
                <a:uLnTx/>
                <a:uFillTx/>
                <a:latin typeface="Ubuntu"/>
                <a:ea typeface="+mn-ea"/>
                <a:cs typeface="+mn-cs"/>
              </a:rPr>
              <a:t>1</a:t>
            </a:r>
            <a:endParaRPr kumimoji="0" lang="en-US" sz="1400" b="0" i="0" u="none" strike="noStrike" kern="1200" cap="none" spc="0" normalizeH="0" baseline="0" noProof="0">
              <a:ln>
                <a:noFill/>
              </a:ln>
              <a:solidFill>
                <a:srgbClr val="272936"/>
              </a:solidFill>
              <a:effectLst/>
              <a:uLnTx/>
              <a:uFillTx/>
              <a:latin typeface="Ubuntu"/>
              <a:ea typeface="+mn-ea"/>
              <a:cs typeface="+mn-cs"/>
            </a:endParaRPr>
          </a:p>
          <a:p>
            <a:pPr marL="177800" marR="0" lvl="0" indent="-177800" algn="l" defTabSz="914400" rtl="0" eaLnBrk="1" fontAlgn="auto" latinLnBrk="0" hangingPunct="1">
              <a:lnSpc>
                <a:spcPct val="100000"/>
              </a:lnSpc>
              <a:spcBef>
                <a:spcPts val="0"/>
              </a:spcBef>
              <a:spcAft>
                <a:spcPts val="0"/>
              </a:spcAft>
              <a:buClr>
                <a:srgbClr val="178C3D"/>
              </a:buClr>
              <a:buSzTx/>
              <a:buFont typeface="Wingdings" panose="05000000000000000000" pitchFamily="2" charset="2"/>
              <a:buChar char="§"/>
              <a:tabLst/>
              <a:defRPr/>
            </a:pPr>
            <a:r>
              <a:rPr kumimoji="0" lang="en-US" sz="1400" b="0" i="0" u="none" strike="noStrike" kern="1200" cap="none" spc="0" normalizeH="0" baseline="0" noProof="0">
                <a:ln>
                  <a:noFill/>
                </a:ln>
                <a:solidFill>
                  <a:srgbClr val="272936"/>
                </a:solidFill>
                <a:effectLst/>
                <a:uLnTx/>
                <a:uFillTx/>
                <a:latin typeface="Ubuntu"/>
                <a:ea typeface="+mn-ea"/>
                <a:cs typeface="+mn-cs"/>
              </a:rPr>
              <a:t>Natural gas reserves are estimated at </a:t>
            </a:r>
            <a:r>
              <a:rPr kumimoji="0" lang="en-US" sz="1800" b="1" i="0" u="none" strike="noStrike" kern="1200" cap="none" spc="0" normalizeH="0" baseline="0" noProof="0">
                <a:ln>
                  <a:noFill/>
                </a:ln>
                <a:solidFill>
                  <a:srgbClr val="178C3D"/>
                </a:solidFill>
                <a:effectLst/>
                <a:uLnTx/>
                <a:uFillTx/>
                <a:latin typeface="Ubuntu"/>
                <a:ea typeface="+mn-ea"/>
                <a:cs typeface="+mn-cs"/>
              </a:rPr>
              <a:t>5.4 tcm</a:t>
            </a:r>
            <a:r>
              <a:rPr kumimoji="0" lang="en-US" sz="1400" b="0" i="0" u="none" strike="noStrike" kern="1200" cap="none" spc="0" normalizeH="0" baseline="30000" noProof="0">
                <a:ln>
                  <a:noFill/>
                </a:ln>
                <a:solidFill>
                  <a:srgbClr val="178C3D"/>
                </a:solidFill>
                <a:effectLst/>
                <a:uLnTx/>
                <a:uFillTx/>
                <a:latin typeface="Ubuntu"/>
                <a:ea typeface="+mn-ea"/>
                <a:cs typeface="+mn-cs"/>
              </a:rPr>
              <a:t>1</a:t>
            </a:r>
          </a:p>
          <a:p>
            <a:pPr marL="177800" marR="0" lvl="0" indent="-177800" algn="l" defTabSz="914400" rtl="0" eaLnBrk="1" fontAlgn="auto" latinLnBrk="0" hangingPunct="1">
              <a:lnSpc>
                <a:spcPct val="100000"/>
              </a:lnSpc>
              <a:spcBef>
                <a:spcPts val="0"/>
              </a:spcBef>
              <a:spcAft>
                <a:spcPts val="0"/>
              </a:spcAft>
              <a:buClr>
                <a:srgbClr val="178C3D"/>
              </a:buClr>
              <a:buSzTx/>
              <a:buFont typeface="Wingdings" panose="05000000000000000000" pitchFamily="2" charset="2"/>
              <a:buChar char="§"/>
              <a:tabLst/>
              <a:defRPr/>
            </a:pPr>
            <a:r>
              <a:rPr kumimoji="0" lang="en-US" sz="2000" b="1" i="0" u="none" strike="noStrike" kern="1200" cap="none" spc="0" normalizeH="0" baseline="0" noProof="0">
                <a:ln>
                  <a:noFill/>
                </a:ln>
                <a:solidFill>
                  <a:srgbClr val="178C3D"/>
                </a:solidFill>
                <a:effectLst/>
                <a:uLnTx/>
                <a:uFillTx/>
                <a:latin typeface="Ubuntu"/>
                <a:ea typeface="+mn-ea"/>
                <a:cs typeface="+mn-cs"/>
              </a:rPr>
              <a:t>Nuclear operator</a:t>
            </a:r>
            <a:endParaRPr kumimoji="0" lang="en-US" sz="2400" b="1" i="0" u="none" strike="noStrike" kern="1200" cap="none" spc="0" normalizeH="0" baseline="0" noProof="0">
              <a:ln>
                <a:noFill/>
              </a:ln>
              <a:solidFill>
                <a:srgbClr val="178C3D"/>
              </a:solidFill>
              <a:effectLst/>
              <a:uLnTx/>
              <a:uFillTx/>
              <a:latin typeface="Ubuntu"/>
              <a:ea typeface="+mn-ea"/>
              <a:cs typeface="+mn-cs"/>
            </a:endParaRPr>
          </a:p>
        </p:txBody>
      </p:sp>
      <p:grpSp>
        <p:nvGrpSpPr>
          <p:cNvPr id="120" name="Group 5">
            <a:extLst>
              <a:ext uri="{FF2B5EF4-FFF2-40B4-BE49-F238E27FC236}">
                <a16:creationId xmlns:a16="http://schemas.microsoft.com/office/drawing/2014/main" id="{0DF10B28-F37A-4C0D-B7E9-B66766A58CB8}"/>
              </a:ext>
            </a:extLst>
          </p:cNvPr>
          <p:cNvGrpSpPr/>
          <p:nvPr/>
        </p:nvGrpSpPr>
        <p:grpSpPr>
          <a:xfrm>
            <a:off x="6732085" y="4324458"/>
            <a:ext cx="317472" cy="302706"/>
            <a:chOff x="2928394" y="1817761"/>
            <a:chExt cx="521536" cy="497278"/>
          </a:xfrm>
          <a:solidFill>
            <a:schemeClr val="bg1"/>
          </a:solidFill>
        </p:grpSpPr>
        <p:sp>
          <p:nvSpPr>
            <p:cNvPr id="122" name="Freeform 6">
              <a:extLst>
                <a:ext uri="{FF2B5EF4-FFF2-40B4-BE49-F238E27FC236}">
                  <a16:creationId xmlns:a16="http://schemas.microsoft.com/office/drawing/2014/main" id="{C48608B7-0F8A-4329-9193-C0CFACDDA321}"/>
                </a:ext>
              </a:extLst>
            </p:cNvPr>
            <p:cNvSpPr>
              <a:spLocks/>
            </p:cNvSpPr>
            <p:nvPr/>
          </p:nvSpPr>
          <p:spPr bwMode="gray">
            <a:xfrm>
              <a:off x="2928394" y="2043943"/>
              <a:ext cx="291472" cy="271096"/>
            </a:xfrm>
            <a:custGeom>
              <a:avLst/>
              <a:gdLst>
                <a:gd name="T0" fmla="*/ 539 w 539"/>
                <a:gd name="T1" fmla="*/ 501 h 501"/>
                <a:gd name="T2" fmla="*/ 2 w 539"/>
                <a:gd name="T3" fmla="*/ 501 h 501"/>
                <a:gd name="T4" fmla="*/ 8 w 539"/>
                <a:gd name="T5" fmla="*/ 491 h 501"/>
                <a:gd name="T6" fmla="*/ 127 w 539"/>
                <a:gd name="T7" fmla="*/ 0 h 501"/>
                <a:gd name="T8" fmla="*/ 411 w 539"/>
                <a:gd name="T9" fmla="*/ 22 h 501"/>
                <a:gd name="T10" fmla="*/ 406 w 539"/>
                <a:gd name="T11" fmla="*/ 106 h 501"/>
                <a:gd name="T12" fmla="*/ 539 w 539"/>
                <a:gd name="T13" fmla="*/ 501 h 501"/>
              </a:gdLst>
              <a:ahLst/>
              <a:cxnLst>
                <a:cxn ang="0">
                  <a:pos x="T0" y="T1"/>
                </a:cxn>
                <a:cxn ang="0">
                  <a:pos x="T2" y="T3"/>
                </a:cxn>
                <a:cxn ang="0">
                  <a:pos x="T4" y="T5"/>
                </a:cxn>
                <a:cxn ang="0">
                  <a:pos x="T6" y="T7"/>
                </a:cxn>
                <a:cxn ang="0">
                  <a:pos x="T8" y="T9"/>
                </a:cxn>
                <a:cxn ang="0">
                  <a:pos x="T10" y="T11"/>
                </a:cxn>
                <a:cxn ang="0">
                  <a:pos x="T12" y="T13"/>
                </a:cxn>
              </a:cxnLst>
              <a:rect l="0" t="0" r="r" b="b"/>
              <a:pathLst>
                <a:path w="539" h="501">
                  <a:moveTo>
                    <a:pt x="539" y="501"/>
                  </a:moveTo>
                  <a:cubicBezTo>
                    <a:pt x="360" y="501"/>
                    <a:pt x="181" y="501"/>
                    <a:pt x="2" y="501"/>
                  </a:cubicBezTo>
                  <a:cubicBezTo>
                    <a:pt x="0" y="496"/>
                    <a:pt x="6" y="494"/>
                    <a:pt x="8" y="491"/>
                  </a:cubicBezTo>
                  <a:cubicBezTo>
                    <a:pt x="94" y="378"/>
                    <a:pt x="153" y="207"/>
                    <a:pt x="127" y="0"/>
                  </a:cubicBezTo>
                  <a:cubicBezTo>
                    <a:pt x="229" y="0"/>
                    <a:pt x="324" y="6"/>
                    <a:pt x="411" y="22"/>
                  </a:cubicBezTo>
                  <a:cubicBezTo>
                    <a:pt x="409" y="50"/>
                    <a:pt x="406" y="78"/>
                    <a:pt x="406" y="106"/>
                  </a:cubicBezTo>
                  <a:cubicBezTo>
                    <a:pt x="404" y="274"/>
                    <a:pt x="470" y="405"/>
                    <a:pt x="539"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sp>
          <p:nvSpPr>
            <p:cNvPr id="124" name="Freeform 63">
              <a:extLst>
                <a:ext uri="{FF2B5EF4-FFF2-40B4-BE49-F238E27FC236}">
                  <a16:creationId xmlns:a16="http://schemas.microsoft.com/office/drawing/2014/main" id="{5DFE77DB-3674-403D-9AF4-F706CA64DF93}"/>
                </a:ext>
              </a:extLst>
            </p:cNvPr>
            <p:cNvSpPr>
              <a:spLocks/>
            </p:cNvSpPr>
            <p:nvPr/>
          </p:nvSpPr>
          <p:spPr bwMode="gray">
            <a:xfrm>
              <a:off x="3014503" y="1817761"/>
              <a:ext cx="435427" cy="194572"/>
            </a:xfrm>
            <a:custGeom>
              <a:avLst/>
              <a:gdLst>
                <a:gd name="T0" fmla="*/ 99 w 215"/>
                <a:gd name="T1" fmla="*/ 17 h 96"/>
                <a:gd name="T2" fmla="*/ 118 w 215"/>
                <a:gd name="T3" fmla="*/ 14 h 96"/>
                <a:gd name="T4" fmla="*/ 124 w 215"/>
                <a:gd name="T5" fmla="*/ 23 h 96"/>
                <a:gd name="T6" fmla="*/ 214 w 215"/>
                <a:gd name="T7" fmla="*/ 42 h 96"/>
                <a:gd name="T8" fmla="*/ 200 w 215"/>
                <a:gd name="T9" fmla="*/ 56 h 96"/>
                <a:gd name="T10" fmla="*/ 142 w 215"/>
                <a:gd name="T11" fmla="*/ 65 h 96"/>
                <a:gd name="T12" fmla="*/ 112 w 215"/>
                <a:gd name="T13" fmla="*/ 75 h 96"/>
                <a:gd name="T14" fmla="*/ 92 w 215"/>
                <a:gd name="T15" fmla="*/ 88 h 96"/>
                <a:gd name="T16" fmla="*/ 55 w 215"/>
                <a:gd name="T17" fmla="*/ 78 h 96"/>
                <a:gd name="T18" fmla="*/ 35 w 215"/>
                <a:gd name="T19" fmla="*/ 96 h 96"/>
                <a:gd name="T20" fmla="*/ 27 w 215"/>
                <a:gd name="T21" fmla="*/ 96 h 96"/>
                <a:gd name="T22" fmla="*/ 15 w 215"/>
                <a:gd name="T23" fmla="*/ 50 h 96"/>
                <a:gd name="T24" fmla="*/ 53 w 215"/>
                <a:gd name="T25" fmla="*/ 16 h 96"/>
                <a:gd name="T26" fmla="*/ 99 w 215"/>
                <a:gd name="T27"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5" h="96">
                  <a:moveTo>
                    <a:pt x="99" y="17"/>
                  </a:moveTo>
                  <a:cubicBezTo>
                    <a:pt x="104" y="15"/>
                    <a:pt x="109" y="13"/>
                    <a:pt x="118" y="14"/>
                  </a:cubicBezTo>
                  <a:cubicBezTo>
                    <a:pt x="120" y="16"/>
                    <a:pt x="124" y="18"/>
                    <a:pt x="124" y="23"/>
                  </a:cubicBezTo>
                  <a:cubicBezTo>
                    <a:pt x="162" y="11"/>
                    <a:pt x="171" y="54"/>
                    <a:pt x="214" y="42"/>
                  </a:cubicBezTo>
                  <a:cubicBezTo>
                    <a:pt x="215" y="48"/>
                    <a:pt x="206" y="52"/>
                    <a:pt x="200" y="56"/>
                  </a:cubicBezTo>
                  <a:cubicBezTo>
                    <a:pt x="187" y="64"/>
                    <a:pt x="164" y="72"/>
                    <a:pt x="142" y="65"/>
                  </a:cubicBezTo>
                  <a:cubicBezTo>
                    <a:pt x="139" y="76"/>
                    <a:pt x="125" y="80"/>
                    <a:pt x="112" y="75"/>
                  </a:cubicBezTo>
                  <a:cubicBezTo>
                    <a:pt x="104" y="82"/>
                    <a:pt x="101" y="87"/>
                    <a:pt x="92" y="88"/>
                  </a:cubicBezTo>
                  <a:cubicBezTo>
                    <a:pt x="78" y="90"/>
                    <a:pt x="66" y="78"/>
                    <a:pt x="55" y="78"/>
                  </a:cubicBezTo>
                  <a:cubicBezTo>
                    <a:pt x="44" y="77"/>
                    <a:pt x="40" y="85"/>
                    <a:pt x="35" y="96"/>
                  </a:cubicBezTo>
                  <a:cubicBezTo>
                    <a:pt x="32" y="96"/>
                    <a:pt x="29" y="96"/>
                    <a:pt x="27" y="96"/>
                  </a:cubicBezTo>
                  <a:cubicBezTo>
                    <a:pt x="25" y="80"/>
                    <a:pt x="0" y="65"/>
                    <a:pt x="15" y="50"/>
                  </a:cubicBezTo>
                  <a:cubicBezTo>
                    <a:pt x="12" y="25"/>
                    <a:pt x="32" y="3"/>
                    <a:pt x="53" y="16"/>
                  </a:cubicBezTo>
                  <a:cubicBezTo>
                    <a:pt x="64" y="7"/>
                    <a:pt x="92" y="0"/>
                    <a:pt x="99" y="17"/>
                  </a:cubicBezTo>
                  <a:close/>
                </a:path>
              </a:pathLst>
            </a:custGeom>
            <a:grpFill/>
            <a:ln w="4" cap="rnd">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pitchFamily="34" charset="0"/>
                <a:ea typeface="+mn-ea"/>
                <a:cs typeface="+mn-cs"/>
              </a:endParaRPr>
            </a:p>
          </p:txBody>
        </p:sp>
      </p:grpSp>
      <p:sp>
        <p:nvSpPr>
          <p:cNvPr id="47" name="Ellipse 46">
            <a:extLst>
              <a:ext uri="{FF2B5EF4-FFF2-40B4-BE49-F238E27FC236}">
                <a16:creationId xmlns:a16="http://schemas.microsoft.com/office/drawing/2014/main" id="{3C7DAA59-D377-436C-B205-14C1759A7452}"/>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Tree>
    <p:extLst>
      <p:ext uri="{BB962C8B-B14F-4D97-AF65-F5344CB8AC3E}">
        <p14:creationId xmlns:p14="http://schemas.microsoft.com/office/powerpoint/2010/main" val="1671441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rrow: Pentagon 1">
            <a:extLst>
              <a:ext uri="{FF2B5EF4-FFF2-40B4-BE49-F238E27FC236}">
                <a16:creationId xmlns:a16="http://schemas.microsoft.com/office/drawing/2014/main" id="{0F83BEE1-7573-479F-AD70-E75D3D0F3DB0}"/>
              </a:ext>
            </a:extLst>
          </p:cNvPr>
          <p:cNvSpPr/>
          <p:nvPr/>
        </p:nvSpPr>
        <p:spPr>
          <a:xfrm>
            <a:off x="8487072" y="4544687"/>
            <a:ext cx="3657600" cy="716711"/>
          </a:xfrm>
          <a:prstGeom prst="homePlate">
            <a:avLst/>
          </a:prstGeom>
          <a:solidFill>
            <a:srgbClr val="0F6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2022</a:t>
            </a:r>
          </a:p>
        </p:txBody>
      </p:sp>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a:xfrm>
            <a:off x="404813" y="188640"/>
            <a:ext cx="10947772" cy="716711"/>
          </a:xfrm>
        </p:spPr>
        <p:txBody>
          <a:bodyPr/>
          <a:lstStyle/>
          <a:p>
            <a:r>
              <a:rPr lang="en-GB"/>
              <a:t>4 SUCCESSIVE CRISES</a:t>
            </a:r>
            <a:endParaRPr lang="en-IN"/>
          </a:p>
        </p:txBody>
      </p:sp>
      <p:sp>
        <p:nvSpPr>
          <p:cNvPr id="46" name="Rectangle 45">
            <a:extLst>
              <a:ext uri="{FF2B5EF4-FFF2-40B4-BE49-F238E27FC236}">
                <a16:creationId xmlns:a16="http://schemas.microsoft.com/office/drawing/2014/main" id="{68E10365-B777-49EC-9B24-721F469BD7BE}"/>
              </a:ext>
            </a:extLst>
          </p:cNvPr>
          <p:cNvSpPr/>
          <p:nvPr/>
        </p:nvSpPr>
        <p:spPr>
          <a:xfrm>
            <a:off x="8653478" y="1472626"/>
            <a:ext cx="2941398" cy="2094929"/>
          </a:xfrm>
          <a:prstGeom prst="rect">
            <a:avLst/>
          </a:prstGeom>
          <a:solidFill>
            <a:srgbClr val="176036">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srgbClr val="FFFFFF"/>
              </a:solidFill>
              <a:effectLst/>
              <a:uLnTx/>
              <a:uFillTx/>
              <a:latin typeface="Ubuntu"/>
              <a:ea typeface="+mn-ea"/>
              <a:cs typeface="+mn-cs"/>
            </a:endParaRPr>
          </a:p>
        </p:txBody>
      </p:sp>
      <p:sp>
        <p:nvSpPr>
          <p:cNvPr id="50" name="Rectangle 49">
            <a:extLst>
              <a:ext uri="{FF2B5EF4-FFF2-40B4-BE49-F238E27FC236}">
                <a16:creationId xmlns:a16="http://schemas.microsoft.com/office/drawing/2014/main" id="{2358E611-DE2E-43C3-A494-8408B60716AC}"/>
              </a:ext>
            </a:extLst>
          </p:cNvPr>
          <p:cNvSpPr/>
          <p:nvPr/>
        </p:nvSpPr>
        <p:spPr>
          <a:xfrm>
            <a:off x="5241643" y="1468980"/>
            <a:ext cx="3286770" cy="2114120"/>
          </a:xfrm>
          <a:prstGeom prst="rect">
            <a:avLst/>
          </a:prstGeom>
          <a:solidFill>
            <a:srgbClr val="2EA657">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1" name="Rectangle 50">
            <a:extLst>
              <a:ext uri="{FF2B5EF4-FFF2-40B4-BE49-F238E27FC236}">
                <a16:creationId xmlns:a16="http://schemas.microsoft.com/office/drawing/2014/main" id="{E1AE989B-D739-4BAC-BC7A-C095D1D99036}"/>
              </a:ext>
            </a:extLst>
          </p:cNvPr>
          <p:cNvSpPr/>
          <p:nvPr/>
        </p:nvSpPr>
        <p:spPr>
          <a:xfrm>
            <a:off x="1181804" y="4544687"/>
            <a:ext cx="3657600" cy="716711"/>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2020</a:t>
            </a:r>
          </a:p>
        </p:txBody>
      </p:sp>
      <p:sp>
        <p:nvSpPr>
          <p:cNvPr id="52" name="Rectangle 51">
            <a:extLst>
              <a:ext uri="{FF2B5EF4-FFF2-40B4-BE49-F238E27FC236}">
                <a16:creationId xmlns:a16="http://schemas.microsoft.com/office/drawing/2014/main" id="{10F58441-1F09-4405-A099-1D1B2F042600}"/>
              </a:ext>
            </a:extLst>
          </p:cNvPr>
          <p:cNvSpPr/>
          <p:nvPr/>
        </p:nvSpPr>
        <p:spPr>
          <a:xfrm>
            <a:off x="1847528" y="1472626"/>
            <a:ext cx="3280008" cy="2128040"/>
          </a:xfrm>
          <a:prstGeom prst="rect">
            <a:avLst/>
          </a:prstGeom>
          <a:solidFill>
            <a:srgbClr val="57CF8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53" name="Rectangle 52">
            <a:extLst>
              <a:ext uri="{FF2B5EF4-FFF2-40B4-BE49-F238E27FC236}">
                <a16:creationId xmlns:a16="http://schemas.microsoft.com/office/drawing/2014/main" id="{3CD12F30-36B7-4503-BC6E-BA2E111063D2}"/>
              </a:ext>
            </a:extLst>
          </p:cNvPr>
          <p:cNvSpPr/>
          <p:nvPr/>
        </p:nvSpPr>
        <p:spPr>
          <a:xfrm>
            <a:off x="4838208" y="4544687"/>
            <a:ext cx="3657600" cy="716711"/>
          </a:xfrm>
          <a:prstGeom prst="rect">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2021</a:t>
            </a:r>
          </a:p>
        </p:txBody>
      </p:sp>
      <p:sp>
        <p:nvSpPr>
          <p:cNvPr id="54" name="Text Placeholder 7">
            <a:extLst>
              <a:ext uri="{FF2B5EF4-FFF2-40B4-BE49-F238E27FC236}">
                <a16:creationId xmlns:a16="http://schemas.microsoft.com/office/drawing/2014/main" id="{0FCC404C-98F1-4D36-B616-A911F3DE5110}"/>
              </a:ext>
            </a:extLst>
          </p:cNvPr>
          <p:cNvSpPr txBox="1">
            <a:spLocks/>
          </p:cNvSpPr>
          <p:nvPr/>
        </p:nvSpPr>
        <p:spPr>
          <a:xfrm>
            <a:off x="1317172" y="5786081"/>
            <a:ext cx="1807027" cy="55399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COVID-19 and lockdowns</a:t>
            </a:r>
          </a:p>
        </p:txBody>
      </p:sp>
      <p:cxnSp>
        <p:nvCxnSpPr>
          <p:cNvPr id="61" name="Straight Connector 34">
            <a:extLst>
              <a:ext uri="{FF2B5EF4-FFF2-40B4-BE49-F238E27FC236}">
                <a16:creationId xmlns:a16="http://schemas.microsoft.com/office/drawing/2014/main" id="{4FE60BBD-40A0-4D25-843E-B9883B36D66A}"/>
              </a:ext>
            </a:extLst>
          </p:cNvPr>
          <p:cNvCxnSpPr>
            <a:cxnSpLocks/>
          </p:cNvCxnSpPr>
          <p:nvPr/>
        </p:nvCxnSpPr>
        <p:spPr>
          <a:xfrm>
            <a:off x="2193516" y="5157192"/>
            <a:ext cx="0" cy="612054"/>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55">
            <a:extLst>
              <a:ext uri="{FF2B5EF4-FFF2-40B4-BE49-F238E27FC236}">
                <a16:creationId xmlns:a16="http://schemas.microsoft.com/office/drawing/2014/main" id="{A28FD83E-1434-4234-9B4E-5DBD27F11CDF}"/>
              </a:ext>
            </a:extLst>
          </p:cNvPr>
          <p:cNvCxnSpPr>
            <a:cxnSpLocks/>
          </p:cNvCxnSpPr>
          <p:nvPr/>
        </p:nvCxnSpPr>
        <p:spPr>
          <a:xfrm>
            <a:off x="7810949" y="4180833"/>
            <a:ext cx="0" cy="715539"/>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63" name="Text Placeholder 7">
            <a:extLst>
              <a:ext uri="{FF2B5EF4-FFF2-40B4-BE49-F238E27FC236}">
                <a16:creationId xmlns:a16="http://schemas.microsoft.com/office/drawing/2014/main" id="{BF2C1BA2-9FAC-42B2-BF1E-FFA708135419}"/>
              </a:ext>
            </a:extLst>
          </p:cNvPr>
          <p:cNvSpPr txBox="1">
            <a:spLocks/>
          </p:cNvSpPr>
          <p:nvPr/>
        </p:nvSpPr>
        <p:spPr>
          <a:xfrm>
            <a:off x="7037820" y="3901894"/>
            <a:ext cx="1543692" cy="276999"/>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Price booming</a:t>
            </a:r>
          </a:p>
        </p:txBody>
      </p:sp>
      <p:sp>
        <p:nvSpPr>
          <p:cNvPr id="64" name="Text Placeholder 7">
            <a:extLst>
              <a:ext uri="{FF2B5EF4-FFF2-40B4-BE49-F238E27FC236}">
                <a16:creationId xmlns:a16="http://schemas.microsoft.com/office/drawing/2014/main" id="{821C484B-B609-4E48-83FC-01742A100B53}"/>
              </a:ext>
            </a:extLst>
          </p:cNvPr>
          <p:cNvSpPr txBox="1">
            <a:spLocks/>
          </p:cNvSpPr>
          <p:nvPr/>
        </p:nvSpPr>
        <p:spPr>
          <a:xfrm>
            <a:off x="8072207" y="5786081"/>
            <a:ext cx="2017673" cy="553998"/>
          </a:xfrm>
          <a:prstGeom prst="rect">
            <a:avLst/>
          </a:prstGeom>
          <a:solidFill>
            <a:schemeClr val="bg1"/>
          </a:solidFill>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Invasion of Ukraine by Russia</a:t>
            </a:r>
          </a:p>
        </p:txBody>
      </p:sp>
      <p:cxnSp>
        <p:nvCxnSpPr>
          <p:cNvPr id="65" name="Straight Connector 34">
            <a:extLst>
              <a:ext uri="{FF2B5EF4-FFF2-40B4-BE49-F238E27FC236}">
                <a16:creationId xmlns:a16="http://schemas.microsoft.com/office/drawing/2014/main" id="{E65D74BA-1BD7-4107-8F69-7D056E092B70}"/>
              </a:ext>
            </a:extLst>
          </p:cNvPr>
          <p:cNvCxnSpPr>
            <a:cxnSpLocks/>
          </p:cNvCxnSpPr>
          <p:nvPr/>
        </p:nvCxnSpPr>
        <p:spPr>
          <a:xfrm>
            <a:off x="9093354" y="5157192"/>
            <a:ext cx="0" cy="612054"/>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66" name="Text Placeholder 7">
            <a:extLst>
              <a:ext uri="{FF2B5EF4-FFF2-40B4-BE49-F238E27FC236}">
                <a16:creationId xmlns:a16="http://schemas.microsoft.com/office/drawing/2014/main" id="{959E7D4F-34DF-464A-B098-F270CAFFAB50}"/>
              </a:ext>
            </a:extLst>
          </p:cNvPr>
          <p:cNvSpPr txBox="1">
            <a:spLocks/>
          </p:cNvSpPr>
          <p:nvPr/>
        </p:nvSpPr>
        <p:spPr>
          <a:xfrm>
            <a:off x="10496622" y="3901894"/>
            <a:ext cx="1165384" cy="49244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Ubuntu Light" panose="020B0304030602030204" pitchFamily="34" charset="0"/>
                <a:ea typeface="+mn-ea"/>
                <a:cs typeface="+mn-cs"/>
              </a:rPr>
              <a:t>Economy Slow down</a:t>
            </a:r>
          </a:p>
        </p:txBody>
      </p:sp>
      <p:sp>
        <p:nvSpPr>
          <p:cNvPr id="67" name="Text Placeholder 7">
            <a:extLst>
              <a:ext uri="{FF2B5EF4-FFF2-40B4-BE49-F238E27FC236}">
                <a16:creationId xmlns:a16="http://schemas.microsoft.com/office/drawing/2014/main" id="{58B82F64-96AF-4A0C-9595-E8688465AD42}"/>
              </a:ext>
            </a:extLst>
          </p:cNvPr>
          <p:cNvSpPr txBox="1">
            <a:spLocks/>
          </p:cNvSpPr>
          <p:nvPr/>
        </p:nvSpPr>
        <p:spPr>
          <a:xfrm>
            <a:off x="4237647" y="5484097"/>
            <a:ext cx="2269853" cy="246221"/>
          </a:xfrm>
          <a:prstGeom prst="rect">
            <a:avLst/>
          </a:prstGeom>
          <a:solidFill>
            <a:schemeClr val="bg1"/>
          </a:solidFill>
          <a:ln>
            <a:noFill/>
            <a:prstDash val="solid"/>
          </a:ln>
        </p:spPr>
        <p:txBody>
          <a:bodyPr wrap="none" lIns="0" tIns="0" rIns="0" bIns="0" anchor="t" anchorCtr="1">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ECONOMIC RECOVERY</a:t>
            </a:r>
          </a:p>
        </p:txBody>
      </p:sp>
      <p:cxnSp>
        <p:nvCxnSpPr>
          <p:cNvPr id="69" name="Connecteur droit avec flèche 21">
            <a:extLst>
              <a:ext uri="{FF2B5EF4-FFF2-40B4-BE49-F238E27FC236}">
                <a16:creationId xmlns:a16="http://schemas.microsoft.com/office/drawing/2014/main" id="{B7D757CC-5FDD-42C1-8DD7-2C18E311B9A3}"/>
              </a:ext>
            </a:extLst>
          </p:cNvPr>
          <p:cNvCxnSpPr>
            <a:cxnSpLocks/>
          </p:cNvCxnSpPr>
          <p:nvPr/>
        </p:nvCxnSpPr>
        <p:spPr>
          <a:xfrm>
            <a:off x="3460136" y="5469337"/>
            <a:ext cx="3744416"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0" name="ZoneTexte 13">
            <a:extLst>
              <a:ext uri="{FF2B5EF4-FFF2-40B4-BE49-F238E27FC236}">
                <a16:creationId xmlns:a16="http://schemas.microsoft.com/office/drawing/2014/main" id="{003C514F-2007-4FBE-B9F4-B6184185E7A1}"/>
              </a:ext>
            </a:extLst>
          </p:cNvPr>
          <p:cNvSpPr txBox="1"/>
          <p:nvPr/>
        </p:nvSpPr>
        <p:spPr>
          <a:xfrm>
            <a:off x="404524" y="1540988"/>
            <a:ext cx="1357834" cy="49244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434A"/>
                </a:solidFill>
                <a:effectLst/>
                <a:uLnTx/>
                <a:uFillTx/>
                <a:latin typeface="Ubuntu"/>
                <a:ea typeface="+mn-ea"/>
                <a:cs typeface="+mn-cs"/>
              </a:rPr>
              <a:t>GDP evolution</a:t>
            </a:r>
          </a:p>
        </p:txBody>
      </p:sp>
      <p:cxnSp>
        <p:nvCxnSpPr>
          <p:cNvPr id="84" name="Connecteur droit 8">
            <a:extLst>
              <a:ext uri="{FF2B5EF4-FFF2-40B4-BE49-F238E27FC236}">
                <a16:creationId xmlns:a16="http://schemas.microsoft.com/office/drawing/2014/main" id="{372D5DB9-2DD2-4225-B2D2-5B563BE884FC}"/>
              </a:ext>
            </a:extLst>
          </p:cNvPr>
          <p:cNvCxnSpPr>
            <a:cxnSpLocks/>
          </p:cNvCxnSpPr>
          <p:nvPr/>
        </p:nvCxnSpPr>
        <p:spPr>
          <a:xfrm>
            <a:off x="430823" y="2141407"/>
            <a:ext cx="11118931" cy="0"/>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5" name="Connecteur droit 44">
            <a:extLst>
              <a:ext uri="{FF2B5EF4-FFF2-40B4-BE49-F238E27FC236}">
                <a16:creationId xmlns:a16="http://schemas.microsoft.com/office/drawing/2014/main" id="{FFA8F3C1-75B7-488C-ABAE-C58A13717809}"/>
              </a:ext>
            </a:extLst>
          </p:cNvPr>
          <p:cNvCxnSpPr>
            <a:cxnSpLocks/>
          </p:cNvCxnSpPr>
          <p:nvPr/>
        </p:nvCxnSpPr>
        <p:spPr>
          <a:xfrm>
            <a:off x="430823" y="2923870"/>
            <a:ext cx="11118931" cy="0"/>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6" name="ZoneTexte 55">
            <a:extLst>
              <a:ext uri="{FF2B5EF4-FFF2-40B4-BE49-F238E27FC236}">
                <a16:creationId xmlns:a16="http://schemas.microsoft.com/office/drawing/2014/main" id="{D0C31305-1A19-4467-97AE-D0AA3BB7C032}"/>
              </a:ext>
            </a:extLst>
          </p:cNvPr>
          <p:cNvSpPr txBox="1"/>
          <p:nvPr/>
        </p:nvSpPr>
        <p:spPr>
          <a:xfrm>
            <a:off x="404524" y="2286417"/>
            <a:ext cx="1357834" cy="49244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434A"/>
                </a:solidFill>
                <a:effectLst/>
                <a:uLnTx/>
                <a:uFillTx/>
                <a:latin typeface="Ubuntu"/>
                <a:ea typeface="+mn-ea"/>
                <a:cs typeface="+mn-cs"/>
              </a:rPr>
              <a:t>Energy</a:t>
            </a:r>
            <a:br>
              <a:rPr kumimoji="0" lang="en-US" sz="1600" b="1" i="0" u="none" strike="noStrike" kern="1200" cap="none" spc="0" normalizeH="0" baseline="0" noProof="0">
                <a:ln>
                  <a:noFill/>
                </a:ln>
                <a:solidFill>
                  <a:srgbClr val="0F434A"/>
                </a:solidFill>
                <a:effectLst/>
                <a:uLnTx/>
                <a:uFillTx/>
                <a:latin typeface="Ubuntu"/>
                <a:ea typeface="+mn-ea"/>
                <a:cs typeface="+mn-cs"/>
              </a:rPr>
            </a:br>
            <a:r>
              <a:rPr kumimoji="0" lang="en-US" sz="1600" b="1" i="0" u="none" strike="noStrike" kern="1200" cap="none" spc="0" normalizeH="0" baseline="0" noProof="0">
                <a:ln>
                  <a:noFill/>
                </a:ln>
                <a:solidFill>
                  <a:srgbClr val="0F434A"/>
                </a:solidFill>
                <a:effectLst/>
                <a:uLnTx/>
                <a:uFillTx/>
                <a:latin typeface="Ubuntu"/>
                <a:ea typeface="+mn-ea"/>
                <a:cs typeface="+mn-cs"/>
              </a:rPr>
              <a:t>demand</a:t>
            </a:r>
          </a:p>
        </p:txBody>
      </p:sp>
      <p:sp>
        <p:nvSpPr>
          <p:cNvPr id="87" name="ZoneTexte 56">
            <a:extLst>
              <a:ext uri="{FF2B5EF4-FFF2-40B4-BE49-F238E27FC236}">
                <a16:creationId xmlns:a16="http://schemas.microsoft.com/office/drawing/2014/main" id="{8240693B-8455-4CC1-A973-62D6156ABFC4}"/>
              </a:ext>
            </a:extLst>
          </p:cNvPr>
          <p:cNvSpPr txBox="1"/>
          <p:nvPr/>
        </p:nvSpPr>
        <p:spPr>
          <a:xfrm>
            <a:off x="404524" y="3016298"/>
            <a:ext cx="1357834" cy="492443"/>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434A"/>
                </a:solidFill>
                <a:effectLst/>
                <a:uLnTx/>
                <a:uFillTx/>
                <a:latin typeface="Ubuntu"/>
                <a:ea typeface="+mn-ea"/>
                <a:cs typeface="+mn-cs"/>
              </a:rPr>
              <a:t>GHG</a:t>
            </a:r>
            <a:br>
              <a:rPr kumimoji="0" lang="en-US" sz="1600" b="1" i="0" u="none" strike="noStrike" kern="1200" cap="none" spc="0" normalizeH="0" baseline="0" noProof="0">
                <a:ln>
                  <a:noFill/>
                </a:ln>
                <a:solidFill>
                  <a:srgbClr val="0F434A"/>
                </a:solidFill>
                <a:effectLst/>
                <a:uLnTx/>
                <a:uFillTx/>
                <a:latin typeface="Ubuntu"/>
                <a:ea typeface="+mn-ea"/>
                <a:cs typeface="+mn-cs"/>
              </a:rPr>
            </a:br>
            <a:r>
              <a:rPr kumimoji="0" lang="en-US" sz="1600" b="1" i="0" u="none" strike="noStrike" kern="1200" cap="none" spc="0" normalizeH="0" baseline="0" noProof="0">
                <a:ln>
                  <a:noFill/>
                </a:ln>
                <a:solidFill>
                  <a:srgbClr val="0F434A"/>
                </a:solidFill>
                <a:effectLst/>
                <a:uLnTx/>
                <a:uFillTx/>
                <a:latin typeface="Ubuntu"/>
                <a:ea typeface="+mn-ea"/>
                <a:cs typeface="+mn-cs"/>
              </a:rPr>
              <a:t>emissions</a:t>
            </a:r>
          </a:p>
        </p:txBody>
      </p:sp>
      <p:sp>
        <p:nvSpPr>
          <p:cNvPr id="88" name="ZoneTexte 70">
            <a:extLst>
              <a:ext uri="{FF2B5EF4-FFF2-40B4-BE49-F238E27FC236}">
                <a16:creationId xmlns:a16="http://schemas.microsoft.com/office/drawing/2014/main" id="{6951DDD1-5459-4467-85C1-ED752BBE4C8B}"/>
              </a:ext>
            </a:extLst>
          </p:cNvPr>
          <p:cNvSpPr txBox="1"/>
          <p:nvPr/>
        </p:nvSpPr>
        <p:spPr>
          <a:xfrm>
            <a:off x="2916682" y="1566175"/>
            <a:ext cx="114170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Ubuntu"/>
                <a:ea typeface="+mn-ea"/>
                <a:cs typeface="+mn-cs"/>
              </a:rPr>
              <a:t>-3.3%</a:t>
            </a:r>
          </a:p>
        </p:txBody>
      </p:sp>
      <p:sp>
        <p:nvSpPr>
          <p:cNvPr id="89" name="ZoneTexte 71">
            <a:extLst>
              <a:ext uri="{FF2B5EF4-FFF2-40B4-BE49-F238E27FC236}">
                <a16:creationId xmlns:a16="http://schemas.microsoft.com/office/drawing/2014/main" id="{E6D7B7DF-34BC-457D-B3F7-3A771C52F826}"/>
              </a:ext>
            </a:extLst>
          </p:cNvPr>
          <p:cNvSpPr txBox="1"/>
          <p:nvPr/>
        </p:nvSpPr>
        <p:spPr>
          <a:xfrm>
            <a:off x="2916682" y="2317090"/>
            <a:ext cx="114170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prstClr val="black"/>
                </a:solidFill>
                <a:effectLst/>
                <a:uLnTx/>
                <a:uFillTx/>
                <a:latin typeface="Ubuntu"/>
                <a:ea typeface="+mn-ea"/>
                <a:cs typeface="+mn-cs"/>
              </a:rPr>
              <a:t>-3.5%</a:t>
            </a:r>
          </a:p>
        </p:txBody>
      </p:sp>
      <p:sp>
        <p:nvSpPr>
          <p:cNvPr id="90" name="ZoneTexte 72">
            <a:extLst>
              <a:ext uri="{FF2B5EF4-FFF2-40B4-BE49-F238E27FC236}">
                <a16:creationId xmlns:a16="http://schemas.microsoft.com/office/drawing/2014/main" id="{24036DEF-7435-4A4B-A4C5-60F6E644257E}"/>
              </a:ext>
            </a:extLst>
          </p:cNvPr>
          <p:cNvSpPr txBox="1"/>
          <p:nvPr/>
        </p:nvSpPr>
        <p:spPr>
          <a:xfrm>
            <a:off x="2916682" y="3022960"/>
            <a:ext cx="114170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prstClr val="black"/>
                </a:solidFill>
                <a:effectLst/>
                <a:uLnTx/>
                <a:uFillTx/>
                <a:latin typeface="Ubuntu"/>
                <a:ea typeface="+mn-ea"/>
                <a:cs typeface="+mn-cs"/>
              </a:rPr>
              <a:t>-6%</a:t>
            </a:r>
          </a:p>
        </p:txBody>
      </p:sp>
      <p:sp>
        <p:nvSpPr>
          <p:cNvPr id="91" name="ZoneTexte 73">
            <a:extLst>
              <a:ext uri="{FF2B5EF4-FFF2-40B4-BE49-F238E27FC236}">
                <a16:creationId xmlns:a16="http://schemas.microsoft.com/office/drawing/2014/main" id="{A18420A5-3BA9-4A10-8413-253DF77DDD5E}"/>
              </a:ext>
            </a:extLst>
          </p:cNvPr>
          <p:cNvSpPr txBox="1"/>
          <p:nvPr/>
        </p:nvSpPr>
        <p:spPr>
          <a:xfrm>
            <a:off x="6314178" y="1566175"/>
            <a:ext cx="114170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prstClr val="black"/>
                </a:solidFill>
                <a:effectLst/>
                <a:uLnTx/>
                <a:uFillTx/>
                <a:latin typeface="Ubuntu"/>
                <a:ea typeface="+mn-ea"/>
                <a:cs typeface="+mn-cs"/>
              </a:rPr>
              <a:t>+6.5%</a:t>
            </a:r>
          </a:p>
        </p:txBody>
      </p:sp>
      <p:sp>
        <p:nvSpPr>
          <p:cNvPr id="92" name="ZoneTexte 74">
            <a:extLst>
              <a:ext uri="{FF2B5EF4-FFF2-40B4-BE49-F238E27FC236}">
                <a16:creationId xmlns:a16="http://schemas.microsoft.com/office/drawing/2014/main" id="{913A1887-4DD3-45A0-A02F-D70B397FA9AE}"/>
              </a:ext>
            </a:extLst>
          </p:cNvPr>
          <p:cNvSpPr txBox="1"/>
          <p:nvPr/>
        </p:nvSpPr>
        <p:spPr>
          <a:xfrm>
            <a:off x="6314178" y="2317090"/>
            <a:ext cx="114170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a:ln>
                  <a:noFill/>
                </a:ln>
                <a:solidFill>
                  <a:prstClr val="black"/>
                </a:solidFill>
                <a:effectLst/>
                <a:uLnTx/>
                <a:uFillTx/>
                <a:latin typeface="Ubuntu"/>
                <a:ea typeface="+mn-ea"/>
                <a:cs typeface="+mn-cs"/>
              </a:rPr>
              <a:t>+5%</a:t>
            </a:r>
          </a:p>
        </p:txBody>
      </p:sp>
      <p:sp>
        <p:nvSpPr>
          <p:cNvPr id="93" name="ZoneTexte 75">
            <a:extLst>
              <a:ext uri="{FF2B5EF4-FFF2-40B4-BE49-F238E27FC236}">
                <a16:creationId xmlns:a16="http://schemas.microsoft.com/office/drawing/2014/main" id="{7790E055-D0B9-4F54-85F7-687F35C27D76}"/>
              </a:ext>
            </a:extLst>
          </p:cNvPr>
          <p:cNvSpPr txBox="1"/>
          <p:nvPr/>
        </p:nvSpPr>
        <p:spPr>
          <a:xfrm>
            <a:off x="6314178" y="3022960"/>
            <a:ext cx="114170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Ubuntu"/>
                <a:ea typeface="+mn-ea"/>
                <a:cs typeface="+mn-cs"/>
              </a:rPr>
              <a:t>+6%</a:t>
            </a:r>
          </a:p>
        </p:txBody>
      </p:sp>
      <p:sp>
        <p:nvSpPr>
          <p:cNvPr id="94" name="ZoneTexte 77">
            <a:extLst>
              <a:ext uri="{FF2B5EF4-FFF2-40B4-BE49-F238E27FC236}">
                <a16:creationId xmlns:a16="http://schemas.microsoft.com/office/drawing/2014/main" id="{ED8B751B-7D37-49F7-8636-7A7B2DC020B1}"/>
              </a:ext>
            </a:extLst>
          </p:cNvPr>
          <p:cNvSpPr txBox="1"/>
          <p:nvPr/>
        </p:nvSpPr>
        <p:spPr>
          <a:xfrm>
            <a:off x="9478513" y="1566175"/>
            <a:ext cx="1141701"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Ubuntu"/>
                <a:ea typeface="+mn-ea"/>
                <a:cs typeface="+mn-cs"/>
              </a:rPr>
              <a:t>+3.2</a:t>
            </a:r>
            <a:r>
              <a:rPr lang="fr-FR" sz="2400" b="1" dirty="0">
                <a:solidFill>
                  <a:prstClr val="black"/>
                </a:solidFill>
                <a:latin typeface="Ubuntu"/>
              </a:rPr>
              <a:t> </a:t>
            </a:r>
            <a:r>
              <a:rPr kumimoji="0" lang="fr-FR" sz="2400" b="1" i="0" u="none" strike="noStrike" kern="1200" cap="none" spc="0" normalizeH="0" baseline="0" noProof="0" dirty="0">
                <a:ln>
                  <a:noFill/>
                </a:ln>
                <a:solidFill>
                  <a:prstClr val="black"/>
                </a:solidFill>
                <a:effectLst/>
                <a:uLnTx/>
                <a:uFillTx/>
                <a:latin typeface="Ubuntu"/>
                <a:ea typeface="+mn-ea"/>
                <a:cs typeface="+mn-cs"/>
              </a:rPr>
              <a:t>%</a:t>
            </a:r>
          </a:p>
        </p:txBody>
      </p:sp>
      <p:sp>
        <p:nvSpPr>
          <p:cNvPr id="95" name="ZoneTexte 78">
            <a:extLst>
              <a:ext uri="{FF2B5EF4-FFF2-40B4-BE49-F238E27FC236}">
                <a16:creationId xmlns:a16="http://schemas.microsoft.com/office/drawing/2014/main" id="{ACE71F04-B5D2-41B7-ACE7-7598420CB36B}"/>
              </a:ext>
            </a:extLst>
          </p:cNvPr>
          <p:cNvSpPr txBox="1"/>
          <p:nvPr/>
        </p:nvSpPr>
        <p:spPr>
          <a:xfrm>
            <a:off x="9081043" y="3084515"/>
            <a:ext cx="144666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dirty="0">
                <a:ln>
                  <a:noFill/>
                </a:ln>
                <a:solidFill>
                  <a:srgbClr val="272936"/>
                </a:solidFill>
                <a:effectLst/>
                <a:uLnTx/>
                <a:uFillTx/>
                <a:latin typeface="Ubuntu Light" panose="020B0304030602030204" pitchFamily="34" charset="0"/>
                <a:ea typeface="+mn-ea"/>
                <a:cs typeface="+mn-cs"/>
              </a:rPr>
              <a:t>+</a:t>
            </a:r>
            <a:r>
              <a:rPr kumimoji="0" lang="en-US" sz="2400" b="1" i="0" u="none" strike="noStrike" kern="1200" cap="none" spc="0" normalizeH="0" baseline="0" dirty="0">
                <a:ln>
                  <a:noFill/>
                </a:ln>
                <a:solidFill>
                  <a:srgbClr val="272936"/>
                </a:solidFill>
                <a:effectLst/>
                <a:uLnTx/>
                <a:uFillTx/>
                <a:latin typeface="Ubuntu" panose="020B0504030602030204" pitchFamily="34" charset="0"/>
              </a:rPr>
              <a:t>0,9</a:t>
            </a:r>
            <a:r>
              <a:rPr kumimoji="0" lang="en-US" sz="2400" b="1" i="0" u="none" strike="noStrike" kern="1200" cap="none" spc="0" normalizeH="0" baseline="0" dirty="0">
                <a:ln>
                  <a:noFill/>
                </a:ln>
                <a:solidFill>
                  <a:srgbClr val="272936"/>
                </a:solidFill>
                <a:effectLst/>
                <a:uLnTx/>
                <a:uFillTx/>
                <a:latin typeface="Ubuntu Light" panose="020B0304030602030204" pitchFamily="34" charset="0"/>
                <a:ea typeface="+mn-ea"/>
                <a:cs typeface="+mn-cs"/>
              </a:rPr>
              <a:t>%</a:t>
            </a:r>
          </a:p>
        </p:txBody>
      </p:sp>
      <p:sp>
        <p:nvSpPr>
          <p:cNvPr id="97" name="TextBox 5">
            <a:extLst>
              <a:ext uri="{FF2B5EF4-FFF2-40B4-BE49-F238E27FC236}">
                <a16:creationId xmlns:a16="http://schemas.microsoft.com/office/drawing/2014/main" id="{3DE58109-91B8-4769-9823-70C53EA1AE88}"/>
              </a:ext>
            </a:extLst>
          </p:cNvPr>
          <p:cNvSpPr txBox="1"/>
          <p:nvPr/>
        </p:nvSpPr>
        <p:spPr>
          <a:xfrm>
            <a:off x="9645450" y="6355914"/>
            <a:ext cx="2138406" cy="138499"/>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67171"/>
                </a:solidFill>
                <a:effectLst/>
                <a:uLnTx/>
                <a:uFillTx/>
                <a:latin typeface="Verdana" panose="020B0604030504040204" pitchFamily="34" charset="0"/>
                <a:ea typeface="Verdana" panose="020B0604030504040204" pitchFamily="34" charset="0"/>
                <a:cs typeface="+mn-cs"/>
              </a:rPr>
              <a:t>Sources: </a:t>
            </a:r>
            <a:r>
              <a:rPr kumimoji="0" lang="en-US" sz="900" b="0" i="0" u="none" strike="noStrike" kern="1200" cap="none" spc="0" normalizeH="0" baseline="0" noProof="0" err="1">
                <a:ln>
                  <a:noFill/>
                </a:ln>
                <a:solidFill>
                  <a:srgbClr val="767171"/>
                </a:solidFill>
                <a:effectLst/>
                <a:uLnTx/>
                <a:uFillTx/>
                <a:latin typeface="Verdana" panose="020B0604030504040204" pitchFamily="34" charset="0"/>
                <a:ea typeface="Verdana" panose="020B0604030504040204" pitchFamily="34" charset="0"/>
                <a:cs typeface="+mn-cs"/>
              </a:rPr>
              <a:t>Enerdata</a:t>
            </a:r>
            <a:r>
              <a:rPr kumimoji="0" lang="en-US" sz="900" b="0" i="0" u="none" strike="noStrike" kern="1200" cap="none" spc="0" normalizeH="0" baseline="0" noProof="0">
                <a:ln>
                  <a:noFill/>
                </a:ln>
                <a:solidFill>
                  <a:srgbClr val="767171"/>
                </a:solidFill>
                <a:effectLst/>
                <a:uLnTx/>
                <a:uFillTx/>
                <a:latin typeface="Verdana" panose="020B0604030504040204" pitchFamily="34" charset="0"/>
                <a:ea typeface="Verdana" panose="020B0604030504040204" pitchFamily="34" charset="0"/>
                <a:cs typeface="+mn-cs"/>
              </a:rPr>
              <a:t>, IMF and Refinitiv</a:t>
            </a:r>
          </a:p>
        </p:txBody>
      </p:sp>
      <p:sp>
        <p:nvSpPr>
          <p:cNvPr id="98" name="ZoneTexte 1">
            <a:extLst>
              <a:ext uri="{FF2B5EF4-FFF2-40B4-BE49-F238E27FC236}">
                <a16:creationId xmlns:a16="http://schemas.microsoft.com/office/drawing/2014/main" id="{E1A09F63-C49C-4E6F-863C-0F6AE337BCF9}"/>
              </a:ext>
            </a:extLst>
          </p:cNvPr>
          <p:cNvSpPr txBox="1"/>
          <p:nvPr/>
        </p:nvSpPr>
        <p:spPr>
          <a:xfrm>
            <a:off x="3881736" y="1752921"/>
            <a:ext cx="6222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G20)</a:t>
            </a:r>
          </a:p>
        </p:txBody>
      </p:sp>
      <p:sp>
        <p:nvSpPr>
          <p:cNvPr id="99" name="ZoneTexte 76">
            <a:extLst>
              <a:ext uri="{FF2B5EF4-FFF2-40B4-BE49-F238E27FC236}">
                <a16:creationId xmlns:a16="http://schemas.microsoft.com/office/drawing/2014/main" id="{E2390977-66D1-46FF-9B97-30ADE0588941}"/>
              </a:ext>
            </a:extLst>
          </p:cNvPr>
          <p:cNvSpPr txBox="1"/>
          <p:nvPr/>
        </p:nvSpPr>
        <p:spPr>
          <a:xfrm>
            <a:off x="7356297" y="1752921"/>
            <a:ext cx="62228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G20)</a:t>
            </a:r>
          </a:p>
        </p:txBody>
      </p:sp>
      <p:sp>
        <p:nvSpPr>
          <p:cNvPr id="100" name="ZoneTexte 80">
            <a:extLst>
              <a:ext uri="{FF2B5EF4-FFF2-40B4-BE49-F238E27FC236}">
                <a16:creationId xmlns:a16="http://schemas.microsoft.com/office/drawing/2014/main" id="{9063254F-3476-48D5-AF15-40DD7968429B}"/>
              </a:ext>
            </a:extLst>
          </p:cNvPr>
          <p:cNvSpPr txBox="1"/>
          <p:nvPr/>
        </p:nvSpPr>
        <p:spPr>
          <a:xfrm>
            <a:off x="9480376" y="1859372"/>
            <a:ext cx="1188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Worldwide)</a:t>
            </a:r>
          </a:p>
        </p:txBody>
      </p:sp>
      <p:sp>
        <p:nvSpPr>
          <p:cNvPr id="101" name="TextBox 100">
            <a:extLst>
              <a:ext uri="{FF2B5EF4-FFF2-40B4-BE49-F238E27FC236}">
                <a16:creationId xmlns:a16="http://schemas.microsoft.com/office/drawing/2014/main" id="{1C962C74-B630-4EC5-9DA6-42D13F135645}"/>
              </a:ext>
            </a:extLst>
          </p:cNvPr>
          <p:cNvSpPr txBox="1"/>
          <p:nvPr/>
        </p:nvSpPr>
        <p:spPr>
          <a:xfrm>
            <a:off x="9455290" y="1151342"/>
            <a:ext cx="118814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Ubuntu"/>
                <a:ea typeface="+mn-ea"/>
                <a:cs typeface="+mn-cs"/>
              </a:rPr>
              <a:t>Forecasts</a:t>
            </a:r>
          </a:p>
        </p:txBody>
      </p:sp>
      <p:sp>
        <p:nvSpPr>
          <p:cNvPr id="102" name="Arrow: Up 101">
            <a:extLst>
              <a:ext uri="{FF2B5EF4-FFF2-40B4-BE49-F238E27FC236}">
                <a16:creationId xmlns:a16="http://schemas.microsoft.com/office/drawing/2014/main" id="{2D604E2C-7FF5-4499-B09C-D8DE2CF14F0A}"/>
              </a:ext>
            </a:extLst>
          </p:cNvPr>
          <p:cNvSpPr/>
          <p:nvPr/>
        </p:nvSpPr>
        <p:spPr>
          <a:xfrm rot="2869173">
            <a:off x="9085467" y="1591679"/>
            <a:ext cx="288032" cy="422277"/>
          </a:xfrm>
          <a:prstGeom prst="upArrow">
            <a:avLst/>
          </a:prstGeom>
          <a:solidFill>
            <a:srgbClr val="178C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3" name="Arrow: Up 102">
            <a:extLst>
              <a:ext uri="{FF2B5EF4-FFF2-40B4-BE49-F238E27FC236}">
                <a16:creationId xmlns:a16="http://schemas.microsoft.com/office/drawing/2014/main" id="{87D7C100-4F89-42B4-B44A-77E1F19A57B3}"/>
              </a:ext>
            </a:extLst>
          </p:cNvPr>
          <p:cNvSpPr/>
          <p:nvPr/>
        </p:nvSpPr>
        <p:spPr>
          <a:xfrm rot="8495676">
            <a:off x="10792208" y="1639667"/>
            <a:ext cx="288032" cy="422277"/>
          </a:xfrm>
          <a:prstGeom prst="upArrow">
            <a:avLst/>
          </a:prstGeom>
          <a:solidFill>
            <a:srgbClr val="0F43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4" name="Teardrop 103">
            <a:extLst>
              <a:ext uri="{FF2B5EF4-FFF2-40B4-BE49-F238E27FC236}">
                <a16:creationId xmlns:a16="http://schemas.microsoft.com/office/drawing/2014/main" id="{72E7C974-9168-43A1-BF09-150D6D379A43}"/>
              </a:ext>
            </a:extLst>
          </p:cNvPr>
          <p:cNvSpPr/>
          <p:nvPr/>
        </p:nvSpPr>
        <p:spPr>
          <a:xfrm rot="8166848">
            <a:off x="1999950" y="4688278"/>
            <a:ext cx="410655" cy="410655"/>
          </a:xfrm>
          <a:prstGeom prst="teardrop">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5" name="Teardrop 104">
            <a:extLst>
              <a:ext uri="{FF2B5EF4-FFF2-40B4-BE49-F238E27FC236}">
                <a16:creationId xmlns:a16="http://schemas.microsoft.com/office/drawing/2014/main" id="{78399A6F-8E90-4369-ACEA-5D3BFF1302F4}"/>
              </a:ext>
            </a:extLst>
          </p:cNvPr>
          <p:cNvSpPr/>
          <p:nvPr/>
        </p:nvSpPr>
        <p:spPr>
          <a:xfrm rot="18886653">
            <a:off x="7613131" y="4731597"/>
            <a:ext cx="410655" cy="410655"/>
          </a:xfrm>
          <a:prstGeom prst="teardrop">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106" name="Teardrop 105">
            <a:extLst>
              <a:ext uri="{FF2B5EF4-FFF2-40B4-BE49-F238E27FC236}">
                <a16:creationId xmlns:a16="http://schemas.microsoft.com/office/drawing/2014/main" id="{552E57AA-64DC-4166-85B0-C84E746F956C}"/>
              </a:ext>
            </a:extLst>
          </p:cNvPr>
          <p:cNvSpPr/>
          <p:nvPr/>
        </p:nvSpPr>
        <p:spPr>
          <a:xfrm rot="8166848">
            <a:off x="8899515" y="4688278"/>
            <a:ext cx="410655" cy="410655"/>
          </a:xfrm>
          <a:prstGeom prst="teardrop">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cxnSp>
        <p:nvCxnSpPr>
          <p:cNvPr id="107" name="Straight Connector 55">
            <a:extLst>
              <a:ext uri="{FF2B5EF4-FFF2-40B4-BE49-F238E27FC236}">
                <a16:creationId xmlns:a16="http://schemas.microsoft.com/office/drawing/2014/main" id="{E0446A0E-160D-4BC1-83F4-5DF8CD0F9EFF}"/>
              </a:ext>
            </a:extLst>
          </p:cNvPr>
          <p:cNvCxnSpPr>
            <a:cxnSpLocks/>
          </p:cNvCxnSpPr>
          <p:nvPr/>
        </p:nvCxnSpPr>
        <p:spPr>
          <a:xfrm>
            <a:off x="11055954" y="4180833"/>
            <a:ext cx="0" cy="715539"/>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108" name="Teardrop 107">
            <a:extLst>
              <a:ext uri="{FF2B5EF4-FFF2-40B4-BE49-F238E27FC236}">
                <a16:creationId xmlns:a16="http://schemas.microsoft.com/office/drawing/2014/main" id="{A1A1C90F-EA8E-4921-85AF-298E934F0979}"/>
              </a:ext>
            </a:extLst>
          </p:cNvPr>
          <p:cNvSpPr/>
          <p:nvPr/>
        </p:nvSpPr>
        <p:spPr>
          <a:xfrm rot="18800326">
            <a:off x="10862652" y="4731596"/>
            <a:ext cx="410655" cy="410655"/>
          </a:xfrm>
          <a:prstGeom prst="teardrop">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44" name="Ellipse 43">
            <a:extLst>
              <a:ext uri="{FF2B5EF4-FFF2-40B4-BE49-F238E27FC236}">
                <a16:creationId xmlns:a16="http://schemas.microsoft.com/office/drawing/2014/main" id="{FF7F62DB-9D9B-432C-88CC-2D2FB5004C80}"/>
              </a:ext>
            </a:extLst>
          </p:cNvPr>
          <p:cNvSpPr/>
          <p:nvPr/>
        </p:nvSpPr>
        <p:spPr>
          <a:xfrm>
            <a:off x="12348029" y="18864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2" name="ZoneTexte 78">
            <a:extLst>
              <a:ext uri="{FF2B5EF4-FFF2-40B4-BE49-F238E27FC236}">
                <a16:creationId xmlns:a16="http://schemas.microsoft.com/office/drawing/2014/main" id="{1069317A-5298-1C9A-FD17-0EF04E097B2C}"/>
              </a:ext>
            </a:extLst>
          </p:cNvPr>
          <p:cNvSpPr txBox="1"/>
          <p:nvPr/>
        </p:nvSpPr>
        <p:spPr>
          <a:xfrm>
            <a:off x="9229483" y="2264641"/>
            <a:ext cx="1446662"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dirty="0">
                <a:ln>
                  <a:noFill/>
                </a:ln>
                <a:solidFill>
                  <a:srgbClr val="272936"/>
                </a:solidFill>
                <a:effectLst/>
                <a:uLnTx/>
                <a:uFillTx/>
                <a:latin typeface="Ubuntu Light" panose="020B0304030602030204" pitchFamily="34" charset="0"/>
                <a:ea typeface="+mn-ea"/>
                <a:cs typeface="+mn-cs"/>
              </a:rPr>
              <a:t>Non available</a:t>
            </a:r>
          </a:p>
        </p:txBody>
      </p:sp>
    </p:spTree>
    <p:extLst>
      <p:ext uri="{BB962C8B-B14F-4D97-AF65-F5344CB8AC3E}">
        <p14:creationId xmlns:p14="http://schemas.microsoft.com/office/powerpoint/2010/main" val="37477075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5" name="AutoShape 4">
            <a:extLst>
              <a:ext uri="{FF2B5EF4-FFF2-40B4-BE49-F238E27FC236}">
                <a16:creationId xmlns:a16="http://schemas.microsoft.com/office/drawing/2014/main" id="{B9ADB218-6D97-45DB-8204-8B5A4D0ED37C}"/>
              </a:ext>
            </a:extLst>
          </p:cNvPr>
          <p:cNvSpPr>
            <a:spLocks noChangeArrowheads="1"/>
          </p:cNvSpPr>
          <p:nvPr/>
        </p:nvSpPr>
        <p:spPr bwMode="gray">
          <a:xfrm>
            <a:off x="1165379" y="1092096"/>
            <a:ext cx="3682258" cy="721784"/>
          </a:xfrm>
          <a:prstGeom prst="chevron">
            <a:avLst>
              <a:gd name="adj" fmla="val 20807"/>
            </a:avLst>
          </a:prstGeom>
          <a:solidFill>
            <a:srgbClr val="00929B"/>
          </a:solidFill>
          <a:ln w="28575" algn="ctr">
            <a:noFill/>
            <a:miter lim="800000"/>
            <a:headEnd/>
            <a:tailEnd/>
          </a:ln>
          <a:effectLst/>
        </p:spPr>
        <p:txBody>
          <a:bodyPr wrap="none" lIns="0" tIns="0" rIns="0" bIns="0" anchor="ctr" anchorCtr="1"/>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200" b="1" i="0" u="none" strike="noStrike" kern="1200" cap="all" spc="0" normalizeH="0" baseline="0" noProof="0">
              <a:ln>
                <a:noFill/>
              </a:ln>
              <a:solidFill>
                <a:srgbClr val="FFFFFF"/>
              </a:solidFill>
              <a:effectLst/>
              <a:uLnTx/>
              <a:uFillTx/>
              <a:latin typeface="Ubuntu Medium"/>
              <a:ea typeface="+mn-ea"/>
              <a:cs typeface="Calibri" pitchFamily="34" charset="0"/>
            </a:endParaRPr>
          </a:p>
        </p:txBody>
      </p:sp>
      <p:sp>
        <p:nvSpPr>
          <p:cNvPr id="156" name="AutoShape 4">
            <a:extLst>
              <a:ext uri="{FF2B5EF4-FFF2-40B4-BE49-F238E27FC236}">
                <a16:creationId xmlns:a16="http://schemas.microsoft.com/office/drawing/2014/main" id="{AE1617C6-874D-41C5-B66E-43FD2E9BE743}"/>
              </a:ext>
            </a:extLst>
          </p:cNvPr>
          <p:cNvSpPr>
            <a:spLocks noChangeArrowheads="1"/>
          </p:cNvSpPr>
          <p:nvPr/>
        </p:nvSpPr>
        <p:spPr bwMode="gray">
          <a:xfrm>
            <a:off x="4751014" y="1092096"/>
            <a:ext cx="3682258" cy="721784"/>
          </a:xfrm>
          <a:prstGeom prst="chevron">
            <a:avLst>
              <a:gd name="adj" fmla="val 20807"/>
            </a:avLst>
          </a:prstGeom>
          <a:solidFill>
            <a:srgbClr val="007D74"/>
          </a:solidFill>
          <a:ln w="28575" algn="ctr">
            <a:noFill/>
            <a:miter lim="800000"/>
            <a:headEnd/>
            <a:tailEnd/>
          </a:ln>
          <a:effectLst/>
        </p:spPr>
        <p:txBody>
          <a:bodyPr wrap="none" lIns="0" tIns="0" rIns="0" bIns="0" anchor="ctr" anchorCtr="1"/>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600" b="1" i="0" u="none" strike="noStrike" kern="1200" cap="all" spc="0" normalizeH="0" baseline="0" noProof="0">
              <a:ln>
                <a:noFill/>
              </a:ln>
              <a:solidFill>
                <a:srgbClr val="FFFFFF"/>
              </a:solidFill>
              <a:effectLst/>
              <a:uLnTx/>
              <a:uFillTx/>
              <a:latin typeface="Ubuntu Medium"/>
              <a:ea typeface="+mn-ea"/>
              <a:cs typeface="Calibri" pitchFamily="34" charset="0"/>
            </a:endParaRPr>
          </a:p>
        </p:txBody>
      </p:sp>
      <p:sp>
        <p:nvSpPr>
          <p:cNvPr id="157" name="AutoShape 4">
            <a:extLst>
              <a:ext uri="{FF2B5EF4-FFF2-40B4-BE49-F238E27FC236}">
                <a16:creationId xmlns:a16="http://schemas.microsoft.com/office/drawing/2014/main" id="{2EC028A5-57C9-4ECC-9AE7-02CB9E01B6B7}"/>
              </a:ext>
            </a:extLst>
          </p:cNvPr>
          <p:cNvSpPr>
            <a:spLocks noChangeArrowheads="1"/>
          </p:cNvSpPr>
          <p:nvPr/>
        </p:nvSpPr>
        <p:spPr bwMode="gray">
          <a:xfrm>
            <a:off x="8329267" y="1092096"/>
            <a:ext cx="3682258" cy="721784"/>
          </a:xfrm>
          <a:prstGeom prst="chevron">
            <a:avLst>
              <a:gd name="adj" fmla="val 20807"/>
            </a:avLst>
          </a:prstGeom>
          <a:solidFill>
            <a:srgbClr val="0F6A72"/>
          </a:solidFill>
          <a:ln w="28575" algn="ctr">
            <a:noFill/>
            <a:miter lim="800000"/>
            <a:headEnd/>
            <a:tailEnd/>
          </a:ln>
          <a:effectLst/>
        </p:spPr>
        <p:txBody>
          <a:bodyPr wrap="none" lIns="0" tIns="0" rIns="0" bIns="0" anchor="ctr" anchorCtr="1"/>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600" b="1" i="0" u="none" strike="noStrike" kern="1200" cap="all" spc="0" normalizeH="0" baseline="0" noProof="0">
              <a:ln>
                <a:noFill/>
              </a:ln>
              <a:solidFill>
                <a:srgbClr val="FFFFFF"/>
              </a:solidFill>
              <a:effectLst/>
              <a:uLnTx/>
              <a:uFillTx/>
              <a:latin typeface="Ubuntu Medium"/>
              <a:ea typeface="+mn-ea"/>
              <a:cs typeface="Calibri" pitchFamily="34" charset="0"/>
            </a:endParaRPr>
          </a:p>
        </p:txBody>
      </p:sp>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a:xfrm>
            <a:off x="404813" y="188640"/>
            <a:ext cx="10947772" cy="716711"/>
          </a:xfrm>
        </p:spPr>
        <p:txBody>
          <a:bodyPr/>
          <a:lstStyle/>
          <a:p>
            <a:r>
              <a:rPr lang="en-US"/>
              <a:t>price evolution during the crises</a:t>
            </a:r>
            <a:endParaRPr lang="en-IN"/>
          </a:p>
        </p:txBody>
      </p:sp>
      <p:sp>
        <p:nvSpPr>
          <p:cNvPr id="54" name="Text Placeholder 7">
            <a:extLst>
              <a:ext uri="{FF2B5EF4-FFF2-40B4-BE49-F238E27FC236}">
                <a16:creationId xmlns:a16="http://schemas.microsoft.com/office/drawing/2014/main" id="{0FCC404C-98F1-4D36-B616-A911F3DE5110}"/>
              </a:ext>
            </a:extLst>
          </p:cNvPr>
          <p:cNvSpPr txBox="1">
            <a:spLocks/>
          </p:cNvSpPr>
          <p:nvPr/>
        </p:nvSpPr>
        <p:spPr>
          <a:xfrm>
            <a:off x="1588420" y="1156990"/>
            <a:ext cx="2824787" cy="61555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2000" b="1" i="0" u="none" strike="noStrike" kern="1200" cap="none" spc="0" normalizeH="0" baseline="0" noProof="0">
                <a:ln>
                  <a:noFill/>
                </a:ln>
                <a:solidFill>
                  <a:schemeClr val="bg1"/>
                </a:solidFill>
                <a:effectLst/>
                <a:uLnTx/>
                <a:uFillTx/>
                <a:latin typeface="Ubuntu Light" panose="020B0304030602030204" pitchFamily="34" charset="0"/>
                <a:ea typeface="+mn-ea"/>
                <a:cs typeface="+mn-cs"/>
              </a:rPr>
              <a:t>COVID-19 and lockdowns</a:t>
            </a:r>
          </a:p>
        </p:txBody>
      </p:sp>
      <p:sp>
        <p:nvSpPr>
          <p:cNvPr id="63" name="Text Placeholder 7">
            <a:extLst>
              <a:ext uri="{FF2B5EF4-FFF2-40B4-BE49-F238E27FC236}">
                <a16:creationId xmlns:a16="http://schemas.microsoft.com/office/drawing/2014/main" id="{BF2C1BA2-9FAC-42B2-BF1E-FFA708135419}"/>
              </a:ext>
            </a:extLst>
          </p:cNvPr>
          <p:cNvSpPr txBox="1">
            <a:spLocks/>
          </p:cNvSpPr>
          <p:nvPr/>
        </p:nvSpPr>
        <p:spPr>
          <a:xfrm>
            <a:off x="5928018" y="1156990"/>
            <a:ext cx="1320868" cy="615553"/>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2000" b="1" i="0" u="none" strike="noStrike" kern="1200" cap="none" spc="0" normalizeH="0" baseline="0" noProof="0">
                <a:ln>
                  <a:noFill/>
                </a:ln>
                <a:solidFill>
                  <a:schemeClr val="bg1"/>
                </a:solidFill>
                <a:effectLst/>
                <a:uLnTx/>
                <a:uFillTx/>
                <a:latin typeface="Ubuntu Light" panose="020B0304030602030204" pitchFamily="34" charset="0"/>
                <a:ea typeface="+mn-ea"/>
                <a:cs typeface="+mn-cs"/>
              </a:rPr>
              <a:t>Price booming</a:t>
            </a:r>
          </a:p>
        </p:txBody>
      </p:sp>
      <p:sp>
        <p:nvSpPr>
          <p:cNvPr id="64" name="Text Placeholder 7">
            <a:extLst>
              <a:ext uri="{FF2B5EF4-FFF2-40B4-BE49-F238E27FC236}">
                <a16:creationId xmlns:a16="http://schemas.microsoft.com/office/drawing/2014/main" id="{821C484B-B609-4E48-83FC-01742A100B53}"/>
              </a:ext>
            </a:extLst>
          </p:cNvPr>
          <p:cNvSpPr txBox="1">
            <a:spLocks/>
          </p:cNvSpPr>
          <p:nvPr/>
        </p:nvSpPr>
        <p:spPr>
          <a:xfrm>
            <a:off x="9060813" y="1156990"/>
            <a:ext cx="2371022" cy="615553"/>
          </a:xfrm>
          <a:prstGeom prst="rect">
            <a:avLst/>
          </a:prstGeom>
          <a:noFill/>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2000" b="1" i="0" u="none" strike="noStrike" kern="1200" cap="none" spc="0" normalizeH="0" baseline="0" noProof="0">
                <a:ln>
                  <a:noFill/>
                </a:ln>
                <a:solidFill>
                  <a:schemeClr val="bg1"/>
                </a:solidFill>
                <a:effectLst/>
                <a:uLnTx/>
                <a:uFillTx/>
                <a:latin typeface="Ubuntu Light" panose="020B0304030602030204" pitchFamily="34" charset="0"/>
                <a:ea typeface="+mn-ea"/>
                <a:cs typeface="+mn-cs"/>
              </a:rPr>
              <a:t>Invasion of Ukraine by Russia</a:t>
            </a:r>
          </a:p>
        </p:txBody>
      </p:sp>
      <p:sp>
        <p:nvSpPr>
          <p:cNvPr id="82" name="TextBox 5">
            <a:extLst>
              <a:ext uri="{FF2B5EF4-FFF2-40B4-BE49-F238E27FC236}">
                <a16:creationId xmlns:a16="http://schemas.microsoft.com/office/drawing/2014/main" id="{460EE5B6-F5C4-47B8-A55B-816447E16A70}"/>
              </a:ext>
            </a:extLst>
          </p:cNvPr>
          <p:cNvSpPr txBox="1"/>
          <p:nvPr/>
        </p:nvSpPr>
        <p:spPr>
          <a:xfrm>
            <a:off x="304800" y="6381328"/>
            <a:ext cx="83058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67171"/>
                </a:solidFill>
                <a:effectLst/>
                <a:uLnTx/>
                <a:uFillTx/>
                <a:latin typeface="Verdana" panose="020B0604030504040204" pitchFamily="34" charset="0"/>
                <a:ea typeface="Verdana" panose="020B0604030504040204" pitchFamily="34" charset="0"/>
                <a:cs typeface="+mn-cs"/>
              </a:rPr>
              <a:t>Source: </a:t>
            </a:r>
            <a:r>
              <a:rPr kumimoji="0" lang="en-US" sz="900" b="0" i="0" u="none" strike="noStrike" kern="1200" cap="none" spc="0" normalizeH="0" baseline="30000" noProof="0">
                <a:ln>
                  <a:noFill/>
                </a:ln>
                <a:solidFill>
                  <a:srgbClr val="767171"/>
                </a:solidFill>
                <a:effectLst/>
                <a:uLnTx/>
                <a:uFillTx/>
                <a:latin typeface="Verdana" panose="020B0604030504040204" pitchFamily="34" charset="0"/>
                <a:ea typeface="Verdana" panose="020B0604030504040204" pitchFamily="34" charset="0"/>
                <a:cs typeface="+mn-cs"/>
              </a:rPr>
              <a:t>1</a:t>
            </a:r>
            <a:r>
              <a:rPr kumimoji="0" lang="en-US" sz="900" b="0" i="0" u="none" strike="noStrike" kern="1200" cap="none" spc="0" normalizeH="0" baseline="0" noProof="0">
                <a:ln>
                  <a:noFill/>
                </a:ln>
                <a:solidFill>
                  <a:srgbClr val="767171"/>
                </a:solidFill>
                <a:effectLst/>
                <a:uLnTx/>
                <a:uFillTx/>
                <a:latin typeface="Verdana" panose="020B0604030504040204" pitchFamily="34" charset="0"/>
                <a:ea typeface="Verdana" panose="020B0604030504040204" pitchFamily="34" charset="0"/>
                <a:cs typeface="+mn-cs"/>
              </a:rPr>
              <a:t>EUI, Some reflections on current gas market price trends; </a:t>
            </a:r>
            <a:r>
              <a:rPr lang="en-US" sz="900" baseline="30000">
                <a:solidFill>
                  <a:srgbClr val="767171"/>
                </a:solidFill>
                <a:latin typeface="Verdana" panose="020B0604030504040204" pitchFamily="34" charset="0"/>
                <a:ea typeface="Verdana" panose="020B0604030504040204" pitchFamily="34" charset="0"/>
              </a:rPr>
              <a:t>2</a:t>
            </a:r>
            <a:r>
              <a:rPr kumimoji="0" lang="en-US" sz="900" b="0" i="0" u="none" strike="noStrike" kern="1200" cap="none" spc="0" normalizeH="0" baseline="0" noProof="0" err="1">
                <a:ln>
                  <a:noFill/>
                </a:ln>
                <a:solidFill>
                  <a:srgbClr val="767171"/>
                </a:solidFill>
                <a:effectLst/>
                <a:uLnTx/>
                <a:uFillTx/>
                <a:latin typeface="Verdana" panose="020B0604030504040204" pitchFamily="34" charset="0"/>
                <a:ea typeface="Verdana" panose="020B0604030504040204" pitchFamily="34" charset="0"/>
                <a:cs typeface="+mn-cs"/>
              </a:rPr>
              <a:t>Chinmoy</a:t>
            </a:r>
            <a:r>
              <a:rPr kumimoji="0" lang="en-US" sz="900" b="0" i="0" u="none" strike="noStrike" kern="1200" cap="none" spc="0" normalizeH="0" baseline="0" noProof="0">
                <a:ln>
                  <a:noFill/>
                </a:ln>
                <a:solidFill>
                  <a:srgbClr val="767171"/>
                </a:solidFill>
                <a:effectLst/>
                <a:uLnTx/>
                <a:uFillTx/>
                <a:latin typeface="Verdana" panose="020B0604030504040204" pitchFamily="34" charset="0"/>
                <a:ea typeface="Verdana" panose="020B0604030504040204" pitchFamily="34" charset="0"/>
                <a:cs typeface="+mn-cs"/>
              </a:rPr>
              <a:t> Chakraborty, LinkedIn, Key facts &amp; figures of major Utilities;</a:t>
            </a:r>
            <a:endParaRPr kumimoji="0" lang="en-US" sz="900" b="0" i="0" u="none" strike="noStrike" kern="1200" cap="none" spc="0" normalizeH="0" baseline="30000" noProof="0">
              <a:ln>
                <a:noFill/>
              </a:ln>
              <a:solidFill>
                <a:srgbClr val="767171"/>
              </a:solidFill>
              <a:effectLst/>
              <a:uLnTx/>
              <a:uFillTx/>
              <a:latin typeface="Verdana" panose="020B0604030504040204" pitchFamily="34" charset="0"/>
              <a:ea typeface="Verdana" panose="020B0604030504040204" pitchFamily="34" charset="0"/>
              <a:cs typeface="+mn-cs"/>
            </a:endParaRPr>
          </a:p>
        </p:txBody>
      </p:sp>
      <p:sp>
        <p:nvSpPr>
          <p:cNvPr id="83" name="ZoneTexte 93">
            <a:extLst>
              <a:ext uri="{FF2B5EF4-FFF2-40B4-BE49-F238E27FC236}">
                <a16:creationId xmlns:a16="http://schemas.microsoft.com/office/drawing/2014/main" id="{F585CA5D-4637-42B9-96C1-B0C418C2BD83}"/>
              </a:ext>
            </a:extLst>
          </p:cNvPr>
          <p:cNvSpPr txBox="1"/>
          <p:nvPr/>
        </p:nvSpPr>
        <p:spPr>
          <a:xfrm>
            <a:off x="345042" y="3226287"/>
            <a:ext cx="60625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a:ln>
                  <a:noFill/>
                </a:ln>
                <a:solidFill>
                  <a:prstClr val="black"/>
                </a:solidFill>
                <a:effectLst/>
                <a:uLnTx/>
                <a:uFillTx/>
                <a:latin typeface="Ubuntu"/>
                <a:ea typeface="+mn-ea"/>
                <a:cs typeface="+mn-cs"/>
              </a:rPr>
              <a:t>Gas</a:t>
            </a:r>
          </a:p>
        </p:txBody>
      </p:sp>
      <p:grpSp>
        <p:nvGrpSpPr>
          <p:cNvPr id="6" name="Groupe 5">
            <a:extLst>
              <a:ext uri="{FF2B5EF4-FFF2-40B4-BE49-F238E27FC236}">
                <a16:creationId xmlns:a16="http://schemas.microsoft.com/office/drawing/2014/main" id="{412DDD9C-EFAE-47EB-8FB7-2AE8F746BF9F}"/>
              </a:ext>
            </a:extLst>
          </p:cNvPr>
          <p:cNvGrpSpPr/>
          <p:nvPr/>
        </p:nvGrpSpPr>
        <p:grpSpPr>
          <a:xfrm>
            <a:off x="1628148" y="1868184"/>
            <a:ext cx="2745330" cy="4324878"/>
            <a:chOff x="1318010" y="1868184"/>
            <a:chExt cx="2745330" cy="4324878"/>
          </a:xfrm>
        </p:grpSpPr>
        <p:grpSp>
          <p:nvGrpSpPr>
            <p:cNvPr id="81" name="Groupe 88">
              <a:extLst>
                <a:ext uri="{FF2B5EF4-FFF2-40B4-BE49-F238E27FC236}">
                  <a16:creationId xmlns:a16="http://schemas.microsoft.com/office/drawing/2014/main" id="{2FDA9B32-229E-4B31-AE5C-4DF11F106338}"/>
                </a:ext>
              </a:extLst>
            </p:cNvPr>
            <p:cNvGrpSpPr/>
            <p:nvPr/>
          </p:nvGrpSpPr>
          <p:grpSpPr>
            <a:xfrm>
              <a:off x="1704205" y="2578314"/>
              <a:ext cx="588003" cy="915789"/>
              <a:chOff x="-1154082" y="1981362"/>
              <a:chExt cx="172287" cy="268329"/>
            </a:xfrm>
            <a:solidFill>
              <a:srgbClr val="2EA657"/>
            </a:solidFill>
          </p:grpSpPr>
          <p:sp>
            <p:nvSpPr>
              <p:cNvPr id="85" name="Freeform 126">
                <a:extLst>
                  <a:ext uri="{FF2B5EF4-FFF2-40B4-BE49-F238E27FC236}">
                    <a16:creationId xmlns:a16="http://schemas.microsoft.com/office/drawing/2014/main" id="{D2CB638A-AA86-4CD4-B485-2042684CBF41}"/>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6" name="Freeform 128">
                <a:extLst>
                  <a:ext uri="{FF2B5EF4-FFF2-40B4-BE49-F238E27FC236}">
                    <a16:creationId xmlns:a16="http://schemas.microsoft.com/office/drawing/2014/main" id="{C4AAD1B0-70F4-4FFE-85A8-44BDAC786ACF}"/>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7" name="Freeform 129">
                <a:extLst>
                  <a:ext uri="{FF2B5EF4-FFF2-40B4-BE49-F238E27FC236}">
                    <a16:creationId xmlns:a16="http://schemas.microsoft.com/office/drawing/2014/main" id="{ACD48549-3CD5-44C9-B79A-C5845835222A}"/>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8" name="Freeform 130">
                <a:extLst>
                  <a:ext uri="{FF2B5EF4-FFF2-40B4-BE49-F238E27FC236}">
                    <a16:creationId xmlns:a16="http://schemas.microsoft.com/office/drawing/2014/main" id="{E47D42C5-742D-44E6-BDF9-1C7AF3D1599F}"/>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84" name="ZoneTexte 94">
              <a:extLst>
                <a:ext uri="{FF2B5EF4-FFF2-40B4-BE49-F238E27FC236}">
                  <a16:creationId xmlns:a16="http://schemas.microsoft.com/office/drawing/2014/main" id="{C35744A3-1196-4F23-A297-957D1D623D6F}"/>
                </a:ext>
              </a:extLst>
            </p:cNvPr>
            <p:cNvSpPr txBox="1"/>
            <p:nvPr/>
          </p:nvSpPr>
          <p:spPr>
            <a:xfrm>
              <a:off x="2261311" y="2806232"/>
              <a:ext cx="1289755"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3.5/MWh </a:t>
              </a:r>
              <a:r>
                <a:rPr kumimoji="0" lang="en-US" sz="1400" b="0" i="0" u="none" strike="noStrike" kern="1200" cap="none" spc="0" normalizeH="0" baseline="0" noProof="0">
                  <a:ln>
                    <a:noFill/>
                  </a:ln>
                  <a:solidFill>
                    <a:prstClr val="black"/>
                  </a:solidFill>
                  <a:effectLst/>
                  <a:uLnTx/>
                  <a:uFillTx/>
                  <a:latin typeface="Ubuntu"/>
                  <a:ea typeface="+mn-ea"/>
                  <a:cs typeface="+mn-cs"/>
                </a:rPr>
                <a:t>in May 2020</a:t>
              </a:r>
              <a:r>
                <a:rPr lang="en-US" sz="1400" baseline="30000">
                  <a:solidFill>
                    <a:prstClr val="black"/>
                  </a:solidFill>
                  <a:latin typeface="Ubuntu"/>
                </a:rPr>
                <a:t>1</a:t>
              </a:r>
              <a:endParaRPr kumimoji="0" lang="fr-FR" sz="1400" b="0" i="0" u="none" strike="noStrike" kern="1200" cap="none" spc="0" normalizeH="0" baseline="0" noProof="0">
                <a:ln>
                  <a:noFill/>
                </a:ln>
                <a:solidFill>
                  <a:prstClr val="black"/>
                </a:solidFill>
                <a:effectLst/>
                <a:uLnTx/>
                <a:uFillTx/>
                <a:latin typeface="Ubuntu"/>
                <a:ea typeface="+mn-ea"/>
                <a:cs typeface="+mn-cs"/>
              </a:endParaRPr>
            </a:p>
          </p:txBody>
        </p:sp>
        <p:sp>
          <p:nvSpPr>
            <p:cNvPr id="105" name="Text Placeholder 7">
              <a:extLst>
                <a:ext uri="{FF2B5EF4-FFF2-40B4-BE49-F238E27FC236}">
                  <a16:creationId xmlns:a16="http://schemas.microsoft.com/office/drawing/2014/main" id="{67309C35-0970-4849-BB42-075532230BD9}"/>
                </a:ext>
              </a:extLst>
            </p:cNvPr>
            <p:cNvSpPr txBox="1">
              <a:spLocks/>
            </p:cNvSpPr>
            <p:nvPr/>
          </p:nvSpPr>
          <p:spPr>
            <a:xfrm>
              <a:off x="1318010" y="1868184"/>
              <a:ext cx="2745330" cy="523220"/>
            </a:xfrm>
            <a:prstGeom prst="rect">
              <a:avLst/>
            </a:prstGeom>
            <a:noFill/>
            <a:ln>
              <a:solidFill>
                <a:schemeClr val="tx1"/>
              </a:solidFill>
              <a:prstDash val="dash"/>
            </a:ln>
          </p:spPr>
          <p:txBody>
            <a:bodyPr wrap="square" rtlCol="0">
              <a:spAutoFit/>
            </a:bodyPr>
            <a:lstStyle>
              <a:defPPr>
                <a:defRPr lang="pt-PT"/>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prstClr val="black"/>
                  </a:solidFill>
                  <a:effectLst/>
                  <a:uLnTx/>
                  <a:uFillTx/>
                  <a:latin typeface="Ubuntu"/>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en-US"/>
                <a:t>2020 - Very low commodities prices during lockdowns</a:t>
              </a:r>
            </a:p>
          </p:txBody>
        </p:sp>
        <p:sp>
          <p:nvSpPr>
            <p:cNvPr id="99" name="ZoneTexte 123">
              <a:extLst>
                <a:ext uri="{FF2B5EF4-FFF2-40B4-BE49-F238E27FC236}">
                  <a16:creationId xmlns:a16="http://schemas.microsoft.com/office/drawing/2014/main" id="{DC6B3668-4E6F-44D8-9149-524C438EFB77}"/>
                </a:ext>
              </a:extLst>
            </p:cNvPr>
            <p:cNvSpPr txBox="1"/>
            <p:nvPr/>
          </p:nvSpPr>
          <p:spPr>
            <a:xfrm>
              <a:off x="2137887" y="5499019"/>
              <a:ext cx="181968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 €23/MWh </a:t>
              </a:r>
              <a:r>
                <a:rPr kumimoji="0" lang="en-US" sz="1400" b="0" i="0" u="none" strike="noStrike" kern="1200" cap="none" spc="0" normalizeH="0" baseline="0" noProof="0">
                  <a:ln>
                    <a:noFill/>
                  </a:ln>
                  <a:solidFill>
                    <a:prstClr val="black"/>
                  </a:solidFill>
                  <a:effectLst/>
                  <a:uLnTx/>
                  <a:uFillTx/>
                  <a:latin typeface="Ubuntu"/>
                  <a:ea typeface="+mn-ea"/>
                  <a:cs typeface="+mn-cs"/>
                </a:rPr>
                <a:t>in Germany (H1 2020)</a:t>
              </a:r>
              <a:r>
                <a:rPr kumimoji="0" lang="en-US" sz="1400" b="0" i="0" u="none" strike="noStrike" kern="1200" cap="none" spc="0" normalizeH="0" baseline="30000" noProof="0">
                  <a:ln>
                    <a:noFill/>
                  </a:ln>
                  <a:solidFill>
                    <a:prstClr val="black"/>
                  </a:solidFill>
                  <a:effectLst/>
                  <a:uLnTx/>
                  <a:uFillTx/>
                  <a:latin typeface="Ubuntu"/>
                  <a:ea typeface="+mn-ea"/>
                  <a:cs typeface="+mn-cs"/>
                </a:rPr>
                <a:t>2</a:t>
              </a:r>
              <a:endParaRPr kumimoji="0" lang="fr-FR" sz="1400" b="0" i="0" u="none" strike="noStrike" kern="1200" cap="none" spc="0" normalizeH="0" baseline="30000" noProof="0">
                <a:ln>
                  <a:noFill/>
                </a:ln>
                <a:solidFill>
                  <a:prstClr val="black"/>
                </a:solidFill>
                <a:effectLst/>
                <a:uLnTx/>
                <a:uFillTx/>
                <a:latin typeface="Ubuntu"/>
                <a:ea typeface="+mn-ea"/>
                <a:cs typeface="+mn-cs"/>
              </a:endParaRPr>
            </a:p>
          </p:txBody>
        </p:sp>
        <p:grpSp>
          <p:nvGrpSpPr>
            <p:cNvPr id="106" name="Groupe 88">
              <a:extLst>
                <a:ext uri="{FF2B5EF4-FFF2-40B4-BE49-F238E27FC236}">
                  <a16:creationId xmlns:a16="http://schemas.microsoft.com/office/drawing/2014/main" id="{2DE030B0-D631-4970-9BEA-88FC47CB2D2A}"/>
                </a:ext>
              </a:extLst>
            </p:cNvPr>
            <p:cNvGrpSpPr/>
            <p:nvPr/>
          </p:nvGrpSpPr>
          <p:grpSpPr>
            <a:xfrm>
              <a:off x="1580781" y="5277273"/>
              <a:ext cx="588003" cy="915789"/>
              <a:chOff x="-1154082" y="1981362"/>
              <a:chExt cx="172287" cy="268329"/>
            </a:xfrm>
            <a:solidFill>
              <a:srgbClr val="2EA657"/>
            </a:solidFill>
          </p:grpSpPr>
          <p:sp>
            <p:nvSpPr>
              <p:cNvPr id="107" name="Freeform 126">
                <a:extLst>
                  <a:ext uri="{FF2B5EF4-FFF2-40B4-BE49-F238E27FC236}">
                    <a16:creationId xmlns:a16="http://schemas.microsoft.com/office/drawing/2014/main" id="{3028F6DA-73A3-4983-92E2-3A6E3717E3D1}"/>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8" name="Freeform 128">
                <a:extLst>
                  <a:ext uri="{FF2B5EF4-FFF2-40B4-BE49-F238E27FC236}">
                    <a16:creationId xmlns:a16="http://schemas.microsoft.com/office/drawing/2014/main" id="{448596CA-2D2E-4530-83A3-1812DB475482}"/>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9" name="Freeform 129">
                <a:extLst>
                  <a:ext uri="{FF2B5EF4-FFF2-40B4-BE49-F238E27FC236}">
                    <a16:creationId xmlns:a16="http://schemas.microsoft.com/office/drawing/2014/main" id="{645DEA0F-D588-4B59-A0CD-100EE84ABD66}"/>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0" name="Freeform 130">
                <a:extLst>
                  <a:ext uri="{FF2B5EF4-FFF2-40B4-BE49-F238E27FC236}">
                    <a16:creationId xmlns:a16="http://schemas.microsoft.com/office/drawing/2014/main" id="{EA9F761F-716F-4A03-B041-20C4B750C914}"/>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91" name="ZoneTexte 111">
              <a:extLst>
                <a:ext uri="{FF2B5EF4-FFF2-40B4-BE49-F238E27FC236}">
                  <a16:creationId xmlns:a16="http://schemas.microsoft.com/office/drawing/2014/main" id="{A9F9E48B-D516-4701-ACDD-8B73DCB5BE81}"/>
                </a:ext>
              </a:extLst>
            </p:cNvPr>
            <p:cNvSpPr txBox="1"/>
            <p:nvPr/>
          </p:nvSpPr>
          <p:spPr>
            <a:xfrm>
              <a:off x="2120229" y="4073676"/>
              <a:ext cx="157191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a:ln>
                    <a:noFill/>
                  </a:ln>
                  <a:solidFill>
                    <a:prstClr val="black"/>
                  </a:solidFill>
                  <a:effectLst/>
                  <a:uLnTx/>
                  <a:uFillTx/>
                  <a:latin typeface="Ubuntu"/>
                  <a:ea typeface="+mn-ea"/>
                  <a:cs typeface="+mn-cs"/>
                </a:rPr>
                <a:t>WTI under </a:t>
              </a:r>
              <a:r>
                <a:rPr kumimoji="0" lang="en-US" sz="1600" b="1" i="0" u="none" strike="noStrike" kern="1200" cap="none" spc="0" normalizeH="0" baseline="0">
                  <a:ln>
                    <a:noFill/>
                  </a:ln>
                  <a:solidFill>
                    <a:prstClr val="black"/>
                  </a:solidFill>
                  <a:effectLst/>
                  <a:uLnTx/>
                  <a:uFillTx/>
                  <a:latin typeface="Ubuntu"/>
                  <a:ea typeface="+mn-ea"/>
                  <a:cs typeface="+mn-cs"/>
                </a:rPr>
                <a:t>$0/bl</a:t>
              </a:r>
              <a:r>
                <a:rPr kumimoji="0" lang="en-US" sz="1600" b="0" i="0" u="none" strike="noStrike" kern="1200" cap="none" spc="0" normalizeH="0" baseline="0">
                  <a:ln>
                    <a:noFill/>
                  </a:ln>
                  <a:solidFill>
                    <a:prstClr val="black"/>
                  </a:solidFill>
                  <a:effectLst/>
                  <a:uLnTx/>
                  <a:uFillTx/>
                  <a:latin typeface="Ubuntu"/>
                  <a:ea typeface="+mn-ea"/>
                  <a:cs typeface="+mn-cs"/>
                </a:rPr>
                <a:t> </a:t>
              </a:r>
              <a:r>
                <a:rPr kumimoji="0" lang="en-US" sz="1400" b="0" i="0" u="none" strike="noStrike" kern="1200" cap="none" spc="0" normalizeH="0" baseline="0">
                  <a:ln>
                    <a:noFill/>
                  </a:ln>
                  <a:solidFill>
                    <a:prstClr val="black"/>
                  </a:solidFill>
                  <a:effectLst/>
                  <a:uLnTx/>
                  <a:uFillTx/>
                  <a:latin typeface="Ubuntu"/>
                  <a:ea typeface="+mn-ea"/>
                  <a:cs typeface="+mn-cs"/>
                </a:rPr>
                <a:t>in April 2020 (Henry hub)</a:t>
              </a:r>
            </a:p>
          </p:txBody>
        </p:sp>
        <p:grpSp>
          <p:nvGrpSpPr>
            <p:cNvPr id="111" name="Groupe 88">
              <a:extLst>
                <a:ext uri="{FF2B5EF4-FFF2-40B4-BE49-F238E27FC236}">
                  <a16:creationId xmlns:a16="http://schemas.microsoft.com/office/drawing/2014/main" id="{0E581F37-CE53-4CBB-B2BC-E3330B4F8290}"/>
                </a:ext>
              </a:extLst>
            </p:cNvPr>
            <p:cNvGrpSpPr/>
            <p:nvPr/>
          </p:nvGrpSpPr>
          <p:grpSpPr>
            <a:xfrm>
              <a:off x="1563123" y="3902417"/>
              <a:ext cx="588003" cy="915789"/>
              <a:chOff x="-1154082" y="1981362"/>
              <a:chExt cx="172287" cy="268329"/>
            </a:xfrm>
            <a:solidFill>
              <a:srgbClr val="2EA657"/>
            </a:solidFill>
          </p:grpSpPr>
          <p:sp>
            <p:nvSpPr>
              <p:cNvPr id="113" name="Freeform 126">
                <a:extLst>
                  <a:ext uri="{FF2B5EF4-FFF2-40B4-BE49-F238E27FC236}">
                    <a16:creationId xmlns:a16="http://schemas.microsoft.com/office/drawing/2014/main" id="{816C133B-FC20-44BE-9A49-DF6410D59F19}"/>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5" name="Freeform 128">
                <a:extLst>
                  <a:ext uri="{FF2B5EF4-FFF2-40B4-BE49-F238E27FC236}">
                    <a16:creationId xmlns:a16="http://schemas.microsoft.com/office/drawing/2014/main" id="{A7FB7BAC-CCB8-41E9-B907-227DE2B8AD4D}"/>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16" name="Freeform 129">
                <a:extLst>
                  <a:ext uri="{FF2B5EF4-FFF2-40B4-BE49-F238E27FC236}">
                    <a16:creationId xmlns:a16="http://schemas.microsoft.com/office/drawing/2014/main" id="{62EF679A-48F3-4D05-A788-0DD29D3B64A5}"/>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21" name="Freeform 130">
                <a:extLst>
                  <a:ext uri="{FF2B5EF4-FFF2-40B4-BE49-F238E27FC236}">
                    <a16:creationId xmlns:a16="http://schemas.microsoft.com/office/drawing/2014/main" id="{75F36703-0F21-4D7A-989B-53AE5FBB5478}"/>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7" name="Groupe 6">
            <a:extLst>
              <a:ext uri="{FF2B5EF4-FFF2-40B4-BE49-F238E27FC236}">
                <a16:creationId xmlns:a16="http://schemas.microsoft.com/office/drawing/2014/main" id="{01B7A92C-B078-4104-BE3D-296E283F083B}"/>
              </a:ext>
            </a:extLst>
          </p:cNvPr>
          <p:cNvGrpSpPr/>
          <p:nvPr/>
        </p:nvGrpSpPr>
        <p:grpSpPr>
          <a:xfrm>
            <a:off x="5956651" y="1933960"/>
            <a:ext cx="2026328" cy="4237812"/>
            <a:chOff x="5775865" y="1933960"/>
            <a:chExt cx="2026328" cy="4237812"/>
          </a:xfrm>
        </p:grpSpPr>
        <p:grpSp>
          <p:nvGrpSpPr>
            <p:cNvPr id="122" name="Groupe 134">
              <a:extLst>
                <a:ext uri="{FF2B5EF4-FFF2-40B4-BE49-F238E27FC236}">
                  <a16:creationId xmlns:a16="http://schemas.microsoft.com/office/drawing/2014/main" id="{D5541DC4-5F78-4822-B1D1-B56CC6AAFD0B}"/>
                </a:ext>
              </a:extLst>
            </p:cNvPr>
            <p:cNvGrpSpPr/>
            <p:nvPr/>
          </p:nvGrpSpPr>
          <p:grpSpPr>
            <a:xfrm>
              <a:off x="5775865" y="2531257"/>
              <a:ext cx="574339" cy="894509"/>
              <a:chOff x="-829395" y="2133762"/>
              <a:chExt cx="172287" cy="268330"/>
            </a:xfrm>
            <a:solidFill>
              <a:srgbClr val="336B7D"/>
            </a:solidFill>
          </p:grpSpPr>
          <p:sp>
            <p:nvSpPr>
              <p:cNvPr id="129" name="Freeform 126">
                <a:extLst>
                  <a:ext uri="{FF2B5EF4-FFF2-40B4-BE49-F238E27FC236}">
                    <a16:creationId xmlns:a16="http://schemas.microsoft.com/office/drawing/2014/main" id="{E34D3C79-C610-4D53-9CF3-CCA8F7B2A7C8}"/>
                  </a:ext>
                </a:extLst>
              </p:cNvPr>
              <p:cNvSpPr>
                <a:spLocks/>
              </p:cNvSpPr>
              <p:nvPr/>
            </p:nvSpPr>
            <p:spPr bwMode="auto">
              <a:xfrm>
                <a:off x="-698406" y="2187551"/>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0" name="Freeform 128">
                <a:extLst>
                  <a:ext uri="{FF2B5EF4-FFF2-40B4-BE49-F238E27FC236}">
                    <a16:creationId xmlns:a16="http://schemas.microsoft.com/office/drawing/2014/main" id="{457868C7-C171-45A9-B67C-76A93E32687E}"/>
                  </a:ext>
                </a:extLst>
              </p:cNvPr>
              <p:cNvSpPr>
                <a:spLocks/>
              </p:cNvSpPr>
              <p:nvPr/>
            </p:nvSpPr>
            <p:spPr bwMode="auto">
              <a:xfrm>
                <a:off x="-762875" y="2257717"/>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1" name="Freeform 129">
                <a:extLst>
                  <a:ext uri="{FF2B5EF4-FFF2-40B4-BE49-F238E27FC236}">
                    <a16:creationId xmlns:a16="http://schemas.microsoft.com/office/drawing/2014/main" id="{A093F335-F076-473B-A5CB-0D1E864CBA5D}"/>
                  </a:ext>
                </a:extLst>
              </p:cNvPr>
              <p:cNvSpPr>
                <a:spLocks/>
              </p:cNvSpPr>
              <p:nvPr/>
            </p:nvSpPr>
            <p:spPr bwMode="auto">
              <a:xfrm>
                <a:off x="-819901" y="2316477"/>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32" name="Freeform 130">
                <a:extLst>
                  <a:ext uri="{FF2B5EF4-FFF2-40B4-BE49-F238E27FC236}">
                    <a16:creationId xmlns:a16="http://schemas.microsoft.com/office/drawing/2014/main" id="{4A4C3939-4FDB-4C67-9704-D36A5956D70E}"/>
                  </a:ext>
                </a:extLst>
              </p:cNvPr>
              <p:cNvSpPr>
                <a:spLocks/>
              </p:cNvSpPr>
              <p:nvPr/>
            </p:nvSpPr>
            <p:spPr bwMode="auto">
              <a:xfrm>
                <a:off x="-829395" y="21337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34" name="ZoneTexte 94">
              <a:extLst>
                <a:ext uri="{FF2B5EF4-FFF2-40B4-BE49-F238E27FC236}">
                  <a16:creationId xmlns:a16="http://schemas.microsoft.com/office/drawing/2014/main" id="{DDA4B0FF-459C-4256-89F6-8A9CE7EE1E84}"/>
                </a:ext>
              </a:extLst>
            </p:cNvPr>
            <p:cNvSpPr txBox="1"/>
            <p:nvPr/>
          </p:nvSpPr>
          <p:spPr>
            <a:xfrm>
              <a:off x="6349451" y="2572782"/>
              <a:ext cx="128975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a:t>
              </a:r>
              <a:r>
                <a:rPr kumimoji="0" lang="da-DK" sz="1600" b="0" i="0" u="none" strike="noStrike" kern="1200" cap="none" spc="0" normalizeH="0" baseline="0" noProof="0">
                  <a:ln>
                    <a:noFill/>
                  </a:ln>
                  <a:solidFill>
                    <a:prstClr val="black"/>
                  </a:solidFill>
                  <a:effectLst/>
                  <a:uLnTx/>
                  <a:uFillTx/>
                  <a:latin typeface="Ubuntu"/>
                  <a:ea typeface="+mn-ea"/>
                  <a:cs typeface="+mn-cs"/>
                </a:rPr>
                <a:t> </a:t>
              </a:r>
              <a:r>
                <a:rPr kumimoji="0" lang="da-DK" sz="1600" b="1" i="0" u="none" strike="noStrike" kern="1200" cap="none" spc="0" normalizeH="0" baseline="0" noProof="0">
                  <a:ln>
                    <a:noFill/>
                  </a:ln>
                  <a:solidFill>
                    <a:prstClr val="black"/>
                  </a:solidFill>
                  <a:effectLst/>
                  <a:uLnTx/>
                  <a:uFillTx/>
                  <a:latin typeface="Ubuntu"/>
                  <a:ea typeface="+mn-ea"/>
                  <a:cs typeface="+mn-cs"/>
                </a:rPr>
                <a:t>€180 /MWh</a:t>
              </a:r>
            </a:p>
          </p:txBody>
        </p:sp>
        <p:sp>
          <p:nvSpPr>
            <p:cNvPr id="135" name="ZoneTexte 7">
              <a:extLst>
                <a:ext uri="{FF2B5EF4-FFF2-40B4-BE49-F238E27FC236}">
                  <a16:creationId xmlns:a16="http://schemas.microsoft.com/office/drawing/2014/main" id="{8C42E2E5-E362-4A09-B6E6-F727F4571A90}"/>
                </a:ext>
              </a:extLst>
            </p:cNvPr>
            <p:cNvSpPr txBox="1"/>
            <p:nvPr/>
          </p:nvSpPr>
          <p:spPr>
            <a:xfrm>
              <a:off x="5946376" y="1933960"/>
              <a:ext cx="941283" cy="307777"/>
            </a:xfrm>
            <a:prstGeom prst="rect">
              <a:avLst/>
            </a:prstGeom>
            <a:noFill/>
            <a:ln>
              <a:solidFill>
                <a:schemeClr val="tx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prstClr val="black"/>
                  </a:solidFill>
                  <a:effectLst/>
                  <a:uLnTx/>
                  <a:uFillTx/>
                  <a:latin typeface="Ubuntu"/>
                  <a:ea typeface="+mn-ea"/>
                  <a:cs typeface="+mn-cs"/>
                </a:rPr>
                <a:t>End 2021</a:t>
              </a:r>
            </a:p>
          </p:txBody>
        </p:sp>
        <p:grpSp>
          <p:nvGrpSpPr>
            <p:cNvPr id="143" name="Groupe 176">
              <a:extLst>
                <a:ext uri="{FF2B5EF4-FFF2-40B4-BE49-F238E27FC236}">
                  <a16:creationId xmlns:a16="http://schemas.microsoft.com/office/drawing/2014/main" id="{99ACDDD4-66C3-4F9B-B1A3-59EE115661E6}"/>
                </a:ext>
              </a:extLst>
            </p:cNvPr>
            <p:cNvGrpSpPr/>
            <p:nvPr/>
          </p:nvGrpSpPr>
          <p:grpSpPr>
            <a:xfrm>
              <a:off x="5775865" y="3902411"/>
              <a:ext cx="574339" cy="894505"/>
              <a:chOff x="-829395" y="2133762"/>
              <a:chExt cx="172287" cy="268329"/>
            </a:xfrm>
            <a:solidFill>
              <a:srgbClr val="336B7D"/>
            </a:solidFill>
          </p:grpSpPr>
          <p:sp>
            <p:nvSpPr>
              <p:cNvPr id="144" name="Freeform 126">
                <a:extLst>
                  <a:ext uri="{FF2B5EF4-FFF2-40B4-BE49-F238E27FC236}">
                    <a16:creationId xmlns:a16="http://schemas.microsoft.com/office/drawing/2014/main" id="{EA02DA93-C1FB-410C-8EF5-C649BB29A346}"/>
                  </a:ext>
                </a:extLst>
              </p:cNvPr>
              <p:cNvSpPr>
                <a:spLocks/>
              </p:cNvSpPr>
              <p:nvPr/>
            </p:nvSpPr>
            <p:spPr bwMode="auto">
              <a:xfrm>
                <a:off x="-698406" y="21875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5" name="Freeform 128">
                <a:extLst>
                  <a:ext uri="{FF2B5EF4-FFF2-40B4-BE49-F238E27FC236}">
                    <a16:creationId xmlns:a16="http://schemas.microsoft.com/office/drawing/2014/main" id="{8D06527B-3BF7-4585-AF47-7B63D7556BAB}"/>
                  </a:ext>
                </a:extLst>
              </p:cNvPr>
              <p:cNvSpPr>
                <a:spLocks/>
              </p:cNvSpPr>
              <p:nvPr/>
            </p:nvSpPr>
            <p:spPr bwMode="auto">
              <a:xfrm>
                <a:off x="-762875" y="22577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6" name="Freeform 129">
                <a:extLst>
                  <a:ext uri="{FF2B5EF4-FFF2-40B4-BE49-F238E27FC236}">
                    <a16:creationId xmlns:a16="http://schemas.microsoft.com/office/drawing/2014/main" id="{05C695FF-5828-47BA-9F64-0E9881E6E760}"/>
                  </a:ext>
                </a:extLst>
              </p:cNvPr>
              <p:cNvSpPr>
                <a:spLocks/>
              </p:cNvSpPr>
              <p:nvPr/>
            </p:nvSpPr>
            <p:spPr bwMode="auto">
              <a:xfrm>
                <a:off x="-819901" y="23164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47" name="Freeform 130">
                <a:extLst>
                  <a:ext uri="{FF2B5EF4-FFF2-40B4-BE49-F238E27FC236}">
                    <a16:creationId xmlns:a16="http://schemas.microsoft.com/office/drawing/2014/main" id="{7FB27504-09EB-40F6-8DB1-7D9CB83DE45D}"/>
                  </a:ext>
                </a:extLst>
              </p:cNvPr>
              <p:cNvSpPr>
                <a:spLocks/>
              </p:cNvSpPr>
              <p:nvPr/>
            </p:nvSpPr>
            <p:spPr bwMode="auto">
              <a:xfrm>
                <a:off x="-829395" y="21337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49" name="ZoneTexte 178">
              <a:extLst>
                <a:ext uri="{FF2B5EF4-FFF2-40B4-BE49-F238E27FC236}">
                  <a16:creationId xmlns:a16="http://schemas.microsoft.com/office/drawing/2014/main" id="{1F7F8E89-B49E-4EB0-8AD1-F6E9432DA129}"/>
                </a:ext>
              </a:extLst>
            </p:cNvPr>
            <p:cNvSpPr txBox="1"/>
            <p:nvPr/>
          </p:nvSpPr>
          <p:spPr>
            <a:xfrm>
              <a:off x="6507033" y="3802165"/>
              <a:ext cx="101122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a:t>
              </a:r>
              <a:r>
                <a:rPr kumimoji="0" lang="da-DK" sz="1600" b="0" i="0" u="none" strike="noStrike" kern="1200" cap="none" spc="0" normalizeH="0" baseline="0" noProof="0">
                  <a:ln>
                    <a:noFill/>
                  </a:ln>
                  <a:solidFill>
                    <a:prstClr val="black"/>
                  </a:solidFill>
                  <a:effectLst/>
                  <a:uLnTx/>
                  <a:uFillTx/>
                  <a:latin typeface="Ubuntu"/>
                  <a:ea typeface="+mn-ea"/>
                  <a:cs typeface="+mn-cs"/>
                </a:rPr>
                <a:t> </a:t>
              </a:r>
              <a:r>
                <a:rPr kumimoji="0" lang="da-DK" sz="1600" b="1" i="0" u="none" strike="noStrike" kern="1200" cap="none" spc="0" normalizeH="0" baseline="0" noProof="0">
                  <a:ln>
                    <a:noFill/>
                  </a:ln>
                  <a:solidFill>
                    <a:prstClr val="black"/>
                  </a:solidFill>
                  <a:effectLst/>
                  <a:uLnTx/>
                  <a:uFillTx/>
                  <a:latin typeface="Ubuntu"/>
                  <a:ea typeface="+mn-ea"/>
                  <a:cs typeface="+mn-cs"/>
                </a:rPr>
                <a:t>$8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black"/>
                  </a:solidFill>
                  <a:effectLst/>
                  <a:uLnTx/>
                  <a:uFillTx/>
                  <a:latin typeface="Ubuntu"/>
                  <a:ea typeface="+mn-ea"/>
                  <a:cs typeface="+mn-cs"/>
                </a:rPr>
                <a:t>/bl</a:t>
              </a:r>
              <a:endParaRPr kumimoji="0" lang="fr-FR" sz="1600" b="0" i="0" u="none" strike="noStrike" kern="1200" cap="none" spc="0" normalizeH="0" baseline="0" noProof="0">
                <a:ln>
                  <a:noFill/>
                </a:ln>
                <a:solidFill>
                  <a:prstClr val="black"/>
                </a:solidFill>
                <a:effectLst/>
                <a:uLnTx/>
                <a:uFillTx/>
                <a:latin typeface="Ubuntu"/>
                <a:ea typeface="+mn-ea"/>
                <a:cs typeface="+mn-cs"/>
              </a:endParaRPr>
            </a:p>
          </p:txBody>
        </p:sp>
        <p:grpSp>
          <p:nvGrpSpPr>
            <p:cNvPr id="150" name="Groupe 184">
              <a:extLst>
                <a:ext uri="{FF2B5EF4-FFF2-40B4-BE49-F238E27FC236}">
                  <a16:creationId xmlns:a16="http://schemas.microsoft.com/office/drawing/2014/main" id="{D857087A-738A-4342-A1DA-36AF9699B104}"/>
                </a:ext>
              </a:extLst>
            </p:cNvPr>
            <p:cNvGrpSpPr/>
            <p:nvPr/>
          </p:nvGrpSpPr>
          <p:grpSpPr>
            <a:xfrm>
              <a:off x="5775865" y="5277267"/>
              <a:ext cx="574339" cy="894505"/>
              <a:chOff x="-829395" y="2133762"/>
              <a:chExt cx="172287" cy="268329"/>
            </a:xfrm>
            <a:solidFill>
              <a:srgbClr val="336B7D"/>
            </a:solidFill>
          </p:grpSpPr>
          <p:sp>
            <p:nvSpPr>
              <p:cNvPr id="151" name="Freeform 126">
                <a:extLst>
                  <a:ext uri="{FF2B5EF4-FFF2-40B4-BE49-F238E27FC236}">
                    <a16:creationId xmlns:a16="http://schemas.microsoft.com/office/drawing/2014/main" id="{C67C3A9E-F377-42FC-A151-844548ABF7D4}"/>
                  </a:ext>
                </a:extLst>
              </p:cNvPr>
              <p:cNvSpPr>
                <a:spLocks/>
              </p:cNvSpPr>
              <p:nvPr/>
            </p:nvSpPr>
            <p:spPr bwMode="auto">
              <a:xfrm>
                <a:off x="-698406" y="21875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2" name="Freeform 128">
                <a:extLst>
                  <a:ext uri="{FF2B5EF4-FFF2-40B4-BE49-F238E27FC236}">
                    <a16:creationId xmlns:a16="http://schemas.microsoft.com/office/drawing/2014/main" id="{8A6EA0CD-88E9-4637-A2F2-8D2C9BD62777}"/>
                  </a:ext>
                </a:extLst>
              </p:cNvPr>
              <p:cNvSpPr>
                <a:spLocks/>
              </p:cNvSpPr>
              <p:nvPr/>
            </p:nvSpPr>
            <p:spPr bwMode="auto">
              <a:xfrm>
                <a:off x="-762875" y="22577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3" name="Freeform 129">
                <a:extLst>
                  <a:ext uri="{FF2B5EF4-FFF2-40B4-BE49-F238E27FC236}">
                    <a16:creationId xmlns:a16="http://schemas.microsoft.com/office/drawing/2014/main" id="{E95A68D4-A9F9-40FC-A52B-BD332FEBFD73}"/>
                  </a:ext>
                </a:extLst>
              </p:cNvPr>
              <p:cNvSpPr>
                <a:spLocks/>
              </p:cNvSpPr>
              <p:nvPr/>
            </p:nvSpPr>
            <p:spPr bwMode="auto">
              <a:xfrm>
                <a:off x="-819901" y="23164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4" name="Freeform 130">
                <a:extLst>
                  <a:ext uri="{FF2B5EF4-FFF2-40B4-BE49-F238E27FC236}">
                    <a16:creationId xmlns:a16="http://schemas.microsoft.com/office/drawing/2014/main" id="{F6CE087B-CC69-42E6-98CB-891CFF78CE63}"/>
                  </a:ext>
                </a:extLst>
              </p:cNvPr>
              <p:cNvSpPr>
                <a:spLocks/>
              </p:cNvSpPr>
              <p:nvPr/>
            </p:nvSpPr>
            <p:spPr bwMode="auto">
              <a:xfrm>
                <a:off x="-829395" y="21337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60" name="ZoneTexte 186">
              <a:extLst>
                <a:ext uri="{FF2B5EF4-FFF2-40B4-BE49-F238E27FC236}">
                  <a16:creationId xmlns:a16="http://schemas.microsoft.com/office/drawing/2014/main" id="{DBECE862-4D15-487B-9089-28DD001399EE}"/>
                </a:ext>
              </a:extLst>
            </p:cNvPr>
            <p:cNvSpPr txBox="1"/>
            <p:nvPr/>
          </p:nvSpPr>
          <p:spPr>
            <a:xfrm>
              <a:off x="6391994" y="5162146"/>
              <a:ext cx="1410199"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Ubuntu"/>
                  <a:ea typeface="+mn-ea"/>
                  <a:cs typeface="+mn-cs"/>
                </a:rPr>
                <a:t>€257/MWh </a:t>
              </a:r>
              <a:r>
                <a:rPr kumimoji="0" lang="en-GB" sz="1400" b="0" i="0" u="none" strike="noStrike" kern="1200" cap="none" spc="0" normalizeH="0" baseline="0" noProof="0">
                  <a:ln>
                    <a:noFill/>
                  </a:ln>
                  <a:solidFill>
                    <a:prstClr val="black"/>
                  </a:solidFill>
                  <a:effectLst/>
                  <a:uLnTx/>
                  <a:uFillTx/>
                  <a:latin typeface="Ubuntu"/>
                  <a:ea typeface="+mn-ea"/>
                  <a:cs typeface="+mn-cs"/>
                </a:rPr>
                <a:t>spot price in France</a:t>
              </a:r>
              <a:endParaRPr kumimoji="0" lang="fr-FR" sz="14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1" name="Groupe 10">
            <a:extLst>
              <a:ext uri="{FF2B5EF4-FFF2-40B4-BE49-F238E27FC236}">
                <a16:creationId xmlns:a16="http://schemas.microsoft.com/office/drawing/2014/main" id="{36A32B9D-B5AC-46B9-A494-2C6EFAF49A0E}"/>
              </a:ext>
            </a:extLst>
          </p:cNvPr>
          <p:cNvGrpSpPr/>
          <p:nvPr/>
        </p:nvGrpSpPr>
        <p:grpSpPr>
          <a:xfrm>
            <a:off x="8918990" y="1918571"/>
            <a:ext cx="3411717" cy="4252126"/>
            <a:chOff x="8874324" y="1918571"/>
            <a:chExt cx="3411717" cy="4252126"/>
          </a:xfrm>
        </p:grpSpPr>
        <p:sp>
          <p:nvSpPr>
            <p:cNvPr id="168" name="ZoneTexte 7">
              <a:extLst>
                <a:ext uri="{FF2B5EF4-FFF2-40B4-BE49-F238E27FC236}">
                  <a16:creationId xmlns:a16="http://schemas.microsoft.com/office/drawing/2014/main" id="{3E739F5C-41B7-4DD7-AFE7-1E8C79BBFB9A}"/>
                </a:ext>
              </a:extLst>
            </p:cNvPr>
            <p:cNvSpPr txBox="1"/>
            <p:nvPr/>
          </p:nvSpPr>
          <p:spPr>
            <a:xfrm>
              <a:off x="9378451" y="1918571"/>
              <a:ext cx="1467068" cy="338554"/>
            </a:xfrm>
            <a:prstGeom prst="rect">
              <a:avLst/>
            </a:prstGeom>
            <a:noFill/>
            <a:ln>
              <a:solidFill>
                <a:schemeClr val="tx1"/>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Ubuntu"/>
                  <a:ea typeface="+mn-ea"/>
                  <a:cs typeface="+mn-cs"/>
                </a:rPr>
                <a:t>Summer 2022</a:t>
              </a:r>
            </a:p>
          </p:txBody>
        </p:sp>
        <p:sp>
          <p:nvSpPr>
            <p:cNvPr id="182" name="ZoneTexte 178">
              <a:extLst>
                <a:ext uri="{FF2B5EF4-FFF2-40B4-BE49-F238E27FC236}">
                  <a16:creationId xmlns:a16="http://schemas.microsoft.com/office/drawing/2014/main" id="{BE0A5CC5-37DA-442B-A0FD-2AD3B0009476}"/>
                </a:ext>
              </a:extLst>
            </p:cNvPr>
            <p:cNvSpPr txBox="1"/>
            <p:nvPr/>
          </p:nvSpPr>
          <p:spPr>
            <a:xfrm>
              <a:off x="10049218" y="3781384"/>
              <a:ext cx="10112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a:t>
              </a:r>
              <a:r>
                <a:rPr kumimoji="0" lang="da-DK" sz="1600" b="0" i="0" u="none" strike="noStrike" kern="1200" cap="none" spc="0" normalizeH="0" baseline="0" noProof="0">
                  <a:ln>
                    <a:noFill/>
                  </a:ln>
                  <a:solidFill>
                    <a:prstClr val="black"/>
                  </a:solidFill>
                  <a:effectLst/>
                  <a:uLnTx/>
                  <a:uFillTx/>
                  <a:latin typeface="Ubuntu"/>
                  <a:ea typeface="+mn-ea"/>
                  <a:cs typeface="+mn-cs"/>
                </a:rPr>
                <a:t> </a:t>
              </a:r>
              <a:r>
                <a:rPr kumimoji="0" lang="da-DK" sz="1600" b="1" i="0" u="none" strike="noStrike" kern="1200" cap="none" spc="0" normalizeH="0" baseline="0" noProof="0">
                  <a:ln>
                    <a:noFill/>
                  </a:ln>
                  <a:solidFill>
                    <a:prstClr val="black"/>
                  </a:solidFill>
                  <a:effectLst/>
                  <a:uLnTx/>
                  <a:uFillTx/>
                  <a:latin typeface="Ubuntu"/>
                  <a:ea typeface="+mn-ea"/>
                  <a:cs typeface="+mn-cs"/>
                </a:rPr>
                <a:t>$1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black"/>
                  </a:solidFill>
                  <a:effectLst/>
                  <a:uLnTx/>
                  <a:uFillTx/>
                  <a:latin typeface="Ubuntu"/>
                  <a:ea typeface="+mn-ea"/>
                  <a:cs typeface="+mn-cs"/>
                </a:rPr>
                <a:t>/bl</a:t>
              </a:r>
              <a:endParaRPr kumimoji="0" lang="fr-FR" sz="1600" b="0" i="0" u="none" strike="noStrike" kern="1200" cap="none" spc="0" normalizeH="0" baseline="0" noProof="0">
                <a:ln>
                  <a:noFill/>
                </a:ln>
                <a:solidFill>
                  <a:prstClr val="black"/>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black"/>
                  </a:solidFill>
                  <a:effectLst/>
                  <a:uLnTx/>
                  <a:uFillTx/>
                  <a:latin typeface="Ubuntu"/>
                  <a:ea typeface="+mn-ea"/>
                  <a:cs typeface="+mn-cs"/>
                </a:rPr>
                <a:t> </a:t>
              </a:r>
              <a:endParaRPr kumimoji="0" lang="fr-FR" sz="1600" b="0" i="0" u="none" strike="noStrike" kern="1200" cap="none" spc="0" normalizeH="0" baseline="0" noProof="0">
                <a:ln>
                  <a:noFill/>
                </a:ln>
                <a:solidFill>
                  <a:prstClr val="black"/>
                </a:solidFill>
                <a:effectLst/>
                <a:uLnTx/>
                <a:uFillTx/>
                <a:latin typeface="Ubuntu"/>
                <a:ea typeface="+mn-ea"/>
                <a:cs typeface="+mn-cs"/>
              </a:endParaRPr>
            </a:p>
          </p:txBody>
        </p:sp>
        <p:sp>
          <p:nvSpPr>
            <p:cNvPr id="189" name="ZoneTexte 186">
              <a:extLst>
                <a:ext uri="{FF2B5EF4-FFF2-40B4-BE49-F238E27FC236}">
                  <a16:creationId xmlns:a16="http://schemas.microsoft.com/office/drawing/2014/main" id="{B6A753E4-9612-4357-AE38-31371449BB28}"/>
                </a:ext>
              </a:extLst>
            </p:cNvPr>
            <p:cNvSpPr txBox="1"/>
            <p:nvPr/>
          </p:nvSpPr>
          <p:spPr>
            <a:xfrm>
              <a:off x="10073316" y="5265509"/>
              <a:ext cx="141019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 </a:t>
              </a:r>
              <a:r>
                <a:rPr kumimoji="0" lang="en-GB" sz="1600" b="1" i="0" u="none" strike="noStrike" kern="1200" cap="none" spc="0" normalizeH="0" baseline="0" noProof="0">
                  <a:ln>
                    <a:noFill/>
                  </a:ln>
                  <a:solidFill>
                    <a:prstClr val="black"/>
                  </a:solidFill>
                  <a:effectLst/>
                  <a:uLnTx/>
                  <a:uFillTx/>
                  <a:latin typeface="Ubuntu"/>
                  <a:ea typeface="+mn-ea"/>
                  <a:cs typeface="+mn-cs"/>
                </a:rPr>
                <a:t>€590/MWh</a:t>
              </a:r>
              <a:r>
                <a:rPr kumimoji="0" lang="en-GB" sz="1600" b="0" i="0" u="none" strike="noStrike" kern="1200" cap="none" spc="0" normalizeH="0" baseline="0" noProof="0">
                  <a:ln>
                    <a:noFill/>
                  </a:ln>
                  <a:solidFill>
                    <a:prstClr val="black"/>
                  </a:solidFill>
                  <a:effectLst/>
                  <a:uLnTx/>
                  <a:uFillTx/>
                  <a:latin typeface="Ubuntu"/>
                  <a:ea typeface="+mn-ea"/>
                  <a:cs typeface="+mn-cs"/>
                </a:rPr>
                <a:t> </a:t>
              </a:r>
              <a:endParaRPr kumimoji="0" lang="fr-FR" sz="1600" b="0" i="0" u="none" strike="noStrike" kern="1200" cap="none" spc="0" normalizeH="0" baseline="0" noProof="0">
                <a:ln>
                  <a:noFill/>
                </a:ln>
                <a:solidFill>
                  <a:prstClr val="black"/>
                </a:solidFill>
                <a:effectLst/>
                <a:uLnTx/>
                <a:uFillTx/>
                <a:latin typeface="Ubuntu"/>
                <a:ea typeface="+mn-ea"/>
                <a:cs typeface="+mn-cs"/>
              </a:endParaRPr>
            </a:p>
          </p:txBody>
        </p:sp>
        <p:grpSp>
          <p:nvGrpSpPr>
            <p:cNvPr id="15" name="Groupe 14">
              <a:extLst>
                <a:ext uri="{FF2B5EF4-FFF2-40B4-BE49-F238E27FC236}">
                  <a16:creationId xmlns:a16="http://schemas.microsoft.com/office/drawing/2014/main" id="{DE4B7EC2-B0E0-41D1-BB94-7CA754B290A2}"/>
                </a:ext>
              </a:extLst>
            </p:cNvPr>
            <p:cNvGrpSpPr/>
            <p:nvPr/>
          </p:nvGrpSpPr>
          <p:grpSpPr>
            <a:xfrm>
              <a:off x="8874324" y="2531254"/>
              <a:ext cx="1798375" cy="894509"/>
              <a:chOff x="8117266" y="2345690"/>
              <a:chExt cx="1798375" cy="894509"/>
            </a:xfrm>
          </p:grpSpPr>
          <p:sp>
            <p:nvSpPr>
              <p:cNvPr id="167" name="ZoneTexte 94">
                <a:extLst>
                  <a:ext uri="{FF2B5EF4-FFF2-40B4-BE49-F238E27FC236}">
                    <a16:creationId xmlns:a16="http://schemas.microsoft.com/office/drawing/2014/main" id="{C7B7749C-06D2-4C39-B218-05AA80FE38FB}"/>
                  </a:ext>
                </a:extLst>
              </p:cNvPr>
              <p:cNvSpPr txBox="1"/>
              <p:nvPr/>
            </p:nvSpPr>
            <p:spPr>
              <a:xfrm>
                <a:off x="8625886" y="2387218"/>
                <a:ext cx="128975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Ubuntu"/>
                    <a:ea typeface="+mn-ea"/>
                    <a:cs typeface="+mn-cs"/>
                  </a:rPr>
                  <a:t>~</a:t>
                </a:r>
                <a:r>
                  <a:rPr kumimoji="0" lang="da-DK" sz="1600" b="1" i="0" u="none" strike="noStrike" kern="1200" cap="none" spc="0" normalizeH="0" baseline="0" noProof="0">
                    <a:ln>
                      <a:noFill/>
                    </a:ln>
                    <a:solidFill>
                      <a:prstClr val="black"/>
                    </a:solidFill>
                    <a:effectLst/>
                    <a:uLnTx/>
                    <a:uFillTx/>
                    <a:latin typeface="Ubuntu"/>
                    <a:ea typeface="+mn-ea"/>
                    <a:cs typeface="+mn-cs"/>
                  </a:rPr>
                  <a:t>$3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prstClr val="black"/>
                    </a:solidFill>
                    <a:effectLst/>
                    <a:uLnTx/>
                    <a:uFillTx/>
                    <a:latin typeface="Ubuntu"/>
                    <a:ea typeface="+mn-ea"/>
                    <a:cs typeface="+mn-cs"/>
                  </a:rPr>
                  <a:t>MWh</a:t>
                </a:r>
              </a:p>
            </p:txBody>
          </p:sp>
          <p:grpSp>
            <p:nvGrpSpPr>
              <p:cNvPr id="190" name="Groupe 134">
                <a:extLst>
                  <a:ext uri="{FF2B5EF4-FFF2-40B4-BE49-F238E27FC236}">
                    <a16:creationId xmlns:a16="http://schemas.microsoft.com/office/drawing/2014/main" id="{71AAAE18-D42B-4833-BDF1-D0249A9C0872}"/>
                  </a:ext>
                </a:extLst>
              </p:cNvPr>
              <p:cNvGrpSpPr/>
              <p:nvPr/>
            </p:nvGrpSpPr>
            <p:grpSpPr>
              <a:xfrm>
                <a:off x="8117266" y="2345690"/>
                <a:ext cx="574339" cy="894509"/>
                <a:chOff x="-829395" y="2133762"/>
                <a:chExt cx="172287" cy="268330"/>
              </a:xfrm>
              <a:solidFill>
                <a:srgbClr val="336B7D"/>
              </a:solidFill>
            </p:grpSpPr>
            <p:sp>
              <p:nvSpPr>
                <p:cNvPr id="191" name="Freeform 126">
                  <a:extLst>
                    <a:ext uri="{FF2B5EF4-FFF2-40B4-BE49-F238E27FC236}">
                      <a16:creationId xmlns:a16="http://schemas.microsoft.com/office/drawing/2014/main" id="{C997BEF5-1F77-4D8A-9FDD-75757E7038F6}"/>
                    </a:ext>
                  </a:extLst>
                </p:cNvPr>
                <p:cNvSpPr>
                  <a:spLocks/>
                </p:cNvSpPr>
                <p:nvPr/>
              </p:nvSpPr>
              <p:spPr bwMode="auto">
                <a:xfrm>
                  <a:off x="-698406" y="2187551"/>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2" name="Freeform 128">
                  <a:extLst>
                    <a:ext uri="{FF2B5EF4-FFF2-40B4-BE49-F238E27FC236}">
                      <a16:creationId xmlns:a16="http://schemas.microsoft.com/office/drawing/2014/main" id="{B92C05A4-94AD-4057-A1F1-C094086129AE}"/>
                    </a:ext>
                  </a:extLst>
                </p:cNvPr>
                <p:cNvSpPr>
                  <a:spLocks/>
                </p:cNvSpPr>
                <p:nvPr/>
              </p:nvSpPr>
              <p:spPr bwMode="auto">
                <a:xfrm>
                  <a:off x="-762875" y="2257717"/>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3" name="Freeform 129">
                  <a:extLst>
                    <a:ext uri="{FF2B5EF4-FFF2-40B4-BE49-F238E27FC236}">
                      <a16:creationId xmlns:a16="http://schemas.microsoft.com/office/drawing/2014/main" id="{535A1C5C-9777-4348-838E-7D89A4E77191}"/>
                    </a:ext>
                  </a:extLst>
                </p:cNvPr>
                <p:cNvSpPr>
                  <a:spLocks/>
                </p:cNvSpPr>
                <p:nvPr/>
              </p:nvSpPr>
              <p:spPr bwMode="auto">
                <a:xfrm>
                  <a:off x="-819901" y="2316477"/>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4" name="Freeform 130">
                  <a:extLst>
                    <a:ext uri="{FF2B5EF4-FFF2-40B4-BE49-F238E27FC236}">
                      <a16:creationId xmlns:a16="http://schemas.microsoft.com/office/drawing/2014/main" id="{4EF30D85-280A-4899-8163-F315C060E154}"/>
                    </a:ext>
                  </a:extLst>
                </p:cNvPr>
                <p:cNvSpPr>
                  <a:spLocks/>
                </p:cNvSpPr>
                <p:nvPr/>
              </p:nvSpPr>
              <p:spPr bwMode="auto">
                <a:xfrm>
                  <a:off x="-829395" y="21337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14" name="Groupe 13">
              <a:extLst>
                <a:ext uri="{FF2B5EF4-FFF2-40B4-BE49-F238E27FC236}">
                  <a16:creationId xmlns:a16="http://schemas.microsoft.com/office/drawing/2014/main" id="{9D466663-C029-4C79-B51C-8598126BECF9}"/>
                </a:ext>
              </a:extLst>
            </p:cNvPr>
            <p:cNvGrpSpPr/>
            <p:nvPr/>
          </p:nvGrpSpPr>
          <p:grpSpPr>
            <a:xfrm>
              <a:off x="10444762" y="2492524"/>
              <a:ext cx="1841279" cy="1233551"/>
              <a:chOff x="9352582" y="2339807"/>
              <a:chExt cx="1841279" cy="1233551"/>
            </a:xfrm>
          </p:grpSpPr>
          <p:sp>
            <p:nvSpPr>
              <p:cNvPr id="174" name="ZoneTexte 173">
                <a:extLst>
                  <a:ext uri="{FF2B5EF4-FFF2-40B4-BE49-F238E27FC236}">
                    <a16:creationId xmlns:a16="http://schemas.microsoft.com/office/drawing/2014/main" id="{5BE41D5E-EB36-4CA1-B959-8FCF8DDC4EBB}"/>
                  </a:ext>
                </a:extLst>
              </p:cNvPr>
              <p:cNvSpPr txBox="1"/>
              <p:nvPr/>
            </p:nvSpPr>
            <p:spPr>
              <a:xfrm>
                <a:off x="9352582" y="3173248"/>
                <a:ext cx="695383"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a:ln>
                      <a:noFill/>
                    </a:ln>
                    <a:solidFill>
                      <a:prstClr val="black"/>
                    </a:solidFill>
                    <a:effectLst/>
                    <a:uLnTx/>
                    <a:uFillTx/>
                    <a:latin typeface="Ubuntu"/>
                    <a:ea typeface="+mn-ea"/>
                    <a:cs typeface="+mn-cs"/>
                  </a:rPr>
                  <a:t>Coal</a:t>
                </a:r>
              </a:p>
            </p:txBody>
          </p:sp>
          <p:sp>
            <p:nvSpPr>
              <p:cNvPr id="175" name="ZoneTexte 174">
                <a:extLst>
                  <a:ext uri="{FF2B5EF4-FFF2-40B4-BE49-F238E27FC236}">
                    <a16:creationId xmlns:a16="http://schemas.microsoft.com/office/drawing/2014/main" id="{4FCB857D-85CB-4402-A535-6D45621274B0}"/>
                  </a:ext>
                </a:extLst>
              </p:cNvPr>
              <p:cNvSpPr txBox="1"/>
              <p:nvPr/>
            </p:nvSpPr>
            <p:spPr>
              <a:xfrm>
                <a:off x="9922699" y="2387218"/>
                <a:ext cx="12711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Ubuntu"/>
                    <a:ea typeface="+mn-ea"/>
                    <a:cs typeface="+mn-cs"/>
                  </a:rPr>
                  <a:t> </a:t>
                </a:r>
                <a:r>
                  <a:rPr kumimoji="0" lang="en-GB" sz="1600" b="1" i="0" u="none" strike="noStrike" kern="1200" cap="none" spc="0" normalizeH="0" baseline="0" noProof="0">
                    <a:ln>
                      <a:noFill/>
                    </a:ln>
                    <a:solidFill>
                      <a:prstClr val="black"/>
                    </a:solidFill>
                    <a:effectLst/>
                    <a:uLnTx/>
                    <a:uFillTx/>
                    <a:latin typeface="Ubuntu"/>
                    <a:ea typeface="+mn-ea"/>
                    <a:cs typeface="+mn-cs"/>
                  </a:rPr>
                  <a:t>$4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black"/>
                    </a:solidFill>
                    <a:effectLst/>
                    <a:uLnTx/>
                    <a:uFillTx/>
                    <a:latin typeface="Ubuntu"/>
                    <a:ea typeface="+mn-ea"/>
                    <a:cs typeface="+mn-cs"/>
                  </a:rPr>
                  <a:t>/t</a:t>
                </a:r>
                <a:endParaRPr kumimoji="0" lang="fr-FR" sz="1600" b="0" i="0" u="none" strike="noStrike" kern="1200" cap="none" spc="0" normalizeH="0" baseline="0" noProof="0">
                  <a:ln>
                    <a:noFill/>
                  </a:ln>
                  <a:solidFill>
                    <a:prstClr val="black"/>
                  </a:solidFill>
                  <a:effectLst/>
                  <a:uLnTx/>
                  <a:uFillTx/>
                  <a:latin typeface="Ubuntu"/>
                  <a:ea typeface="+mn-ea"/>
                  <a:cs typeface="+mn-cs"/>
                </a:endParaRPr>
              </a:p>
            </p:txBody>
          </p:sp>
          <p:grpSp>
            <p:nvGrpSpPr>
              <p:cNvPr id="195" name="Groupe 168">
                <a:extLst>
                  <a:ext uri="{FF2B5EF4-FFF2-40B4-BE49-F238E27FC236}">
                    <a16:creationId xmlns:a16="http://schemas.microsoft.com/office/drawing/2014/main" id="{66B3146C-7D2F-43BE-8AE4-065998EBDFAC}"/>
                  </a:ext>
                </a:extLst>
              </p:cNvPr>
              <p:cNvGrpSpPr/>
              <p:nvPr/>
            </p:nvGrpSpPr>
            <p:grpSpPr>
              <a:xfrm>
                <a:off x="9371283" y="2339807"/>
                <a:ext cx="574339" cy="894505"/>
                <a:chOff x="-829395" y="2133762"/>
                <a:chExt cx="172287" cy="268329"/>
              </a:xfrm>
              <a:solidFill>
                <a:srgbClr val="336B7D"/>
              </a:solidFill>
            </p:grpSpPr>
            <p:sp>
              <p:nvSpPr>
                <p:cNvPr id="196" name="Freeform 126">
                  <a:extLst>
                    <a:ext uri="{FF2B5EF4-FFF2-40B4-BE49-F238E27FC236}">
                      <a16:creationId xmlns:a16="http://schemas.microsoft.com/office/drawing/2014/main" id="{B90A3390-CBD1-4476-8AC9-84B3FEF2C0C3}"/>
                    </a:ext>
                  </a:extLst>
                </p:cNvPr>
                <p:cNvSpPr>
                  <a:spLocks/>
                </p:cNvSpPr>
                <p:nvPr/>
              </p:nvSpPr>
              <p:spPr bwMode="auto">
                <a:xfrm>
                  <a:off x="-698406" y="21875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5" name="Freeform 128">
                  <a:extLst>
                    <a:ext uri="{FF2B5EF4-FFF2-40B4-BE49-F238E27FC236}">
                      <a16:creationId xmlns:a16="http://schemas.microsoft.com/office/drawing/2014/main" id="{8FD776CC-EB6D-4F1F-958B-EE41E6C1DA8A}"/>
                    </a:ext>
                  </a:extLst>
                </p:cNvPr>
                <p:cNvSpPr>
                  <a:spLocks/>
                </p:cNvSpPr>
                <p:nvPr/>
              </p:nvSpPr>
              <p:spPr bwMode="auto">
                <a:xfrm>
                  <a:off x="-762875" y="22577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6" name="Freeform 129">
                  <a:extLst>
                    <a:ext uri="{FF2B5EF4-FFF2-40B4-BE49-F238E27FC236}">
                      <a16:creationId xmlns:a16="http://schemas.microsoft.com/office/drawing/2014/main" id="{FA68E665-F1DF-489E-AC72-47BD87C1D3E3}"/>
                    </a:ext>
                  </a:extLst>
                </p:cNvPr>
                <p:cNvSpPr>
                  <a:spLocks/>
                </p:cNvSpPr>
                <p:nvPr/>
              </p:nvSpPr>
              <p:spPr bwMode="auto">
                <a:xfrm>
                  <a:off x="-819901" y="23164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47" name="Freeform 130">
                  <a:extLst>
                    <a:ext uri="{FF2B5EF4-FFF2-40B4-BE49-F238E27FC236}">
                      <a16:creationId xmlns:a16="http://schemas.microsoft.com/office/drawing/2014/main" id="{CD8B6FF8-7C4B-4CF3-B56D-08D01267BAC2}"/>
                    </a:ext>
                  </a:extLst>
                </p:cNvPr>
                <p:cNvSpPr>
                  <a:spLocks/>
                </p:cNvSpPr>
                <p:nvPr/>
              </p:nvSpPr>
              <p:spPr bwMode="auto">
                <a:xfrm>
                  <a:off x="-829395" y="21337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grpSp>
          <p:nvGrpSpPr>
            <p:cNvPr id="248" name="Groupe 176">
              <a:extLst>
                <a:ext uri="{FF2B5EF4-FFF2-40B4-BE49-F238E27FC236}">
                  <a16:creationId xmlns:a16="http://schemas.microsoft.com/office/drawing/2014/main" id="{323E823C-B7BE-4A92-AD5D-C636A735F260}"/>
                </a:ext>
              </a:extLst>
            </p:cNvPr>
            <p:cNvGrpSpPr/>
            <p:nvPr/>
          </p:nvGrpSpPr>
          <p:grpSpPr>
            <a:xfrm>
              <a:off x="9487717" y="3901336"/>
              <a:ext cx="574339" cy="894505"/>
              <a:chOff x="-829395" y="2133762"/>
              <a:chExt cx="172287" cy="268329"/>
            </a:xfrm>
            <a:solidFill>
              <a:srgbClr val="336B7D"/>
            </a:solidFill>
          </p:grpSpPr>
          <p:sp>
            <p:nvSpPr>
              <p:cNvPr id="249" name="Freeform 126">
                <a:extLst>
                  <a:ext uri="{FF2B5EF4-FFF2-40B4-BE49-F238E27FC236}">
                    <a16:creationId xmlns:a16="http://schemas.microsoft.com/office/drawing/2014/main" id="{8BAC85F3-5635-4325-8AEB-FEC1C402C068}"/>
                  </a:ext>
                </a:extLst>
              </p:cNvPr>
              <p:cNvSpPr>
                <a:spLocks/>
              </p:cNvSpPr>
              <p:nvPr/>
            </p:nvSpPr>
            <p:spPr bwMode="auto">
              <a:xfrm>
                <a:off x="-698406" y="21875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0" name="Freeform 128">
                <a:extLst>
                  <a:ext uri="{FF2B5EF4-FFF2-40B4-BE49-F238E27FC236}">
                    <a16:creationId xmlns:a16="http://schemas.microsoft.com/office/drawing/2014/main" id="{E3F0EDE2-36A8-444D-9E38-79CBAE9A5031}"/>
                  </a:ext>
                </a:extLst>
              </p:cNvPr>
              <p:cNvSpPr>
                <a:spLocks/>
              </p:cNvSpPr>
              <p:nvPr/>
            </p:nvSpPr>
            <p:spPr bwMode="auto">
              <a:xfrm>
                <a:off x="-762875" y="22577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1" name="Freeform 129">
                <a:extLst>
                  <a:ext uri="{FF2B5EF4-FFF2-40B4-BE49-F238E27FC236}">
                    <a16:creationId xmlns:a16="http://schemas.microsoft.com/office/drawing/2014/main" id="{C5AF4EBA-BC03-46F4-A763-E4D6DB98967F}"/>
                  </a:ext>
                </a:extLst>
              </p:cNvPr>
              <p:cNvSpPr>
                <a:spLocks/>
              </p:cNvSpPr>
              <p:nvPr/>
            </p:nvSpPr>
            <p:spPr bwMode="auto">
              <a:xfrm>
                <a:off x="-819901" y="23164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2" name="Freeform 130">
                <a:extLst>
                  <a:ext uri="{FF2B5EF4-FFF2-40B4-BE49-F238E27FC236}">
                    <a16:creationId xmlns:a16="http://schemas.microsoft.com/office/drawing/2014/main" id="{C4F96906-8A0A-42DA-8C49-F43EFC8A1791}"/>
                  </a:ext>
                </a:extLst>
              </p:cNvPr>
              <p:cNvSpPr>
                <a:spLocks/>
              </p:cNvSpPr>
              <p:nvPr/>
            </p:nvSpPr>
            <p:spPr bwMode="auto">
              <a:xfrm>
                <a:off x="-829395" y="21337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254" name="Groupe 184">
              <a:extLst>
                <a:ext uri="{FF2B5EF4-FFF2-40B4-BE49-F238E27FC236}">
                  <a16:creationId xmlns:a16="http://schemas.microsoft.com/office/drawing/2014/main" id="{0D440585-C12A-41D6-AA4F-F25432DFA624}"/>
                </a:ext>
              </a:extLst>
            </p:cNvPr>
            <p:cNvGrpSpPr/>
            <p:nvPr/>
          </p:nvGrpSpPr>
          <p:grpSpPr>
            <a:xfrm>
              <a:off x="9489782" y="5276192"/>
              <a:ext cx="574339" cy="894505"/>
              <a:chOff x="-829395" y="2133762"/>
              <a:chExt cx="172287" cy="268329"/>
            </a:xfrm>
            <a:solidFill>
              <a:srgbClr val="336B7D"/>
            </a:solidFill>
          </p:grpSpPr>
          <p:sp>
            <p:nvSpPr>
              <p:cNvPr id="255" name="Freeform 126">
                <a:extLst>
                  <a:ext uri="{FF2B5EF4-FFF2-40B4-BE49-F238E27FC236}">
                    <a16:creationId xmlns:a16="http://schemas.microsoft.com/office/drawing/2014/main" id="{A937BE02-605A-4C13-BCC9-20E5EE377620}"/>
                  </a:ext>
                </a:extLst>
              </p:cNvPr>
              <p:cNvSpPr>
                <a:spLocks/>
              </p:cNvSpPr>
              <p:nvPr/>
            </p:nvSpPr>
            <p:spPr bwMode="auto">
              <a:xfrm>
                <a:off x="-698406" y="21875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6" name="Freeform 128">
                <a:extLst>
                  <a:ext uri="{FF2B5EF4-FFF2-40B4-BE49-F238E27FC236}">
                    <a16:creationId xmlns:a16="http://schemas.microsoft.com/office/drawing/2014/main" id="{0D8D75D5-0776-4DED-A5EA-466E015D9EC6}"/>
                  </a:ext>
                </a:extLst>
              </p:cNvPr>
              <p:cNvSpPr>
                <a:spLocks/>
              </p:cNvSpPr>
              <p:nvPr/>
            </p:nvSpPr>
            <p:spPr bwMode="auto">
              <a:xfrm>
                <a:off x="-762875" y="22577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7" name="Freeform 129">
                <a:extLst>
                  <a:ext uri="{FF2B5EF4-FFF2-40B4-BE49-F238E27FC236}">
                    <a16:creationId xmlns:a16="http://schemas.microsoft.com/office/drawing/2014/main" id="{06F09E28-365A-4C68-8D7A-605CEBD068DE}"/>
                  </a:ext>
                </a:extLst>
              </p:cNvPr>
              <p:cNvSpPr>
                <a:spLocks/>
              </p:cNvSpPr>
              <p:nvPr/>
            </p:nvSpPr>
            <p:spPr bwMode="auto">
              <a:xfrm>
                <a:off x="-819901" y="23164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58" name="Freeform 130">
                <a:extLst>
                  <a:ext uri="{FF2B5EF4-FFF2-40B4-BE49-F238E27FC236}">
                    <a16:creationId xmlns:a16="http://schemas.microsoft.com/office/drawing/2014/main" id="{E2CBA335-56AF-41F4-B9F7-74D041A713C5}"/>
                  </a:ext>
                </a:extLst>
              </p:cNvPr>
              <p:cNvSpPr>
                <a:spLocks/>
              </p:cNvSpPr>
              <p:nvPr/>
            </p:nvSpPr>
            <p:spPr bwMode="auto">
              <a:xfrm>
                <a:off x="-829395" y="21337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grpSp>
      <p:cxnSp>
        <p:nvCxnSpPr>
          <p:cNvPr id="163" name="Straight Connector 14">
            <a:extLst>
              <a:ext uri="{FF2B5EF4-FFF2-40B4-BE49-F238E27FC236}">
                <a16:creationId xmlns:a16="http://schemas.microsoft.com/office/drawing/2014/main" id="{A7309044-D123-45CD-8582-1AA1861AACA8}"/>
              </a:ext>
            </a:extLst>
          </p:cNvPr>
          <p:cNvCxnSpPr>
            <a:cxnSpLocks/>
          </p:cNvCxnSpPr>
          <p:nvPr/>
        </p:nvCxnSpPr>
        <p:spPr>
          <a:xfrm flipH="1">
            <a:off x="282949" y="3679988"/>
            <a:ext cx="11519180" cy="0"/>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4" name="Straight Connector 14">
            <a:extLst>
              <a:ext uri="{FF2B5EF4-FFF2-40B4-BE49-F238E27FC236}">
                <a16:creationId xmlns:a16="http://schemas.microsoft.com/office/drawing/2014/main" id="{1F98A7FD-D020-40E6-8789-14FD2006B8C4}"/>
              </a:ext>
            </a:extLst>
          </p:cNvPr>
          <p:cNvCxnSpPr>
            <a:cxnSpLocks/>
          </p:cNvCxnSpPr>
          <p:nvPr/>
        </p:nvCxnSpPr>
        <p:spPr>
          <a:xfrm flipH="1">
            <a:off x="304800" y="4999257"/>
            <a:ext cx="11497329" cy="0"/>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 name="Groupe 4">
            <a:extLst>
              <a:ext uri="{FF2B5EF4-FFF2-40B4-BE49-F238E27FC236}">
                <a16:creationId xmlns:a16="http://schemas.microsoft.com/office/drawing/2014/main" id="{7C1010FC-4696-46DF-BE11-BB4401FFB401}"/>
              </a:ext>
            </a:extLst>
          </p:cNvPr>
          <p:cNvGrpSpPr/>
          <p:nvPr/>
        </p:nvGrpSpPr>
        <p:grpSpPr>
          <a:xfrm>
            <a:off x="-15018" y="5159050"/>
            <a:ext cx="1342034" cy="1153710"/>
            <a:chOff x="-15018" y="5277877"/>
            <a:chExt cx="1342034" cy="1153710"/>
          </a:xfrm>
        </p:grpSpPr>
        <p:sp>
          <p:nvSpPr>
            <p:cNvPr id="98" name="ZoneTexte 122">
              <a:extLst>
                <a:ext uri="{FF2B5EF4-FFF2-40B4-BE49-F238E27FC236}">
                  <a16:creationId xmlns:a16="http://schemas.microsoft.com/office/drawing/2014/main" id="{D525C97D-9AD1-4772-A73C-FB7DD59AF6DB}"/>
                </a:ext>
              </a:extLst>
            </p:cNvPr>
            <p:cNvSpPr txBox="1"/>
            <p:nvPr/>
          </p:nvSpPr>
          <p:spPr>
            <a:xfrm>
              <a:off x="-15018" y="6031477"/>
              <a:ext cx="134203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err="1">
                  <a:ln>
                    <a:noFill/>
                  </a:ln>
                  <a:solidFill>
                    <a:prstClr val="black"/>
                  </a:solidFill>
                  <a:effectLst/>
                  <a:uLnTx/>
                  <a:uFillTx/>
                  <a:latin typeface="Ubuntu"/>
                  <a:ea typeface="+mn-ea"/>
                  <a:cs typeface="+mn-cs"/>
                </a:rPr>
                <a:t>Electricity</a:t>
              </a:r>
              <a:endParaRPr kumimoji="0" lang="fr-FR" sz="2000" b="0" i="0" u="none" strike="noStrike" kern="1200" cap="none" spc="0" normalizeH="0" baseline="0" noProof="0">
                <a:ln>
                  <a:noFill/>
                </a:ln>
                <a:solidFill>
                  <a:prstClr val="black"/>
                </a:solidFill>
                <a:effectLst/>
                <a:uLnTx/>
                <a:uFillTx/>
                <a:latin typeface="Ubuntu"/>
                <a:ea typeface="+mn-ea"/>
                <a:cs typeface="+mn-cs"/>
              </a:endParaRPr>
            </a:p>
          </p:txBody>
        </p:sp>
        <p:grpSp>
          <p:nvGrpSpPr>
            <p:cNvPr id="165" name="Group 206">
              <a:extLst>
                <a:ext uri="{FF2B5EF4-FFF2-40B4-BE49-F238E27FC236}">
                  <a16:creationId xmlns:a16="http://schemas.microsoft.com/office/drawing/2014/main" id="{7CA993D6-FB39-4097-8EE4-1C7A5CFDFDA2}"/>
                </a:ext>
              </a:extLst>
            </p:cNvPr>
            <p:cNvGrpSpPr/>
            <p:nvPr/>
          </p:nvGrpSpPr>
          <p:grpSpPr>
            <a:xfrm>
              <a:off x="221739" y="5277877"/>
              <a:ext cx="851512" cy="792000"/>
              <a:chOff x="8363027" y="2768154"/>
              <a:chExt cx="3804627" cy="3538722"/>
            </a:xfrm>
          </p:grpSpPr>
          <p:sp>
            <p:nvSpPr>
              <p:cNvPr id="169" name="Freeform 283">
                <a:extLst>
                  <a:ext uri="{FF2B5EF4-FFF2-40B4-BE49-F238E27FC236}">
                    <a16:creationId xmlns:a16="http://schemas.microsoft.com/office/drawing/2014/main" id="{084B2C97-68DE-44FA-A912-6C94EBF4BE56}"/>
                  </a:ext>
                </a:extLst>
              </p:cNvPr>
              <p:cNvSpPr>
                <a:spLocks/>
              </p:cNvSpPr>
              <p:nvPr/>
            </p:nvSpPr>
            <p:spPr bwMode="auto">
              <a:xfrm>
                <a:off x="8363027" y="2768154"/>
                <a:ext cx="3804627" cy="3538722"/>
              </a:xfrm>
              <a:custGeom>
                <a:avLst/>
                <a:gdLst>
                  <a:gd name="T0" fmla="*/ 34 w 234"/>
                  <a:gd name="T1" fmla="*/ 171 h 218"/>
                  <a:gd name="T2" fmla="*/ 56 w 234"/>
                  <a:gd name="T3" fmla="*/ 33 h 218"/>
                  <a:gd name="T4" fmla="*/ 200 w 234"/>
                  <a:gd name="T5" fmla="*/ 53 h 218"/>
                  <a:gd name="T6" fmla="*/ 174 w 234"/>
                  <a:gd name="T7" fmla="*/ 186 h 218"/>
                  <a:gd name="T8" fmla="*/ 34 w 234"/>
                  <a:gd name="T9" fmla="*/ 171 h 218"/>
                </a:gdLst>
                <a:ahLst/>
                <a:cxnLst>
                  <a:cxn ang="0">
                    <a:pos x="T0" y="T1"/>
                  </a:cxn>
                  <a:cxn ang="0">
                    <a:pos x="T2" y="T3"/>
                  </a:cxn>
                  <a:cxn ang="0">
                    <a:pos x="T4" y="T5"/>
                  </a:cxn>
                  <a:cxn ang="0">
                    <a:pos x="T6" y="T7"/>
                  </a:cxn>
                  <a:cxn ang="0">
                    <a:pos x="T8" y="T9"/>
                  </a:cxn>
                </a:cxnLst>
                <a:rect l="0" t="0" r="r" b="b"/>
                <a:pathLst>
                  <a:path w="234" h="218">
                    <a:moveTo>
                      <a:pt x="34" y="171"/>
                    </a:moveTo>
                    <a:cubicBezTo>
                      <a:pt x="0" y="127"/>
                      <a:pt x="10" y="65"/>
                      <a:pt x="56" y="33"/>
                    </a:cubicBezTo>
                    <a:cubicBezTo>
                      <a:pt x="102" y="0"/>
                      <a:pt x="167" y="9"/>
                      <a:pt x="200" y="53"/>
                    </a:cubicBezTo>
                    <a:cubicBezTo>
                      <a:pt x="234" y="97"/>
                      <a:pt x="220" y="153"/>
                      <a:pt x="174" y="186"/>
                    </a:cubicBezTo>
                    <a:cubicBezTo>
                      <a:pt x="128" y="218"/>
                      <a:pt x="67" y="214"/>
                      <a:pt x="34" y="171"/>
                    </a:cubicBezTo>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284">
                <a:extLst>
                  <a:ext uri="{FF2B5EF4-FFF2-40B4-BE49-F238E27FC236}">
                    <a16:creationId xmlns:a16="http://schemas.microsoft.com/office/drawing/2014/main" id="{C456E58A-7FFF-4BE6-B2B2-6915BF62E584}"/>
                  </a:ext>
                </a:extLst>
              </p:cNvPr>
              <p:cNvSpPr>
                <a:spLocks/>
              </p:cNvSpPr>
              <p:nvPr/>
            </p:nvSpPr>
            <p:spPr bwMode="auto">
              <a:xfrm>
                <a:off x="9763531" y="3606965"/>
                <a:ext cx="990531" cy="2021044"/>
              </a:xfrm>
              <a:custGeom>
                <a:avLst/>
                <a:gdLst>
                  <a:gd name="T0" fmla="*/ 59 w 61"/>
                  <a:gd name="T1" fmla="*/ 50 h 130"/>
                  <a:gd name="T2" fmla="*/ 36 w 61"/>
                  <a:gd name="T3" fmla="*/ 50 h 130"/>
                  <a:gd name="T4" fmla="*/ 60 w 61"/>
                  <a:gd name="T5" fmla="*/ 13 h 130"/>
                  <a:gd name="T6" fmla="*/ 60 w 61"/>
                  <a:gd name="T7" fmla="*/ 11 h 130"/>
                  <a:gd name="T8" fmla="*/ 59 w 61"/>
                  <a:gd name="T9" fmla="*/ 10 h 130"/>
                  <a:gd name="T10" fmla="*/ 17 w 61"/>
                  <a:gd name="T11" fmla="*/ 8 h 130"/>
                  <a:gd name="T12" fmla="*/ 0 w 61"/>
                  <a:gd name="T13" fmla="*/ 72 h 130"/>
                  <a:gd name="T14" fmla="*/ 1 w 61"/>
                  <a:gd name="T15" fmla="*/ 73 h 130"/>
                  <a:gd name="T16" fmla="*/ 2 w 61"/>
                  <a:gd name="T17" fmla="*/ 74 h 130"/>
                  <a:gd name="T18" fmla="*/ 20 w 61"/>
                  <a:gd name="T19" fmla="*/ 74 h 130"/>
                  <a:gd name="T20" fmla="*/ 4 w 61"/>
                  <a:gd name="T21" fmla="*/ 128 h 130"/>
                  <a:gd name="T22" fmla="*/ 6 w 61"/>
                  <a:gd name="T23" fmla="*/ 130 h 130"/>
                  <a:gd name="T24" fmla="*/ 6 w 61"/>
                  <a:gd name="T25" fmla="*/ 130 h 130"/>
                  <a:gd name="T26" fmla="*/ 8 w 61"/>
                  <a:gd name="T27" fmla="*/ 129 h 130"/>
                  <a:gd name="T28" fmla="*/ 60 w 61"/>
                  <a:gd name="T29" fmla="*/ 53 h 130"/>
                  <a:gd name="T30" fmla="*/ 60 w 61"/>
                  <a:gd name="T31" fmla="*/ 51 h 130"/>
                  <a:gd name="T32" fmla="*/ 59 w 61"/>
                  <a:gd name="T33" fmla="*/ 50 h 130"/>
                  <a:gd name="connsiteX0" fmla="*/ 9672 w 9959"/>
                  <a:gd name="connsiteY0" fmla="*/ 3470 h 9624"/>
                  <a:gd name="connsiteX1" fmla="*/ 5902 w 9959"/>
                  <a:gd name="connsiteY1" fmla="*/ 3470 h 9624"/>
                  <a:gd name="connsiteX2" fmla="*/ 9836 w 9959"/>
                  <a:gd name="connsiteY2" fmla="*/ 624 h 9624"/>
                  <a:gd name="connsiteX3" fmla="*/ 9836 w 9959"/>
                  <a:gd name="connsiteY3" fmla="*/ 470 h 9624"/>
                  <a:gd name="connsiteX4" fmla="*/ 9672 w 9959"/>
                  <a:gd name="connsiteY4" fmla="*/ 393 h 9624"/>
                  <a:gd name="connsiteX5" fmla="*/ 2787 w 9959"/>
                  <a:gd name="connsiteY5" fmla="*/ 239 h 9624"/>
                  <a:gd name="connsiteX6" fmla="*/ 0 w 9959"/>
                  <a:gd name="connsiteY6" fmla="*/ 5162 h 9624"/>
                  <a:gd name="connsiteX7" fmla="*/ 164 w 9959"/>
                  <a:gd name="connsiteY7" fmla="*/ 5239 h 9624"/>
                  <a:gd name="connsiteX8" fmla="*/ 328 w 9959"/>
                  <a:gd name="connsiteY8" fmla="*/ 5316 h 9624"/>
                  <a:gd name="connsiteX9" fmla="*/ 3279 w 9959"/>
                  <a:gd name="connsiteY9" fmla="*/ 5316 h 9624"/>
                  <a:gd name="connsiteX10" fmla="*/ 656 w 9959"/>
                  <a:gd name="connsiteY10" fmla="*/ 9470 h 9624"/>
                  <a:gd name="connsiteX11" fmla="*/ 984 w 9959"/>
                  <a:gd name="connsiteY11" fmla="*/ 9624 h 9624"/>
                  <a:gd name="connsiteX12" fmla="*/ 984 w 9959"/>
                  <a:gd name="connsiteY12" fmla="*/ 9624 h 9624"/>
                  <a:gd name="connsiteX13" fmla="*/ 1311 w 9959"/>
                  <a:gd name="connsiteY13" fmla="*/ 9547 h 9624"/>
                  <a:gd name="connsiteX14" fmla="*/ 9836 w 9959"/>
                  <a:gd name="connsiteY14" fmla="*/ 3701 h 9624"/>
                  <a:gd name="connsiteX15" fmla="*/ 9836 w 9959"/>
                  <a:gd name="connsiteY15" fmla="*/ 3547 h 9624"/>
                  <a:gd name="connsiteX16" fmla="*/ 9672 w 9959"/>
                  <a:gd name="connsiteY16" fmla="*/ 3470 h 9624"/>
                  <a:gd name="connsiteX0" fmla="*/ 9712 w 9999"/>
                  <a:gd name="connsiteY0" fmla="*/ 3606 h 10000"/>
                  <a:gd name="connsiteX1" fmla="*/ 5926 w 9999"/>
                  <a:gd name="connsiteY1" fmla="*/ 3606 h 10000"/>
                  <a:gd name="connsiteX2" fmla="*/ 9876 w 9999"/>
                  <a:gd name="connsiteY2" fmla="*/ 648 h 10000"/>
                  <a:gd name="connsiteX3" fmla="*/ 9876 w 9999"/>
                  <a:gd name="connsiteY3" fmla="*/ 488 h 10000"/>
                  <a:gd name="connsiteX4" fmla="*/ 9712 w 9999"/>
                  <a:gd name="connsiteY4" fmla="*/ 408 h 10000"/>
                  <a:gd name="connsiteX5" fmla="*/ 2798 w 9999"/>
                  <a:gd name="connsiteY5" fmla="*/ 248 h 10000"/>
                  <a:gd name="connsiteX6" fmla="*/ 0 w 9999"/>
                  <a:gd name="connsiteY6" fmla="*/ 5364 h 10000"/>
                  <a:gd name="connsiteX7" fmla="*/ 165 w 9999"/>
                  <a:gd name="connsiteY7" fmla="*/ 5444 h 10000"/>
                  <a:gd name="connsiteX8" fmla="*/ 329 w 9999"/>
                  <a:gd name="connsiteY8" fmla="*/ 5524 h 10000"/>
                  <a:gd name="connsiteX9" fmla="*/ 3292 w 9999"/>
                  <a:gd name="connsiteY9" fmla="*/ 5524 h 10000"/>
                  <a:gd name="connsiteX10" fmla="*/ 659 w 9999"/>
                  <a:gd name="connsiteY10" fmla="*/ 9840 h 10000"/>
                  <a:gd name="connsiteX11" fmla="*/ 988 w 9999"/>
                  <a:gd name="connsiteY11" fmla="*/ 10000 h 10000"/>
                  <a:gd name="connsiteX12" fmla="*/ 988 w 9999"/>
                  <a:gd name="connsiteY12" fmla="*/ 10000 h 10000"/>
                  <a:gd name="connsiteX13" fmla="*/ 1316 w 9999"/>
                  <a:gd name="connsiteY13" fmla="*/ 9920 h 10000"/>
                  <a:gd name="connsiteX14" fmla="*/ 9876 w 9999"/>
                  <a:gd name="connsiteY14" fmla="*/ 3846 h 10000"/>
                  <a:gd name="connsiteX15" fmla="*/ 9876 w 9999"/>
                  <a:gd name="connsiteY15" fmla="*/ 3686 h 10000"/>
                  <a:gd name="connsiteX16" fmla="*/ 9712 w 9999"/>
                  <a:gd name="connsiteY16" fmla="*/ 3606 h 10000"/>
                  <a:gd name="connsiteX0" fmla="*/ 9713 w 10476"/>
                  <a:gd name="connsiteY0" fmla="*/ 3617 h 10011"/>
                  <a:gd name="connsiteX1" fmla="*/ 5927 w 10476"/>
                  <a:gd name="connsiteY1" fmla="*/ 3617 h 10011"/>
                  <a:gd name="connsiteX2" fmla="*/ 9877 w 10476"/>
                  <a:gd name="connsiteY2" fmla="*/ 659 h 10011"/>
                  <a:gd name="connsiteX3" fmla="*/ 9713 w 10476"/>
                  <a:gd name="connsiteY3" fmla="*/ 419 h 10011"/>
                  <a:gd name="connsiteX4" fmla="*/ 2798 w 10476"/>
                  <a:gd name="connsiteY4" fmla="*/ 259 h 10011"/>
                  <a:gd name="connsiteX5" fmla="*/ 0 w 10476"/>
                  <a:gd name="connsiteY5" fmla="*/ 5375 h 10011"/>
                  <a:gd name="connsiteX6" fmla="*/ 165 w 10476"/>
                  <a:gd name="connsiteY6" fmla="*/ 5455 h 10011"/>
                  <a:gd name="connsiteX7" fmla="*/ 329 w 10476"/>
                  <a:gd name="connsiteY7" fmla="*/ 5535 h 10011"/>
                  <a:gd name="connsiteX8" fmla="*/ 3292 w 10476"/>
                  <a:gd name="connsiteY8" fmla="*/ 5535 h 10011"/>
                  <a:gd name="connsiteX9" fmla="*/ 659 w 10476"/>
                  <a:gd name="connsiteY9" fmla="*/ 9851 h 10011"/>
                  <a:gd name="connsiteX10" fmla="*/ 988 w 10476"/>
                  <a:gd name="connsiteY10" fmla="*/ 10011 h 10011"/>
                  <a:gd name="connsiteX11" fmla="*/ 988 w 10476"/>
                  <a:gd name="connsiteY11" fmla="*/ 10011 h 10011"/>
                  <a:gd name="connsiteX12" fmla="*/ 1316 w 10476"/>
                  <a:gd name="connsiteY12" fmla="*/ 9931 h 10011"/>
                  <a:gd name="connsiteX13" fmla="*/ 9877 w 10476"/>
                  <a:gd name="connsiteY13" fmla="*/ 3857 h 10011"/>
                  <a:gd name="connsiteX14" fmla="*/ 9877 w 10476"/>
                  <a:gd name="connsiteY14" fmla="*/ 3697 h 10011"/>
                  <a:gd name="connsiteX15" fmla="*/ 9713 w 10476"/>
                  <a:gd name="connsiteY15" fmla="*/ 3617 h 10011"/>
                  <a:gd name="connsiteX0" fmla="*/ 9713 w 10120"/>
                  <a:gd name="connsiteY0" fmla="*/ 3939 h 10333"/>
                  <a:gd name="connsiteX1" fmla="*/ 5927 w 10120"/>
                  <a:gd name="connsiteY1" fmla="*/ 3939 h 10333"/>
                  <a:gd name="connsiteX2" fmla="*/ 9877 w 10120"/>
                  <a:gd name="connsiteY2" fmla="*/ 981 h 10333"/>
                  <a:gd name="connsiteX3" fmla="*/ 9713 w 10120"/>
                  <a:gd name="connsiteY3" fmla="*/ 741 h 10333"/>
                  <a:gd name="connsiteX4" fmla="*/ 2798 w 10120"/>
                  <a:gd name="connsiteY4" fmla="*/ 581 h 10333"/>
                  <a:gd name="connsiteX5" fmla="*/ 0 w 10120"/>
                  <a:gd name="connsiteY5" fmla="*/ 5697 h 10333"/>
                  <a:gd name="connsiteX6" fmla="*/ 165 w 10120"/>
                  <a:gd name="connsiteY6" fmla="*/ 5777 h 10333"/>
                  <a:gd name="connsiteX7" fmla="*/ 329 w 10120"/>
                  <a:gd name="connsiteY7" fmla="*/ 5857 h 10333"/>
                  <a:gd name="connsiteX8" fmla="*/ 3292 w 10120"/>
                  <a:gd name="connsiteY8" fmla="*/ 5857 h 10333"/>
                  <a:gd name="connsiteX9" fmla="*/ 659 w 10120"/>
                  <a:gd name="connsiteY9" fmla="*/ 10173 h 10333"/>
                  <a:gd name="connsiteX10" fmla="*/ 988 w 10120"/>
                  <a:gd name="connsiteY10" fmla="*/ 10333 h 10333"/>
                  <a:gd name="connsiteX11" fmla="*/ 988 w 10120"/>
                  <a:gd name="connsiteY11" fmla="*/ 10333 h 10333"/>
                  <a:gd name="connsiteX12" fmla="*/ 1316 w 10120"/>
                  <a:gd name="connsiteY12" fmla="*/ 10253 h 10333"/>
                  <a:gd name="connsiteX13" fmla="*/ 9877 w 10120"/>
                  <a:gd name="connsiteY13" fmla="*/ 4179 h 10333"/>
                  <a:gd name="connsiteX14" fmla="*/ 9877 w 10120"/>
                  <a:gd name="connsiteY14" fmla="*/ 4019 h 10333"/>
                  <a:gd name="connsiteX15" fmla="*/ 9713 w 10120"/>
                  <a:gd name="connsiteY15" fmla="*/ 3939 h 10333"/>
                  <a:gd name="connsiteX0" fmla="*/ 9713 w 10118"/>
                  <a:gd name="connsiteY0" fmla="*/ 3606 h 10000"/>
                  <a:gd name="connsiteX1" fmla="*/ 5927 w 10118"/>
                  <a:gd name="connsiteY1" fmla="*/ 3606 h 10000"/>
                  <a:gd name="connsiteX2" fmla="*/ 9877 w 10118"/>
                  <a:gd name="connsiteY2" fmla="*/ 648 h 10000"/>
                  <a:gd name="connsiteX3" fmla="*/ 9713 w 10118"/>
                  <a:gd name="connsiteY3" fmla="*/ 408 h 10000"/>
                  <a:gd name="connsiteX4" fmla="*/ 2798 w 10118"/>
                  <a:gd name="connsiteY4" fmla="*/ 248 h 10000"/>
                  <a:gd name="connsiteX5" fmla="*/ 0 w 10118"/>
                  <a:gd name="connsiteY5" fmla="*/ 5364 h 10000"/>
                  <a:gd name="connsiteX6" fmla="*/ 165 w 10118"/>
                  <a:gd name="connsiteY6" fmla="*/ 5444 h 10000"/>
                  <a:gd name="connsiteX7" fmla="*/ 329 w 10118"/>
                  <a:gd name="connsiteY7" fmla="*/ 5524 h 10000"/>
                  <a:gd name="connsiteX8" fmla="*/ 3292 w 10118"/>
                  <a:gd name="connsiteY8" fmla="*/ 5524 h 10000"/>
                  <a:gd name="connsiteX9" fmla="*/ 659 w 10118"/>
                  <a:gd name="connsiteY9" fmla="*/ 9840 h 10000"/>
                  <a:gd name="connsiteX10" fmla="*/ 988 w 10118"/>
                  <a:gd name="connsiteY10" fmla="*/ 10000 h 10000"/>
                  <a:gd name="connsiteX11" fmla="*/ 988 w 10118"/>
                  <a:gd name="connsiteY11" fmla="*/ 10000 h 10000"/>
                  <a:gd name="connsiteX12" fmla="*/ 1316 w 10118"/>
                  <a:gd name="connsiteY12" fmla="*/ 9920 h 10000"/>
                  <a:gd name="connsiteX13" fmla="*/ 9877 w 10118"/>
                  <a:gd name="connsiteY13" fmla="*/ 3846 h 10000"/>
                  <a:gd name="connsiteX14" fmla="*/ 9877 w 10118"/>
                  <a:gd name="connsiteY14" fmla="*/ 3686 h 10000"/>
                  <a:gd name="connsiteX15" fmla="*/ 9713 w 10118"/>
                  <a:gd name="connsiteY15" fmla="*/ 3606 h 10000"/>
                  <a:gd name="connsiteX0" fmla="*/ 9713 w 10000"/>
                  <a:gd name="connsiteY0" fmla="*/ 3606 h 10000"/>
                  <a:gd name="connsiteX1" fmla="*/ 5927 w 10000"/>
                  <a:gd name="connsiteY1" fmla="*/ 3606 h 10000"/>
                  <a:gd name="connsiteX2" fmla="*/ 9877 w 10000"/>
                  <a:gd name="connsiteY2" fmla="*/ 648 h 10000"/>
                  <a:gd name="connsiteX3" fmla="*/ 9713 w 10000"/>
                  <a:gd name="connsiteY3" fmla="*/ 408 h 10000"/>
                  <a:gd name="connsiteX4" fmla="*/ 2798 w 10000"/>
                  <a:gd name="connsiteY4" fmla="*/ 248 h 10000"/>
                  <a:gd name="connsiteX5" fmla="*/ 0 w 10000"/>
                  <a:gd name="connsiteY5" fmla="*/ 5364 h 10000"/>
                  <a:gd name="connsiteX6" fmla="*/ 165 w 10000"/>
                  <a:gd name="connsiteY6" fmla="*/ 5444 h 10000"/>
                  <a:gd name="connsiteX7" fmla="*/ 329 w 10000"/>
                  <a:gd name="connsiteY7" fmla="*/ 5524 h 10000"/>
                  <a:gd name="connsiteX8" fmla="*/ 3292 w 10000"/>
                  <a:gd name="connsiteY8" fmla="*/ 5524 h 10000"/>
                  <a:gd name="connsiteX9" fmla="*/ 659 w 10000"/>
                  <a:gd name="connsiteY9" fmla="*/ 9840 h 10000"/>
                  <a:gd name="connsiteX10" fmla="*/ 988 w 10000"/>
                  <a:gd name="connsiteY10" fmla="*/ 10000 h 10000"/>
                  <a:gd name="connsiteX11" fmla="*/ 988 w 10000"/>
                  <a:gd name="connsiteY11" fmla="*/ 10000 h 10000"/>
                  <a:gd name="connsiteX12" fmla="*/ 1316 w 10000"/>
                  <a:gd name="connsiteY12" fmla="*/ 9920 h 10000"/>
                  <a:gd name="connsiteX13" fmla="*/ 9877 w 10000"/>
                  <a:gd name="connsiteY13" fmla="*/ 3846 h 10000"/>
                  <a:gd name="connsiteX14" fmla="*/ 9877 w 10000"/>
                  <a:gd name="connsiteY14" fmla="*/ 3686 h 10000"/>
                  <a:gd name="connsiteX15" fmla="*/ 9713 w 10000"/>
                  <a:gd name="connsiteY15" fmla="*/ 3606 h 10000"/>
                  <a:gd name="connsiteX0" fmla="*/ 9713 w 10000"/>
                  <a:gd name="connsiteY0" fmla="*/ 3359 h 9753"/>
                  <a:gd name="connsiteX1" fmla="*/ 5927 w 10000"/>
                  <a:gd name="connsiteY1" fmla="*/ 3359 h 9753"/>
                  <a:gd name="connsiteX2" fmla="*/ 9877 w 10000"/>
                  <a:gd name="connsiteY2" fmla="*/ 401 h 9753"/>
                  <a:gd name="connsiteX3" fmla="*/ 9713 w 10000"/>
                  <a:gd name="connsiteY3" fmla="*/ 161 h 9753"/>
                  <a:gd name="connsiteX4" fmla="*/ 2798 w 10000"/>
                  <a:gd name="connsiteY4" fmla="*/ 1 h 9753"/>
                  <a:gd name="connsiteX5" fmla="*/ 0 w 10000"/>
                  <a:gd name="connsiteY5" fmla="*/ 5117 h 9753"/>
                  <a:gd name="connsiteX6" fmla="*/ 165 w 10000"/>
                  <a:gd name="connsiteY6" fmla="*/ 5197 h 9753"/>
                  <a:gd name="connsiteX7" fmla="*/ 329 w 10000"/>
                  <a:gd name="connsiteY7" fmla="*/ 5277 h 9753"/>
                  <a:gd name="connsiteX8" fmla="*/ 3292 w 10000"/>
                  <a:gd name="connsiteY8" fmla="*/ 5277 h 9753"/>
                  <a:gd name="connsiteX9" fmla="*/ 659 w 10000"/>
                  <a:gd name="connsiteY9" fmla="*/ 9593 h 9753"/>
                  <a:gd name="connsiteX10" fmla="*/ 988 w 10000"/>
                  <a:gd name="connsiteY10" fmla="*/ 9753 h 9753"/>
                  <a:gd name="connsiteX11" fmla="*/ 988 w 10000"/>
                  <a:gd name="connsiteY11" fmla="*/ 9753 h 9753"/>
                  <a:gd name="connsiteX12" fmla="*/ 1316 w 10000"/>
                  <a:gd name="connsiteY12" fmla="*/ 9673 h 9753"/>
                  <a:gd name="connsiteX13" fmla="*/ 9877 w 10000"/>
                  <a:gd name="connsiteY13" fmla="*/ 3599 h 9753"/>
                  <a:gd name="connsiteX14" fmla="*/ 9877 w 10000"/>
                  <a:gd name="connsiteY14" fmla="*/ 3439 h 9753"/>
                  <a:gd name="connsiteX15" fmla="*/ 9713 w 10000"/>
                  <a:gd name="connsiteY15" fmla="*/ 3359 h 9753"/>
                  <a:gd name="connsiteX0" fmla="*/ 9713 w 10000"/>
                  <a:gd name="connsiteY0" fmla="*/ 3444 h 10000"/>
                  <a:gd name="connsiteX1" fmla="*/ 5927 w 10000"/>
                  <a:gd name="connsiteY1" fmla="*/ 3444 h 10000"/>
                  <a:gd name="connsiteX2" fmla="*/ 9877 w 10000"/>
                  <a:gd name="connsiteY2" fmla="*/ 411 h 10000"/>
                  <a:gd name="connsiteX3" fmla="*/ 9713 w 10000"/>
                  <a:gd name="connsiteY3" fmla="*/ 165 h 10000"/>
                  <a:gd name="connsiteX4" fmla="*/ 2798 w 10000"/>
                  <a:gd name="connsiteY4" fmla="*/ 1 h 10000"/>
                  <a:gd name="connsiteX5" fmla="*/ 0 w 10000"/>
                  <a:gd name="connsiteY5" fmla="*/ 5247 h 10000"/>
                  <a:gd name="connsiteX6" fmla="*/ 165 w 10000"/>
                  <a:gd name="connsiteY6" fmla="*/ 5329 h 10000"/>
                  <a:gd name="connsiteX7" fmla="*/ 329 w 10000"/>
                  <a:gd name="connsiteY7" fmla="*/ 5411 h 10000"/>
                  <a:gd name="connsiteX8" fmla="*/ 3292 w 10000"/>
                  <a:gd name="connsiteY8" fmla="*/ 5411 h 10000"/>
                  <a:gd name="connsiteX9" fmla="*/ 659 w 10000"/>
                  <a:gd name="connsiteY9" fmla="*/ 9836 h 10000"/>
                  <a:gd name="connsiteX10" fmla="*/ 988 w 10000"/>
                  <a:gd name="connsiteY10" fmla="*/ 10000 h 10000"/>
                  <a:gd name="connsiteX11" fmla="*/ 988 w 10000"/>
                  <a:gd name="connsiteY11" fmla="*/ 10000 h 10000"/>
                  <a:gd name="connsiteX12" fmla="*/ 1316 w 10000"/>
                  <a:gd name="connsiteY12" fmla="*/ 9918 h 10000"/>
                  <a:gd name="connsiteX13" fmla="*/ 9877 w 10000"/>
                  <a:gd name="connsiteY13" fmla="*/ 3690 h 10000"/>
                  <a:gd name="connsiteX14" fmla="*/ 9877 w 10000"/>
                  <a:gd name="connsiteY14" fmla="*/ 3526 h 10000"/>
                  <a:gd name="connsiteX15" fmla="*/ 9713 w 10000"/>
                  <a:gd name="connsiteY15" fmla="*/ 3444 h 10000"/>
                  <a:gd name="connsiteX0" fmla="*/ 9713 w 10112"/>
                  <a:gd name="connsiteY0" fmla="*/ 3476 h 10032"/>
                  <a:gd name="connsiteX1" fmla="*/ 5927 w 10112"/>
                  <a:gd name="connsiteY1" fmla="*/ 3476 h 10032"/>
                  <a:gd name="connsiteX2" fmla="*/ 9877 w 10112"/>
                  <a:gd name="connsiteY2" fmla="*/ 443 h 10032"/>
                  <a:gd name="connsiteX3" fmla="*/ 9689 w 10112"/>
                  <a:gd name="connsiteY3" fmla="*/ 17 h 10032"/>
                  <a:gd name="connsiteX4" fmla="*/ 2798 w 10112"/>
                  <a:gd name="connsiteY4" fmla="*/ 33 h 10032"/>
                  <a:gd name="connsiteX5" fmla="*/ 0 w 10112"/>
                  <a:gd name="connsiteY5" fmla="*/ 5279 h 10032"/>
                  <a:gd name="connsiteX6" fmla="*/ 165 w 10112"/>
                  <a:gd name="connsiteY6" fmla="*/ 5361 h 10032"/>
                  <a:gd name="connsiteX7" fmla="*/ 329 w 10112"/>
                  <a:gd name="connsiteY7" fmla="*/ 5443 h 10032"/>
                  <a:gd name="connsiteX8" fmla="*/ 3292 w 10112"/>
                  <a:gd name="connsiteY8" fmla="*/ 5443 h 10032"/>
                  <a:gd name="connsiteX9" fmla="*/ 659 w 10112"/>
                  <a:gd name="connsiteY9" fmla="*/ 9868 h 10032"/>
                  <a:gd name="connsiteX10" fmla="*/ 988 w 10112"/>
                  <a:gd name="connsiteY10" fmla="*/ 10032 h 10032"/>
                  <a:gd name="connsiteX11" fmla="*/ 988 w 10112"/>
                  <a:gd name="connsiteY11" fmla="*/ 10032 h 10032"/>
                  <a:gd name="connsiteX12" fmla="*/ 1316 w 10112"/>
                  <a:gd name="connsiteY12" fmla="*/ 9950 h 10032"/>
                  <a:gd name="connsiteX13" fmla="*/ 9877 w 10112"/>
                  <a:gd name="connsiteY13" fmla="*/ 3722 h 10032"/>
                  <a:gd name="connsiteX14" fmla="*/ 9877 w 10112"/>
                  <a:gd name="connsiteY14" fmla="*/ 3558 h 10032"/>
                  <a:gd name="connsiteX15" fmla="*/ 9713 w 10112"/>
                  <a:gd name="connsiteY15" fmla="*/ 3476 h 10032"/>
                  <a:gd name="connsiteX0" fmla="*/ 9713 w 10009"/>
                  <a:gd name="connsiteY0" fmla="*/ 3459 h 10015"/>
                  <a:gd name="connsiteX1" fmla="*/ 5927 w 10009"/>
                  <a:gd name="connsiteY1" fmla="*/ 3459 h 10015"/>
                  <a:gd name="connsiteX2" fmla="*/ 9877 w 10009"/>
                  <a:gd name="connsiteY2" fmla="*/ 426 h 10015"/>
                  <a:gd name="connsiteX3" fmla="*/ 9689 w 10009"/>
                  <a:gd name="connsiteY3" fmla="*/ 0 h 10015"/>
                  <a:gd name="connsiteX4" fmla="*/ 2798 w 10009"/>
                  <a:gd name="connsiteY4" fmla="*/ 16 h 10015"/>
                  <a:gd name="connsiteX5" fmla="*/ 0 w 10009"/>
                  <a:gd name="connsiteY5" fmla="*/ 5262 h 10015"/>
                  <a:gd name="connsiteX6" fmla="*/ 165 w 10009"/>
                  <a:gd name="connsiteY6" fmla="*/ 5344 h 10015"/>
                  <a:gd name="connsiteX7" fmla="*/ 329 w 10009"/>
                  <a:gd name="connsiteY7" fmla="*/ 5426 h 10015"/>
                  <a:gd name="connsiteX8" fmla="*/ 3292 w 10009"/>
                  <a:gd name="connsiteY8" fmla="*/ 5426 h 10015"/>
                  <a:gd name="connsiteX9" fmla="*/ 659 w 10009"/>
                  <a:gd name="connsiteY9" fmla="*/ 9851 h 10015"/>
                  <a:gd name="connsiteX10" fmla="*/ 988 w 10009"/>
                  <a:gd name="connsiteY10" fmla="*/ 10015 h 10015"/>
                  <a:gd name="connsiteX11" fmla="*/ 988 w 10009"/>
                  <a:gd name="connsiteY11" fmla="*/ 10015 h 10015"/>
                  <a:gd name="connsiteX12" fmla="*/ 1316 w 10009"/>
                  <a:gd name="connsiteY12" fmla="*/ 9933 h 10015"/>
                  <a:gd name="connsiteX13" fmla="*/ 9877 w 10009"/>
                  <a:gd name="connsiteY13" fmla="*/ 3705 h 10015"/>
                  <a:gd name="connsiteX14" fmla="*/ 9877 w 10009"/>
                  <a:gd name="connsiteY14" fmla="*/ 3541 h 10015"/>
                  <a:gd name="connsiteX15" fmla="*/ 9713 w 10009"/>
                  <a:gd name="connsiteY15" fmla="*/ 3459 h 10015"/>
                  <a:gd name="connsiteX0" fmla="*/ 9713 w 10125"/>
                  <a:gd name="connsiteY0" fmla="*/ 3467 h 10023"/>
                  <a:gd name="connsiteX1" fmla="*/ 5927 w 10125"/>
                  <a:gd name="connsiteY1" fmla="*/ 3467 h 10023"/>
                  <a:gd name="connsiteX2" fmla="*/ 9877 w 10125"/>
                  <a:gd name="connsiteY2" fmla="*/ 434 h 10023"/>
                  <a:gd name="connsiteX3" fmla="*/ 9737 w 10125"/>
                  <a:gd name="connsiteY3" fmla="*/ 20 h 10023"/>
                  <a:gd name="connsiteX4" fmla="*/ 2798 w 10125"/>
                  <a:gd name="connsiteY4" fmla="*/ 24 h 10023"/>
                  <a:gd name="connsiteX5" fmla="*/ 0 w 10125"/>
                  <a:gd name="connsiteY5" fmla="*/ 5270 h 10023"/>
                  <a:gd name="connsiteX6" fmla="*/ 165 w 10125"/>
                  <a:gd name="connsiteY6" fmla="*/ 5352 h 10023"/>
                  <a:gd name="connsiteX7" fmla="*/ 329 w 10125"/>
                  <a:gd name="connsiteY7" fmla="*/ 5434 h 10023"/>
                  <a:gd name="connsiteX8" fmla="*/ 3292 w 10125"/>
                  <a:gd name="connsiteY8" fmla="*/ 5434 h 10023"/>
                  <a:gd name="connsiteX9" fmla="*/ 659 w 10125"/>
                  <a:gd name="connsiteY9" fmla="*/ 9859 h 10023"/>
                  <a:gd name="connsiteX10" fmla="*/ 988 w 10125"/>
                  <a:gd name="connsiteY10" fmla="*/ 10023 h 10023"/>
                  <a:gd name="connsiteX11" fmla="*/ 988 w 10125"/>
                  <a:gd name="connsiteY11" fmla="*/ 10023 h 10023"/>
                  <a:gd name="connsiteX12" fmla="*/ 1316 w 10125"/>
                  <a:gd name="connsiteY12" fmla="*/ 9941 h 10023"/>
                  <a:gd name="connsiteX13" fmla="*/ 9877 w 10125"/>
                  <a:gd name="connsiteY13" fmla="*/ 3713 h 10023"/>
                  <a:gd name="connsiteX14" fmla="*/ 9877 w 10125"/>
                  <a:gd name="connsiteY14" fmla="*/ 3549 h 10023"/>
                  <a:gd name="connsiteX15" fmla="*/ 9713 w 10125"/>
                  <a:gd name="connsiteY15" fmla="*/ 3467 h 10023"/>
                  <a:gd name="connsiteX0" fmla="*/ 9713 w 10968"/>
                  <a:gd name="connsiteY0" fmla="*/ 3467 h 10023"/>
                  <a:gd name="connsiteX1" fmla="*/ 5927 w 10968"/>
                  <a:gd name="connsiteY1" fmla="*/ 3467 h 10023"/>
                  <a:gd name="connsiteX2" fmla="*/ 9877 w 10968"/>
                  <a:gd name="connsiteY2" fmla="*/ 434 h 10023"/>
                  <a:gd name="connsiteX3" fmla="*/ 9737 w 10968"/>
                  <a:gd name="connsiteY3" fmla="*/ 20 h 10023"/>
                  <a:gd name="connsiteX4" fmla="*/ 2798 w 10968"/>
                  <a:gd name="connsiteY4" fmla="*/ 24 h 10023"/>
                  <a:gd name="connsiteX5" fmla="*/ 0 w 10968"/>
                  <a:gd name="connsiteY5" fmla="*/ 5270 h 10023"/>
                  <a:gd name="connsiteX6" fmla="*/ 165 w 10968"/>
                  <a:gd name="connsiteY6" fmla="*/ 5352 h 10023"/>
                  <a:gd name="connsiteX7" fmla="*/ 329 w 10968"/>
                  <a:gd name="connsiteY7" fmla="*/ 5434 h 10023"/>
                  <a:gd name="connsiteX8" fmla="*/ 3292 w 10968"/>
                  <a:gd name="connsiteY8" fmla="*/ 5434 h 10023"/>
                  <a:gd name="connsiteX9" fmla="*/ 659 w 10968"/>
                  <a:gd name="connsiteY9" fmla="*/ 9859 h 10023"/>
                  <a:gd name="connsiteX10" fmla="*/ 988 w 10968"/>
                  <a:gd name="connsiteY10" fmla="*/ 10023 h 10023"/>
                  <a:gd name="connsiteX11" fmla="*/ 988 w 10968"/>
                  <a:gd name="connsiteY11" fmla="*/ 10023 h 10023"/>
                  <a:gd name="connsiteX12" fmla="*/ 1316 w 10968"/>
                  <a:gd name="connsiteY12" fmla="*/ 9941 h 10023"/>
                  <a:gd name="connsiteX13" fmla="*/ 9877 w 10968"/>
                  <a:gd name="connsiteY13" fmla="*/ 3713 h 10023"/>
                  <a:gd name="connsiteX14" fmla="*/ 9877 w 10968"/>
                  <a:gd name="connsiteY14" fmla="*/ 3549 h 10023"/>
                  <a:gd name="connsiteX15" fmla="*/ 9713 w 10968"/>
                  <a:gd name="connsiteY15" fmla="*/ 3467 h 10023"/>
                  <a:gd name="connsiteX0" fmla="*/ 9713 w 10968"/>
                  <a:gd name="connsiteY0" fmla="*/ 3467 h 10023"/>
                  <a:gd name="connsiteX1" fmla="*/ 5927 w 10968"/>
                  <a:gd name="connsiteY1" fmla="*/ 3467 h 10023"/>
                  <a:gd name="connsiteX2" fmla="*/ 9877 w 10968"/>
                  <a:gd name="connsiteY2" fmla="*/ 434 h 10023"/>
                  <a:gd name="connsiteX3" fmla="*/ 9737 w 10968"/>
                  <a:gd name="connsiteY3" fmla="*/ 20 h 10023"/>
                  <a:gd name="connsiteX4" fmla="*/ 2798 w 10968"/>
                  <a:gd name="connsiteY4" fmla="*/ 24 h 10023"/>
                  <a:gd name="connsiteX5" fmla="*/ 0 w 10968"/>
                  <a:gd name="connsiteY5" fmla="*/ 5270 h 10023"/>
                  <a:gd name="connsiteX6" fmla="*/ 165 w 10968"/>
                  <a:gd name="connsiteY6" fmla="*/ 5352 h 10023"/>
                  <a:gd name="connsiteX7" fmla="*/ 329 w 10968"/>
                  <a:gd name="connsiteY7" fmla="*/ 5434 h 10023"/>
                  <a:gd name="connsiteX8" fmla="*/ 3292 w 10968"/>
                  <a:gd name="connsiteY8" fmla="*/ 5434 h 10023"/>
                  <a:gd name="connsiteX9" fmla="*/ 659 w 10968"/>
                  <a:gd name="connsiteY9" fmla="*/ 9859 h 10023"/>
                  <a:gd name="connsiteX10" fmla="*/ 988 w 10968"/>
                  <a:gd name="connsiteY10" fmla="*/ 10023 h 10023"/>
                  <a:gd name="connsiteX11" fmla="*/ 988 w 10968"/>
                  <a:gd name="connsiteY11" fmla="*/ 10023 h 10023"/>
                  <a:gd name="connsiteX12" fmla="*/ 1316 w 10968"/>
                  <a:gd name="connsiteY12" fmla="*/ 9941 h 10023"/>
                  <a:gd name="connsiteX13" fmla="*/ 9877 w 10968"/>
                  <a:gd name="connsiteY13" fmla="*/ 3713 h 10023"/>
                  <a:gd name="connsiteX14" fmla="*/ 9877 w 10968"/>
                  <a:gd name="connsiteY14" fmla="*/ 3549 h 10023"/>
                  <a:gd name="connsiteX15" fmla="*/ 9713 w 10968"/>
                  <a:gd name="connsiteY15" fmla="*/ 3467 h 10023"/>
                  <a:gd name="connsiteX0" fmla="*/ 9713 w 10968"/>
                  <a:gd name="connsiteY0" fmla="*/ 3467 h 10023"/>
                  <a:gd name="connsiteX1" fmla="*/ 5927 w 10968"/>
                  <a:gd name="connsiteY1" fmla="*/ 3467 h 10023"/>
                  <a:gd name="connsiteX2" fmla="*/ 9877 w 10968"/>
                  <a:gd name="connsiteY2" fmla="*/ 434 h 10023"/>
                  <a:gd name="connsiteX3" fmla="*/ 9737 w 10968"/>
                  <a:gd name="connsiteY3" fmla="*/ 20 h 10023"/>
                  <a:gd name="connsiteX4" fmla="*/ 2798 w 10968"/>
                  <a:gd name="connsiteY4" fmla="*/ 24 h 10023"/>
                  <a:gd name="connsiteX5" fmla="*/ 0 w 10968"/>
                  <a:gd name="connsiteY5" fmla="*/ 5270 h 10023"/>
                  <a:gd name="connsiteX6" fmla="*/ 165 w 10968"/>
                  <a:gd name="connsiteY6" fmla="*/ 5352 h 10023"/>
                  <a:gd name="connsiteX7" fmla="*/ 329 w 10968"/>
                  <a:gd name="connsiteY7" fmla="*/ 5434 h 10023"/>
                  <a:gd name="connsiteX8" fmla="*/ 3292 w 10968"/>
                  <a:gd name="connsiteY8" fmla="*/ 5434 h 10023"/>
                  <a:gd name="connsiteX9" fmla="*/ 659 w 10968"/>
                  <a:gd name="connsiteY9" fmla="*/ 9859 h 10023"/>
                  <a:gd name="connsiteX10" fmla="*/ 988 w 10968"/>
                  <a:gd name="connsiteY10" fmla="*/ 10023 h 10023"/>
                  <a:gd name="connsiteX11" fmla="*/ 988 w 10968"/>
                  <a:gd name="connsiteY11" fmla="*/ 10023 h 10023"/>
                  <a:gd name="connsiteX12" fmla="*/ 1316 w 10968"/>
                  <a:gd name="connsiteY12" fmla="*/ 9941 h 10023"/>
                  <a:gd name="connsiteX13" fmla="*/ 9877 w 10968"/>
                  <a:gd name="connsiteY13" fmla="*/ 3713 h 10023"/>
                  <a:gd name="connsiteX14" fmla="*/ 9877 w 10968"/>
                  <a:gd name="connsiteY14" fmla="*/ 3549 h 10023"/>
                  <a:gd name="connsiteX15" fmla="*/ 9713 w 10968"/>
                  <a:gd name="connsiteY15" fmla="*/ 3467 h 10023"/>
                  <a:gd name="connsiteX0" fmla="*/ 9713 w 10372"/>
                  <a:gd name="connsiteY0" fmla="*/ 3467 h 10023"/>
                  <a:gd name="connsiteX1" fmla="*/ 5927 w 10372"/>
                  <a:gd name="connsiteY1" fmla="*/ 3467 h 10023"/>
                  <a:gd name="connsiteX2" fmla="*/ 9877 w 10372"/>
                  <a:gd name="connsiteY2" fmla="*/ 434 h 10023"/>
                  <a:gd name="connsiteX3" fmla="*/ 9737 w 10372"/>
                  <a:gd name="connsiteY3" fmla="*/ 20 h 10023"/>
                  <a:gd name="connsiteX4" fmla="*/ 2798 w 10372"/>
                  <a:gd name="connsiteY4" fmla="*/ 24 h 10023"/>
                  <a:gd name="connsiteX5" fmla="*/ 0 w 10372"/>
                  <a:gd name="connsiteY5" fmla="*/ 5270 h 10023"/>
                  <a:gd name="connsiteX6" fmla="*/ 165 w 10372"/>
                  <a:gd name="connsiteY6" fmla="*/ 5352 h 10023"/>
                  <a:gd name="connsiteX7" fmla="*/ 329 w 10372"/>
                  <a:gd name="connsiteY7" fmla="*/ 5434 h 10023"/>
                  <a:gd name="connsiteX8" fmla="*/ 3292 w 10372"/>
                  <a:gd name="connsiteY8" fmla="*/ 5434 h 10023"/>
                  <a:gd name="connsiteX9" fmla="*/ 659 w 10372"/>
                  <a:gd name="connsiteY9" fmla="*/ 9859 h 10023"/>
                  <a:gd name="connsiteX10" fmla="*/ 988 w 10372"/>
                  <a:gd name="connsiteY10" fmla="*/ 10023 h 10023"/>
                  <a:gd name="connsiteX11" fmla="*/ 988 w 10372"/>
                  <a:gd name="connsiteY11" fmla="*/ 10023 h 10023"/>
                  <a:gd name="connsiteX12" fmla="*/ 1316 w 10372"/>
                  <a:gd name="connsiteY12" fmla="*/ 9941 h 10023"/>
                  <a:gd name="connsiteX13" fmla="*/ 9877 w 10372"/>
                  <a:gd name="connsiteY13" fmla="*/ 3713 h 10023"/>
                  <a:gd name="connsiteX14" fmla="*/ 9877 w 10372"/>
                  <a:gd name="connsiteY14" fmla="*/ 3549 h 10023"/>
                  <a:gd name="connsiteX15" fmla="*/ 9713 w 10372"/>
                  <a:gd name="connsiteY15" fmla="*/ 3467 h 10023"/>
                  <a:gd name="connsiteX0" fmla="*/ 9713 w 10372"/>
                  <a:gd name="connsiteY0" fmla="*/ 3463 h 10019"/>
                  <a:gd name="connsiteX1" fmla="*/ 5927 w 10372"/>
                  <a:gd name="connsiteY1" fmla="*/ 3463 h 10019"/>
                  <a:gd name="connsiteX2" fmla="*/ 9877 w 10372"/>
                  <a:gd name="connsiteY2" fmla="*/ 430 h 10019"/>
                  <a:gd name="connsiteX3" fmla="*/ 9737 w 10372"/>
                  <a:gd name="connsiteY3" fmla="*/ 16 h 10019"/>
                  <a:gd name="connsiteX4" fmla="*/ 2798 w 10372"/>
                  <a:gd name="connsiteY4" fmla="*/ 20 h 10019"/>
                  <a:gd name="connsiteX5" fmla="*/ 0 w 10372"/>
                  <a:gd name="connsiteY5" fmla="*/ 5266 h 10019"/>
                  <a:gd name="connsiteX6" fmla="*/ 165 w 10372"/>
                  <a:gd name="connsiteY6" fmla="*/ 5348 h 10019"/>
                  <a:gd name="connsiteX7" fmla="*/ 329 w 10372"/>
                  <a:gd name="connsiteY7" fmla="*/ 5430 h 10019"/>
                  <a:gd name="connsiteX8" fmla="*/ 3292 w 10372"/>
                  <a:gd name="connsiteY8" fmla="*/ 5430 h 10019"/>
                  <a:gd name="connsiteX9" fmla="*/ 659 w 10372"/>
                  <a:gd name="connsiteY9" fmla="*/ 9855 h 10019"/>
                  <a:gd name="connsiteX10" fmla="*/ 988 w 10372"/>
                  <a:gd name="connsiteY10" fmla="*/ 10019 h 10019"/>
                  <a:gd name="connsiteX11" fmla="*/ 988 w 10372"/>
                  <a:gd name="connsiteY11" fmla="*/ 10019 h 10019"/>
                  <a:gd name="connsiteX12" fmla="*/ 1316 w 10372"/>
                  <a:gd name="connsiteY12" fmla="*/ 9937 h 10019"/>
                  <a:gd name="connsiteX13" fmla="*/ 9877 w 10372"/>
                  <a:gd name="connsiteY13" fmla="*/ 3709 h 10019"/>
                  <a:gd name="connsiteX14" fmla="*/ 9877 w 10372"/>
                  <a:gd name="connsiteY14" fmla="*/ 3545 h 10019"/>
                  <a:gd name="connsiteX15" fmla="*/ 9713 w 10372"/>
                  <a:gd name="connsiteY15" fmla="*/ 3463 h 10019"/>
                  <a:gd name="connsiteX0" fmla="*/ 9713 w 10252"/>
                  <a:gd name="connsiteY0" fmla="*/ 3452 h 10008"/>
                  <a:gd name="connsiteX1" fmla="*/ 5927 w 10252"/>
                  <a:gd name="connsiteY1" fmla="*/ 3452 h 10008"/>
                  <a:gd name="connsiteX2" fmla="*/ 9877 w 10252"/>
                  <a:gd name="connsiteY2" fmla="*/ 419 h 10008"/>
                  <a:gd name="connsiteX3" fmla="*/ 9737 w 10252"/>
                  <a:gd name="connsiteY3" fmla="*/ 5 h 10008"/>
                  <a:gd name="connsiteX4" fmla="*/ 2798 w 10252"/>
                  <a:gd name="connsiteY4" fmla="*/ 9 h 10008"/>
                  <a:gd name="connsiteX5" fmla="*/ 0 w 10252"/>
                  <a:gd name="connsiteY5" fmla="*/ 5255 h 10008"/>
                  <a:gd name="connsiteX6" fmla="*/ 165 w 10252"/>
                  <a:gd name="connsiteY6" fmla="*/ 5337 h 10008"/>
                  <a:gd name="connsiteX7" fmla="*/ 329 w 10252"/>
                  <a:gd name="connsiteY7" fmla="*/ 5419 h 10008"/>
                  <a:gd name="connsiteX8" fmla="*/ 3292 w 10252"/>
                  <a:gd name="connsiteY8" fmla="*/ 5419 h 10008"/>
                  <a:gd name="connsiteX9" fmla="*/ 659 w 10252"/>
                  <a:gd name="connsiteY9" fmla="*/ 9844 h 10008"/>
                  <a:gd name="connsiteX10" fmla="*/ 988 w 10252"/>
                  <a:gd name="connsiteY10" fmla="*/ 10008 h 10008"/>
                  <a:gd name="connsiteX11" fmla="*/ 988 w 10252"/>
                  <a:gd name="connsiteY11" fmla="*/ 10008 h 10008"/>
                  <a:gd name="connsiteX12" fmla="*/ 1316 w 10252"/>
                  <a:gd name="connsiteY12" fmla="*/ 9926 h 10008"/>
                  <a:gd name="connsiteX13" fmla="*/ 9877 w 10252"/>
                  <a:gd name="connsiteY13" fmla="*/ 3698 h 10008"/>
                  <a:gd name="connsiteX14" fmla="*/ 9877 w 10252"/>
                  <a:gd name="connsiteY14" fmla="*/ 3534 h 10008"/>
                  <a:gd name="connsiteX15" fmla="*/ 9713 w 10252"/>
                  <a:gd name="connsiteY15" fmla="*/ 3452 h 10008"/>
                  <a:gd name="connsiteX0" fmla="*/ 9713 w 10000"/>
                  <a:gd name="connsiteY0" fmla="*/ 3452 h 10008"/>
                  <a:gd name="connsiteX1" fmla="*/ 5927 w 10000"/>
                  <a:gd name="connsiteY1" fmla="*/ 3452 h 10008"/>
                  <a:gd name="connsiteX2" fmla="*/ 9737 w 10000"/>
                  <a:gd name="connsiteY2" fmla="*/ 5 h 10008"/>
                  <a:gd name="connsiteX3" fmla="*/ 2798 w 10000"/>
                  <a:gd name="connsiteY3" fmla="*/ 9 h 10008"/>
                  <a:gd name="connsiteX4" fmla="*/ 0 w 10000"/>
                  <a:gd name="connsiteY4" fmla="*/ 5255 h 10008"/>
                  <a:gd name="connsiteX5" fmla="*/ 165 w 10000"/>
                  <a:gd name="connsiteY5" fmla="*/ 5337 h 10008"/>
                  <a:gd name="connsiteX6" fmla="*/ 329 w 10000"/>
                  <a:gd name="connsiteY6" fmla="*/ 5419 h 10008"/>
                  <a:gd name="connsiteX7" fmla="*/ 3292 w 10000"/>
                  <a:gd name="connsiteY7" fmla="*/ 5419 h 10008"/>
                  <a:gd name="connsiteX8" fmla="*/ 659 w 10000"/>
                  <a:gd name="connsiteY8" fmla="*/ 9844 h 10008"/>
                  <a:gd name="connsiteX9" fmla="*/ 988 w 10000"/>
                  <a:gd name="connsiteY9" fmla="*/ 10008 h 10008"/>
                  <a:gd name="connsiteX10" fmla="*/ 988 w 10000"/>
                  <a:gd name="connsiteY10" fmla="*/ 10008 h 10008"/>
                  <a:gd name="connsiteX11" fmla="*/ 1316 w 10000"/>
                  <a:gd name="connsiteY11" fmla="*/ 9926 h 10008"/>
                  <a:gd name="connsiteX12" fmla="*/ 9877 w 10000"/>
                  <a:gd name="connsiteY12" fmla="*/ 3698 h 10008"/>
                  <a:gd name="connsiteX13" fmla="*/ 9877 w 10000"/>
                  <a:gd name="connsiteY13" fmla="*/ 3534 h 10008"/>
                  <a:gd name="connsiteX14" fmla="*/ 9713 w 10000"/>
                  <a:gd name="connsiteY14" fmla="*/ 3452 h 10008"/>
                  <a:gd name="connsiteX0" fmla="*/ 9713 w 10000"/>
                  <a:gd name="connsiteY0" fmla="*/ 3452 h 10008"/>
                  <a:gd name="connsiteX1" fmla="*/ 5927 w 10000"/>
                  <a:gd name="connsiteY1" fmla="*/ 3452 h 10008"/>
                  <a:gd name="connsiteX2" fmla="*/ 9737 w 10000"/>
                  <a:gd name="connsiteY2" fmla="*/ 5 h 10008"/>
                  <a:gd name="connsiteX3" fmla="*/ 2798 w 10000"/>
                  <a:gd name="connsiteY3" fmla="*/ 9 h 10008"/>
                  <a:gd name="connsiteX4" fmla="*/ 0 w 10000"/>
                  <a:gd name="connsiteY4" fmla="*/ 5255 h 10008"/>
                  <a:gd name="connsiteX5" fmla="*/ 165 w 10000"/>
                  <a:gd name="connsiteY5" fmla="*/ 5337 h 10008"/>
                  <a:gd name="connsiteX6" fmla="*/ 329 w 10000"/>
                  <a:gd name="connsiteY6" fmla="*/ 5419 h 10008"/>
                  <a:gd name="connsiteX7" fmla="*/ 3292 w 10000"/>
                  <a:gd name="connsiteY7" fmla="*/ 5419 h 10008"/>
                  <a:gd name="connsiteX8" fmla="*/ 659 w 10000"/>
                  <a:gd name="connsiteY8" fmla="*/ 9844 h 10008"/>
                  <a:gd name="connsiteX9" fmla="*/ 988 w 10000"/>
                  <a:gd name="connsiteY9" fmla="*/ 10008 h 10008"/>
                  <a:gd name="connsiteX10" fmla="*/ 988 w 10000"/>
                  <a:gd name="connsiteY10" fmla="*/ 10008 h 10008"/>
                  <a:gd name="connsiteX11" fmla="*/ 1316 w 10000"/>
                  <a:gd name="connsiteY11" fmla="*/ 9926 h 10008"/>
                  <a:gd name="connsiteX12" fmla="*/ 9877 w 10000"/>
                  <a:gd name="connsiteY12" fmla="*/ 3698 h 10008"/>
                  <a:gd name="connsiteX13" fmla="*/ 9877 w 10000"/>
                  <a:gd name="connsiteY13" fmla="*/ 3534 h 10008"/>
                  <a:gd name="connsiteX14" fmla="*/ 9713 w 10000"/>
                  <a:gd name="connsiteY14" fmla="*/ 3452 h 10008"/>
                  <a:gd name="connsiteX0" fmla="*/ 9713 w 10000"/>
                  <a:gd name="connsiteY0" fmla="*/ 3452 h 10008"/>
                  <a:gd name="connsiteX1" fmla="*/ 5927 w 10000"/>
                  <a:gd name="connsiteY1" fmla="*/ 3452 h 10008"/>
                  <a:gd name="connsiteX2" fmla="*/ 9737 w 10000"/>
                  <a:gd name="connsiteY2" fmla="*/ 5 h 10008"/>
                  <a:gd name="connsiteX3" fmla="*/ 2798 w 10000"/>
                  <a:gd name="connsiteY3" fmla="*/ 9 h 10008"/>
                  <a:gd name="connsiteX4" fmla="*/ 0 w 10000"/>
                  <a:gd name="connsiteY4" fmla="*/ 5255 h 10008"/>
                  <a:gd name="connsiteX5" fmla="*/ 165 w 10000"/>
                  <a:gd name="connsiteY5" fmla="*/ 5337 h 10008"/>
                  <a:gd name="connsiteX6" fmla="*/ 329 w 10000"/>
                  <a:gd name="connsiteY6" fmla="*/ 5419 h 10008"/>
                  <a:gd name="connsiteX7" fmla="*/ 3292 w 10000"/>
                  <a:gd name="connsiteY7" fmla="*/ 5419 h 10008"/>
                  <a:gd name="connsiteX8" fmla="*/ 659 w 10000"/>
                  <a:gd name="connsiteY8" fmla="*/ 9844 h 10008"/>
                  <a:gd name="connsiteX9" fmla="*/ 988 w 10000"/>
                  <a:gd name="connsiteY9" fmla="*/ 10008 h 10008"/>
                  <a:gd name="connsiteX10" fmla="*/ 988 w 10000"/>
                  <a:gd name="connsiteY10" fmla="*/ 10008 h 10008"/>
                  <a:gd name="connsiteX11" fmla="*/ 1316 w 10000"/>
                  <a:gd name="connsiteY11" fmla="*/ 9926 h 10008"/>
                  <a:gd name="connsiteX12" fmla="*/ 9877 w 10000"/>
                  <a:gd name="connsiteY12" fmla="*/ 3698 h 10008"/>
                  <a:gd name="connsiteX13" fmla="*/ 9877 w 10000"/>
                  <a:gd name="connsiteY13" fmla="*/ 3534 h 10008"/>
                  <a:gd name="connsiteX14" fmla="*/ 9713 w 10000"/>
                  <a:gd name="connsiteY14" fmla="*/ 3452 h 10008"/>
                  <a:gd name="connsiteX0" fmla="*/ 9713 w 10000"/>
                  <a:gd name="connsiteY0" fmla="*/ 3452 h 10008"/>
                  <a:gd name="connsiteX1" fmla="*/ 5927 w 10000"/>
                  <a:gd name="connsiteY1" fmla="*/ 3452 h 10008"/>
                  <a:gd name="connsiteX2" fmla="*/ 9737 w 10000"/>
                  <a:gd name="connsiteY2" fmla="*/ 5 h 10008"/>
                  <a:gd name="connsiteX3" fmla="*/ 2798 w 10000"/>
                  <a:gd name="connsiteY3" fmla="*/ 9 h 10008"/>
                  <a:gd name="connsiteX4" fmla="*/ 0 w 10000"/>
                  <a:gd name="connsiteY4" fmla="*/ 5255 h 10008"/>
                  <a:gd name="connsiteX5" fmla="*/ 165 w 10000"/>
                  <a:gd name="connsiteY5" fmla="*/ 5337 h 10008"/>
                  <a:gd name="connsiteX6" fmla="*/ 329 w 10000"/>
                  <a:gd name="connsiteY6" fmla="*/ 5419 h 10008"/>
                  <a:gd name="connsiteX7" fmla="*/ 3292 w 10000"/>
                  <a:gd name="connsiteY7" fmla="*/ 5419 h 10008"/>
                  <a:gd name="connsiteX8" fmla="*/ 659 w 10000"/>
                  <a:gd name="connsiteY8" fmla="*/ 9844 h 10008"/>
                  <a:gd name="connsiteX9" fmla="*/ 988 w 10000"/>
                  <a:gd name="connsiteY9" fmla="*/ 10008 h 10008"/>
                  <a:gd name="connsiteX10" fmla="*/ 988 w 10000"/>
                  <a:gd name="connsiteY10" fmla="*/ 10008 h 10008"/>
                  <a:gd name="connsiteX11" fmla="*/ 1316 w 10000"/>
                  <a:gd name="connsiteY11" fmla="*/ 9926 h 10008"/>
                  <a:gd name="connsiteX12" fmla="*/ 9877 w 10000"/>
                  <a:gd name="connsiteY12" fmla="*/ 3698 h 10008"/>
                  <a:gd name="connsiteX13" fmla="*/ 9877 w 10000"/>
                  <a:gd name="connsiteY13" fmla="*/ 3534 h 10008"/>
                  <a:gd name="connsiteX14" fmla="*/ 9713 w 10000"/>
                  <a:gd name="connsiteY14" fmla="*/ 3452 h 10008"/>
                  <a:gd name="connsiteX0" fmla="*/ 9713 w 10000"/>
                  <a:gd name="connsiteY0" fmla="*/ 3452 h 10008"/>
                  <a:gd name="connsiteX1" fmla="*/ 5927 w 10000"/>
                  <a:gd name="connsiteY1" fmla="*/ 3452 h 10008"/>
                  <a:gd name="connsiteX2" fmla="*/ 9737 w 10000"/>
                  <a:gd name="connsiteY2" fmla="*/ 5 h 10008"/>
                  <a:gd name="connsiteX3" fmla="*/ 2798 w 10000"/>
                  <a:gd name="connsiteY3" fmla="*/ 9 h 10008"/>
                  <a:gd name="connsiteX4" fmla="*/ 0 w 10000"/>
                  <a:gd name="connsiteY4" fmla="*/ 5255 h 10008"/>
                  <a:gd name="connsiteX5" fmla="*/ 165 w 10000"/>
                  <a:gd name="connsiteY5" fmla="*/ 5337 h 10008"/>
                  <a:gd name="connsiteX6" fmla="*/ 329 w 10000"/>
                  <a:gd name="connsiteY6" fmla="*/ 5419 h 10008"/>
                  <a:gd name="connsiteX7" fmla="*/ 3292 w 10000"/>
                  <a:gd name="connsiteY7" fmla="*/ 5419 h 10008"/>
                  <a:gd name="connsiteX8" fmla="*/ 659 w 10000"/>
                  <a:gd name="connsiteY8" fmla="*/ 9844 h 10008"/>
                  <a:gd name="connsiteX9" fmla="*/ 988 w 10000"/>
                  <a:gd name="connsiteY9" fmla="*/ 10008 h 10008"/>
                  <a:gd name="connsiteX10" fmla="*/ 988 w 10000"/>
                  <a:gd name="connsiteY10" fmla="*/ 10008 h 10008"/>
                  <a:gd name="connsiteX11" fmla="*/ 1316 w 10000"/>
                  <a:gd name="connsiteY11" fmla="*/ 9926 h 10008"/>
                  <a:gd name="connsiteX12" fmla="*/ 9877 w 10000"/>
                  <a:gd name="connsiteY12" fmla="*/ 3698 h 10008"/>
                  <a:gd name="connsiteX13" fmla="*/ 9877 w 10000"/>
                  <a:gd name="connsiteY13" fmla="*/ 3534 h 10008"/>
                  <a:gd name="connsiteX14" fmla="*/ 9713 w 10000"/>
                  <a:gd name="connsiteY14" fmla="*/ 3452 h 10008"/>
                  <a:gd name="connsiteX0" fmla="*/ 9713 w 10000"/>
                  <a:gd name="connsiteY0" fmla="*/ 3452 h 10008"/>
                  <a:gd name="connsiteX1" fmla="*/ 5927 w 10000"/>
                  <a:gd name="connsiteY1" fmla="*/ 3452 h 10008"/>
                  <a:gd name="connsiteX2" fmla="*/ 9737 w 10000"/>
                  <a:gd name="connsiteY2" fmla="*/ 5 h 10008"/>
                  <a:gd name="connsiteX3" fmla="*/ 2798 w 10000"/>
                  <a:gd name="connsiteY3" fmla="*/ 9 h 10008"/>
                  <a:gd name="connsiteX4" fmla="*/ 0 w 10000"/>
                  <a:gd name="connsiteY4" fmla="*/ 5255 h 10008"/>
                  <a:gd name="connsiteX5" fmla="*/ 165 w 10000"/>
                  <a:gd name="connsiteY5" fmla="*/ 5337 h 10008"/>
                  <a:gd name="connsiteX6" fmla="*/ 329 w 10000"/>
                  <a:gd name="connsiteY6" fmla="*/ 5419 h 10008"/>
                  <a:gd name="connsiteX7" fmla="*/ 3292 w 10000"/>
                  <a:gd name="connsiteY7" fmla="*/ 5419 h 10008"/>
                  <a:gd name="connsiteX8" fmla="*/ 659 w 10000"/>
                  <a:gd name="connsiteY8" fmla="*/ 9844 h 10008"/>
                  <a:gd name="connsiteX9" fmla="*/ 988 w 10000"/>
                  <a:gd name="connsiteY9" fmla="*/ 10008 h 10008"/>
                  <a:gd name="connsiteX10" fmla="*/ 988 w 10000"/>
                  <a:gd name="connsiteY10" fmla="*/ 10008 h 10008"/>
                  <a:gd name="connsiteX11" fmla="*/ 1316 w 10000"/>
                  <a:gd name="connsiteY11" fmla="*/ 9926 h 10008"/>
                  <a:gd name="connsiteX12" fmla="*/ 9877 w 10000"/>
                  <a:gd name="connsiteY12" fmla="*/ 3698 h 10008"/>
                  <a:gd name="connsiteX13" fmla="*/ 9877 w 10000"/>
                  <a:gd name="connsiteY13" fmla="*/ 3534 h 10008"/>
                  <a:gd name="connsiteX14" fmla="*/ 9713 w 10000"/>
                  <a:gd name="connsiteY14" fmla="*/ 3452 h 10008"/>
                  <a:gd name="connsiteX0" fmla="*/ 9713 w 10000"/>
                  <a:gd name="connsiteY0" fmla="*/ 3448 h 10004"/>
                  <a:gd name="connsiteX1" fmla="*/ 5927 w 10000"/>
                  <a:gd name="connsiteY1" fmla="*/ 3448 h 10004"/>
                  <a:gd name="connsiteX2" fmla="*/ 9737 w 10000"/>
                  <a:gd name="connsiteY2" fmla="*/ 1 h 10004"/>
                  <a:gd name="connsiteX3" fmla="*/ 2798 w 10000"/>
                  <a:gd name="connsiteY3" fmla="*/ 5 h 10004"/>
                  <a:gd name="connsiteX4" fmla="*/ 0 w 10000"/>
                  <a:gd name="connsiteY4" fmla="*/ 5251 h 10004"/>
                  <a:gd name="connsiteX5" fmla="*/ 165 w 10000"/>
                  <a:gd name="connsiteY5" fmla="*/ 5333 h 10004"/>
                  <a:gd name="connsiteX6" fmla="*/ 329 w 10000"/>
                  <a:gd name="connsiteY6" fmla="*/ 5415 h 10004"/>
                  <a:gd name="connsiteX7" fmla="*/ 3292 w 10000"/>
                  <a:gd name="connsiteY7" fmla="*/ 5415 h 10004"/>
                  <a:gd name="connsiteX8" fmla="*/ 659 w 10000"/>
                  <a:gd name="connsiteY8" fmla="*/ 9840 h 10004"/>
                  <a:gd name="connsiteX9" fmla="*/ 988 w 10000"/>
                  <a:gd name="connsiteY9" fmla="*/ 10004 h 10004"/>
                  <a:gd name="connsiteX10" fmla="*/ 988 w 10000"/>
                  <a:gd name="connsiteY10" fmla="*/ 10004 h 10004"/>
                  <a:gd name="connsiteX11" fmla="*/ 1316 w 10000"/>
                  <a:gd name="connsiteY11" fmla="*/ 9922 h 10004"/>
                  <a:gd name="connsiteX12" fmla="*/ 9877 w 10000"/>
                  <a:gd name="connsiteY12" fmla="*/ 3694 h 10004"/>
                  <a:gd name="connsiteX13" fmla="*/ 9877 w 10000"/>
                  <a:gd name="connsiteY13" fmla="*/ 3530 h 10004"/>
                  <a:gd name="connsiteX14" fmla="*/ 9713 w 10000"/>
                  <a:gd name="connsiteY14" fmla="*/ 3448 h 10004"/>
                  <a:gd name="connsiteX0" fmla="*/ 10309 w 10596"/>
                  <a:gd name="connsiteY0" fmla="*/ 3448 h 10004"/>
                  <a:gd name="connsiteX1" fmla="*/ 6523 w 10596"/>
                  <a:gd name="connsiteY1" fmla="*/ 3448 h 10004"/>
                  <a:gd name="connsiteX2" fmla="*/ 10333 w 10596"/>
                  <a:gd name="connsiteY2" fmla="*/ 1 h 10004"/>
                  <a:gd name="connsiteX3" fmla="*/ 3394 w 10596"/>
                  <a:gd name="connsiteY3" fmla="*/ 5 h 10004"/>
                  <a:gd name="connsiteX4" fmla="*/ 596 w 10596"/>
                  <a:gd name="connsiteY4" fmla="*/ 5251 h 10004"/>
                  <a:gd name="connsiteX5" fmla="*/ 64 w 10596"/>
                  <a:gd name="connsiteY5" fmla="*/ 5560 h 10004"/>
                  <a:gd name="connsiteX6" fmla="*/ 925 w 10596"/>
                  <a:gd name="connsiteY6" fmla="*/ 5415 h 10004"/>
                  <a:gd name="connsiteX7" fmla="*/ 3888 w 10596"/>
                  <a:gd name="connsiteY7" fmla="*/ 5415 h 10004"/>
                  <a:gd name="connsiteX8" fmla="*/ 1255 w 10596"/>
                  <a:gd name="connsiteY8" fmla="*/ 9840 h 10004"/>
                  <a:gd name="connsiteX9" fmla="*/ 1584 w 10596"/>
                  <a:gd name="connsiteY9" fmla="*/ 10004 h 10004"/>
                  <a:gd name="connsiteX10" fmla="*/ 1584 w 10596"/>
                  <a:gd name="connsiteY10" fmla="*/ 10004 h 10004"/>
                  <a:gd name="connsiteX11" fmla="*/ 1912 w 10596"/>
                  <a:gd name="connsiteY11" fmla="*/ 9922 h 10004"/>
                  <a:gd name="connsiteX12" fmla="*/ 10473 w 10596"/>
                  <a:gd name="connsiteY12" fmla="*/ 3694 h 10004"/>
                  <a:gd name="connsiteX13" fmla="*/ 10473 w 10596"/>
                  <a:gd name="connsiteY13" fmla="*/ 3530 h 10004"/>
                  <a:gd name="connsiteX14" fmla="*/ 10309 w 10596"/>
                  <a:gd name="connsiteY14" fmla="*/ 3448 h 10004"/>
                  <a:gd name="connsiteX0" fmla="*/ 10211 w 10498"/>
                  <a:gd name="connsiteY0" fmla="*/ 3448 h 10004"/>
                  <a:gd name="connsiteX1" fmla="*/ 6425 w 10498"/>
                  <a:gd name="connsiteY1" fmla="*/ 3448 h 10004"/>
                  <a:gd name="connsiteX2" fmla="*/ 10235 w 10498"/>
                  <a:gd name="connsiteY2" fmla="*/ 1 h 10004"/>
                  <a:gd name="connsiteX3" fmla="*/ 3296 w 10498"/>
                  <a:gd name="connsiteY3" fmla="*/ 5 h 10004"/>
                  <a:gd name="connsiteX4" fmla="*/ 498 w 10498"/>
                  <a:gd name="connsiteY4" fmla="*/ 5251 h 10004"/>
                  <a:gd name="connsiteX5" fmla="*/ 86 w 10498"/>
                  <a:gd name="connsiteY5" fmla="*/ 5512 h 10004"/>
                  <a:gd name="connsiteX6" fmla="*/ 827 w 10498"/>
                  <a:gd name="connsiteY6" fmla="*/ 5415 h 10004"/>
                  <a:gd name="connsiteX7" fmla="*/ 3790 w 10498"/>
                  <a:gd name="connsiteY7" fmla="*/ 5415 h 10004"/>
                  <a:gd name="connsiteX8" fmla="*/ 1157 w 10498"/>
                  <a:gd name="connsiteY8" fmla="*/ 9840 h 10004"/>
                  <a:gd name="connsiteX9" fmla="*/ 1486 w 10498"/>
                  <a:gd name="connsiteY9" fmla="*/ 10004 h 10004"/>
                  <a:gd name="connsiteX10" fmla="*/ 1486 w 10498"/>
                  <a:gd name="connsiteY10" fmla="*/ 10004 h 10004"/>
                  <a:gd name="connsiteX11" fmla="*/ 1814 w 10498"/>
                  <a:gd name="connsiteY11" fmla="*/ 9922 h 10004"/>
                  <a:gd name="connsiteX12" fmla="*/ 10375 w 10498"/>
                  <a:gd name="connsiteY12" fmla="*/ 3694 h 10004"/>
                  <a:gd name="connsiteX13" fmla="*/ 10375 w 10498"/>
                  <a:gd name="connsiteY13" fmla="*/ 3530 h 10004"/>
                  <a:gd name="connsiteX14" fmla="*/ 10211 w 10498"/>
                  <a:gd name="connsiteY14" fmla="*/ 3448 h 10004"/>
                  <a:gd name="connsiteX0" fmla="*/ 9935 w 10222"/>
                  <a:gd name="connsiteY0" fmla="*/ 3448 h 10004"/>
                  <a:gd name="connsiteX1" fmla="*/ 6149 w 10222"/>
                  <a:gd name="connsiteY1" fmla="*/ 3448 h 10004"/>
                  <a:gd name="connsiteX2" fmla="*/ 9959 w 10222"/>
                  <a:gd name="connsiteY2" fmla="*/ 1 h 10004"/>
                  <a:gd name="connsiteX3" fmla="*/ 3020 w 10222"/>
                  <a:gd name="connsiteY3" fmla="*/ 5 h 10004"/>
                  <a:gd name="connsiteX4" fmla="*/ 222 w 10222"/>
                  <a:gd name="connsiteY4" fmla="*/ 5251 h 10004"/>
                  <a:gd name="connsiteX5" fmla="*/ 551 w 10222"/>
                  <a:gd name="connsiteY5" fmla="*/ 5415 h 10004"/>
                  <a:gd name="connsiteX6" fmla="*/ 3514 w 10222"/>
                  <a:gd name="connsiteY6" fmla="*/ 5415 h 10004"/>
                  <a:gd name="connsiteX7" fmla="*/ 881 w 10222"/>
                  <a:gd name="connsiteY7" fmla="*/ 9840 h 10004"/>
                  <a:gd name="connsiteX8" fmla="*/ 1210 w 10222"/>
                  <a:gd name="connsiteY8" fmla="*/ 10004 h 10004"/>
                  <a:gd name="connsiteX9" fmla="*/ 1210 w 10222"/>
                  <a:gd name="connsiteY9" fmla="*/ 10004 h 10004"/>
                  <a:gd name="connsiteX10" fmla="*/ 1538 w 10222"/>
                  <a:gd name="connsiteY10" fmla="*/ 9922 h 10004"/>
                  <a:gd name="connsiteX11" fmla="*/ 10099 w 10222"/>
                  <a:gd name="connsiteY11" fmla="*/ 3694 h 10004"/>
                  <a:gd name="connsiteX12" fmla="*/ 10099 w 10222"/>
                  <a:gd name="connsiteY12" fmla="*/ 3530 h 10004"/>
                  <a:gd name="connsiteX13" fmla="*/ 9935 w 10222"/>
                  <a:gd name="connsiteY13" fmla="*/ 3448 h 10004"/>
                  <a:gd name="connsiteX0" fmla="*/ 9878 w 10165"/>
                  <a:gd name="connsiteY0" fmla="*/ 3448 h 10004"/>
                  <a:gd name="connsiteX1" fmla="*/ 6092 w 10165"/>
                  <a:gd name="connsiteY1" fmla="*/ 3448 h 10004"/>
                  <a:gd name="connsiteX2" fmla="*/ 9902 w 10165"/>
                  <a:gd name="connsiteY2" fmla="*/ 1 h 10004"/>
                  <a:gd name="connsiteX3" fmla="*/ 2963 w 10165"/>
                  <a:gd name="connsiteY3" fmla="*/ 5 h 10004"/>
                  <a:gd name="connsiteX4" fmla="*/ 165 w 10165"/>
                  <a:gd name="connsiteY4" fmla="*/ 5251 h 10004"/>
                  <a:gd name="connsiteX5" fmla="*/ 494 w 10165"/>
                  <a:gd name="connsiteY5" fmla="*/ 5415 h 10004"/>
                  <a:gd name="connsiteX6" fmla="*/ 3457 w 10165"/>
                  <a:gd name="connsiteY6" fmla="*/ 5415 h 10004"/>
                  <a:gd name="connsiteX7" fmla="*/ 824 w 10165"/>
                  <a:gd name="connsiteY7" fmla="*/ 9840 h 10004"/>
                  <a:gd name="connsiteX8" fmla="*/ 1153 w 10165"/>
                  <a:gd name="connsiteY8" fmla="*/ 10004 h 10004"/>
                  <a:gd name="connsiteX9" fmla="*/ 1153 w 10165"/>
                  <a:gd name="connsiteY9" fmla="*/ 10004 h 10004"/>
                  <a:gd name="connsiteX10" fmla="*/ 1481 w 10165"/>
                  <a:gd name="connsiteY10" fmla="*/ 9922 h 10004"/>
                  <a:gd name="connsiteX11" fmla="*/ 10042 w 10165"/>
                  <a:gd name="connsiteY11" fmla="*/ 3694 h 10004"/>
                  <a:gd name="connsiteX12" fmla="*/ 10042 w 10165"/>
                  <a:gd name="connsiteY12" fmla="*/ 3530 h 10004"/>
                  <a:gd name="connsiteX13" fmla="*/ 9878 w 10165"/>
                  <a:gd name="connsiteY13" fmla="*/ 3448 h 10004"/>
                  <a:gd name="connsiteX0" fmla="*/ 9735 w 10022"/>
                  <a:gd name="connsiteY0" fmla="*/ 3448 h 10004"/>
                  <a:gd name="connsiteX1" fmla="*/ 5949 w 10022"/>
                  <a:gd name="connsiteY1" fmla="*/ 3448 h 10004"/>
                  <a:gd name="connsiteX2" fmla="*/ 9759 w 10022"/>
                  <a:gd name="connsiteY2" fmla="*/ 1 h 10004"/>
                  <a:gd name="connsiteX3" fmla="*/ 2820 w 10022"/>
                  <a:gd name="connsiteY3" fmla="*/ 5 h 10004"/>
                  <a:gd name="connsiteX4" fmla="*/ 22 w 10022"/>
                  <a:gd name="connsiteY4" fmla="*/ 5251 h 10004"/>
                  <a:gd name="connsiteX5" fmla="*/ 351 w 10022"/>
                  <a:gd name="connsiteY5" fmla="*/ 5415 h 10004"/>
                  <a:gd name="connsiteX6" fmla="*/ 3314 w 10022"/>
                  <a:gd name="connsiteY6" fmla="*/ 5415 h 10004"/>
                  <a:gd name="connsiteX7" fmla="*/ 681 w 10022"/>
                  <a:gd name="connsiteY7" fmla="*/ 9840 h 10004"/>
                  <a:gd name="connsiteX8" fmla="*/ 1010 w 10022"/>
                  <a:gd name="connsiteY8" fmla="*/ 10004 h 10004"/>
                  <a:gd name="connsiteX9" fmla="*/ 1010 w 10022"/>
                  <a:gd name="connsiteY9" fmla="*/ 10004 h 10004"/>
                  <a:gd name="connsiteX10" fmla="*/ 1338 w 10022"/>
                  <a:gd name="connsiteY10" fmla="*/ 9922 h 10004"/>
                  <a:gd name="connsiteX11" fmla="*/ 9899 w 10022"/>
                  <a:gd name="connsiteY11" fmla="*/ 3694 h 10004"/>
                  <a:gd name="connsiteX12" fmla="*/ 9899 w 10022"/>
                  <a:gd name="connsiteY12" fmla="*/ 3530 h 10004"/>
                  <a:gd name="connsiteX13" fmla="*/ 9735 w 10022"/>
                  <a:gd name="connsiteY13" fmla="*/ 3448 h 10004"/>
                  <a:gd name="connsiteX0" fmla="*/ 9735 w 10635"/>
                  <a:gd name="connsiteY0" fmla="*/ 3448 h 10004"/>
                  <a:gd name="connsiteX1" fmla="*/ 5949 w 10635"/>
                  <a:gd name="connsiteY1" fmla="*/ 3448 h 10004"/>
                  <a:gd name="connsiteX2" fmla="*/ 9759 w 10635"/>
                  <a:gd name="connsiteY2" fmla="*/ 1 h 10004"/>
                  <a:gd name="connsiteX3" fmla="*/ 2820 w 10635"/>
                  <a:gd name="connsiteY3" fmla="*/ 5 h 10004"/>
                  <a:gd name="connsiteX4" fmla="*/ 22 w 10635"/>
                  <a:gd name="connsiteY4" fmla="*/ 5251 h 10004"/>
                  <a:gd name="connsiteX5" fmla="*/ 351 w 10635"/>
                  <a:gd name="connsiteY5" fmla="*/ 5415 h 10004"/>
                  <a:gd name="connsiteX6" fmla="*/ 3314 w 10635"/>
                  <a:gd name="connsiteY6" fmla="*/ 5415 h 10004"/>
                  <a:gd name="connsiteX7" fmla="*/ 681 w 10635"/>
                  <a:gd name="connsiteY7" fmla="*/ 9840 h 10004"/>
                  <a:gd name="connsiteX8" fmla="*/ 1010 w 10635"/>
                  <a:gd name="connsiteY8" fmla="*/ 10004 h 10004"/>
                  <a:gd name="connsiteX9" fmla="*/ 1010 w 10635"/>
                  <a:gd name="connsiteY9" fmla="*/ 10004 h 10004"/>
                  <a:gd name="connsiteX10" fmla="*/ 1338 w 10635"/>
                  <a:gd name="connsiteY10" fmla="*/ 9922 h 10004"/>
                  <a:gd name="connsiteX11" fmla="*/ 9899 w 10635"/>
                  <a:gd name="connsiteY11" fmla="*/ 3694 h 10004"/>
                  <a:gd name="connsiteX12" fmla="*/ 9735 w 10635"/>
                  <a:gd name="connsiteY12" fmla="*/ 3448 h 10004"/>
                  <a:gd name="connsiteX0" fmla="*/ 9735 w 10139"/>
                  <a:gd name="connsiteY0" fmla="*/ 3448 h 10004"/>
                  <a:gd name="connsiteX1" fmla="*/ 5949 w 10139"/>
                  <a:gd name="connsiteY1" fmla="*/ 3448 h 10004"/>
                  <a:gd name="connsiteX2" fmla="*/ 9759 w 10139"/>
                  <a:gd name="connsiteY2" fmla="*/ 1 h 10004"/>
                  <a:gd name="connsiteX3" fmla="*/ 2820 w 10139"/>
                  <a:gd name="connsiteY3" fmla="*/ 5 h 10004"/>
                  <a:gd name="connsiteX4" fmla="*/ 22 w 10139"/>
                  <a:gd name="connsiteY4" fmla="*/ 5251 h 10004"/>
                  <a:gd name="connsiteX5" fmla="*/ 351 w 10139"/>
                  <a:gd name="connsiteY5" fmla="*/ 5415 h 10004"/>
                  <a:gd name="connsiteX6" fmla="*/ 3314 w 10139"/>
                  <a:gd name="connsiteY6" fmla="*/ 5415 h 10004"/>
                  <a:gd name="connsiteX7" fmla="*/ 681 w 10139"/>
                  <a:gd name="connsiteY7" fmla="*/ 9840 h 10004"/>
                  <a:gd name="connsiteX8" fmla="*/ 1010 w 10139"/>
                  <a:gd name="connsiteY8" fmla="*/ 10004 h 10004"/>
                  <a:gd name="connsiteX9" fmla="*/ 1010 w 10139"/>
                  <a:gd name="connsiteY9" fmla="*/ 10004 h 10004"/>
                  <a:gd name="connsiteX10" fmla="*/ 1338 w 10139"/>
                  <a:gd name="connsiteY10" fmla="*/ 9922 h 10004"/>
                  <a:gd name="connsiteX11" fmla="*/ 9899 w 10139"/>
                  <a:gd name="connsiteY11" fmla="*/ 3694 h 10004"/>
                  <a:gd name="connsiteX12" fmla="*/ 9735 w 10139"/>
                  <a:gd name="connsiteY12" fmla="*/ 3448 h 10004"/>
                  <a:gd name="connsiteX0" fmla="*/ 9735 w 10123"/>
                  <a:gd name="connsiteY0" fmla="*/ 3448 h 10004"/>
                  <a:gd name="connsiteX1" fmla="*/ 5949 w 10123"/>
                  <a:gd name="connsiteY1" fmla="*/ 3448 h 10004"/>
                  <a:gd name="connsiteX2" fmla="*/ 9759 w 10123"/>
                  <a:gd name="connsiteY2" fmla="*/ 1 h 10004"/>
                  <a:gd name="connsiteX3" fmla="*/ 2820 w 10123"/>
                  <a:gd name="connsiteY3" fmla="*/ 5 h 10004"/>
                  <a:gd name="connsiteX4" fmla="*/ 22 w 10123"/>
                  <a:gd name="connsiteY4" fmla="*/ 5251 h 10004"/>
                  <a:gd name="connsiteX5" fmla="*/ 351 w 10123"/>
                  <a:gd name="connsiteY5" fmla="*/ 5415 h 10004"/>
                  <a:gd name="connsiteX6" fmla="*/ 3314 w 10123"/>
                  <a:gd name="connsiteY6" fmla="*/ 5415 h 10004"/>
                  <a:gd name="connsiteX7" fmla="*/ 681 w 10123"/>
                  <a:gd name="connsiteY7" fmla="*/ 9840 h 10004"/>
                  <a:gd name="connsiteX8" fmla="*/ 1010 w 10123"/>
                  <a:gd name="connsiteY8" fmla="*/ 10004 h 10004"/>
                  <a:gd name="connsiteX9" fmla="*/ 1010 w 10123"/>
                  <a:gd name="connsiteY9" fmla="*/ 10004 h 10004"/>
                  <a:gd name="connsiteX10" fmla="*/ 1338 w 10123"/>
                  <a:gd name="connsiteY10" fmla="*/ 9922 h 10004"/>
                  <a:gd name="connsiteX11" fmla="*/ 9899 w 10123"/>
                  <a:gd name="connsiteY11" fmla="*/ 3694 h 10004"/>
                  <a:gd name="connsiteX12" fmla="*/ 9735 w 10123"/>
                  <a:gd name="connsiteY12" fmla="*/ 3448 h 10004"/>
                  <a:gd name="connsiteX0" fmla="*/ 9735 w 9991"/>
                  <a:gd name="connsiteY0" fmla="*/ 3448 h 10004"/>
                  <a:gd name="connsiteX1" fmla="*/ 5949 w 9991"/>
                  <a:gd name="connsiteY1" fmla="*/ 3448 h 10004"/>
                  <a:gd name="connsiteX2" fmla="*/ 9759 w 9991"/>
                  <a:gd name="connsiteY2" fmla="*/ 1 h 10004"/>
                  <a:gd name="connsiteX3" fmla="*/ 2820 w 9991"/>
                  <a:gd name="connsiteY3" fmla="*/ 5 h 10004"/>
                  <a:gd name="connsiteX4" fmla="*/ 22 w 9991"/>
                  <a:gd name="connsiteY4" fmla="*/ 5251 h 10004"/>
                  <a:gd name="connsiteX5" fmla="*/ 351 w 9991"/>
                  <a:gd name="connsiteY5" fmla="*/ 5415 h 10004"/>
                  <a:gd name="connsiteX6" fmla="*/ 3314 w 9991"/>
                  <a:gd name="connsiteY6" fmla="*/ 5415 h 10004"/>
                  <a:gd name="connsiteX7" fmla="*/ 681 w 9991"/>
                  <a:gd name="connsiteY7" fmla="*/ 9840 h 10004"/>
                  <a:gd name="connsiteX8" fmla="*/ 1010 w 9991"/>
                  <a:gd name="connsiteY8" fmla="*/ 10004 h 10004"/>
                  <a:gd name="connsiteX9" fmla="*/ 1010 w 9991"/>
                  <a:gd name="connsiteY9" fmla="*/ 10004 h 10004"/>
                  <a:gd name="connsiteX10" fmla="*/ 1338 w 9991"/>
                  <a:gd name="connsiteY10" fmla="*/ 9922 h 10004"/>
                  <a:gd name="connsiteX11" fmla="*/ 9899 w 9991"/>
                  <a:gd name="connsiteY11" fmla="*/ 3694 h 10004"/>
                  <a:gd name="connsiteX12" fmla="*/ 9735 w 9991"/>
                  <a:gd name="connsiteY12" fmla="*/ 3448 h 10004"/>
                  <a:gd name="connsiteX0" fmla="*/ 9744 w 10000"/>
                  <a:gd name="connsiteY0" fmla="*/ 3447 h 10000"/>
                  <a:gd name="connsiteX1" fmla="*/ 5954 w 10000"/>
                  <a:gd name="connsiteY1" fmla="*/ 3447 h 10000"/>
                  <a:gd name="connsiteX2" fmla="*/ 9768 w 10000"/>
                  <a:gd name="connsiteY2" fmla="*/ 1 h 10000"/>
                  <a:gd name="connsiteX3" fmla="*/ 2823 w 10000"/>
                  <a:gd name="connsiteY3" fmla="*/ 5 h 10000"/>
                  <a:gd name="connsiteX4" fmla="*/ 22 w 10000"/>
                  <a:gd name="connsiteY4" fmla="*/ 5249 h 10000"/>
                  <a:gd name="connsiteX5" fmla="*/ 351 w 10000"/>
                  <a:gd name="connsiteY5" fmla="*/ 5413 h 10000"/>
                  <a:gd name="connsiteX6" fmla="*/ 3317 w 10000"/>
                  <a:gd name="connsiteY6" fmla="*/ 5413 h 10000"/>
                  <a:gd name="connsiteX7" fmla="*/ 682 w 10000"/>
                  <a:gd name="connsiteY7" fmla="*/ 9836 h 10000"/>
                  <a:gd name="connsiteX8" fmla="*/ 1011 w 10000"/>
                  <a:gd name="connsiteY8" fmla="*/ 10000 h 10000"/>
                  <a:gd name="connsiteX9" fmla="*/ 1339 w 10000"/>
                  <a:gd name="connsiteY9" fmla="*/ 9918 h 10000"/>
                  <a:gd name="connsiteX10" fmla="*/ 9908 w 10000"/>
                  <a:gd name="connsiteY10" fmla="*/ 3693 h 10000"/>
                  <a:gd name="connsiteX11" fmla="*/ 9744 w 10000"/>
                  <a:gd name="connsiteY11" fmla="*/ 3447 h 10000"/>
                  <a:gd name="connsiteX0" fmla="*/ 9744 w 10000"/>
                  <a:gd name="connsiteY0" fmla="*/ 3447 h 10454"/>
                  <a:gd name="connsiteX1" fmla="*/ 5954 w 10000"/>
                  <a:gd name="connsiteY1" fmla="*/ 3447 h 10454"/>
                  <a:gd name="connsiteX2" fmla="*/ 9768 w 10000"/>
                  <a:gd name="connsiteY2" fmla="*/ 1 h 10454"/>
                  <a:gd name="connsiteX3" fmla="*/ 2823 w 10000"/>
                  <a:gd name="connsiteY3" fmla="*/ 5 h 10454"/>
                  <a:gd name="connsiteX4" fmla="*/ 22 w 10000"/>
                  <a:gd name="connsiteY4" fmla="*/ 5249 h 10454"/>
                  <a:gd name="connsiteX5" fmla="*/ 351 w 10000"/>
                  <a:gd name="connsiteY5" fmla="*/ 5413 h 10454"/>
                  <a:gd name="connsiteX6" fmla="*/ 3317 w 10000"/>
                  <a:gd name="connsiteY6" fmla="*/ 5413 h 10454"/>
                  <a:gd name="connsiteX7" fmla="*/ 682 w 10000"/>
                  <a:gd name="connsiteY7" fmla="*/ 9836 h 10454"/>
                  <a:gd name="connsiteX8" fmla="*/ 1155 w 10000"/>
                  <a:gd name="connsiteY8" fmla="*/ 10419 h 10454"/>
                  <a:gd name="connsiteX9" fmla="*/ 1339 w 10000"/>
                  <a:gd name="connsiteY9" fmla="*/ 9918 h 10454"/>
                  <a:gd name="connsiteX10" fmla="*/ 9908 w 10000"/>
                  <a:gd name="connsiteY10" fmla="*/ 3693 h 10454"/>
                  <a:gd name="connsiteX11" fmla="*/ 9744 w 10000"/>
                  <a:gd name="connsiteY11" fmla="*/ 3447 h 10454"/>
                  <a:gd name="connsiteX0" fmla="*/ 9744 w 10000"/>
                  <a:gd name="connsiteY0" fmla="*/ 3447 h 10552"/>
                  <a:gd name="connsiteX1" fmla="*/ 5954 w 10000"/>
                  <a:gd name="connsiteY1" fmla="*/ 3447 h 10552"/>
                  <a:gd name="connsiteX2" fmla="*/ 9768 w 10000"/>
                  <a:gd name="connsiteY2" fmla="*/ 1 h 10552"/>
                  <a:gd name="connsiteX3" fmla="*/ 2823 w 10000"/>
                  <a:gd name="connsiteY3" fmla="*/ 5 h 10552"/>
                  <a:gd name="connsiteX4" fmla="*/ 22 w 10000"/>
                  <a:gd name="connsiteY4" fmla="*/ 5249 h 10552"/>
                  <a:gd name="connsiteX5" fmla="*/ 351 w 10000"/>
                  <a:gd name="connsiteY5" fmla="*/ 5413 h 10552"/>
                  <a:gd name="connsiteX6" fmla="*/ 3317 w 10000"/>
                  <a:gd name="connsiteY6" fmla="*/ 5413 h 10552"/>
                  <a:gd name="connsiteX7" fmla="*/ 682 w 10000"/>
                  <a:gd name="connsiteY7" fmla="*/ 9836 h 10552"/>
                  <a:gd name="connsiteX8" fmla="*/ 1339 w 10000"/>
                  <a:gd name="connsiteY8" fmla="*/ 9918 h 10552"/>
                  <a:gd name="connsiteX9" fmla="*/ 9908 w 10000"/>
                  <a:gd name="connsiteY9" fmla="*/ 3693 h 10552"/>
                  <a:gd name="connsiteX10" fmla="*/ 9744 w 10000"/>
                  <a:gd name="connsiteY10" fmla="*/ 3447 h 10552"/>
                  <a:gd name="connsiteX0" fmla="*/ 9744 w 10000"/>
                  <a:gd name="connsiteY0" fmla="*/ 3447 h 10307"/>
                  <a:gd name="connsiteX1" fmla="*/ 5954 w 10000"/>
                  <a:gd name="connsiteY1" fmla="*/ 3447 h 10307"/>
                  <a:gd name="connsiteX2" fmla="*/ 9768 w 10000"/>
                  <a:gd name="connsiteY2" fmla="*/ 1 h 10307"/>
                  <a:gd name="connsiteX3" fmla="*/ 2823 w 10000"/>
                  <a:gd name="connsiteY3" fmla="*/ 5 h 10307"/>
                  <a:gd name="connsiteX4" fmla="*/ 22 w 10000"/>
                  <a:gd name="connsiteY4" fmla="*/ 5249 h 10307"/>
                  <a:gd name="connsiteX5" fmla="*/ 351 w 10000"/>
                  <a:gd name="connsiteY5" fmla="*/ 5413 h 10307"/>
                  <a:gd name="connsiteX6" fmla="*/ 3317 w 10000"/>
                  <a:gd name="connsiteY6" fmla="*/ 5413 h 10307"/>
                  <a:gd name="connsiteX7" fmla="*/ 682 w 10000"/>
                  <a:gd name="connsiteY7" fmla="*/ 9836 h 10307"/>
                  <a:gd name="connsiteX8" fmla="*/ 1339 w 10000"/>
                  <a:gd name="connsiteY8" fmla="*/ 9918 h 10307"/>
                  <a:gd name="connsiteX9" fmla="*/ 9908 w 10000"/>
                  <a:gd name="connsiteY9" fmla="*/ 3693 h 10307"/>
                  <a:gd name="connsiteX10" fmla="*/ 9744 w 10000"/>
                  <a:gd name="connsiteY10" fmla="*/ 3447 h 10307"/>
                  <a:gd name="connsiteX0" fmla="*/ 9744 w 10000"/>
                  <a:gd name="connsiteY0" fmla="*/ 3447 h 10154"/>
                  <a:gd name="connsiteX1" fmla="*/ 5954 w 10000"/>
                  <a:gd name="connsiteY1" fmla="*/ 3447 h 10154"/>
                  <a:gd name="connsiteX2" fmla="*/ 9768 w 10000"/>
                  <a:gd name="connsiteY2" fmla="*/ 1 h 10154"/>
                  <a:gd name="connsiteX3" fmla="*/ 2823 w 10000"/>
                  <a:gd name="connsiteY3" fmla="*/ 5 h 10154"/>
                  <a:gd name="connsiteX4" fmla="*/ 22 w 10000"/>
                  <a:gd name="connsiteY4" fmla="*/ 5249 h 10154"/>
                  <a:gd name="connsiteX5" fmla="*/ 351 w 10000"/>
                  <a:gd name="connsiteY5" fmla="*/ 5413 h 10154"/>
                  <a:gd name="connsiteX6" fmla="*/ 3317 w 10000"/>
                  <a:gd name="connsiteY6" fmla="*/ 5413 h 10154"/>
                  <a:gd name="connsiteX7" fmla="*/ 682 w 10000"/>
                  <a:gd name="connsiteY7" fmla="*/ 9836 h 10154"/>
                  <a:gd name="connsiteX8" fmla="*/ 1339 w 10000"/>
                  <a:gd name="connsiteY8" fmla="*/ 9918 h 10154"/>
                  <a:gd name="connsiteX9" fmla="*/ 9908 w 10000"/>
                  <a:gd name="connsiteY9" fmla="*/ 3693 h 10154"/>
                  <a:gd name="connsiteX10" fmla="*/ 9744 w 10000"/>
                  <a:gd name="connsiteY10" fmla="*/ 3447 h 1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154">
                    <a:moveTo>
                      <a:pt x="9744" y="3447"/>
                    </a:moveTo>
                    <a:lnTo>
                      <a:pt x="5954" y="3447"/>
                    </a:lnTo>
                    <a:cubicBezTo>
                      <a:pt x="5958" y="2873"/>
                      <a:pt x="10529" y="-11"/>
                      <a:pt x="9768" y="1"/>
                    </a:cubicBezTo>
                    <a:cubicBezTo>
                      <a:pt x="9833" y="14"/>
                      <a:pt x="5138" y="4"/>
                      <a:pt x="2823" y="5"/>
                    </a:cubicBezTo>
                    <a:cubicBezTo>
                      <a:pt x="2630" y="1615"/>
                      <a:pt x="97" y="5065"/>
                      <a:pt x="22" y="5249"/>
                    </a:cubicBezTo>
                    <a:cubicBezTo>
                      <a:pt x="-53" y="5433"/>
                      <a:pt x="66" y="5410"/>
                      <a:pt x="351" y="5413"/>
                    </a:cubicBezTo>
                    <a:cubicBezTo>
                      <a:pt x="902" y="5419"/>
                      <a:pt x="2328" y="5413"/>
                      <a:pt x="3317" y="5413"/>
                    </a:cubicBezTo>
                    <a:cubicBezTo>
                      <a:pt x="2439" y="6887"/>
                      <a:pt x="844" y="9504"/>
                      <a:pt x="682" y="9836"/>
                    </a:cubicBezTo>
                    <a:cubicBezTo>
                      <a:pt x="520" y="10168"/>
                      <a:pt x="763" y="10308"/>
                      <a:pt x="1339" y="9918"/>
                    </a:cubicBezTo>
                    <a:lnTo>
                      <a:pt x="9908" y="3693"/>
                    </a:lnTo>
                    <a:cubicBezTo>
                      <a:pt x="10058" y="3548"/>
                      <a:pt x="10042" y="3452"/>
                      <a:pt x="9744" y="344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 name="Groupe 3">
            <a:extLst>
              <a:ext uri="{FF2B5EF4-FFF2-40B4-BE49-F238E27FC236}">
                <a16:creationId xmlns:a16="http://schemas.microsoft.com/office/drawing/2014/main" id="{6B5D3531-D8C8-4D35-9124-053D1FD7C9FF}"/>
              </a:ext>
            </a:extLst>
          </p:cNvPr>
          <p:cNvGrpSpPr/>
          <p:nvPr/>
        </p:nvGrpSpPr>
        <p:grpSpPr>
          <a:xfrm>
            <a:off x="221739" y="3811132"/>
            <a:ext cx="851512" cy="1090031"/>
            <a:chOff x="221739" y="3927097"/>
            <a:chExt cx="851512" cy="1090031"/>
          </a:xfrm>
        </p:grpSpPr>
        <p:sp>
          <p:nvSpPr>
            <p:cNvPr id="90" name="ZoneTexte 110">
              <a:extLst>
                <a:ext uri="{FF2B5EF4-FFF2-40B4-BE49-F238E27FC236}">
                  <a16:creationId xmlns:a16="http://schemas.microsoft.com/office/drawing/2014/main" id="{265D03A1-46FF-43F4-9DE1-B056613FC2DA}"/>
                </a:ext>
              </a:extLst>
            </p:cNvPr>
            <p:cNvSpPr txBox="1"/>
            <p:nvPr/>
          </p:nvSpPr>
          <p:spPr>
            <a:xfrm>
              <a:off x="312869" y="4617018"/>
              <a:ext cx="6555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err="1">
                  <a:ln>
                    <a:noFill/>
                  </a:ln>
                  <a:solidFill>
                    <a:prstClr val="black"/>
                  </a:solidFill>
                  <a:effectLst/>
                  <a:uLnTx/>
                  <a:uFillTx/>
                  <a:latin typeface="Ubuntu"/>
                  <a:ea typeface="+mn-ea"/>
                  <a:cs typeface="+mn-cs"/>
                </a:rPr>
                <a:t>Oil</a:t>
              </a:r>
              <a:endParaRPr kumimoji="0" lang="fr-FR" sz="2000" b="0" i="0" u="none" strike="noStrike" kern="1200" cap="none" spc="0" normalizeH="0" baseline="0" noProof="0">
                <a:ln>
                  <a:noFill/>
                </a:ln>
                <a:solidFill>
                  <a:prstClr val="black"/>
                </a:solidFill>
                <a:effectLst/>
                <a:uLnTx/>
                <a:uFillTx/>
                <a:latin typeface="Ubuntu"/>
                <a:ea typeface="+mn-ea"/>
                <a:cs typeface="+mn-cs"/>
              </a:endParaRPr>
            </a:p>
          </p:txBody>
        </p:sp>
        <p:grpSp>
          <p:nvGrpSpPr>
            <p:cNvPr id="176" name="Group 8">
              <a:extLst>
                <a:ext uri="{FF2B5EF4-FFF2-40B4-BE49-F238E27FC236}">
                  <a16:creationId xmlns:a16="http://schemas.microsoft.com/office/drawing/2014/main" id="{E1003E63-85F9-43AF-A439-433913C72E2A}"/>
                </a:ext>
              </a:extLst>
            </p:cNvPr>
            <p:cNvGrpSpPr/>
            <p:nvPr/>
          </p:nvGrpSpPr>
          <p:grpSpPr>
            <a:xfrm>
              <a:off x="221739" y="3927097"/>
              <a:ext cx="851512" cy="792000"/>
              <a:chOff x="6276149" y="1670400"/>
              <a:chExt cx="851512" cy="792000"/>
            </a:xfrm>
          </p:grpSpPr>
          <p:sp>
            <p:nvSpPr>
              <p:cNvPr id="177" name="Freeform 23">
                <a:extLst>
                  <a:ext uri="{FF2B5EF4-FFF2-40B4-BE49-F238E27FC236}">
                    <a16:creationId xmlns:a16="http://schemas.microsoft.com/office/drawing/2014/main" id="{7E28ACE8-1F6A-4670-8AE7-6B6ADFA20204}"/>
                  </a:ext>
                </a:extLst>
              </p:cNvPr>
              <p:cNvSpPr>
                <a:spLocks noChangeAspect="1"/>
              </p:cNvSpPr>
              <p:nvPr/>
            </p:nvSpPr>
            <p:spPr bwMode="auto">
              <a:xfrm>
                <a:off x="6276149" y="1670400"/>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9">
                <a:extLst>
                  <a:ext uri="{FF2B5EF4-FFF2-40B4-BE49-F238E27FC236}">
                    <a16:creationId xmlns:a16="http://schemas.microsoft.com/office/drawing/2014/main" id="{46245BC0-611D-4DA3-A066-802C71A4BEA4}"/>
                  </a:ext>
                </a:extLst>
              </p:cNvPr>
              <p:cNvSpPr>
                <a:spLocks noEditPoints="1"/>
              </p:cNvSpPr>
              <p:nvPr/>
            </p:nvSpPr>
            <p:spPr bwMode="auto">
              <a:xfrm>
                <a:off x="6576149" y="1905694"/>
                <a:ext cx="312722" cy="338885"/>
              </a:xfrm>
              <a:custGeom>
                <a:avLst/>
                <a:gdLst>
                  <a:gd name="T0" fmla="*/ 101 w 106"/>
                  <a:gd name="T1" fmla="*/ 27 h 115"/>
                  <a:gd name="T2" fmla="*/ 101 w 106"/>
                  <a:gd name="T3" fmla="*/ 27 h 115"/>
                  <a:gd name="T4" fmla="*/ 77 w 106"/>
                  <a:gd name="T5" fmla="*/ 3 h 115"/>
                  <a:gd name="T6" fmla="*/ 70 w 106"/>
                  <a:gd name="T7" fmla="*/ 10 h 115"/>
                  <a:gd name="T8" fmla="*/ 84 w 106"/>
                  <a:gd name="T9" fmla="*/ 23 h 115"/>
                  <a:gd name="T10" fmla="*/ 74 w 106"/>
                  <a:gd name="T11" fmla="*/ 38 h 115"/>
                  <a:gd name="T12" fmla="*/ 90 w 106"/>
                  <a:gd name="T13" fmla="*/ 54 h 115"/>
                  <a:gd name="T14" fmla="*/ 96 w 106"/>
                  <a:gd name="T15" fmla="*/ 53 h 115"/>
                  <a:gd name="T16" fmla="*/ 96 w 106"/>
                  <a:gd name="T17" fmla="*/ 99 h 115"/>
                  <a:gd name="T18" fmla="*/ 90 w 106"/>
                  <a:gd name="T19" fmla="*/ 106 h 115"/>
                  <a:gd name="T20" fmla="*/ 83 w 106"/>
                  <a:gd name="T21" fmla="*/ 99 h 115"/>
                  <a:gd name="T22" fmla="*/ 83 w 106"/>
                  <a:gd name="T23" fmla="*/ 70 h 115"/>
                  <a:gd name="T24" fmla="*/ 70 w 106"/>
                  <a:gd name="T25" fmla="*/ 57 h 115"/>
                  <a:gd name="T26" fmla="*/ 64 w 106"/>
                  <a:gd name="T27" fmla="*/ 57 h 115"/>
                  <a:gd name="T28" fmla="*/ 64 w 106"/>
                  <a:gd name="T29" fmla="*/ 12 h 115"/>
                  <a:gd name="T30" fmla="*/ 51 w 106"/>
                  <a:gd name="T31" fmla="*/ 0 h 115"/>
                  <a:gd name="T32" fmla="*/ 12 w 106"/>
                  <a:gd name="T33" fmla="*/ 0 h 115"/>
                  <a:gd name="T34" fmla="*/ 0 w 106"/>
                  <a:gd name="T35" fmla="*/ 12 h 115"/>
                  <a:gd name="T36" fmla="*/ 0 w 106"/>
                  <a:gd name="T37" fmla="*/ 115 h 115"/>
                  <a:gd name="T38" fmla="*/ 64 w 106"/>
                  <a:gd name="T39" fmla="*/ 115 h 115"/>
                  <a:gd name="T40" fmla="*/ 64 w 106"/>
                  <a:gd name="T41" fmla="*/ 67 h 115"/>
                  <a:gd name="T42" fmla="*/ 74 w 106"/>
                  <a:gd name="T43" fmla="*/ 67 h 115"/>
                  <a:gd name="T44" fmla="*/ 74 w 106"/>
                  <a:gd name="T45" fmla="*/ 99 h 115"/>
                  <a:gd name="T46" fmla="*/ 90 w 106"/>
                  <a:gd name="T47" fmla="*/ 115 h 115"/>
                  <a:gd name="T48" fmla="*/ 106 w 106"/>
                  <a:gd name="T49" fmla="*/ 99 h 115"/>
                  <a:gd name="T50" fmla="*/ 106 w 106"/>
                  <a:gd name="T51" fmla="*/ 38 h 115"/>
                  <a:gd name="T52" fmla="*/ 101 w 106"/>
                  <a:gd name="T53" fmla="*/ 27 h 115"/>
                  <a:gd name="T54" fmla="*/ 51 w 106"/>
                  <a:gd name="T55" fmla="*/ 45 h 115"/>
                  <a:gd name="T56" fmla="*/ 12 w 106"/>
                  <a:gd name="T57" fmla="*/ 45 h 115"/>
                  <a:gd name="T58" fmla="*/ 12 w 106"/>
                  <a:gd name="T59" fmla="*/ 12 h 115"/>
                  <a:gd name="T60" fmla="*/ 51 w 106"/>
                  <a:gd name="T61" fmla="*/ 12 h 115"/>
                  <a:gd name="T62" fmla="*/ 51 w 106"/>
                  <a:gd name="T63" fmla="*/ 45 h 115"/>
                  <a:gd name="T64" fmla="*/ 51 w 106"/>
                  <a:gd name="T65" fmla="*/ 45 h 115"/>
                  <a:gd name="T66" fmla="*/ 90 w 106"/>
                  <a:gd name="T67" fmla="*/ 45 h 115"/>
                  <a:gd name="T68" fmla="*/ 83 w 106"/>
                  <a:gd name="T69" fmla="*/ 38 h 115"/>
                  <a:gd name="T70" fmla="*/ 90 w 106"/>
                  <a:gd name="T71" fmla="*/ 32 h 115"/>
                  <a:gd name="T72" fmla="*/ 96 w 106"/>
                  <a:gd name="T73" fmla="*/ 38 h 115"/>
                  <a:gd name="T74" fmla="*/ 90 w 106"/>
                  <a:gd name="T75"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15">
                    <a:moveTo>
                      <a:pt x="101" y="27"/>
                    </a:moveTo>
                    <a:cubicBezTo>
                      <a:pt x="101" y="27"/>
                      <a:pt x="101" y="27"/>
                      <a:pt x="101" y="27"/>
                    </a:cubicBezTo>
                    <a:cubicBezTo>
                      <a:pt x="77" y="3"/>
                      <a:pt x="77" y="3"/>
                      <a:pt x="77" y="3"/>
                    </a:cubicBezTo>
                    <a:cubicBezTo>
                      <a:pt x="70" y="10"/>
                      <a:pt x="70" y="10"/>
                      <a:pt x="70" y="10"/>
                    </a:cubicBezTo>
                    <a:cubicBezTo>
                      <a:pt x="84" y="23"/>
                      <a:pt x="84" y="23"/>
                      <a:pt x="84" y="23"/>
                    </a:cubicBezTo>
                    <a:cubicBezTo>
                      <a:pt x="78" y="25"/>
                      <a:pt x="74" y="31"/>
                      <a:pt x="74" y="38"/>
                    </a:cubicBezTo>
                    <a:cubicBezTo>
                      <a:pt x="74" y="47"/>
                      <a:pt x="81" y="54"/>
                      <a:pt x="90" y="54"/>
                    </a:cubicBezTo>
                    <a:cubicBezTo>
                      <a:pt x="92" y="54"/>
                      <a:pt x="94" y="54"/>
                      <a:pt x="96" y="53"/>
                    </a:cubicBezTo>
                    <a:cubicBezTo>
                      <a:pt x="96" y="99"/>
                      <a:pt x="96" y="99"/>
                      <a:pt x="96" y="99"/>
                    </a:cubicBezTo>
                    <a:cubicBezTo>
                      <a:pt x="96" y="103"/>
                      <a:pt x="93" y="106"/>
                      <a:pt x="90" y="106"/>
                    </a:cubicBezTo>
                    <a:cubicBezTo>
                      <a:pt x="86" y="106"/>
                      <a:pt x="83" y="103"/>
                      <a:pt x="83" y="99"/>
                    </a:cubicBezTo>
                    <a:cubicBezTo>
                      <a:pt x="83" y="70"/>
                      <a:pt x="83" y="70"/>
                      <a:pt x="83" y="70"/>
                    </a:cubicBezTo>
                    <a:cubicBezTo>
                      <a:pt x="83" y="63"/>
                      <a:pt x="77" y="57"/>
                      <a:pt x="70" y="57"/>
                    </a:cubicBezTo>
                    <a:cubicBezTo>
                      <a:pt x="64" y="57"/>
                      <a:pt x="64" y="57"/>
                      <a:pt x="64" y="57"/>
                    </a:cubicBezTo>
                    <a:cubicBezTo>
                      <a:pt x="64" y="12"/>
                      <a:pt x="64" y="12"/>
                      <a:pt x="64" y="12"/>
                    </a:cubicBezTo>
                    <a:cubicBezTo>
                      <a:pt x="64" y="5"/>
                      <a:pt x="58" y="0"/>
                      <a:pt x="51" y="0"/>
                    </a:cubicBezTo>
                    <a:cubicBezTo>
                      <a:pt x="12" y="0"/>
                      <a:pt x="12" y="0"/>
                      <a:pt x="12" y="0"/>
                    </a:cubicBezTo>
                    <a:cubicBezTo>
                      <a:pt x="5" y="0"/>
                      <a:pt x="0" y="5"/>
                      <a:pt x="0" y="12"/>
                    </a:cubicBezTo>
                    <a:cubicBezTo>
                      <a:pt x="0" y="115"/>
                      <a:pt x="0" y="115"/>
                      <a:pt x="0" y="115"/>
                    </a:cubicBezTo>
                    <a:cubicBezTo>
                      <a:pt x="64" y="115"/>
                      <a:pt x="64" y="115"/>
                      <a:pt x="64" y="115"/>
                    </a:cubicBezTo>
                    <a:cubicBezTo>
                      <a:pt x="64" y="67"/>
                      <a:pt x="64" y="67"/>
                      <a:pt x="64" y="67"/>
                    </a:cubicBezTo>
                    <a:cubicBezTo>
                      <a:pt x="74" y="67"/>
                      <a:pt x="74" y="67"/>
                      <a:pt x="74" y="67"/>
                    </a:cubicBezTo>
                    <a:cubicBezTo>
                      <a:pt x="74" y="99"/>
                      <a:pt x="74" y="99"/>
                      <a:pt x="74" y="99"/>
                    </a:cubicBezTo>
                    <a:cubicBezTo>
                      <a:pt x="74" y="108"/>
                      <a:pt x="81" y="115"/>
                      <a:pt x="90" y="115"/>
                    </a:cubicBezTo>
                    <a:cubicBezTo>
                      <a:pt x="99" y="115"/>
                      <a:pt x="106" y="108"/>
                      <a:pt x="106" y="99"/>
                    </a:cubicBezTo>
                    <a:cubicBezTo>
                      <a:pt x="106" y="38"/>
                      <a:pt x="106" y="38"/>
                      <a:pt x="106" y="38"/>
                    </a:cubicBezTo>
                    <a:cubicBezTo>
                      <a:pt x="106" y="34"/>
                      <a:pt x="104" y="30"/>
                      <a:pt x="101" y="27"/>
                    </a:cubicBezTo>
                    <a:close/>
                    <a:moveTo>
                      <a:pt x="51" y="45"/>
                    </a:moveTo>
                    <a:cubicBezTo>
                      <a:pt x="12" y="45"/>
                      <a:pt x="12" y="45"/>
                      <a:pt x="12" y="45"/>
                    </a:cubicBezTo>
                    <a:cubicBezTo>
                      <a:pt x="12" y="12"/>
                      <a:pt x="12" y="12"/>
                      <a:pt x="12" y="12"/>
                    </a:cubicBezTo>
                    <a:cubicBezTo>
                      <a:pt x="51" y="12"/>
                      <a:pt x="51" y="12"/>
                      <a:pt x="51" y="12"/>
                    </a:cubicBezTo>
                    <a:cubicBezTo>
                      <a:pt x="51" y="45"/>
                      <a:pt x="51" y="45"/>
                      <a:pt x="51" y="45"/>
                    </a:cubicBezTo>
                    <a:cubicBezTo>
                      <a:pt x="51" y="45"/>
                      <a:pt x="51" y="45"/>
                      <a:pt x="51" y="45"/>
                    </a:cubicBezTo>
                    <a:close/>
                    <a:moveTo>
                      <a:pt x="90" y="45"/>
                    </a:moveTo>
                    <a:cubicBezTo>
                      <a:pt x="86" y="45"/>
                      <a:pt x="83" y="42"/>
                      <a:pt x="83" y="38"/>
                    </a:cubicBezTo>
                    <a:cubicBezTo>
                      <a:pt x="83" y="35"/>
                      <a:pt x="86" y="32"/>
                      <a:pt x="90" y="32"/>
                    </a:cubicBezTo>
                    <a:cubicBezTo>
                      <a:pt x="93" y="32"/>
                      <a:pt x="96" y="35"/>
                      <a:pt x="96" y="38"/>
                    </a:cubicBezTo>
                    <a:cubicBezTo>
                      <a:pt x="96" y="42"/>
                      <a:pt x="93" y="45"/>
                      <a:pt x="90"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6" name="Groupe 15">
            <a:extLst>
              <a:ext uri="{FF2B5EF4-FFF2-40B4-BE49-F238E27FC236}">
                <a16:creationId xmlns:a16="http://schemas.microsoft.com/office/drawing/2014/main" id="{AE4ACC99-0783-4478-9423-5F213D142719}"/>
              </a:ext>
            </a:extLst>
          </p:cNvPr>
          <p:cNvGrpSpPr/>
          <p:nvPr/>
        </p:nvGrpSpPr>
        <p:grpSpPr>
          <a:xfrm>
            <a:off x="221739" y="2432007"/>
            <a:ext cx="851512" cy="792000"/>
            <a:chOff x="-1953080" y="3918448"/>
            <a:chExt cx="851512" cy="792000"/>
          </a:xfrm>
        </p:grpSpPr>
        <p:sp>
          <p:nvSpPr>
            <p:cNvPr id="188" name="Freeform 23">
              <a:extLst>
                <a:ext uri="{FF2B5EF4-FFF2-40B4-BE49-F238E27FC236}">
                  <a16:creationId xmlns:a16="http://schemas.microsoft.com/office/drawing/2014/main" id="{5B9230C8-E252-4565-AD0F-288616D38B14}"/>
                </a:ext>
              </a:extLst>
            </p:cNvPr>
            <p:cNvSpPr>
              <a:spLocks noChangeAspect="1"/>
            </p:cNvSpPr>
            <p:nvPr/>
          </p:nvSpPr>
          <p:spPr bwMode="auto">
            <a:xfrm>
              <a:off x="-1953080" y="3918448"/>
              <a:ext cx="851512" cy="792000"/>
            </a:xfrm>
            <a:custGeom>
              <a:avLst/>
              <a:gdLst>
                <a:gd name="T0" fmla="*/ 34 w 233"/>
                <a:gd name="T1" fmla="*/ 170 h 217"/>
                <a:gd name="T2" fmla="*/ 56 w 233"/>
                <a:gd name="T3" fmla="*/ 32 h 217"/>
                <a:gd name="T4" fmla="*/ 199 w 233"/>
                <a:gd name="T5" fmla="*/ 52 h 217"/>
                <a:gd name="T6" fmla="*/ 173 w 233"/>
                <a:gd name="T7" fmla="*/ 184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2"/>
                  </a:cubicBezTo>
                  <a:cubicBezTo>
                    <a:pt x="102" y="0"/>
                    <a:pt x="166" y="9"/>
                    <a:pt x="199" y="52"/>
                  </a:cubicBezTo>
                  <a:cubicBezTo>
                    <a:pt x="233" y="96"/>
                    <a:pt x="219" y="152"/>
                    <a:pt x="173" y="184"/>
                  </a:cubicBezTo>
                  <a:cubicBezTo>
                    <a:pt x="128" y="217"/>
                    <a:pt x="67" y="213"/>
                    <a:pt x="34" y="170"/>
                  </a:cubicBezTo>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Shape 248">
              <a:extLst>
                <a:ext uri="{FF2B5EF4-FFF2-40B4-BE49-F238E27FC236}">
                  <a16:creationId xmlns:a16="http://schemas.microsoft.com/office/drawing/2014/main" id="{77249C78-CD42-4B1A-884E-37D02F115AC0}"/>
                </a:ext>
              </a:extLst>
            </p:cNvPr>
            <p:cNvSpPr/>
            <p:nvPr/>
          </p:nvSpPr>
          <p:spPr>
            <a:xfrm>
              <a:off x="-1694278" y="4091204"/>
              <a:ext cx="344598" cy="504540"/>
            </a:xfrm>
            <a:custGeom>
              <a:avLst/>
              <a:gdLst>
                <a:gd name="connsiteX0" fmla="*/ 331067 w 351948"/>
                <a:gd name="connsiteY0" fmla="*/ 264795 h 515302"/>
                <a:gd name="connsiteX1" fmla="*/ 252962 w 351948"/>
                <a:gd name="connsiteY1" fmla="*/ 333375 h 515302"/>
                <a:gd name="connsiteX2" fmla="*/ 227245 w 351948"/>
                <a:gd name="connsiteY2" fmla="*/ 240030 h 515302"/>
                <a:gd name="connsiteX3" fmla="*/ 146282 w 351948"/>
                <a:gd name="connsiteY3" fmla="*/ 0 h 515302"/>
                <a:gd name="connsiteX4" fmla="*/ 84370 w 351948"/>
                <a:gd name="connsiteY4" fmla="*/ 190500 h 515302"/>
                <a:gd name="connsiteX5" fmla="*/ 12932 w 351948"/>
                <a:gd name="connsiteY5" fmla="*/ 274320 h 515302"/>
                <a:gd name="connsiteX6" fmla="*/ 71987 w 351948"/>
                <a:gd name="connsiteY6" fmla="*/ 481013 h 515302"/>
                <a:gd name="connsiteX7" fmla="*/ 108182 w 351948"/>
                <a:gd name="connsiteY7" fmla="*/ 289560 h 515302"/>
                <a:gd name="connsiteX8" fmla="*/ 131995 w 351948"/>
                <a:gd name="connsiteY8" fmla="*/ 421005 h 515302"/>
                <a:gd name="connsiteX9" fmla="*/ 175810 w 351948"/>
                <a:gd name="connsiteY9" fmla="*/ 515303 h 515302"/>
                <a:gd name="connsiteX10" fmla="*/ 337735 w 351948"/>
                <a:gd name="connsiteY10" fmla="*/ 406718 h 515302"/>
                <a:gd name="connsiteX11" fmla="*/ 331067 w 351948"/>
                <a:gd name="connsiteY11" fmla="*/ 264795 h 51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948" h="515302">
                  <a:moveTo>
                    <a:pt x="331067" y="264795"/>
                  </a:moveTo>
                  <a:cubicBezTo>
                    <a:pt x="341545" y="308610"/>
                    <a:pt x="296777" y="351473"/>
                    <a:pt x="252962" y="333375"/>
                  </a:cubicBezTo>
                  <a:cubicBezTo>
                    <a:pt x="215815" y="320040"/>
                    <a:pt x="201527" y="277178"/>
                    <a:pt x="227245" y="240030"/>
                  </a:cubicBezTo>
                  <a:cubicBezTo>
                    <a:pt x="285347" y="162878"/>
                    <a:pt x="242485" y="41910"/>
                    <a:pt x="146282" y="0"/>
                  </a:cubicBezTo>
                  <a:cubicBezTo>
                    <a:pt x="190097" y="82868"/>
                    <a:pt x="123422" y="158115"/>
                    <a:pt x="84370" y="190500"/>
                  </a:cubicBezTo>
                  <a:cubicBezTo>
                    <a:pt x="46270" y="221933"/>
                    <a:pt x="20552" y="255270"/>
                    <a:pt x="12932" y="274320"/>
                  </a:cubicBezTo>
                  <a:cubicBezTo>
                    <a:pt x="-26120" y="368618"/>
                    <a:pt x="31982" y="459105"/>
                    <a:pt x="71987" y="481013"/>
                  </a:cubicBezTo>
                  <a:cubicBezTo>
                    <a:pt x="53890" y="440055"/>
                    <a:pt x="37697" y="362903"/>
                    <a:pt x="108182" y="289560"/>
                  </a:cubicBezTo>
                  <a:cubicBezTo>
                    <a:pt x="108182" y="289560"/>
                    <a:pt x="88180" y="367665"/>
                    <a:pt x="131995" y="421005"/>
                  </a:cubicBezTo>
                  <a:cubicBezTo>
                    <a:pt x="175810" y="475298"/>
                    <a:pt x="175810" y="515303"/>
                    <a:pt x="175810" y="515303"/>
                  </a:cubicBezTo>
                  <a:cubicBezTo>
                    <a:pt x="244390" y="515303"/>
                    <a:pt x="310112" y="474345"/>
                    <a:pt x="337735" y="406718"/>
                  </a:cubicBezTo>
                  <a:cubicBezTo>
                    <a:pt x="356785" y="365760"/>
                    <a:pt x="358690" y="301943"/>
                    <a:pt x="331067" y="264795"/>
                  </a:cubicBezTo>
                </a:path>
              </a:pathLst>
            </a:custGeom>
            <a:solidFill>
              <a:schemeClr val="bg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3810063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9CEB-AB11-4177-A38C-CA8ED78B0B3C}"/>
              </a:ext>
            </a:extLst>
          </p:cNvPr>
          <p:cNvSpPr>
            <a:spLocks noGrp="1"/>
          </p:cNvSpPr>
          <p:nvPr>
            <p:ph type="title"/>
          </p:nvPr>
        </p:nvSpPr>
        <p:spPr/>
        <p:txBody>
          <a:bodyPr/>
          <a:lstStyle/>
          <a:p>
            <a:r>
              <a:rPr lang="en-GB" dirty="0"/>
              <a:t>CRISES IMPACT ON ENERGY PLAYERS Finance</a:t>
            </a:r>
            <a:endParaRPr lang="en-IN" dirty="0"/>
          </a:p>
        </p:txBody>
      </p:sp>
      <p:cxnSp>
        <p:nvCxnSpPr>
          <p:cNvPr id="99" name="Straight Connector 14">
            <a:extLst>
              <a:ext uri="{FF2B5EF4-FFF2-40B4-BE49-F238E27FC236}">
                <a16:creationId xmlns:a16="http://schemas.microsoft.com/office/drawing/2014/main" id="{B1160C43-9253-4762-A845-99B63E941571}"/>
              </a:ext>
            </a:extLst>
          </p:cNvPr>
          <p:cNvCxnSpPr>
            <a:cxnSpLocks/>
          </p:cNvCxnSpPr>
          <p:nvPr/>
        </p:nvCxnSpPr>
        <p:spPr>
          <a:xfrm>
            <a:off x="9840416" y="2416135"/>
            <a:ext cx="0" cy="3154916"/>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02" name="Group 10">
            <a:extLst>
              <a:ext uri="{FF2B5EF4-FFF2-40B4-BE49-F238E27FC236}">
                <a16:creationId xmlns:a16="http://schemas.microsoft.com/office/drawing/2014/main" id="{7BB41A0B-1A6B-4EBE-87D7-5DBE62880FB6}"/>
              </a:ext>
            </a:extLst>
          </p:cNvPr>
          <p:cNvGrpSpPr/>
          <p:nvPr/>
        </p:nvGrpSpPr>
        <p:grpSpPr>
          <a:xfrm>
            <a:off x="607754" y="2191398"/>
            <a:ext cx="10976492" cy="716711"/>
            <a:chOff x="433292" y="3536575"/>
            <a:chExt cx="10976492" cy="716711"/>
          </a:xfrm>
        </p:grpSpPr>
        <p:sp>
          <p:nvSpPr>
            <p:cNvPr id="109" name="Arrow: Pentagon 1">
              <a:extLst>
                <a:ext uri="{FF2B5EF4-FFF2-40B4-BE49-F238E27FC236}">
                  <a16:creationId xmlns:a16="http://schemas.microsoft.com/office/drawing/2014/main" id="{C8B12012-2C76-42F2-96C9-DA09B96EBC8B}"/>
                </a:ext>
              </a:extLst>
            </p:cNvPr>
            <p:cNvSpPr/>
            <p:nvPr/>
          </p:nvSpPr>
          <p:spPr>
            <a:xfrm>
              <a:off x="7579697" y="3536575"/>
              <a:ext cx="3830087" cy="716711"/>
            </a:xfrm>
            <a:prstGeom prst="homePlate">
              <a:avLst/>
            </a:prstGeom>
            <a:solidFill>
              <a:srgbClr val="0F6A72"/>
            </a:solidFill>
            <a:ln>
              <a:noFill/>
            </a:ln>
          </p:spPr>
          <p:style>
            <a:lnRef idx="2">
              <a:schemeClr val="accent1">
                <a:shade val="50000"/>
              </a:schemeClr>
            </a:lnRef>
            <a:fillRef idx="1">
              <a:schemeClr val="accent1"/>
            </a:fillRef>
            <a:effectRef idx="0">
              <a:schemeClr val="accent1"/>
            </a:effectRef>
            <a:fontRef idx="minor">
              <a:schemeClr val="lt1"/>
            </a:fontRef>
          </p:style>
          <p:txBody>
            <a:bodyPr bIns="274320"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2022</a:t>
              </a:r>
            </a:p>
          </p:txBody>
        </p:sp>
        <p:sp>
          <p:nvSpPr>
            <p:cNvPr id="113" name="Rectangle 112">
              <a:extLst>
                <a:ext uri="{FF2B5EF4-FFF2-40B4-BE49-F238E27FC236}">
                  <a16:creationId xmlns:a16="http://schemas.microsoft.com/office/drawing/2014/main" id="{38D66758-C4FD-4D96-9B3D-23EB4EF7EDF0}"/>
                </a:ext>
              </a:extLst>
            </p:cNvPr>
            <p:cNvSpPr/>
            <p:nvPr/>
          </p:nvSpPr>
          <p:spPr>
            <a:xfrm>
              <a:off x="433292" y="3536575"/>
              <a:ext cx="3657600" cy="716711"/>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2020</a:t>
              </a:r>
            </a:p>
          </p:txBody>
        </p:sp>
        <p:sp>
          <p:nvSpPr>
            <p:cNvPr id="141" name="Rectangle 140">
              <a:extLst>
                <a:ext uri="{FF2B5EF4-FFF2-40B4-BE49-F238E27FC236}">
                  <a16:creationId xmlns:a16="http://schemas.microsoft.com/office/drawing/2014/main" id="{F231AF23-45AA-4B02-A734-8107FD9F0318}"/>
                </a:ext>
              </a:extLst>
            </p:cNvPr>
            <p:cNvSpPr/>
            <p:nvPr/>
          </p:nvSpPr>
          <p:spPr>
            <a:xfrm>
              <a:off x="4089696" y="3536575"/>
              <a:ext cx="3490001" cy="716711"/>
            </a:xfrm>
            <a:prstGeom prst="rect">
              <a:avLst/>
            </a:prstGeom>
            <a:solidFill>
              <a:srgbClr val="007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Ubuntu"/>
                  <a:ea typeface="+mn-ea"/>
                  <a:cs typeface="+mn-cs"/>
                </a:rPr>
                <a:t>2021</a:t>
              </a:r>
            </a:p>
          </p:txBody>
        </p:sp>
      </p:grpSp>
      <p:cxnSp>
        <p:nvCxnSpPr>
          <p:cNvPr id="142" name="Straight Connector 55">
            <a:extLst>
              <a:ext uri="{FF2B5EF4-FFF2-40B4-BE49-F238E27FC236}">
                <a16:creationId xmlns:a16="http://schemas.microsoft.com/office/drawing/2014/main" id="{95C0628F-41D7-4824-A889-5A5012EF78A4}"/>
              </a:ext>
            </a:extLst>
          </p:cNvPr>
          <p:cNvCxnSpPr>
            <a:cxnSpLocks/>
          </p:cNvCxnSpPr>
          <p:nvPr/>
        </p:nvCxnSpPr>
        <p:spPr>
          <a:xfrm>
            <a:off x="6639886" y="1875644"/>
            <a:ext cx="0" cy="667439"/>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143" name="Text Placeholder 7">
            <a:extLst>
              <a:ext uri="{FF2B5EF4-FFF2-40B4-BE49-F238E27FC236}">
                <a16:creationId xmlns:a16="http://schemas.microsoft.com/office/drawing/2014/main" id="{6525CFAD-63F6-4EA6-BB8A-5084A40D2567}"/>
              </a:ext>
            </a:extLst>
          </p:cNvPr>
          <p:cNvSpPr txBox="1">
            <a:spLocks/>
          </p:cNvSpPr>
          <p:nvPr/>
        </p:nvSpPr>
        <p:spPr>
          <a:xfrm>
            <a:off x="6166198" y="1302554"/>
            <a:ext cx="947375" cy="553998"/>
          </a:xfrm>
          <a:prstGeom prst="rect">
            <a:avLst/>
          </a:prstGeom>
        </p:spPr>
        <p:txBody>
          <a:bodyPr wrap="non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Price</a:t>
            </a:r>
            <a:b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br>
            <a: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booming</a:t>
            </a:r>
          </a:p>
        </p:txBody>
      </p:sp>
      <p:sp>
        <p:nvSpPr>
          <p:cNvPr id="144" name="Text Placeholder 7">
            <a:extLst>
              <a:ext uri="{FF2B5EF4-FFF2-40B4-BE49-F238E27FC236}">
                <a16:creationId xmlns:a16="http://schemas.microsoft.com/office/drawing/2014/main" id="{89803E31-8D0A-4F29-99B2-1534BCFB3BF7}"/>
              </a:ext>
            </a:extLst>
          </p:cNvPr>
          <p:cNvSpPr txBox="1">
            <a:spLocks/>
          </p:cNvSpPr>
          <p:nvPr/>
        </p:nvSpPr>
        <p:spPr>
          <a:xfrm>
            <a:off x="9915091" y="1548776"/>
            <a:ext cx="1165384" cy="276999"/>
          </a:xfrm>
          <a:prstGeom prst="rect">
            <a:avLst/>
          </a:prstGeom>
        </p:spPr>
        <p:txBody>
          <a:bodyPr wrap="non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Recession?</a:t>
            </a:r>
          </a:p>
        </p:txBody>
      </p:sp>
      <p:sp>
        <p:nvSpPr>
          <p:cNvPr id="145" name="Text Placeholder 7">
            <a:extLst>
              <a:ext uri="{FF2B5EF4-FFF2-40B4-BE49-F238E27FC236}">
                <a16:creationId xmlns:a16="http://schemas.microsoft.com/office/drawing/2014/main" id="{227EE4A5-E363-40E7-AAD1-C3E903ABAC1E}"/>
              </a:ext>
            </a:extLst>
          </p:cNvPr>
          <p:cNvSpPr txBox="1">
            <a:spLocks/>
          </p:cNvSpPr>
          <p:nvPr/>
        </p:nvSpPr>
        <p:spPr>
          <a:xfrm>
            <a:off x="883478" y="1302554"/>
            <a:ext cx="1496778" cy="55399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COVID-19 and lockdowns</a:t>
            </a:r>
          </a:p>
        </p:txBody>
      </p:sp>
      <p:sp>
        <p:nvSpPr>
          <p:cNvPr id="146" name="Text Placeholder 7">
            <a:extLst>
              <a:ext uri="{FF2B5EF4-FFF2-40B4-BE49-F238E27FC236}">
                <a16:creationId xmlns:a16="http://schemas.microsoft.com/office/drawing/2014/main" id="{9FB90032-0A69-4141-BAF3-0BEC03640655}"/>
              </a:ext>
            </a:extLst>
          </p:cNvPr>
          <p:cNvSpPr txBox="1">
            <a:spLocks/>
          </p:cNvSpPr>
          <p:nvPr/>
        </p:nvSpPr>
        <p:spPr>
          <a:xfrm>
            <a:off x="7538761" y="1029570"/>
            <a:ext cx="1704438" cy="830997"/>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400" kern="1200" baseline="0">
                <a:solidFill>
                  <a:schemeClr val="tx1"/>
                </a:solidFill>
                <a:latin typeface="+mn-lt"/>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400" kern="1200" baseline="0">
                <a:solidFill>
                  <a:schemeClr val="tx1"/>
                </a:solidFill>
                <a:latin typeface="+mn-lt"/>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mn-lt"/>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1" indent="0" algn="ctr" defTabSz="914400" rtl="0" eaLnBrk="1" fontAlgn="auto" latinLnBrk="0" hangingPunct="1">
              <a:lnSpc>
                <a:spcPct val="100000"/>
              </a:lnSpc>
              <a:spcBef>
                <a:spcPts val="0"/>
              </a:spcBef>
              <a:spcAft>
                <a:spcPts val="600"/>
              </a:spcAft>
              <a:buClr>
                <a:srgbClr val="0070AD"/>
              </a:buClr>
              <a:buSzTx/>
              <a:buFont typeface="Wingdings" panose="05000000000000000000" pitchFamily="2" charset="2"/>
              <a:buNone/>
              <a:tabLst/>
              <a:defRPr/>
            </a:pPr>
            <a:r>
              <a:rPr kumimoji="0" lang="en-US" sz="1800" b="1" i="0" u="none" strike="noStrike" kern="1200" cap="none" spc="0" normalizeH="0" baseline="0" noProof="0">
                <a:ln>
                  <a:noFill/>
                </a:ln>
                <a:solidFill>
                  <a:prstClr val="black"/>
                </a:solidFill>
                <a:effectLst/>
                <a:uLnTx/>
                <a:uFillTx/>
                <a:latin typeface="Ubuntu Light" panose="020B0304030602030204" pitchFamily="34" charset="0"/>
                <a:ea typeface="+mn-ea"/>
                <a:cs typeface="+mn-cs"/>
              </a:rPr>
              <a:t>Invasion of Ukraine by Russia</a:t>
            </a:r>
          </a:p>
        </p:txBody>
      </p:sp>
      <p:sp>
        <p:nvSpPr>
          <p:cNvPr id="147" name="TextBox 5">
            <a:extLst>
              <a:ext uri="{FF2B5EF4-FFF2-40B4-BE49-F238E27FC236}">
                <a16:creationId xmlns:a16="http://schemas.microsoft.com/office/drawing/2014/main" id="{F03E5618-7E72-4E18-A922-305E469538A3}"/>
              </a:ext>
            </a:extLst>
          </p:cNvPr>
          <p:cNvSpPr txBox="1"/>
          <p:nvPr/>
        </p:nvSpPr>
        <p:spPr>
          <a:xfrm>
            <a:off x="410308" y="6333528"/>
            <a:ext cx="8560036"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767171"/>
                </a:solidFill>
                <a:effectLst/>
                <a:uLnTx/>
                <a:uFillTx/>
                <a:latin typeface="Verdana" panose="020B0604030504040204" pitchFamily="34" charset="0"/>
                <a:ea typeface="Verdana" panose="020B0604030504040204" pitchFamily="34" charset="0"/>
                <a:cs typeface="+mn-cs"/>
              </a:rPr>
              <a:t>Source: Les </a:t>
            </a:r>
            <a:r>
              <a:rPr kumimoji="0" lang="en-US" sz="1000" b="0" i="0" u="none" strike="noStrike" kern="1200" cap="none" spc="0" normalizeH="0" baseline="0" noProof="0" dirty="0" err="1">
                <a:ln>
                  <a:noFill/>
                </a:ln>
                <a:solidFill>
                  <a:srgbClr val="767171"/>
                </a:solidFill>
                <a:effectLst/>
                <a:uLnTx/>
                <a:uFillTx/>
                <a:latin typeface="Verdana" panose="020B0604030504040204" pitchFamily="34" charset="0"/>
                <a:ea typeface="Verdana" panose="020B0604030504040204" pitchFamily="34" charset="0"/>
                <a:cs typeface="+mn-cs"/>
              </a:rPr>
              <a:t>Echos</a:t>
            </a:r>
            <a:r>
              <a:rPr kumimoji="0" lang="en-US" sz="1000" b="0" i="0" u="none" strike="noStrike" kern="1200" cap="none" spc="0" normalizeH="0" baseline="0" noProof="0" dirty="0">
                <a:ln>
                  <a:noFill/>
                </a:ln>
                <a:solidFill>
                  <a:srgbClr val="767171"/>
                </a:solidFill>
                <a:effectLst/>
                <a:uLnTx/>
                <a:uFillTx/>
                <a:latin typeface="Verdana" panose="020B0604030504040204" pitchFamily="34" charset="0"/>
                <a:ea typeface="Verdana" panose="020B0604030504040204" pitchFamily="34" charset="0"/>
                <a:cs typeface="+mn-cs"/>
              </a:rPr>
              <a:t> 6-7 </a:t>
            </a:r>
            <a:r>
              <a:rPr lang="en-US" sz="1000" dirty="0">
                <a:solidFill>
                  <a:srgbClr val="767171"/>
                </a:solidFill>
                <a:latin typeface="Verdana" panose="020B0604030504040204" pitchFamily="34" charset="0"/>
                <a:ea typeface="Verdana" panose="020B0604030504040204" pitchFamily="34" charset="0"/>
              </a:rPr>
              <a:t>J</a:t>
            </a:r>
            <a:r>
              <a:rPr kumimoji="0" lang="en-US" sz="1000" b="0" i="0" u="none" strike="noStrike" kern="1200" cap="none" spc="0" normalizeH="0" baseline="0" noProof="0" dirty="0" err="1">
                <a:ln>
                  <a:noFill/>
                </a:ln>
                <a:solidFill>
                  <a:srgbClr val="767171"/>
                </a:solidFill>
                <a:effectLst/>
                <a:uLnTx/>
                <a:uFillTx/>
                <a:latin typeface="Verdana" panose="020B0604030504040204" pitchFamily="34" charset="0"/>
                <a:ea typeface="Verdana" panose="020B0604030504040204" pitchFamily="34" charset="0"/>
                <a:cs typeface="+mn-cs"/>
              </a:rPr>
              <a:t>anuary</a:t>
            </a:r>
            <a:r>
              <a:rPr kumimoji="0" lang="en-US" sz="1000" b="0" i="0" u="none" strike="noStrike" kern="1200" cap="none" spc="0" normalizeH="0" baseline="0" noProof="0" dirty="0">
                <a:ln>
                  <a:noFill/>
                </a:ln>
                <a:solidFill>
                  <a:srgbClr val="767171"/>
                </a:solidFill>
                <a:effectLst/>
                <a:uLnTx/>
                <a:uFillTx/>
                <a:latin typeface="Verdana" panose="020B0604030504040204" pitchFamily="34" charset="0"/>
                <a:ea typeface="Verdana" panose="020B0604030504040204" pitchFamily="34" charset="0"/>
                <a:cs typeface="+mn-cs"/>
              </a:rPr>
              <a:t> 2023</a:t>
            </a:r>
            <a:endParaRPr kumimoji="0" lang="en-US" sz="1000" b="0" i="0" u="none" strike="noStrike" kern="1200" cap="none" spc="0" normalizeH="0" baseline="30000" noProof="0" dirty="0">
              <a:ln>
                <a:noFill/>
              </a:ln>
              <a:solidFill>
                <a:srgbClr val="767171"/>
              </a:solidFill>
              <a:effectLst/>
              <a:uLnTx/>
              <a:uFillTx/>
              <a:latin typeface="Verdana" panose="020B0604030504040204" pitchFamily="34" charset="0"/>
              <a:ea typeface="Verdana" panose="020B0604030504040204" pitchFamily="34" charset="0"/>
              <a:cs typeface="+mn-cs"/>
            </a:endParaRPr>
          </a:p>
        </p:txBody>
      </p:sp>
      <p:grpSp>
        <p:nvGrpSpPr>
          <p:cNvPr id="149" name="Groupe 91">
            <a:extLst>
              <a:ext uri="{FF2B5EF4-FFF2-40B4-BE49-F238E27FC236}">
                <a16:creationId xmlns:a16="http://schemas.microsoft.com/office/drawing/2014/main" id="{59F3192E-59C0-4E2A-BCF8-566F812FB61A}"/>
              </a:ext>
            </a:extLst>
          </p:cNvPr>
          <p:cNvGrpSpPr/>
          <p:nvPr/>
        </p:nvGrpSpPr>
        <p:grpSpPr>
          <a:xfrm>
            <a:off x="1664902" y="3022047"/>
            <a:ext cx="454514" cy="707886"/>
            <a:chOff x="-1154082" y="1981362"/>
            <a:chExt cx="172287" cy="268329"/>
          </a:xfrm>
          <a:solidFill>
            <a:srgbClr val="14596B"/>
          </a:solidFill>
        </p:grpSpPr>
        <p:sp>
          <p:nvSpPr>
            <p:cNvPr id="150" name="Freeform 126">
              <a:extLst>
                <a:ext uri="{FF2B5EF4-FFF2-40B4-BE49-F238E27FC236}">
                  <a16:creationId xmlns:a16="http://schemas.microsoft.com/office/drawing/2014/main" id="{8E1C9705-4D59-4362-AB4D-B9DAAD02938C}"/>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1" name="Freeform 128">
              <a:extLst>
                <a:ext uri="{FF2B5EF4-FFF2-40B4-BE49-F238E27FC236}">
                  <a16:creationId xmlns:a16="http://schemas.microsoft.com/office/drawing/2014/main" id="{57B6CD6C-398A-4619-A8F7-BFBFFD99B189}"/>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2" name="Freeform 129">
              <a:extLst>
                <a:ext uri="{FF2B5EF4-FFF2-40B4-BE49-F238E27FC236}">
                  <a16:creationId xmlns:a16="http://schemas.microsoft.com/office/drawing/2014/main" id="{215327C9-DE23-428A-BDFA-FBDFE5944E60}"/>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3" name="Freeform 130">
              <a:extLst>
                <a:ext uri="{FF2B5EF4-FFF2-40B4-BE49-F238E27FC236}">
                  <a16:creationId xmlns:a16="http://schemas.microsoft.com/office/drawing/2014/main" id="{1E5931D4-7CE6-4A8F-9129-A32FC08AEEF8}"/>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56" name="ZoneTexte 92">
            <a:extLst>
              <a:ext uri="{FF2B5EF4-FFF2-40B4-BE49-F238E27FC236}">
                <a16:creationId xmlns:a16="http://schemas.microsoft.com/office/drawing/2014/main" id="{ABF4B8BF-540F-4878-8434-47ADAF5E9B49}"/>
              </a:ext>
            </a:extLst>
          </p:cNvPr>
          <p:cNvSpPr txBox="1"/>
          <p:nvPr/>
        </p:nvSpPr>
        <p:spPr>
          <a:xfrm>
            <a:off x="303182" y="3152024"/>
            <a:ext cx="127150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noProof="0" dirty="0">
                <a:ln>
                  <a:noFill/>
                </a:ln>
                <a:solidFill>
                  <a:prstClr val="black"/>
                </a:solidFill>
                <a:effectLst/>
                <a:uLnTx/>
                <a:uFillTx/>
                <a:latin typeface="Ubuntu"/>
                <a:ea typeface="+mn-ea"/>
                <a:cs typeface="+mn-cs"/>
              </a:rPr>
              <a:t>Large </a:t>
            </a:r>
            <a:r>
              <a:rPr kumimoji="0" lang="fr-FR" sz="2000" i="0" u="none" strike="noStrike" kern="1200" cap="none" spc="0" normalizeH="0" baseline="0" noProof="0" dirty="0" err="1">
                <a:ln>
                  <a:noFill/>
                </a:ln>
                <a:solidFill>
                  <a:prstClr val="black"/>
                </a:solidFill>
                <a:effectLst/>
                <a:uLnTx/>
                <a:uFillTx/>
                <a:latin typeface="Ubuntu"/>
                <a:ea typeface="+mn-ea"/>
                <a:cs typeface="+mn-cs"/>
              </a:rPr>
              <a:t>Oil</a:t>
            </a:r>
            <a:r>
              <a:rPr kumimoji="0" lang="fr-FR" sz="2000" i="0" u="none" strike="noStrike" kern="1200" cap="none" spc="0" normalizeH="0" baseline="0" noProof="0" dirty="0">
                <a:ln>
                  <a:noFill/>
                </a:ln>
                <a:solidFill>
                  <a:prstClr val="black"/>
                </a:solidFill>
                <a:effectLst/>
                <a:uLnTx/>
                <a:uFillTx/>
                <a:latin typeface="Ubuntu"/>
                <a:ea typeface="+mn-ea"/>
                <a:cs typeface="+mn-cs"/>
              </a:rPr>
              <a:t> </a:t>
            </a:r>
            <a:r>
              <a:rPr kumimoji="0" lang="fr-FR" sz="2000" i="0" u="none" strike="noStrike" kern="1200" cap="none" spc="0" normalizeH="0" baseline="0" noProof="0" dirty="0" err="1">
                <a:ln>
                  <a:noFill/>
                </a:ln>
                <a:solidFill>
                  <a:prstClr val="black"/>
                </a:solidFill>
                <a:effectLst/>
                <a:uLnTx/>
                <a:uFillTx/>
                <a:latin typeface="Ubuntu"/>
                <a:ea typeface="+mn-ea"/>
                <a:cs typeface="+mn-cs"/>
              </a:rPr>
              <a:t>Firms</a:t>
            </a:r>
            <a:endParaRPr kumimoji="0" lang="fr-FR" sz="2400" i="0" u="none" strike="noStrike" kern="1200" cap="none" spc="0" normalizeH="0" baseline="0" noProof="0" dirty="0">
              <a:ln>
                <a:noFill/>
              </a:ln>
              <a:solidFill>
                <a:prstClr val="black"/>
              </a:solidFill>
              <a:effectLst/>
              <a:uLnTx/>
              <a:uFillTx/>
              <a:latin typeface="Ubuntu"/>
              <a:ea typeface="+mn-ea"/>
              <a:cs typeface="+mn-cs"/>
            </a:endParaRPr>
          </a:p>
        </p:txBody>
      </p:sp>
      <p:sp>
        <p:nvSpPr>
          <p:cNvPr id="163" name="ZoneTexte 93">
            <a:extLst>
              <a:ext uri="{FF2B5EF4-FFF2-40B4-BE49-F238E27FC236}">
                <a16:creationId xmlns:a16="http://schemas.microsoft.com/office/drawing/2014/main" id="{01F1B80F-B1C6-4D12-A30B-821946E4BCC3}"/>
              </a:ext>
            </a:extLst>
          </p:cNvPr>
          <p:cNvSpPr txBox="1"/>
          <p:nvPr/>
        </p:nvSpPr>
        <p:spPr>
          <a:xfrm>
            <a:off x="2235170" y="3382283"/>
            <a:ext cx="148470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latin typeface="Ubuntu"/>
                <a:ea typeface="+mn-ea"/>
                <a:cs typeface="+mn-cs"/>
              </a:rPr>
              <a:t>$76 billion </a:t>
            </a:r>
            <a:r>
              <a:rPr kumimoji="0" lang="fr-FR" sz="1400" b="0" i="0" u="none" strike="noStrike" kern="1200" cap="none" spc="0" normalizeH="0" baseline="0" noProof="0">
                <a:ln>
                  <a:noFill/>
                </a:ln>
                <a:solidFill>
                  <a:prstClr val="black"/>
                </a:solidFill>
                <a:effectLst/>
                <a:uLnTx/>
                <a:uFillTx/>
                <a:latin typeface="Ubuntu"/>
                <a:ea typeface="+mn-ea"/>
                <a:cs typeface="+mn-cs"/>
              </a:rPr>
              <a:t>losses</a:t>
            </a:r>
            <a:r>
              <a:rPr kumimoji="0" lang="fr-FR" sz="1400" b="0" i="0" u="none" strike="noStrike" kern="1200" cap="none" spc="0" normalizeH="0" baseline="30000" noProof="0">
                <a:ln>
                  <a:noFill/>
                </a:ln>
                <a:solidFill>
                  <a:prstClr val="black"/>
                </a:solidFill>
                <a:effectLst/>
                <a:uLnTx/>
                <a:uFillTx/>
                <a:latin typeface="Ubuntu"/>
                <a:ea typeface="+mn-ea"/>
                <a:cs typeface="+mn-cs"/>
              </a:rPr>
              <a:t>1</a:t>
            </a:r>
            <a:endParaRPr kumimoji="0" lang="fr-FR" sz="1400" b="0" i="0" u="none" strike="noStrike" kern="1200" cap="none" spc="0" normalizeH="0" baseline="0" noProof="0">
              <a:ln>
                <a:noFill/>
              </a:ln>
              <a:solidFill>
                <a:prstClr val="black"/>
              </a:solidFill>
              <a:effectLst/>
              <a:uLnTx/>
              <a:uFillTx/>
              <a:latin typeface="Ubuntu"/>
              <a:ea typeface="+mn-ea"/>
              <a:cs typeface="+mn-cs"/>
            </a:endParaRPr>
          </a:p>
        </p:txBody>
      </p:sp>
      <p:grpSp>
        <p:nvGrpSpPr>
          <p:cNvPr id="164" name="Groupe 107">
            <a:extLst>
              <a:ext uri="{FF2B5EF4-FFF2-40B4-BE49-F238E27FC236}">
                <a16:creationId xmlns:a16="http://schemas.microsoft.com/office/drawing/2014/main" id="{E9E3C6C6-2BF2-4EED-B10A-9D271E9E8276}"/>
              </a:ext>
            </a:extLst>
          </p:cNvPr>
          <p:cNvGrpSpPr/>
          <p:nvPr/>
        </p:nvGrpSpPr>
        <p:grpSpPr>
          <a:xfrm>
            <a:off x="8040216" y="3037085"/>
            <a:ext cx="437313" cy="681095"/>
            <a:chOff x="8104424" y="4551848"/>
            <a:chExt cx="574339" cy="894506"/>
          </a:xfrm>
        </p:grpSpPr>
        <p:sp>
          <p:nvSpPr>
            <p:cNvPr id="165" name="Freeform 126">
              <a:extLst>
                <a:ext uri="{FF2B5EF4-FFF2-40B4-BE49-F238E27FC236}">
                  <a16:creationId xmlns:a16="http://schemas.microsoft.com/office/drawing/2014/main" id="{D3DDBC54-C156-4C87-9B43-E130BDCAD0E3}"/>
                </a:ext>
              </a:extLst>
            </p:cNvPr>
            <p:cNvSpPr>
              <a:spLocks/>
            </p:cNvSpPr>
            <p:nvPr/>
          </p:nvSpPr>
          <p:spPr bwMode="auto">
            <a:xfrm>
              <a:off x="8541091" y="4731157"/>
              <a:ext cx="137672" cy="71519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6" name="Freeform 128">
              <a:extLst>
                <a:ext uri="{FF2B5EF4-FFF2-40B4-BE49-F238E27FC236}">
                  <a16:creationId xmlns:a16="http://schemas.microsoft.com/office/drawing/2014/main" id="{5E36774A-6D63-4D71-80D0-CE74215DBADC}"/>
                </a:ext>
              </a:extLst>
            </p:cNvPr>
            <p:cNvSpPr>
              <a:spLocks/>
            </p:cNvSpPr>
            <p:nvPr/>
          </p:nvSpPr>
          <p:spPr bwMode="auto">
            <a:xfrm>
              <a:off x="8326176" y="4965063"/>
              <a:ext cx="152410" cy="481288"/>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7" name="Freeform 129">
              <a:extLst>
                <a:ext uri="{FF2B5EF4-FFF2-40B4-BE49-F238E27FC236}">
                  <a16:creationId xmlns:a16="http://schemas.microsoft.com/office/drawing/2014/main" id="{11C84D6A-3B1C-4471-8579-A7CF745795A9}"/>
                </a:ext>
              </a:extLst>
            </p:cNvPr>
            <p:cNvSpPr>
              <a:spLocks/>
            </p:cNvSpPr>
            <p:nvPr/>
          </p:nvSpPr>
          <p:spPr bwMode="auto">
            <a:xfrm>
              <a:off x="8136073" y="5160946"/>
              <a:ext cx="127594" cy="285408"/>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69" name="Freeform 130">
              <a:extLst>
                <a:ext uri="{FF2B5EF4-FFF2-40B4-BE49-F238E27FC236}">
                  <a16:creationId xmlns:a16="http://schemas.microsoft.com/office/drawing/2014/main" id="{08945AC2-3FB3-46C7-94E7-29B095158A6A}"/>
                </a:ext>
              </a:extLst>
            </p:cNvPr>
            <p:cNvSpPr>
              <a:spLocks/>
            </p:cNvSpPr>
            <p:nvPr/>
          </p:nvSpPr>
          <p:spPr bwMode="auto">
            <a:xfrm>
              <a:off x="8104424" y="4551848"/>
              <a:ext cx="521028" cy="41321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70" name="ZoneTexte 102">
            <a:extLst>
              <a:ext uri="{FF2B5EF4-FFF2-40B4-BE49-F238E27FC236}">
                <a16:creationId xmlns:a16="http://schemas.microsoft.com/office/drawing/2014/main" id="{A74C3463-463C-4344-BFF5-9B0F01BDC755}"/>
              </a:ext>
            </a:extLst>
          </p:cNvPr>
          <p:cNvSpPr txBox="1"/>
          <p:nvPr/>
        </p:nvSpPr>
        <p:spPr>
          <a:xfrm>
            <a:off x="8656344" y="2924944"/>
            <a:ext cx="121023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Ubuntu"/>
                <a:ea typeface="+mn-ea"/>
                <a:cs typeface="+mn-cs"/>
              </a:rPr>
              <a:t>$</a:t>
            </a:r>
            <a:r>
              <a:rPr lang="fr-FR" sz="1600" b="1" dirty="0">
                <a:solidFill>
                  <a:prstClr val="black"/>
                </a:solidFill>
                <a:latin typeface="Ubuntu"/>
              </a:rPr>
              <a:t>200</a:t>
            </a:r>
            <a:r>
              <a:rPr kumimoji="0" lang="fr-FR" sz="1600" b="1" i="0" u="none" strike="noStrike" kern="1200" cap="none" spc="0" normalizeH="0" baseline="0" noProof="0" dirty="0">
                <a:ln>
                  <a:noFill/>
                </a:ln>
                <a:solidFill>
                  <a:prstClr val="black"/>
                </a:solidFill>
                <a:effectLst/>
                <a:uLnTx/>
                <a:uFillTx/>
                <a:latin typeface="Ubuntu"/>
                <a:ea typeface="+mn-ea"/>
                <a:cs typeface="+mn-cs"/>
              </a:rPr>
              <a:t> billion</a:t>
            </a:r>
            <a:r>
              <a:rPr kumimoji="0" lang="fr-FR" sz="1600" b="0" i="0" u="none" strike="noStrike" kern="1200" cap="none" spc="0" normalizeH="0" baseline="0" noProof="0" dirty="0">
                <a:ln>
                  <a:noFill/>
                </a:ln>
                <a:solidFill>
                  <a:prstClr val="black"/>
                </a:solidFill>
                <a:effectLst/>
                <a:uLnTx/>
                <a:uFillTx/>
                <a:latin typeface="Ubuntu"/>
                <a:ea typeface="+mn-ea"/>
                <a:cs typeface="+mn-cs"/>
              </a:rPr>
              <a:t> </a:t>
            </a:r>
            <a:r>
              <a:rPr kumimoji="0" lang="fr-FR" sz="1400" b="0" i="0" u="none" strike="noStrike" kern="1200" cap="none" spc="0" normalizeH="0" baseline="0" noProof="0" dirty="0">
                <a:ln>
                  <a:noFill/>
                </a:ln>
                <a:solidFill>
                  <a:prstClr val="black"/>
                </a:solidFill>
                <a:effectLst/>
                <a:uLnTx/>
                <a:uFillTx/>
                <a:latin typeface="Ubuntu"/>
                <a:ea typeface="+mn-ea"/>
                <a:cs typeface="+mn-cs"/>
              </a:rPr>
              <a:t>profits</a:t>
            </a:r>
            <a:r>
              <a:rPr lang="fr-FR" sz="1400" dirty="0">
                <a:solidFill>
                  <a:prstClr val="black"/>
                </a:solidFill>
                <a:latin typeface="Ubuntu"/>
              </a:rPr>
              <a:t> in </a:t>
            </a:r>
            <a:r>
              <a:rPr kumimoji="0" lang="fr-FR" sz="1400" b="0" i="0" u="none" strike="noStrike" kern="1200" cap="none" spc="0" normalizeH="0" baseline="0" noProof="0" dirty="0">
                <a:ln>
                  <a:noFill/>
                </a:ln>
                <a:solidFill>
                  <a:prstClr val="black"/>
                </a:solidFill>
                <a:effectLst/>
                <a:uLnTx/>
                <a:uFillTx/>
                <a:latin typeface="Ubuntu"/>
                <a:ea typeface="+mn-ea"/>
                <a:cs typeface="+mn-cs"/>
              </a:rPr>
              <a:t> 2022</a:t>
            </a:r>
            <a:r>
              <a:rPr kumimoji="0" lang="fr-FR" sz="1400" b="0" i="0" u="none" strike="noStrike" kern="1200" cap="none" spc="0" normalizeH="0" baseline="30000" noProof="0" dirty="0">
                <a:ln>
                  <a:noFill/>
                </a:ln>
                <a:solidFill>
                  <a:prstClr val="black"/>
                </a:solidFill>
                <a:effectLst/>
                <a:uLnTx/>
                <a:uFillTx/>
                <a:latin typeface="Ubuntu"/>
                <a:ea typeface="+mn-ea"/>
                <a:cs typeface="+mn-cs"/>
              </a:rPr>
              <a:t>2</a:t>
            </a:r>
            <a:endParaRPr kumimoji="0" lang="fr-FR" sz="1100" b="0" i="0" u="none" strike="noStrike" kern="1200" cap="none" spc="0" normalizeH="0" baseline="0" noProof="0" dirty="0">
              <a:ln>
                <a:noFill/>
              </a:ln>
              <a:solidFill>
                <a:prstClr val="black"/>
              </a:solidFill>
              <a:effectLst/>
              <a:uLnTx/>
              <a:uFillTx/>
              <a:latin typeface="Ubuntu"/>
              <a:ea typeface="+mn-ea"/>
              <a:cs typeface="+mn-cs"/>
            </a:endParaRPr>
          </a:p>
        </p:txBody>
      </p:sp>
      <p:grpSp>
        <p:nvGrpSpPr>
          <p:cNvPr id="171" name="Groupe 114">
            <a:extLst>
              <a:ext uri="{FF2B5EF4-FFF2-40B4-BE49-F238E27FC236}">
                <a16:creationId xmlns:a16="http://schemas.microsoft.com/office/drawing/2014/main" id="{91A30897-FD71-405E-A22F-DEFCFC12B1C4}"/>
              </a:ext>
            </a:extLst>
          </p:cNvPr>
          <p:cNvGrpSpPr/>
          <p:nvPr/>
        </p:nvGrpSpPr>
        <p:grpSpPr>
          <a:xfrm>
            <a:off x="5231904" y="3037085"/>
            <a:ext cx="454545" cy="707933"/>
            <a:chOff x="8104424" y="4551848"/>
            <a:chExt cx="574339" cy="894506"/>
          </a:xfrm>
        </p:grpSpPr>
        <p:sp>
          <p:nvSpPr>
            <p:cNvPr id="172" name="Freeform 126">
              <a:extLst>
                <a:ext uri="{FF2B5EF4-FFF2-40B4-BE49-F238E27FC236}">
                  <a16:creationId xmlns:a16="http://schemas.microsoft.com/office/drawing/2014/main" id="{9D376BD4-5BE6-45C1-8025-AD7554372D08}"/>
                </a:ext>
              </a:extLst>
            </p:cNvPr>
            <p:cNvSpPr>
              <a:spLocks/>
            </p:cNvSpPr>
            <p:nvPr/>
          </p:nvSpPr>
          <p:spPr bwMode="auto">
            <a:xfrm>
              <a:off x="8541091" y="4731157"/>
              <a:ext cx="137672" cy="71519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73" name="Freeform 128">
              <a:extLst>
                <a:ext uri="{FF2B5EF4-FFF2-40B4-BE49-F238E27FC236}">
                  <a16:creationId xmlns:a16="http://schemas.microsoft.com/office/drawing/2014/main" id="{8883B516-89E6-4AF2-949B-68847E538E2C}"/>
                </a:ext>
              </a:extLst>
            </p:cNvPr>
            <p:cNvSpPr>
              <a:spLocks/>
            </p:cNvSpPr>
            <p:nvPr/>
          </p:nvSpPr>
          <p:spPr bwMode="auto">
            <a:xfrm>
              <a:off x="8326176" y="4965063"/>
              <a:ext cx="152410" cy="481288"/>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74" name="Freeform 129">
              <a:extLst>
                <a:ext uri="{FF2B5EF4-FFF2-40B4-BE49-F238E27FC236}">
                  <a16:creationId xmlns:a16="http://schemas.microsoft.com/office/drawing/2014/main" id="{8AA7E87F-6E27-47B5-B720-D49BE14EDB1D}"/>
                </a:ext>
              </a:extLst>
            </p:cNvPr>
            <p:cNvSpPr>
              <a:spLocks/>
            </p:cNvSpPr>
            <p:nvPr/>
          </p:nvSpPr>
          <p:spPr bwMode="auto">
            <a:xfrm>
              <a:off x="8136073" y="5160946"/>
              <a:ext cx="127594" cy="285408"/>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75" name="Freeform 130">
              <a:extLst>
                <a:ext uri="{FF2B5EF4-FFF2-40B4-BE49-F238E27FC236}">
                  <a16:creationId xmlns:a16="http://schemas.microsoft.com/office/drawing/2014/main" id="{C72F6457-CD59-4F14-AF33-0149C1A7E037}"/>
                </a:ext>
              </a:extLst>
            </p:cNvPr>
            <p:cNvSpPr>
              <a:spLocks/>
            </p:cNvSpPr>
            <p:nvPr/>
          </p:nvSpPr>
          <p:spPr bwMode="auto">
            <a:xfrm>
              <a:off x="8104424" y="4551848"/>
              <a:ext cx="521028" cy="41321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76" name="ZoneTexte 116">
            <a:extLst>
              <a:ext uri="{FF2B5EF4-FFF2-40B4-BE49-F238E27FC236}">
                <a16:creationId xmlns:a16="http://schemas.microsoft.com/office/drawing/2014/main" id="{7365615E-2D91-4B5F-AC1E-87F3A85954D0}"/>
              </a:ext>
            </a:extLst>
          </p:cNvPr>
          <p:cNvSpPr txBox="1"/>
          <p:nvPr/>
        </p:nvSpPr>
        <p:spPr>
          <a:xfrm>
            <a:off x="5756892" y="2951085"/>
            <a:ext cx="151652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latin typeface="Ubuntu"/>
                <a:ea typeface="+mn-ea"/>
                <a:cs typeface="+mn-cs"/>
              </a:rPr>
              <a:t>$81 billion </a:t>
            </a:r>
            <a:r>
              <a:rPr kumimoji="0" lang="fr-FR" sz="1400" b="0" i="0" u="none" strike="noStrike" kern="1200" cap="none" spc="0" normalizeH="0" baseline="0" noProof="0">
                <a:ln>
                  <a:noFill/>
                </a:ln>
                <a:solidFill>
                  <a:prstClr val="black"/>
                </a:solidFill>
                <a:effectLst/>
                <a:uLnTx/>
                <a:uFillTx/>
                <a:latin typeface="Ubuntu"/>
                <a:ea typeface="+mn-ea"/>
                <a:cs typeface="+mn-cs"/>
              </a:rPr>
              <a:t>profits</a:t>
            </a:r>
            <a:r>
              <a:rPr kumimoji="0" lang="fr-FR" sz="1400" b="0" i="0" u="none" strike="noStrike" kern="1200" cap="none" spc="0" normalizeH="0" baseline="30000" noProof="0">
                <a:ln>
                  <a:noFill/>
                </a:ln>
                <a:solidFill>
                  <a:prstClr val="black"/>
                </a:solidFill>
                <a:effectLst/>
                <a:uLnTx/>
                <a:uFillTx/>
                <a:latin typeface="Ubuntu"/>
                <a:ea typeface="+mn-ea"/>
                <a:cs typeface="+mn-cs"/>
              </a:rPr>
              <a:t>2</a:t>
            </a:r>
            <a:endParaRPr kumimoji="0" lang="fr-FR" sz="1100" b="0" i="0" u="none" strike="noStrike" kern="1200" cap="none" spc="0" normalizeH="0" baseline="0" noProof="0">
              <a:ln>
                <a:noFill/>
              </a:ln>
              <a:solidFill>
                <a:prstClr val="black"/>
              </a:solidFill>
              <a:effectLst/>
              <a:uLnTx/>
              <a:uFillTx/>
              <a:latin typeface="Ubuntu"/>
              <a:ea typeface="+mn-ea"/>
              <a:cs typeface="+mn-cs"/>
            </a:endParaRPr>
          </a:p>
        </p:txBody>
      </p:sp>
      <p:sp>
        <p:nvSpPr>
          <p:cNvPr id="179" name="ZoneTexte 124">
            <a:extLst>
              <a:ext uri="{FF2B5EF4-FFF2-40B4-BE49-F238E27FC236}">
                <a16:creationId xmlns:a16="http://schemas.microsoft.com/office/drawing/2014/main" id="{1D091F77-28B0-40A2-803C-55E4D515FC65}"/>
              </a:ext>
            </a:extLst>
          </p:cNvPr>
          <p:cNvSpPr txBox="1"/>
          <p:nvPr/>
        </p:nvSpPr>
        <p:spPr>
          <a:xfrm>
            <a:off x="327052" y="4610230"/>
            <a:ext cx="131972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err="1">
                <a:ln>
                  <a:noFill/>
                </a:ln>
                <a:solidFill>
                  <a:prstClr val="black"/>
                </a:solidFill>
                <a:effectLst/>
                <a:uLnTx/>
                <a:uFillTx/>
                <a:latin typeface="Ubuntu"/>
                <a:ea typeface="+mn-ea"/>
                <a:cs typeface="+mn-cs"/>
              </a:rPr>
              <a:t>European</a:t>
            </a:r>
            <a:r>
              <a:rPr kumimoji="0" lang="fr-FR" sz="2000" b="0" i="0" u="none" strike="noStrike" kern="1200" cap="none" spc="0" normalizeH="0" baseline="0" noProof="0">
                <a:ln>
                  <a:noFill/>
                </a:ln>
                <a:solidFill>
                  <a:prstClr val="black"/>
                </a:solidFill>
                <a:effectLst/>
                <a:uLnTx/>
                <a:uFillTx/>
                <a:latin typeface="Ubuntu"/>
                <a:ea typeface="+mn-ea"/>
                <a:cs typeface="+mn-cs"/>
              </a:rPr>
              <a:t> utilities</a:t>
            </a:r>
          </a:p>
        </p:txBody>
      </p:sp>
      <p:grpSp>
        <p:nvGrpSpPr>
          <p:cNvPr id="184" name="Groupe 11">
            <a:extLst>
              <a:ext uri="{FF2B5EF4-FFF2-40B4-BE49-F238E27FC236}">
                <a16:creationId xmlns:a16="http://schemas.microsoft.com/office/drawing/2014/main" id="{652AAAB1-283D-4717-81AD-A1E45FA064DC}"/>
              </a:ext>
            </a:extLst>
          </p:cNvPr>
          <p:cNvGrpSpPr/>
          <p:nvPr/>
        </p:nvGrpSpPr>
        <p:grpSpPr>
          <a:xfrm>
            <a:off x="1666027" y="3996933"/>
            <a:ext cx="2151929" cy="800219"/>
            <a:chOff x="1639815" y="4134919"/>
            <a:chExt cx="2151929" cy="800219"/>
          </a:xfrm>
          <a:solidFill>
            <a:srgbClr val="14596B"/>
          </a:solidFill>
        </p:grpSpPr>
        <p:grpSp>
          <p:nvGrpSpPr>
            <p:cNvPr id="185" name="Groupe 123">
              <a:extLst>
                <a:ext uri="{FF2B5EF4-FFF2-40B4-BE49-F238E27FC236}">
                  <a16:creationId xmlns:a16="http://schemas.microsoft.com/office/drawing/2014/main" id="{BB686088-1D56-4614-8C25-38CB5E62F1F2}"/>
                </a:ext>
              </a:extLst>
            </p:cNvPr>
            <p:cNvGrpSpPr/>
            <p:nvPr/>
          </p:nvGrpSpPr>
          <p:grpSpPr>
            <a:xfrm>
              <a:off x="1639815" y="4195865"/>
              <a:ext cx="424968" cy="661872"/>
              <a:chOff x="-1154082" y="1981362"/>
              <a:chExt cx="172287" cy="268329"/>
            </a:xfrm>
            <a:grpFill/>
          </p:grpSpPr>
          <p:sp>
            <p:nvSpPr>
              <p:cNvPr id="187" name="Freeform 126">
                <a:extLst>
                  <a:ext uri="{FF2B5EF4-FFF2-40B4-BE49-F238E27FC236}">
                    <a16:creationId xmlns:a16="http://schemas.microsoft.com/office/drawing/2014/main" id="{5AE7FE3F-DEDB-480E-AB29-08D238630ADE}"/>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88" name="Freeform 128">
                <a:extLst>
                  <a:ext uri="{FF2B5EF4-FFF2-40B4-BE49-F238E27FC236}">
                    <a16:creationId xmlns:a16="http://schemas.microsoft.com/office/drawing/2014/main" id="{F74FD979-3670-4867-948E-8CA794D8E591}"/>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89" name="Freeform 129">
                <a:extLst>
                  <a:ext uri="{FF2B5EF4-FFF2-40B4-BE49-F238E27FC236}">
                    <a16:creationId xmlns:a16="http://schemas.microsoft.com/office/drawing/2014/main" id="{3E38C8ED-91AC-4287-AECD-E66890A43979}"/>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0" name="Freeform 130">
                <a:extLst>
                  <a:ext uri="{FF2B5EF4-FFF2-40B4-BE49-F238E27FC236}">
                    <a16:creationId xmlns:a16="http://schemas.microsoft.com/office/drawing/2014/main" id="{0265220D-BA90-4A0D-B57F-326D36F44C58}"/>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186" name="ZoneTexte 125">
              <a:extLst>
                <a:ext uri="{FF2B5EF4-FFF2-40B4-BE49-F238E27FC236}">
                  <a16:creationId xmlns:a16="http://schemas.microsoft.com/office/drawing/2014/main" id="{9C8BDB01-1EBF-4CBE-A9D4-CBADB8CAE0A1}"/>
                </a:ext>
              </a:extLst>
            </p:cNvPr>
            <p:cNvSpPr txBox="1"/>
            <p:nvPr/>
          </p:nvSpPr>
          <p:spPr>
            <a:xfrm>
              <a:off x="2080014" y="4134919"/>
              <a:ext cx="1711730"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a</a:t>
              </a:r>
              <a:r>
                <a:rPr kumimoji="0" lang="en-US" sz="1400" b="0" i="0" u="none" strike="noStrike" kern="1200" cap="none" spc="0" normalizeH="0" baseline="0" noProof="0" err="1">
                  <a:ln>
                    <a:noFill/>
                  </a:ln>
                  <a:solidFill>
                    <a:prstClr val="black"/>
                  </a:solidFill>
                  <a:effectLst/>
                  <a:uLnTx/>
                  <a:uFillTx/>
                  <a:latin typeface="Ubuntu"/>
                  <a:ea typeface="+mn-ea"/>
                  <a:cs typeface="+mn-cs"/>
                </a:rPr>
                <a:t>verage</a:t>
              </a:r>
              <a:r>
                <a:rPr kumimoji="0" lang="en-US" sz="1400" b="0" i="0" u="none" strike="noStrike" kern="1200" cap="none" spc="0" normalizeH="0" baseline="0" noProof="0">
                  <a:ln>
                    <a:noFill/>
                  </a:ln>
                  <a:solidFill>
                    <a:prstClr val="black"/>
                  </a:solidFill>
                  <a:effectLst/>
                  <a:uLnTx/>
                  <a:uFillTx/>
                  <a:latin typeface="Ubuntu"/>
                  <a:ea typeface="+mn-ea"/>
                  <a:cs typeface="+mn-cs"/>
                </a:rPr>
                <a:t> of </a:t>
              </a:r>
              <a:r>
                <a:rPr kumimoji="0" lang="en-US" sz="1600" b="1" i="0" u="none" strike="noStrike" kern="1200" cap="none" spc="0" normalizeH="0" baseline="0" noProof="0">
                  <a:ln>
                    <a:noFill/>
                  </a:ln>
                  <a:solidFill>
                    <a:prstClr val="black"/>
                  </a:solidFill>
                  <a:effectLst/>
                  <a:uLnTx/>
                  <a:uFillTx/>
                  <a:latin typeface="Ubuntu"/>
                  <a:ea typeface="+mn-ea"/>
                  <a:cs typeface="+mn-cs"/>
                </a:rPr>
                <a:t>-9.7% revenues </a:t>
              </a:r>
              <a:r>
                <a:rPr kumimoji="0" lang="en-US" sz="1400" b="0" i="0" u="none" strike="noStrike" kern="1200" cap="none" spc="0" normalizeH="0" baseline="0" noProof="0">
                  <a:ln>
                    <a:noFill/>
                  </a:ln>
                  <a:solidFill>
                    <a:prstClr val="black"/>
                  </a:solidFill>
                  <a:effectLst/>
                  <a:uLnTx/>
                  <a:uFillTx/>
                  <a:latin typeface="Ubuntu"/>
                  <a:ea typeface="+mn-ea"/>
                  <a:cs typeface="+mn-cs"/>
                </a:rPr>
                <a:t>in Europe</a:t>
              </a:r>
              <a:r>
                <a:rPr kumimoji="0" lang="en-US" sz="1400" b="0" i="0" u="none" strike="noStrike" kern="1200" cap="none" spc="0" normalizeH="0" baseline="30000" noProof="0">
                  <a:ln>
                    <a:noFill/>
                  </a:ln>
                  <a:solidFill>
                    <a:prstClr val="black"/>
                  </a:solidFill>
                  <a:effectLst/>
                  <a:uLnTx/>
                  <a:uFillTx/>
                  <a:latin typeface="Ubuntu"/>
                  <a:ea typeface="+mn-ea"/>
                  <a:cs typeface="+mn-cs"/>
                </a:rPr>
                <a:t>3</a:t>
              </a:r>
              <a:endParaRPr kumimoji="0" lang="en-US" sz="1400" b="0" i="0" u="none" strike="noStrike" kern="1200" cap="none" spc="0" normalizeH="0" baseline="0" noProof="0">
                <a:ln>
                  <a:noFill/>
                </a:ln>
                <a:solidFill>
                  <a:prstClr val="black"/>
                </a:solidFill>
                <a:effectLst/>
                <a:uLnTx/>
                <a:uFillTx/>
                <a:latin typeface="Ubuntu"/>
                <a:ea typeface="+mn-ea"/>
                <a:cs typeface="+mn-cs"/>
              </a:endParaRPr>
            </a:p>
          </p:txBody>
        </p:sp>
      </p:grpSp>
      <p:grpSp>
        <p:nvGrpSpPr>
          <p:cNvPr id="191" name="Groupe 87">
            <a:extLst>
              <a:ext uri="{FF2B5EF4-FFF2-40B4-BE49-F238E27FC236}">
                <a16:creationId xmlns:a16="http://schemas.microsoft.com/office/drawing/2014/main" id="{630DB703-9189-4FDC-9893-AD699C50139C}"/>
              </a:ext>
            </a:extLst>
          </p:cNvPr>
          <p:cNvGrpSpPr/>
          <p:nvPr/>
        </p:nvGrpSpPr>
        <p:grpSpPr>
          <a:xfrm>
            <a:off x="9139953" y="4074068"/>
            <a:ext cx="430721" cy="670833"/>
            <a:chOff x="-1154082" y="1981362"/>
            <a:chExt cx="172287" cy="268329"/>
          </a:xfrm>
          <a:solidFill>
            <a:srgbClr val="14596B"/>
          </a:solidFill>
        </p:grpSpPr>
        <p:sp>
          <p:nvSpPr>
            <p:cNvPr id="192" name="Freeform 126">
              <a:extLst>
                <a:ext uri="{FF2B5EF4-FFF2-40B4-BE49-F238E27FC236}">
                  <a16:creationId xmlns:a16="http://schemas.microsoft.com/office/drawing/2014/main" id="{E19B6931-E901-4C92-94DD-4738ACD0FE93}"/>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3" name="Freeform 128">
              <a:extLst>
                <a:ext uri="{FF2B5EF4-FFF2-40B4-BE49-F238E27FC236}">
                  <a16:creationId xmlns:a16="http://schemas.microsoft.com/office/drawing/2014/main" id="{4E0CA77B-86D3-4E04-A980-CC928EBDC103}"/>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4" name="Freeform 129">
              <a:extLst>
                <a:ext uri="{FF2B5EF4-FFF2-40B4-BE49-F238E27FC236}">
                  <a16:creationId xmlns:a16="http://schemas.microsoft.com/office/drawing/2014/main" id="{8A2904F9-33BA-4DAD-8CC0-902ECECF5239}"/>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5" name="Freeform 130">
              <a:extLst>
                <a:ext uri="{FF2B5EF4-FFF2-40B4-BE49-F238E27FC236}">
                  <a16:creationId xmlns:a16="http://schemas.microsoft.com/office/drawing/2014/main" id="{11089E32-9D32-49F0-984D-517E89765B7F}"/>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cxnSp>
        <p:nvCxnSpPr>
          <p:cNvPr id="197" name="Straight Connector 14">
            <a:extLst>
              <a:ext uri="{FF2B5EF4-FFF2-40B4-BE49-F238E27FC236}">
                <a16:creationId xmlns:a16="http://schemas.microsoft.com/office/drawing/2014/main" id="{DE1D6F7D-110A-40F7-AD05-8D44F748535F}"/>
              </a:ext>
            </a:extLst>
          </p:cNvPr>
          <p:cNvCxnSpPr>
            <a:cxnSpLocks/>
          </p:cNvCxnSpPr>
          <p:nvPr/>
        </p:nvCxnSpPr>
        <p:spPr>
          <a:xfrm flipH="1">
            <a:off x="96852" y="4117765"/>
            <a:ext cx="11179193" cy="8778"/>
          </a:xfrm>
          <a:prstGeom prst="line">
            <a:avLst/>
          </a:prstGeom>
          <a:ln w="12700">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568C6092-D511-4D24-AB03-6246A683B129}"/>
              </a:ext>
            </a:extLst>
          </p:cNvPr>
          <p:cNvSpPr/>
          <p:nvPr/>
        </p:nvSpPr>
        <p:spPr>
          <a:xfrm>
            <a:off x="9874877" y="4719748"/>
            <a:ext cx="2070054" cy="1596336"/>
          </a:xfrm>
          <a:prstGeom prst="rect">
            <a:avLst/>
          </a:prstGeom>
          <a:solidFill>
            <a:srgbClr val="009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Ubuntu"/>
                <a:ea typeface="+mn-ea"/>
                <a:cs typeface="+mn-cs"/>
              </a:rPr>
              <a:t>OTHER PLAYERS</a:t>
            </a:r>
          </a:p>
          <a:p>
            <a:pPr marL="177800" marR="0" lvl="0" indent="-1778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FFFFFF"/>
                </a:solidFill>
                <a:effectLst/>
                <a:uLnTx/>
                <a:uFillTx/>
                <a:latin typeface="Ubuntu"/>
                <a:ea typeface="+mn-ea"/>
                <a:cs typeface="+mn-cs"/>
              </a:rPr>
              <a:t>Some European energy retailers failing</a:t>
            </a:r>
          </a:p>
          <a:p>
            <a:pPr marL="177800" marR="0" lvl="0" indent="-1778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FFFFFF"/>
                </a:solidFill>
                <a:effectLst/>
                <a:uLnTx/>
                <a:uFillTx/>
                <a:latin typeface="Ubuntu"/>
                <a:ea typeface="+mn-ea"/>
                <a:cs typeface="+mn-cs"/>
              </a:rPr>
              <a:t>Renewables M&amp;A market was bullish</a:t>
            </a:r>
          </a:p>
        </p:txBody>
      </p:sp>
      <p:grpSp>
        <p:nvGrpSpPr>
          <p:cNvPr id="199" name="Groupe 13">
            <a:extLst>
              <a:ext uri="{FF2B5EF4-FFF2-40B4-BE49-F238E27FC236}">
                <a16:creationId xmlns:a16="http://schemas.microsoft.com/office/drawing/2014/main" id="{782A56F4-6F17-486E-8CB7-18F07580DE6A}"/>
              </a:ext>
            </a:extLst>
          </p:cNvPr>
          <p:cNvGrpSpPr/>
          <p:nvPr/>
        </p:nvGrpSpPr>
        <p:grpSpPr>
          <a:xfrm>
            <a:off x="1655192" y="4946620"/>
            <a:ext cx="2161192" cy="769441"/>
            <a:chOff x="1655192" y="5076475"/>
            <a:chExt cx="2161192" cy="769441"/>
          </a:xfrm>
        </p:grpSpPr>
        <p:grpSp>
          <p:nvGrpSpPr>
            <p:cNvPr id="200" name="Groupe 113">
              <a:extLst>
                <a:ext uri="{FF2B5EF4-FFF2-40B4-BE49-F238E27FC236}">
                  <a16:creationId xmlns:a16="http://schemas.microsoft.com/office/drawing/2014/main" id="{9AC1AB53-FA4F-4842-B8C1-71D2214784AE}"/>
                </a:ext>
              </a:extLst>
            </p:cNvPr>
            <p:cNvGrpSpPr/>
            <p:nvPr/>
          </p:nvGrpSpPr>
          <p:grpSpPr>
            <a:xfrm>
              <a:off x="1655192" y="5129645"/>
              <a:ext cx="409596" cy="637925"/>
              <a:chOff x="8104424" y="4551848"/>
              <a:chExt cx="574339" cy="894506"/>
            </a:xfrm>
          </p:grpSpPr>
          <p:sp>
            <p:nvSpPr>
              <p:cNvPr id="202" name="Freeform 126">
                <a:extLst>
                  <a:ext uri="{FF2B5EF4-FFF2-40B4-BE49-F238E27FC236}">
                    <a16:creationId xmlns:a16="http://schemas.microsoft.com/office/drawing/2014/main" id="{BDB3E715-4CE7-4198-B2C5-ED2882A7D9E2}"/>
                  </a:ext>
                </a:extLst>
              </p:cNvPr>
              <p:cNvSpPr>
                <a:spLocks/>
              </p:cNvSpPr>
              <p:nvPr/>
            </p:nvSpPr>
            <p:spPr bwMode="auto">
              <a:xfrm>
                <a:off x="8541091" y="4731157"/>
                <a:ext cx="137672" cy="71519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3" name="Freeform 128">
                <a:extLst>
                  <a:ext uri="{FF2B5EF4-FFF2-40B4-BE49-F238E27FC236}">
                    <a16:creationId xmlns:a16="http://schemas.microsoft.com/office/drawing/2014/main" id="{19CF53D4-F028-4956-BDCA-F2A522B02624}"/>
                  </a:ext>
                </a:extLst>
              </p:cNvPr>
              <p:cNvSpPr>
                <a:spLocks/>
              </p:cNvSpPr>
              <p:nvPr/>
            </p:nvSpPr>
            <p:spPr bwMode="auto">
              <a:xfrm>
                <a:off x="8326176" y="4965063"/>
                <a:ext cx="152410" cy="481288"/>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4" name="Freeform 129">
                <a:extLst>
                  <a:ext uri="{FF2B5EF4-FFF2-40B4-BE49-F238E27FC236}">
                    <a16:creationId xmlns:a16="http://schemas.microsoft.com/office/drawing/2014/main" id="{0788BCAE-8F01-4B9A-A027-03EB1FC83D16}"/>
                  </a:ext>
                </a:extLst>
              </p:cNvPr>
              <p:cNvSpPr>
                <a:spLocks/>
              </p:cNvSpPr>
              <p:nvPr/>
            </p:nvSpPr>
            <p:spPr bwMode="auto">
              <a:xfrm>
                <a:off x="8136073" y="5160946"/>
                <a:ext cx="127594" cy="285408"/>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5" name="Freeform 130">
                <a:extLst>
                  <a:ext uri="{FF2B5EF4-FFF2-40B4-BE49-F238E27FC236}">
                    <a16:creationId xmlns:a16="http://schemas.microsoft.com/office/drawing/2014/main" id="{31E500F8-0ADA-4CBE-8451-9D2CC7DF90D5}"/>
                  </a:ext>
                </a:extLst>
              </p:cNvPr>
              <p:cNvSpPr>
                <a:spLocks/>
              </p:cNvSpPr>
              <p:nvPr/>
            </p:nvSpPr>
            <p:spPr bwMode="auto">
              <a:xfrm>
                <a:off x="8104424" y="4551848"/>
                <a:ext cx="521028" cy="41321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01" name="ZoneTexte 132">
              <a:extLst>
                <a:ext uri="{FF2B5EF4-FFF2-40B4-BE49-F238E27FC236}">
                  <a16:creationId xmlns:a16="http://schemas.microsoft.com/office/drawing/2014/main" id="{BCDCDBF8-B79F-4144-B1C0-576B9CC21557}"/>
                </a:ext>
              </a:extLst>
            </p:cNvPr>
            <p:cNvSpPr txBox="1"/>
            <p:nvPr/>
          </p:nvSpPr>
          <p:spPr>
            <a:xfrm>
              <a:off x="2104654" y="5076475"/>
              <a:ext cx="171173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an average of </a:t>
              </a:r>
              <a:r>
                <a:rPr kumimoji="0" lang="en-US" sz="1400" b="1" i="0" u="none" strike="noStrike" kern="1200" cap="none" spc="0" normalizeH="0" baseline="0" noProof="0">
                  <a:ln>
                    <a:noFill/>
                  </a:ln>
                  <a:solidFill>
                    <a:prstClr val="black"/>
                  </a:solidFill>
                  <a:effectLst/>
                  <a:uLnTx/>
                  <a:uFillTx/>
                  <a:latin typeface="Ubuntu"/>
                  <a:ea typeface="+mn-ea"/>
                  <a:cs typeface="+mn-cs"/>
                </a:rPr>
                <a:t>+</a:t>
              </a:r>
              <a:r>
                <a:rPr kumimoji="0" lang="en-US" sz="1600" b="1" i="0" u="none" strike="noStrike" kern="1200" cap="none" spc="0" normalizeH="0" baseline="0" noProof="0">
                  <a:ln>
                    <a:noFill/>
                  </a:ln>
                  <a:solidFill>
                    <a:prstClr val="black"/>
                  </a:solidFill>
                  <a:effectLst/>
                  <a:uLnTx/>
                  <a:uFillTx/>
                  <a:latin typeface="Ubuntu"/>
                  <a:ea typeface="+mn-ea"/>
                  <a:cs typeface="+mn-cs"/>
                </a:rPr>
                <a:t>21,7% EBITDA </a:t>
              </a:r>
              <a:r>
                <a:rPr kumimoji="0" lang="en-US" sz="1400" b="0" i="0" u="none" strike="noStrike" kern="1200" cap="none" spc="0" normalizeH="0" baseline="0" noProof="0">
                  <a:ln>
                    <a:noFill/>
                  </a:ln>
                  <a:solidFill>
                    <a:prstClr val="black"/>
                  </a:solidFill>
                  <a:effectLst/>
                  <a:uLnTx/>
                  <a:uFillTx/>
                  <a:latin typeface="Ubuntu"/>
                  <a:ea typeface="+mn-ea"/>
                  <a:cs typeface="+mn-cs"/>
                </a:rPr>
                <a:t>in Europe</a:t>
              </a:r>
            </a:p>
          </p:txBody>
        </p:sp>
      </p:grpSp>
      <p:grpSp>
        <p:nvGrpSpPr>
          <p:cNvPr id="206" name="Groupe 133">
            <a:extLst>
              <a:ext uri="{FF2B5EF4-FFF2-40B4-BE49-F238E27FC236}">
                <a16:creationId xmlns:a16="http://schemas.microsoft.com/office/drawing/2014/main" id="{E24DF4AC-2CC5-4B14-90C1-EDA24B2EF567}"/>
              </a:ext>
            </a:extLst>
          </p:cNvPr>
          <p:cNvGrpSpPr/>
          <p:nvPr/>
        </p:nvGrpSpPr>
        <p:grpSpPr>
          <a:xfrm>
            <a:off x="5231919" y="4087219"/>
            <a:ext cx="409596" cy="637925"/>
            <a:chOff x="8104424" y="4551848"/>
            <a:chExt cx="574339" cy="894506"/>
          </a:xfrm>
        </p:grpSpPr>
        <p:sp>
          <p:nvSpPr>
            <p:cNvPr id="207" name="Freeform 126">
              <a:extLst>
                <a:ext uri="{FF2B5EF4-FFF2-40B4-BE49-F238E27FC236}">
                  <a16:creationId xmlns:a16="http://schemas.microsoft.com/office/drawing/2014/main" id="{82953649-7739-486C-A2E4-DE5DC1A6BDA5}"/>
                </a:ext>
              </a:extLst>
            </p:cNvPr>
            <p:cNvSpPr>
              <a:spLocks/>
            </p:cNvSpPr>
            <p:nvPr/>
          </p:nvSpPr>
          <p:spPr bwMode="auto">
            <a:xfrm>
              <a:off x="8541091" y="4731157"/>
              <a:ext cx="137672" cy="71519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8" name="Freeform 128">
              <a:extLst>
                <a:ext uri="{FF2B5EF4-FFF2-40B4-BE49-F238E27FC236}">
                  <a16:creationId xmlns:a16="http://schemas.microsoft.com/office/drawing/2014/main" id="{465F0D1C-A94E-4705-AA9B-48286EE6EA32}"/>
                </a:ext>
              </a:extLst>
            </p:cNvPr>
            <p:cNvSpPr>
              <a:spLocks/>
            </p:cNvSpPr>
            <p:nvPr/>
          </p:nvSpPr>
          <p:spPr bwMode="auto">
            <a:xfrm>
              <a:off x="8326176" y="4965063"/>
              <a:ext cx="152410" cy="481288"/>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09" name="Freeform 129">
              <a:extLst>
                <a:ext uri="{FF2B5EF4-FFF2-40B4-BE49-F238E27FC236}">
                  <a16:creationId xmlns:a16="http://schemas.microsoft.com/office/drawing/2014/main" id="{FE32B2B4-E62C-4276-BB96-CC8418A69B68}"/>
                </a:ext>
              </a:extLst>
            </p:cNvPr>
            <p:cNvSpPr>
              <a:spLocks/>
            </p:cNvSpPr>
            <p:nvPr/>
          </p:nvSpPr>
          <p:spPr bwMode="auto">
            <a:xfrm>
              <a:off x="8136073" y="5160946"/>
              <a:ext cx="127594" cy="285408"/>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10" name="Freeform 130">
              <a:extLst>
                <a:ext uri="{FF2B5EF4-FFF2-40B4-BE49-F238E27FC236}">
                  <a16:creationId xmlns:a16="http://schemas.microsoft.com/office/drawing/2014/main" id="{6BF94FFE-58FF-44A7-966B-24653DF452A4}"/>
                </a:ext>
              </a:extLst>
            </p:cNvPr>
            <p:cNvSpPr>
              <a:spLocks/>
            </p:cNvSpPr>
            <p:nvPr/>
          </p:nvSpPr>
          <p:spPr bwMode="auto">
            <a:xfrm>
              <a:off x="8104424" y="4551848"/>
              <a:ext cx="521028" cy="41321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11" name="ZoneTexte 139">
            <a:extLst>
              <a:ext uri="{FF2B5EF4-FFF2-40B4-BE49-F238E27FC236}">
                <a16:creationId xmlns:a16="http://schemas.microsoft.com/office/drawing/2014/main" id="{A8A9E093-5164-4C41-B004-0C2FD3E01E29}"/>
              </a:ext>
            </a:extLst>
          </p:cNvPr>
          <p:cNvSpPr txBox="1"/>
          <p:nvPr/>
        </p:nvSpPr>
        <p:spPr>
          <a:xfrm>
            <a:off x="5648382" y="4005064"/>
            <a:ext cx="1814066"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average of </a:t>
            </a:r>
            <a:r>
              <a:rPr kumimoji="0" lang="en-US" sz="1600" b="1" i="0" u="none" strike="noStrike" kern="1200" cap="none" spc="0" normalizeH="0" baseline="0" noProof="0">
                <a:ln>
                  <a:noFill/>
                </a:ln>
                <a:solidFill>
                  <a:prstClr val="black"/>
                </a:solidFill>
                <a:effectLst/>
                <a:uLnTx/>
                <a:uFillTx/>
                <a:latin typeface="Ubuntu"/>
                <a:ea typeface="+mn-ea"/>
                <a:cs typeface="+mn-cs"/>
              </a:rPr>
              <a:t>+70% revenues </a:t>
            </a:r>
            <a:r>
              <a:rPr kumimoji="0" lang="en-US" sz="1400" b="0" i="0" u="none" strike="noStrike" kern="1200" cap="none" spc="0" normalizeH="0" baseline="0" noProof="0">
                <a:ln>
                  <a:noFill/>
                </a:ln>
                <a:solidFill>
                  <a:prstClr val="black"/>
                </a:solidFill>
                <a:effectLst/>
                <a:uLnTx/>
                <a:uFillTx/>
                <a:latin typeface="Ubuntu"/>
                <a:ea typeface="+mn-ea"/>
                <a:cs typeface="+mn-cs"/>
              </a:rPr>
              <a:t>in Europe</a:t>
            </a:r>
          </a:p>
        </p:txBody>
      </p:sp>
      <p:sp>
        <p:nvSpPr>
          <p:cNvPr id="212" name="ZoneTexte 154">
            <a:extLst>
              <a:ext uri="{FF2B5EF4-FFF2-40B4-BE49-F238E27FC236}">
                <a16:creationId xmlns:a16="http://schemas.microsoft.com/office/drawing/2014/main" id="{AA24C689-9533-4F65-B942-E8F0B5629FF0}"/>
              </a:ext>
            </a:extLst>
          </p:cNvPr>
          <p:cNvSpPr txBox="1"/>
          <p:nvPr/>
        </p:nvSpPr>
        <p:spPr>
          <a:xfrm>
            <a:off x="8989067" y="2574062"/>
            <a:ext cx="857928" cy="307777"/>
          </a:xfrm>
          <a:prstGeom prst="rect">
            <a:avLst/>
          </a:prstGeom>
          <a:noFill/>
          <a:ln>
            <a:solidFill>
              <a:schemeClr val="bg1">
                <a:lumMod val="75000"/>
              </a:schemeClr>
            </a:solidFill>
            <a:prstDash val="dash"/>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FFFFFF"/>
                </a:solidFill>
                <a:effectLst/>
                <a:uLnTx/>
                <a:uFillTx/>
                <a:latin typeface="Ubuntu"/>
                <a:ea typeface="+mn-ea"/>
                <a:cs typeface="+mn-cs"/>
              </a:rPr>
              <a:t>H1 2022</a:t>
            </a:r>
          </a:p>
        </p:txBody>
      </p:sp>
      <p:grpSp>
        <p:nvGrpSpPr>
          <p:cNvPr id="213" name="Groupe 156">
            <a:extLst>
              <a:ext uri="{FF2B5EF4-FFF2-40B4-BE49-F238E27FC236}">
                <a16:creationId xmlns:a16="http://schemas.microsoft.com/office/drawing/2014/main" id="{5D5F8943-95C3-4F5E-AD2A-528926016AF3}"/>
              </a:ext>
            </a:extLst>
          </p:cNvPr>
          <p:cNvGrpSpPr/>
          <p:nvPr/>
        </p:nvGrpSpPr>
        <p:grpSpPr>
          <a:xfrm>
            <a:off x="5231919" y="4969012"/>
            <a:ext cx="409596" cy="637925"/>
            <a:chOff x="8104424" y="4551848"/>
            <a:chExt cx="574339" cy="894506"/>
          </a:xfrm>
        </p:grpSpPr>
        <p:sp>
          <p:nvSpPr>
            <p:cNvPr id="214" name="Freeform 126">
              <a:extLst>
                <a:ext uri="{FF2B5EF4-FFF2-40B4-BE49-F238E27FC236}">
                  <a16:creationId xmlns:a16="http://schemas.microsoft.com/office/drawing/2014/main" id="{53502302-95C3-45E7-8049-4C45423D50AC}"/>
                </a:ext>
              </a:extLst>
            </p:cNvPr>
            <p:cNvSpPr>
              <a:spLocks/>
            </p:cNvSpPr>
            <p:nvPr/>
          </p:nvSpPr>
          <p:spPr bwMode="auto">
            <a:xfrm>
              <a:off x="8541091" y="4731157"/>
              <a:ext cx="137672" cy="71519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15" name="Freeform 128">
              <a:extLst>
                <a:ext uri="{FF2B5EF4-FFF2-40B4-BE49-F238E27FC236}">
                  <a16:creationId xmlns:a16="http://schemas.microsoft.com/office/drawing/2014/main" id="{4235B7CD-303E-43C9-9562-100727434696}"/>
                </a:ext>
              </a:extLst>
            </p:cNvPr>
            <p:cNvSpPr>
              <a:spLocks/>
            </p:cNvSpPr>
            <p:nvPr/>
          </p:nvSpPr>
          <p:spPr bwMode="auto">
            <a:xfrm>
              <a:off x="8326176" y="4965063"/>
              <a:ext cx="152410" cy="481288"/>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16" name="Freeform 129">
              <a:extLst>
                <a:ext uri="{FF2B5EF4-FFF2-40B4-BE49-F238E27FC236}">
                  <a16:creationId xmlns:a16="http://schemas.microsoft.com/office/drawing/2014/main" id="{14CC6316-A166-4480-8154-9809133BFFB1}"/>
                </a:ext>
              </a:extLst>
            </p:cNvPr>
            <p:cNvSpPr>
              <a:spLocks/>
            </p:cNvSpPr>
            <p:nvPr/>
          </p:nvSpPr>
          <p:spPr bwMode="auto">
            <a:xfrm>
              <a:off x="8136073" y="5160946"/>
              <a:ext cx="127594" cy="285408"/>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17" name="Freeform 130">
              <a:extLst>
                <a:ext uri="{FF2B5EF4-FFF2-40B4-BE49-F238E27FC236}">
                  <a16:creationId xmlns:a16="http://schemas.microsoft.com/office/drawing/2014/main" id="{EC39D738-84D2-4D39-9895-AA79CB4A9207}"/>
                </a:ext>
              </a:extLst>
            </p:cNvPr>
            <p:cNvSpPr>
              <a:spLocks/>
            </p:cNvSpPr>
            <p:nvPr/>
          </p:nvSpPr>
          <p:spPr bwMode="auto">
            <a:xfrm>
              <a:off x="8104424" y="4551848"/>
              <a:ext cx="521028" cy="41321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18" name="ZoneTexte 157">
            <a:extLst>
              <a:ext uri="{FF2B5EF4-FFF2-40B4-BE49-F238E27FC236}">
                <a16:creationId xmlns:a16="http://schemas.microsoft.com/office/drawing/2014/main" id="{5CEA141B-A6AC-4485-9102-5889CC35531E}"/>
              </a:ext>
            </a:extLst>
          </p:cNvPr>
          <p:cNvSpPr txBox="1"/>
          <p:nvPr/>
        </p:nvSpPr>
        <p:spPr>
          <a:xfrm>
            <a:off x="5625274" y="5018626"/>
            <a:ext cx="183717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Ubuntu"/>
                <a:ea typeface="+mn-ea"/>
                <a:cs typeface="+mn-cs"/>
              </a:rPr>
              <a:t>average of </a:t>
            </a:r>
            <a:r>
              <a:rPr kumimoji="0" lang="en-US" sz="1600" b="1" i="0" u="none" strike="noStrike" kern="1200" cap="none" spc="0" normalizeH="0" baseline="0" noProof="0">
                <a:ln>
                  <a:noFill/>
                </a:ln>
                <a:solidFill>
                  <a:prstClr val="black"/>
                </a:solidFill>
                <a:effectLst/>
                <a:uLnTx/>
                <a:uFillTx/>
                <a:latin typeface="Ubuntu"/>
                <a:ea typeface="+mn-ea"/>
                <a:cs typeface="+mn-cs"/>
              </a:rPr>
              <a:t>+19.6% EBITDA </a:t>
            </a:r>
            <a:r>
              <a:rPr kumimoji="0" lang="en-US" sz="1400" b="0" i="0" u="none" strike="noStrike" kern="1200" cap="none" spc="0" normalizeH="0" baseline="0" noProof="0">
                <a:ln>
                  <a:noFill/>
                </a:ln>
                <a:solidFill>
                  <a:prstClr val="black"/>
                </a:solidFill>
                <a:effectLst/>
                <a:uLnTx/>
                <a:uFillTx/>
                <a:latin typeface="Ubuntu"/>
                <a:ea typeface="+mn-ea"/>
                <a:cs typeface="+mn-cs"/>
              </a:rPr>
              <a:t>in Europe</a:t>
            </a:r>
          </a:p>
        </p:txBody>
      </p:sp>
      <p:sp>
        <p:nvSpPr>
          <p:cNvPr id="219" name="ZoneTexte 167">
            <a:extLst>
              <a:ext uri="{FF2B5EF4-FFF2-40B4-BE49-F238E27FC236}">
                <a16:creationId xmlns:a16="http://schemas.microsoft.com/office/drawing/2014/main" id="{F441FB3A-693F-4EAB-9CBE-DCC658829540}"/>
              </a:ext>
            </a:extLst>
          </p:cNvPr>
          <p:cNvSpPr txBox="1"/>
          <p:nvPr/>
        </p:nvSpPr>
        <p:spPr>
          <a:xfrm>
            <a:off x="8448522" y="5678730"/>
            <a:ext cx="112900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Ubuntu"/>
                <a:ea typeface="+mn-ea"/>
                <a:cs typeface="+mn-cs"/>
              </a:rPr>
              <a:t>-74.8% EBITDA</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pic>
        <p:nvPicPr>
          <p:cNvPr id="220" name="Picture 2" descr="Résultat de recherche d'images pour &quot;logo edf&quot;">
            <a:extLst>
              <a:ext uri="{FF2B5EF4-FFF2-40B4-BE49-F238E27FC236}">
                <a16:creationId xmlns:a16="http://schemas.microsoft.com/office/drawing/2014/main" id="{6ED917C6-CB01-4D7A-BFBB-928F6ED1C0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0012" y="5761235"/>
            <a:ext cx="586929" cy="271306"/>
          </a:xfrm>
          <a:prstGeom prst="rect">
            <a:avLst/>
          </a:prstGeom>
          <a:noFill/>
          <a:extLst>
            <a:ext uri="{909E8E84-426E-40DD-AFC4-6F175D3DCCD1}">
              <a14:hiddenFill xmlns:a14="http://schemas.microsoft.com/office/drawing/2010/main">
                <a:solidFill>
                  <a:srgbClr val="FFFFFF"/>
                </a:solidFill>
              </a14:hiddenFill>
            </a:ext>
          </a:extLst>
        </p:spPr>
      </p:pic>
      <p:grpSp>
        <p:nvGrpSpPr>
          <p:cNvPr id="221" name="Groupe 176">
            <a:extLst>
              <a:ext uri="{FF2B5EF4-FFF2-40B4-BE49-F238E27FC236}">
                <a16:creationId xmlns:a16="http://schemas.microsoft.com/office/drawing/2014/main" id="{1926F3C7-1BCD-43D8-BC6D-143BFB701F58}"/>
              </a:ext>
            </a:extLst>
          </p:cNvPr>
          <p:cNvGrpSpPr/>
          <p:nvPr/>
        </p:nvGrpSpPr>
        <p:grpSpPr>
          <a:xfrm>
            <a:off x="8086217" y="4784486"/>
            <a:ext cx="395151" cy="615430"/>
            <a:chOff x="-1154082" y="1981362"/>
            <a:chExt cx="172287" cy="268329"/>
          </a:xfrm>
          <a:solidFill>
            <a:srgbClr val="14596B"/>
          </a:solidFill>
        </p:grpSpPr>
        <p:sp>
          <p:nvSpPr>
            <p:cNvPr id="222" name="Freeform 126">
              <a:extLst>
                <a:ext uri="{FF2B5EF4-FFF2-40B4-BE49-F238E27FC236}">
                  <a16:creationId xmlns:a16="http://schemas.microsoft.com/office/drawing/2014/main" id="{85F4FFE0-4C06-4E8B-AE79-1F696C12D8EA}"/>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23" name="Freeform 128">
              <a:extLst>
                <a:ext uri="{FF2B5EF4-FFF2-40B4-BE49-F238E27FC236}">
                  <a16:creationId xmlns:a16="http://schemas.microsoft.com/office/drawing/2014/main" id="{4141E068-9303-41D1-B902-A6D6CE567C6D}"/>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24" name="Freeform 129">
              <a:extLst>
                <a:ext uri="{FF2B5EF4-FFF2-40B4-BE49-F238E27FC236}">
                  <a16:creationId xmlns:a16="http://schemas.microsoft.com/office/drawing/2014/main" id="{5E9FFB35-C3E1-44EC-8659-8AAA417976F2}"/>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25" name="Freeform 130">
              <a:extLst>
                <a:ext uri="{FF2B5EF4-FFF2-40B4-BE49-F238E27FC236}">
                  <a16:creationId xmlns:a16="http://schemas.microsoft.com/office/drawing/2014/main" id="{2742EE2A-E441-4C56-9E80-DA5847C8FBF3}"/>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26" name="ZoneTexte 177">
            <a:extLst>
              <a:ext uri="{FF2B5EF4-FFF2-40B4-BE49-F238E27FC236}">
                <a16:creationId xmlns:a16="http://schemas.microsoft.com/office/drawing/2014/main" id="{706F3046-DE25-4A24-A980-0F1816EB77F9}"/>
              </a:ext>
            </a:extLst>
          </p:cNvPr>
          <p:cNvSpPr txBox="1"/>
          <p:nvPr/>
        </p:nvSpPr>
        <p:spPr>
          <a:xfrm>
            <a:off x="8473983" y="4987260"/>
            <a:ext cx="112900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prstClr val="black"/>
                </a:solidFill>
                <a:effectLst/>
                <a:uLnTx/>
                <a:uFillTx/>
                <a:latin typeface="Ubuntu"/>
                <a:ea typeface="+mn-ea"/>
                <a:cs typeface="+mn-cs"/>
              </a:rPr>
              <a:t>-115% EBITDA</a:t>
            </a:r>
            <a:endParaRPr kumimoji="0" lang="fr-FR" sz="1050" b="0" i="0" u="none" strike="noStrike" kern="1200" cap="none" spc="0" normalizeH="0" baseline="0" noProof="0">
              <a:ln>
                <a:noFill/>
              </a:ln>
              <a:solidFill>
                <a:prstClr val="black"/>
              </a:solidFill>
              <a:effectLst/>
              <a:uLnTx/>
              <a:uFillTx/>
              <a:latin typeface="Ubuntu"/>
              <a:ea typeface="+mn-ea"/>
              <a:cs typeface="+mn-cs"/>
            </a:endParaRPr>
          </a:p>
        </p:txBody>
      </p:sp>
      <p:pic>
        <p:nvPicPr>
          <p:cNvPr id="227" name="Picture 4" descr="Résultat de recherche d'images pour &quot;uniper logo&quot;">
            <a:extLst>
              <a:ext uri="{FF2B5EF4-FFF2-40B4-BE49-F238E27FC236}">
                <a16:creationId xmlns:a16="http://schemas.microsoft.com/office/drawing/2014/main" id="{878D7B1E-87BC-45B2-B5B0-990D931DFB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0787" y="5057101"/>
            <a:ext cx="390441" cy="338564"/>
          </a:xfrm>
          <a:prstGeom prst="rect">
            <a:avLst/>
          </a:prstGeom>
          <a:noFill/>
          <a:extLst>
            <a:ext uri="{909E8E84-426E-40DD-AFC4-6F175D3DCCD1}">
              <a14:hiddenFill xmlns:a14="http://schemas.microsoft.com/office/drawing/2010/main">
                <a:solidFill>
                  <a:srgbClr val="FFFFFF"/>
                </a:solidFill>
              </a14:hiddenFill>
            </a:ext>
          </a:extLst>
        </p:spPr>
      </p:pic>
      <p:sp>
        <p:nvSpPr>
          <p:cNvPr id="228" name="Teardrop 227">
            <a:extLst>
              <a:ext uri="{FF2B5EF4-FFF2-40B4-BE49-F238E27FC236}">
                <a16:creationId xmlns:a16="http://schemas.microsoft.com/office/drawing/2014/main" id="{AEBEE80A-CB94-4571-920F-7F3F0FF20A86}"/>
              </a:ext>
            </a:extLst>
          </p:cNvPr>
          <p:cNvSpPr/>
          <p:nvPr/>
        </p:nvSpPr>
        <p:spPr>
          <a:xfrm rot="19152007">
            <a:off x="6420652" y="2390276"/>
            <a:ext cx="410655" cy="410655"/>
          </a:xfrm>
          <a:prstGeom prst="teardrop">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cxnSp>
        <p:nvCxnSpPr>
          <p:cNvPr id="229" name="Straight Connector 55">
            <a:extLst>
              <a:ext uri="{FF2B5EF4-FFF2-40B4-BE49-F238E27FC236}">
                <a16:creationId xmlns:a16="http://schemas.microsoft.com/office/drawing/2014/main" id="{45EBD040-5F73-4FC5-A2AB-E80C0CF48244}"/>
              </a:ext>
            </a:extLst>
          </p:cNvPr>
          <p:cNvCxnSpPr>
            <a:cxnSpLocks/>
          </p:cNvCxnSpPr>
          <p:nvPr/>
        </p:nvCxnSpPr>
        <p:spPr>
          <a:xfrm>
            <a:off x="8390309" y="1875644"/>
            <a:ext cx="0" cy="667439"/>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55">
            <a:extLst>
              <a:ext uri="{FF2B5EF4-FFF2-40B4-BE49-F238E27FC236}">
                <a16:creationId xmlns:a16="http://schemas.microsoft.com/office/drawing/2014/main" id="{30FCF976-F11B-4906-82AE-D7ED521BEB52}"/>
              </a:ext>
            </a:extLst>
          </p:cNvPr>
          <p:cNvCxnSpPr>
            <a:cxnSpLocks/>
          </p:cNvCxnSpPr>
          <p:nvPr/>
        </p:nvCxnSpPr>
        <p:spPr>
          <a:xfrm>
            <a:off x="10497783" y="1875644"/>
            <a:ext cx="0" cy="667439"/>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55">
            <a:extLst>
              <a:ext uri="{FF2B5EF4-FFF2-40B4-BE49-F238E27FC236}">
                <a16:creationId xmlns:a16="http://schemas.microsoft.com/office/drawing/2014/main" id="{F7388846-81C6-4582-93A3-A2C95D94F894}"/>
              </a:ext>
            </a:extLst>
          </p:cNvPr>
          <p:cNvCxnSpPr>
            <a:cxnSpLocks/>
          </p:cNvCxnSpPr>
          <p:nvPr/>
        </p:nvCxnSpPr>
        <p:spPr>
          <a:xfrm>
            <a:off x="1623749" y="1875644"/>
            <a:ext cx="0" cy="667439"/>
          </a:xfrm>
          <a:prstGeom prst="line">
            <a:avLst/>
          </a:prstGeom>
          <a:solidFill>
            <a:schemeClr val="tx1"/>
          </a:solidFill>
          <a:ln w="19050" cap="flat">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sp>
        <p:nvSpPr>
          <p:cNvPr id="232" name="Teardrop 231">
            <a:extLst>
              <a:ext uri="{FF2B5EF4-FFF2-40B4-BE49-F238E27FC236}">
                <a16:creationId xmlns:a16="http://schemas.microsoft.com/office/drawing/2014/main" id="{F2B38277-9185-4FA9-9050-67B178F26153}"/>
              </a:ext>
            </a:extLst>
          </p:cNvPr>
          <p:cNvSpPr/>
          <p:nvPr/>
        </p:nvSpPr>
        <p:spPr>
          <a:xfrm rot="19152007">
            <a:off x="1394701" y="2390276"/>
            <a:ext cx="410655" cy="410655"/>
          </a:xfrm>
          <a:prstGeom prst="teardrop">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33" name="Teardrop 232">
            <a:extLst>
              <a:ext uri="{FF2B5EF4-FFF2-40B4-BE49-F238E27FC236}">
                <a16:creationId xmlns:a16="http://schemas.microsoft.com/office/drawing/2014/main" id="{FB6E6692-1189-462A-90EA-C93782FEB090}"/>
              </a:ext>
            </a:extLst>
          </p:cNvPr>
          <p:cNvSpPr/>
          <p:nvPr/>
        </p:nvSpPr>
        <p:spPr>
          <a:xfrm rot="19152007">
            <a:off x="8172285" y="2390276"/>
            <a:ext cx="410655" cy="410655"/>
          </a:xfrm>
          <a:prstGeom prst="teardrop">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34" name="Teardrop 233">
            <a:extLst>
              <a:ext uri="{FF2B5EF4-FFF2-40B4-BE49-F238E27FC236}">
                <a16:creationId xmlns:a16="http://schemas.microsoft.com/office/drawing/2014/main" id="{8754AD9F-4E7A-4095-AD32-405079E87C6C}"/>
              </a:ext>
            </a:extLst>
          </p:cNvPr>
          <p:cNvSpPr/>
          <p:nvPr/>
        </p:nvSpPr>
        <p:spPr>
          <a:xfrm rot="19152007">
            <a:off x="10268941" y="2390276"/>
            <a:ext cx="410655" cy="410655"/>
          </a:xfrm>
          <a:prstGeom prst="teardrop">
            <a:avLst/>
          </a:prstGeom>
          <a:solidFill>
            <a:srgbClr val="00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grpSp>
        <p:nvGrpSpPr>
          <p:cNvPr id="235" name="Groupe 176">
            <a:extLst>
              <a:ext uri="{FF2B5EF4-FFF2-40B4-BE49-F238E27FC236}">
                <a16:creationId xmlns:a16="http://schemas.microsoft.com/office/drawing/2014/main" id="{325459C1-2D02-4A39-BCA8-B757D0A1DA0E}"/>
              </a:ext>
            </a:extLst>
          </p:cNvPr>
          <p:cNvGrpSpPr/>
          <p:nvPr/>
        </p:nvGrpSpPr>
        <p:grpSpPr>
          <a:xfrm>
            <a:off x="8086217" y="5470286"/>
            <a:ext cx="395151" cy="615430"/>
            <a:chOff x="-1154082" y="1981362"/>
            <a:chExt cx="172287" cy="268329"/>
          </a:xfrm>
          <a:solidFill>
            <a:srgbClr val="14596B"/>
          </a:solidFill>
        </p:grpSpPr>
        <p:sp>
          <p:nvSpPr>
            <p:cNvPr id="236" name="Freeform 126">
              <a:extLst>
                <a:ext uri="{FF2B5EF4-FFF2-40B4-BE49-F238E27FC236}">
                  <a16:creationId xmlns:a16="http://schemas.microsoft.com/office/drawing/2014/main" id="{C43E7795-4018-459A-A639-33C42D6C5F10}"/>
                </a:ext>
              </a:extLst>
            </p:cNvPr>
            <p:cNvSpPr>
              <a:spLocks/>
            </p:cNvSpPr>
            <p:nvPr/>
          </p:nvSpPr>
          <p:spPr bwMode="auto">
            <a:xfrm flipH="1">
              <a:off x="-1154082" y="2035150"/>
              <a:ext cx="41298" cy="214540"/>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37" name="Freeform 128">
              <a:extLst>
                <a:ext uri="{FF2B5EF4-FFF2-40B4-BE49-F238E27FC236}">
                  <a16:creationId xmlns:a16="http://schemas.microsoft.com/office/drawing/2014/main" id="{9AF7CC05-5BE9-401D-B140-C58CB111B253}"/>
                </a:ext>
              </a:extLst>
            </p:cNvPr>
            <p:cNvSpPr>
              <a:spLocks/>
            </p:cNvSpPr>
            <p:nvPr/>
          </p:nvSpPr>
          <p:spPr bwMode="auto">
            <a:xfrm flipH="1">
              <a:off x="-1094034" y="2105316"/>
              <a:ext cx="45719" cy="144374"/>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38" name="Freeform 129">
              <a:extLst>
                <a:ext uri="{FF2B5EF4-FFF2-40B4-BE49-F238E27FC236}">
                  <a16:creationId xmlns:a16="http://schemas.microsoft.com/office/drawing/2014/main" id="{709B7DAC-9B06-4E73-8BB3-6A898042D7D7}"/>
                </a:ext>
              </a:extLst>
            </p:cNvPr>
            <p:cNvSpPr>
              <a:spLocks/>
            </p:cNvSpPr>
            <p:nvPr/>
          </p:nvSpPr>
          <p:spPr bwMode="auto">
            <a:xfrm flipH="1">
              <a:off x="-1029564" y="2164076"/>
              <a:ext cx="38275" cy="85615"/>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239" name="Freeform 130">
              <a:extLst>
                <a:ext uri="{FF2B5EF4-FFF2-40B4-BE49-F238E27FC236}">
                  <a16:creationId xmlns:a16="http://schemas.microsoft.com/office/drawing/2014/main" id="{7855AA7B-92F6-4078-AFD2-D2947FAEC508}"/>
                </a:ext>
              </a:extLst>
            </p:cNvPr>
            <p:cNvSpPr>
              <a:spLocks/>
            </p:cNvSpPr>
            <p:nvPr/>
          </p:nvSpPr>
          <p:spPr bwMode="auto">
            <a:xfrm rot="10800000" flipH="1">
              <a:off x="-1138090" y="1981362"/>
              <a:ext cx="156295" cy="123954"/>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96" name="Ellipse 95">
            <a:extLst>
              <a:ext uri="{FF2B5EF4-FFF2-40B4-BE49-F238E27FC236}">
                <a16:creationId xmlns:a16="http://schemas.microsoft.com/office/drawing/2014/main" id="{6347AA2F-BF31-4727-9215-81D37F2300B4}"/>
              </a:ext>
            </a:extLst>
          </p:cNvPr>
          <p:cNvSpPr/>
          <p:nvPr/>
        </p:nvSpPr>
        <p:spPr>
          <a:xfrm>
            <a:off x="12446000" y="266700"/>
            <a:ext cx="469900" cy="469900"/>
          </a:xfrm>
          <a:prstGeom prst="ellipse">
            <a:avLst/>
          </a:prstGeom>
          <a:solidFill>
            <a:srgbClr val="2EA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grpSp>
        <p:nvGrpSpPr>
          <p:cNvPr id="98" name="Groupe 107">
            <a:extLst>
              <a:ext uri="{FF2B5EF4-FFF2-40B4-BE49-F238E27FC236}">
                <a16:creationId xmlns:a16="http://schemas.microsoft.com/office/drawing/2014/main" id="{06456B97-E2B4-44FB-A958-634F4571F0FE}"/>
              </a:ext>
            </a:extLst>
          </p:cNvPr>
          <p:cNvGrpSpPr/>
          <p:nvPr/>
        </p:nvGrpSpPr>
        <p:grpSpPr>
          <a:xfrm>
            <a:off x="8044055" y="4063797"/>
            <a:ext cx="437313" cy="681095"/>
            <a:chOff x="8104424" y="4551848"/>
            <a:chExt cx="574339" cy="894506"/>
          </a:xfrm>
        </p:grpSpPr>
        <p:sp>
          <p:nvSpPr>
            <p:cNvPr id="100" name="Freeform 126">
              <a:extLst>
                <a:ext uri="{FF2B5EF4-FFF2-40B4-BE49-F238E27FC236}">
                  <a16:creationId xmlns:a16="http://schemas.microsoft.com/office/drawing/2014/main" id="{577174F5-C3A6-4C87-98FA-E4411E87BF05}"/>
                </a:ext>
              </a:extLst>
            </p:cNvPr>
            <p:cNvSpPr>
              <a:spLocks/>
            </p:cNvSpPr>
            <p:nvPr/>
          </p:nvSpPr>
          <p:spPr bwMode="auto">
            <a:xfrm>
              <a:off x="8541091" y="4731157"/>
              <a:ext cx="137672" cy="715194"/>
            </a:xfrm>
            <a:custGeom>
              <a:avLst/>
              <a:gdLst>
                <a:gd name="T0" fmla="*/ 0 w 17"/>
                <a:gd name="T1" fmla="*/ 7 h 90"/>
                <a:gd name="T2" fmla="*/ 8 w 17"/>
                <a:gd name="T3" fmla="*/ 0 h 90"/>
                <a:gd name="T4" fmla="*/ 9 w 17"/>
                <a:gd name="T5" fmla="*/ 0 h 90"/>
                <a:gd name="T6" fmla="*/ 17 w 17"/>
                <a:gd name="T7" fmla="*/ 0 h 90"/>
                <a:gd name="T8" fmla="*/ 17 w 17"/>
                <a:gd name="T9" fmla="*/ 90 h 90"/>
                <a:gd name="T10" fmla="*/ 0 w 17"/>
                <a:gd name="T11" fmla="*/ 90 h 90"/>
                <a:gd name="T12" fmla="*/ 0 w 17"/>
                <a:gd name="T13" fmla="*/ 7 h 90"/>
              </a:gdLst>
              <a:ahLst/>
              <a:cxnLst>
                <a:cxn ang="0">
                  <a:pos x="T0" y="T1"/>
                </a:cxn>
                <a:cxn ang="0">
                  <a:pos x="T2" y="T3"/>
                </a:cxn>
                <a:cxn ang="0">
                  <a:pos x="T4" y="T5"/>
                </a:cxn>
                <a:cxn ang="0">
                  <a:pos x="T6" y="T7"/>
                </a:cxn>
                <a:cxn ang="0">
                  <a:pos x="T8" y="T9"/>
                </a:cxn>
                <a:cxn ang="0">
                  <a:pos x="T10" y="T11"/>
                </a:cxn>
                <a:cxn ang="0">
                  <a:pos x="T12" y="T13"/>
                </a:cxn>
              </a:cxnLst>
              <a:rect l="0" t="0" r="r" b="b"/>
              <a:pathLst>
                <a:path w="17" h="90">
                  <a:moveTo>
                    <a:pt x="0" y="7"/>
                  </a:moveTo>
                  <a:cubicBezTo>
                    <a:pt x="0" y="3"/>
                    <a:pt x="4" y="0"/>
                    <a:pt x="8" y="0"/>
                  </a:cubicBezTo>
                  <a:cubicBezTo>
                    <a:pt x="9" y="0"/>
                    <a:pt x="9" y="0"/>
                    <a:pt x="9" y="0"/>
                  </a:cubicBezTo>
                  <a:cubicBezTo>
                    <a:pt x="17" y="0"/>
                    <a:pt x="17" y="0"/>
                    <a:pt x="17" y="0"/>
                  </a:cubicBezTo>
                  <a:cubicBezTo>
                    <a:pt x="17" y="90"/>
                    <a:pt x="17" y="90"/>
                    <a:pt x="17" y="90"/>
                  </a:cubicBezTo>
                  <a:cubicBezTo>
                    <a:pt x="0" y="90"/>
                    <a:pt x="0" y="90"/>
                    <a:pt x="0" y="90"/>
                  </a:cubicBezTo>
                  <a:lnTo>
                    <a:pt x="0" y="7"/>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1" name="Freeform 128">
              <a:extLst>
                <a:ext uri="{FF2B5EF4-FFF2-40B4-BE49-F238E27FC236}">
                  <a16:creationId xmlns:a16="http://schemas.microsoft.com/office/drawing/2014/main" id="{B29E9649-F1BF-400B-B39B-2FB95249BBA2}"/>
                </a:ext>
              </a:extLst>
            </p:cNvPr>
            <p:cNvSpPr>
              <a:spLocks/>
            </p:cNvSpPr>
            <p:nvPr/>
          </p:nvSpPr>
          <p:spPr bwMode="auto">
            <a:xfrm>
              <a:off x="8326176" y="4965063"/>
              <a:ext cx="152410" cy="481288"/>
            </a:xfrm>
            <a:custGeom>
              <a:avLst/>
              <a:gdLst>
                <a:gd name="T0" fmla="*/ 0 w 16"/>
                <a:gd name="T1" fmla="*/ 8 h 51"/>
                <a:gd name="T2" fmla="*/ 8 w 16"/>
                <a:gd name="T3" fmla="*/ 0 h 51"/>
                <a:gd name="T4" fmla="*/ 9 w 16"/>
                <a:gd name="T5" fmla="*/ 0 h 51"/>
                <a:gd name="T6" fmla="*/ 16 w 16"/>
                <a:gd name="T7" fmla="*/ 0 h 51"/>
                <a:gd name="T8" fmla="*/ 16 w 16"/>
                <a:gd name="T9" fmla="*/ 51 h 51"/>
                <a:gd name="T10" fmla="*/ 0 w 16"/>
                <a:gd name="T11" fmla="*/ 51 h 51"/>
                <a:gd name="T12" fmla="*/ 0 w 16"/>
                <a:gd name="T13" fmla="*/ 8 h 51"/>
              </a:gdLst>
              <a:ahLst/>
              <a:cxnLst>
                <a:cxn ang="0">
                  <a:pos x="T0" y="T1"/>
                </a:cxn>
                <a:cxn ang="0">
                  <a:pos x="T2" y="T3"/>
                </a:cxn>
                <a:cxn ang="0">
                  <a:pos x="T4" y="T5"/>
                </a:cxn>
                <a:cxn ang="0">
                  <a:pos x="T6" y="T7"/>
                </a:cxn>
                <a:cxn ang="0">
                  <a:pos x="T8" y="T9"/>
                </a:cxn>
                <a:cxn ang="0">
                  <a:pos x="T10" y="T11"/>
                </a:cxn>
                <a:cxn ang="0">
                  <a:pos x="T12" y="T13"/>
                </a:cxn>
              </a:cxnLst>
              <a:rect l="0" t="0" r="r" b="b"/>
              <a:pathLst>
                <a:path w="16" h="51">
                  <a:moveTo>
                    <a:pt x="0" y="8"/>
                  </a:moveTo>
                  <a:cubicBezTo>
                    <a:pt x="0" y="4"/>
                    <a:pt x="3" y="0"/>
                    <a:pt x="8" y="0"/>
                  </a:cubicBezTo>
                  <a:cubicBezTo>
                    <a:pt x="9" y="0"/>
                    <a:pt x="9" y="0"/>
                    <a:pt x="9" y="0"/>
                  </a:cubicBezTo>
                  <a:cubicBezTo>
                    <a:pt x="16" y="0"/>
                    <a:pt x="16" y="0"/>
                    <a:pt x="16" y="0"/>
                  </a:cubicBezTo>
                  <a:cubicBezTo>
                    <a:pt x="16" y="51"/>
                    <a:pt x="16" y="51"/>
                    <a:pt x="16" y="51"/>
                  </a:cubicBezTo>
                  <a:cubicBezTo>
                    <a:pt x="0" y="51"/>
                    <a:pt x="0" y="51"/>
                    <a:pt x="0" y="51"/>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3" name="Freeform 129">
              <a:extLst>
                <a:ext uri="{FF2B5EF4-FFF2-40B4-BE49-F238E27FC236}">
                  <a16:creationId xmlns:a16="http://schemas.microsoft.com/office/drawing/2014/main" id="{98542600-FEF1-4336-8A8B-409FE067B8EF}"/>
                </a:ext>
              </a:extLst>
            </p:cNvPr>
            <p:cNvSpPr>
              <a:spLocks/>
            </p:cNvSpPr>
            <p:nvPr/>
          </p:nvSpPr>
          <p:spPr bwMode="auto">
            <a:xfrm>
              <a:off x="8136073" y="5160946"/>
              <a:ext cx="127594" cy="285408"/>
            </a:xfrm>
            <a:custGeom>
              <a:avLst/>
              <a:gdLst>
                <a:gd name="T0" fmla="*/ 0 w 16"/>
                <a:gd name="T1" fmla="*/ 8 h 36"/>
                <a:gd name="T2" fmla="*/ 7 w 16"/>
                <a:gd name="T3" fmla="*/ 0 h 36"/>
                <a:gd name="T4" fmla="*/ 9 w 16"/>
                <a:gd name="T5" fmla="*/ 0 h 36"/>
                <a:gd name="T6" fmla="*/ 16 w 16"/>
                <a:gd name="T7" fmla="*/ 0 h 36"/>
                <a:gd name="T8" fmla="*/ 16 w 16"/>
                <a:gd name="T9" fmla="*/ 36 h 36"/>
                <a:gd name="T10" fmla="*/ 0 w 16"/>
                <a:gd name="T11" fmla="*/ 36 h 36"/>
                <a:gd name="T12" fmla="*/ 0 w 16"/>
                <a:gd name="T13" fmla="*/ 8 h 36"/>
              </a:gdLst>
              <a:ahLst/>
              <a:cxnLst>
                <a:cxn ang="0">
                  <a:pos x="T0" y="T1"/>
                </a:cxn>
                <a:cxn ang="0">
                  <a:pos x="T2" y="T3"/>
                </a:cxn>
                <a:cxn ang="0">
                  <a:pos x="T4" y="T5"/>
                </a:cxn>
                <a:cxn ang="0">
                  <a:pos x="T6" y="T7"/>
                </a:cxn>
                <a:cxn ang="0">
                  <a:pos x="T8" y="T9"/>
                </a:cxn>
                <a:cxn ang="0">
                  <a:pos x="T10" y="T11"/>
                </a:cxn>
                <a:cxn ang="0">
                  <a:pos x="T12" y="T13"/>
                </a:cxn>
              </a:cxnLst>
              <a:rect l="0" t="0" r="r" b="b"/>
              <a:pathLst>
                <a:path w="16" h="36">
                  <a:moveTo>
                    <a:pt x="0" y="8"/>
                  </a:moveTo>
                  <a:cubicBezTo>
                    <a:pt x="0" y="3"/>
                    <a:pt x="3" y="0"/>
                    <a:pt x="7" y="0"/>
                  </a:cubicBezTo>
                  <a:cubicBezTo>
                    <a:pt x="9" y="0"/>
                    <a:pt x="9" y="0"/>
                    <a:pt x="9" y="0"/>
                  </a:cubicBezTo>
                  <a:cubicBezTo>
                    <a:pt x="16" y="0"/>
                    <a:pt x="16" y="0"/>
                    <a:pt x="16" y="0"/>
                  </a:cubicBezTo>
                  <a:cubicBezTo>
                    <a:pt x="16" y="36"/>
                    <a:pt x="16" y="36"/>
                    <a:pt x="16" y="36"/>
                  </a:cubicBezTo>
                  <a:cubicBezTo>
                    <a:pt x="0" y="36"/>
                    <a:pt x="0" y="36"/>
                    <a:pt x="0" y="36"/>
                  </a:cubicBezTo>
                  <a:lnTo>
                    <a:pt x="0" y="8"/>
                  </a:lnTo>
                  <a:close/>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04" name="Freeform 130">
              <a:extLst>
                <a:ext uri="{FF2B5EF4-FFF2-40B4-BE49-F238E27FC236}">
                  <a16:creationId xmlns:a16="http://schemas.microsoft.com/office/drawing/2014/main" id="{ABE88421-77E9-4FBA-91FD-FE16FCADF5C6}"/>
                </a:ext>
              </a:extLst>
            </p:cNvPr>
            <p:cNvSpPr>
              <a:spLocks/>
            </p:cNvSpPr>
            <p:nvPr/>
          </p:nvSpPr>
          <p:spPr bwMode="auto">
            <a:xfrm>
              <a:off x="8104424" y="4551848"/>
              <a:ext cx="521028" cy="413215"/>
            </a:xfrm>
            <a:custGeom>
              <a:avLst/>
              <a:gdLst>
                <a:gd name="T0" fmla="*/ 0 w 86"/>
                <a:gd name="T1" fmla="*/ 68 h 68"/>
                <a:gd name="T2" fmla="*/ 67 w 86"/>
                <a:gd name="T3" fmla="*/ 11 h 68"/>
                <a:gd name="T4" fmla="*/ 64 w 86"/>
                <a:gd name="T5" fmla="*/ 8 h 68"/>
                <a:gd name="T6" fmla="*/ 63 w 86"/>
                <a:gd name="T7" fmla="*/ 5 h 68"/>
                <a:gd name="T8" fmla="*/ 65 w 86"/>
                <a:gd name="T9" fmla="*/ 3 h 68"/>
                <a:gd name="T10" fmla="*/ 82 w 86"/>
                <a:gd name="T11" fmla="*/ 0 h 68"/>
                <a:gd name="T12" fmla="*/ 85 w 86"/>
                <a:gd name="T13" fmla="*/ 3 h 68"/>
                <a:gd name="T14" fmla="*/ 85 w 86"/>
                <a:gd name="T15" fmla="*/ 21 h 68"/>
                <a:gd name="T16" fmla="*/ 83 w 86"/>
                <a:gd name="T17" fmla="*/ 23 h 68"/>
                <a:gd name="T18" fmla="*/ 80 w 86"/>
                <a:gd name="T19" fmla="*/ 23 h 68"/>
                <a:gd name="T20" fmla="*/ 77 w 86"/>
                <a:gd name="T21" fmla="*/ 20 h 68"/>
                <a:gd name="T22" fmla="*/ 0 w 86"/>
                <a:gd name="T2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8">
                  <a:moveTo>
                    <a:pt x="0" y="68"/>
                  </a:moveTo>
                  <a:cubicBezTo>
                    <a:pt x="25" y="53"/>
                    <a:pt x="50" y="36"/>
                    <a:pt x="67" y="11"/>
                  </a:cubicBezTo>
                  <a:cubicBezTo>
                    <a:pt x="66" y="10"/>
                    <a:pt x="65" y="9"/>
                    <a:pt x="64" y="8"/>
                  </a:cubicBezTo>
                  <a:cubicBezTo>
                    <a:pt x="63" y="7"/>
                    <a:pt x="62" y="6"/>
                    <a:pt x="63" y="5"/>
                  </a:cubicBezTo>
                  <a:cubicBezTo>
                    <a:pt x="63" y="4"/>
                    <a:pt x="64" y="3"/>
                    <a:pt x="65" y="3"/>
                  </a:cubicBezTo>
                  <a:cubicBezTo>
                    <a:pt x="71" y="2"/>
                    <a:pt x="77" y="1"/>
                    <a:pt x="82" y="0"/>
                  </a:cubicBezTo>
                  <a:cubicBezTo>
                    <a:pt x="84" y="0"/>
                    <a:pt x="86" y="1"/>
                    <a:pt x="85" y="3"/>
                  </a:cubicBezTo>
                  <a:cubicBezTo>
                    <a:pt x="85" y="9"/>
                    <a:pt x="85" y="15"/>
                    <a:pt x="85" y="21"/>
                  </a:cubicBezTo>
                  <a:cubicBezTo>
                    <a:pt x="85" y="22"/>
                    <a:pt x="84" y="23"/>
                    <a:pt x="83" y="23"/>
                  </a:cubicBezTo>
                  <a:cubicBezTo>
                    <a:pt x="82" y="24"/>
                    <a:pt x="81" y="23"/>
                    <a:pt x="80" y="23"/>
                  </a:cubicBezTo>
                  <a:cubicBezTo>
                    <a:pt x="79" y="22"/>
                    <a:pt x="78" y="21"/>
                    <a:pt x="77" y="20"/>
                  </a:cubicBezTo>
                  <a:cubicBezTo>
                    <a:pt x="56" y="43"/>
                    <a:pt x="30" y="59"/>
                    <a:pt x="0" y="68"/>
                  </a:cubicBezTo>
                </a:path>
              </a:pathLst>
            </a:custGeom>
            <a:solidFill>
              <a:srgbClr val="0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
        <p:nvSpPr>
          <p:cNvPr id="2" name="ZoneTexte 1">
            <a:extLst>
              <a:ext uri="{FF2B5EF4-FFF2-40B4-BE49-F238E27FC236}">
                <a16:creationId xmlns:a16="http://schemas.microsoft.com/office/drawing/2014/main" id="{AC44B1D0-0FDF-4298-86A0-77E32870BD0C}"/>
              </a:ext>
            </a:extLst>
          </p:cNvPr>
          <p:cNvSpPr txBox="1"/>
          <p:nvPr/>
        </p:nvSpPr>
        <p:spPr>
          <a:xfrm>
            <a:off x="8656104" y="4135546"/>
            <a:ext cx="341760" cy="584775"/>
          </a:xfrm>
          <a:prstGeom prst="rect">
            <a:avLst/>
          </a:prstGeom>
          <a:noFill/>
        </p:spPr>
        <p:txBody>
          <a:bodyPr wrap="none" rtlCol="0">
            <a:spAutoFit/>
          </a:bodyPr>
          <a:lstStyle/>
          <a:p>
            <a:r>
              <a:rPr lang="fr-FR" sz="3200"/>
              <a:t>/</a:t>
            </a:r>
          </a:p>
        </p:txBody>
      </p:sp>
    </p:spTree>
    <p:extLst>
      <p:ext uri="{BB962C8B-B14F-4D97-AF65-F5344CB8AC3E}">
        <p14:creationId xmlns:p14="http://schemas.microsoft.com/office/powerpoint/2010/main" val="5721895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renewable energy*sustainable*sustainability*power*electricity*solar*windmill*global warmin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gemini2021">
  <a:themeElements>
    <a:clrScheme name="CG NEW COLOR 2022">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WEMO 2022_External Template_20220823_v4" id="{B82B386B-FFCD-4A52-8790-75692567F334}" vid="{E3F567AC-7CAF-4277-8670-8A8CBDD0E0BF}"/>
    </a:ext>
  </a:extLst>
</a:theme>
</file>

<file path=ppt/theme/theme2.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WEMO Template_20210901_v3" id="{CF5F359F-0549-4849-B319-F5B8D3239BFA}" vid="{5F95571C-0538-4BE1-9803-0EE6B81BD992}"/>
    </a:ext>
  </a:extLst>
</a:theme>
</file>

<file path=ppt/theme/theme3.xml><?xml version="1.0" encoding="utf-8"?>
<a:theme xmlns:a="http://schemas.openxmlformats.org/drawingml/2006/main" name="1_Capgemini2021">
  <a:themeElements>
    <a:clrScheme name="CG NEW COLOR 2022">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63147"/>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custClrLst>
    <a:custClr name="Green A">
      <a:srgbClr val="57CF80"/>
    </a:custClr>
    <a:custClr name="Green B">
      <a:srgbClr val="33B569"/>
    </a:custClr>
    <a:custClr name="Green C">
      <a:srgbClr val="2EA657"/>
    </a:custClr>
    <a:custClr name="Green D">
      <a:srgbClr val="178C3D"/>
    </a:custClr>
    <a:custClr name="Green E">
      <a:srgbClr val="176036"/>
    </a:custClr>
    <a:custClr name="Teal A">
      <a:srgbClr val="00E6E3"/>
    </a:custClr>
    <a:custClr name="Teal B">
      <a:srgbClr val="00D5D0"/>
    </a:custClr>
    <a:custClr name="Teal C">
      <a:srgbClr val="00BFBF"/>
    </a:custClr>
    <a:custClr name="Teal D">
      <a:srgbClr val="00929B"/>
    </a:custClr>
    <a:custClr name="Teal E">
      <a:srgbClr val="007D74"/>
    </a:custClr>
    <a:custClr name="Peacock A">
      <a:srgbClr val="00E0CB"/>
    </a:custClr>
    <a:custClr name="Peacock B">
      <a:srgbClr val="00B2A2"/>
    </a:custClr>
    <a:custClr name="Peacock C">
      <a:srgbClr val="0F878A"/>
    </a:custClr>
    <a:custClr name="Peacock D">
      <a:srgbClr val="0F6A73"/>
    </a:custClr>
    <a:custClr name="Peacock E">
      <a:srgbClr val="0F434A"/>
    </a:custClr>
    <a:custClr name="Sapphire A">
      <a:srgbClr val="338091"/>
    </a:custClr>
    <a:custClr name="Sapphire B">
      <a:srgbClr val="336B7D"/>
    </a:custClr>
    <a:custClr name="Sapphire C">
      <a:srgbClr val="14596B"/>
    </a:custClr>
    <a:custClr name="Sapphire D">
      <a:srgbClr val="214554"/>
    </a:custClr>
    <a:custClr name="Sapphire E">
      <a:srgbClr val="173340"/>
    </a:custClr>
    <a:custClr name="Violet A">
      <a:srgbClr val="E557AD"/>
    </a:custClr>
    <a:custClr name="Violet B">
      <a:srgbClr val="D13A8C"/>
    </a:custClr>
    <a:custClr name="Violet C">
      <a:srgbClr val="BA2980"/>
    </a:custClr>
    <a:custClr name="Violet D">
      <a:srgbClr val="A12980"/>
    </a:custClr>
    <a:custClr name="Violet E">
      <a:srgbClr val="811B6F"/>
    </a:custClr>
    <a:custClr name="Yellow A">
      <a:srgbClr val="FFDA80"/>
    </a:custClr>
    <a:custClr name="Yellow B">
      <a:srgbClr val="FFD068"/>
    </a:custClr>
    <a:custClr name="Yellow C">
      <a:srgbClr val="FFB24A"/>
    </a:custClr>
    <a:custClr name="Yellow D">
      <a:srgbClr val="FF9C29"/>
    </a:custClr>
    <a:custClr name="Yellow E">
      <a:srgbClr val="FF8E12"/>
    </a:custClr>
    <a:custClr name="Velvet A">
      <a:srgbClr val="9E4780"/>
    </a:custClr>
    <a:custClr name="Velvet B">
      <a:srgbClr val="802B73"/>
    </a:custClr>
    <a:custClr name="Velvet C">
      <a:srgbClr val="750D5C"/>
    </a:custClr>
    <a:custClr name="Velvet D">
      <a:srgbClr val="590A42"/>
    </a:custClr>
    <a:custClr name="Velvet E">
      <a:srgbClr val="42142E"/>
    </a:custClr>
    <a:custClr name="Red A">
      <a:srgbClr val="FF5770"/>
    </a:custClr>
    <a:custClr name="Red B">
      <a:srgbClr val="FF455E"/>
    </a:custClr>
    <a:custClr name="Red C">
      <a:srgbClr val="FF304D"/>
    </a:custClr>
    <a:custClr name="Red D">
      <a:srgbClr val="E30021"/>
    </a:custClr>
    <a:custClr name="Red E">
      <a:srgbClr val="A6001A"/>
    </a:custClr>
  </a:custClrLst>
  <a:extLst>
    <a:ext uri="{05A4C25C-085E-4340-85A3-A5531E510DB2}">
      <thm15:themeFamily xmlns:thm15="http://schemas.microsoft.com/office/thememl/2012/main" name="WEMO 2022_External Template_20220823_v4" id="{B82B386B-FFCD-4A52-8790-75692567F334}" vid="{E3F567AC-7CAF-4277-8670-8A8CBDD0E0BF}"/>
    </a:ext>
  </a:extLst>
</a:theme>
</file>

<file path=ppt/theme/theme4.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b889b80-604b-4081-b848-64b1d8b53630">
      <Terms xmlns="http://schemas.microsoft.com/office/infopath/2007/PartnerControls"/>
    </lcf76f155ced4ddcb4097134ff3c332f>
    <TaxCatchAll xmlns="9a10f49c-4105-4da7-a2c4-c6a3d00590b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F34CCE6959F594EADAEF4FAC3DCE259" ma:contentTypeVersion="8" ma:contentTypeDescription="Create a new document." ma:contentTypeScope="" ma:versionID="9c53e40427496a4baf278691c6956e54">
  <xsd:schema xmlns:xsd="http://www.w3.org/2001/XMLSchema" xmlns:xs="http://www.w3.org/2001/XMLSchema" xmlns:p="http://schemas.microsoft.com/office/2006/metadata/properties" xmlns:ns2="eb889b80-604b-4081-b848-64b1d8b53630" xmlns:ns3="9a10f49c-4105-4da7-a2c4-c6a3d00590bf" targetNamespace="http://schemas.microsoft.com/office/2006/metadata/properties" ma:root="true" ma:fieldsID="b5be0a0e290c89564a833ba3129614df" ns2:_="" ns3:_="">
    <xsd:import namespace="eb889b80-604b-4081-b848-64b1d8b53630"/>
    <xsd:import namespace="9a10f49c-4105-4da7-a2c4-c6a3d00590bf"/>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889b80-604b-4081-b848-64b1d8b536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a10f49c-4105-4da7-a2c4-c6a3d00590bf"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35a5f8d4-31d5-43fe-8c1c-d1dd46918474}" ma:internalName="TaxCatchAll" ma:showField="CatchAllData" ma:web="9a10f49c-4105-4da7-a2c4-c6a3d00590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9a10f49c-4105-4da7-a2c4-c6a3d00590bf"/>
    <ds:schemaRef ds:uri="eb889b80-604b-4081-b848-64b1d8b53630"/>
    <ds:schemaRef ds:uri="http://www.w3.org/XML/1998/namespace"/>
    <ds:schemaRef ds:uri="http://purl.org/dc/dcmitype/"/>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763ED6E6-21F9-48D5-A84E-35F71F65784B}">
  <ds:schemaRefs>
    <ds:schemaRef ds:uri="9a10f49c-4105-4da7-a2c4-c6a3d00590bf"/>
    <ds:schemaRef ds:uri="eb889b80-604b-4081-b848-64b1d8b5363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WEMO 2022_External Template_20220823_v4</Template>
  <TotalTime>0</TotalTime>
  <Words>4412</Words>
  <Application>Microsoft Office PowerPoint</Application>
  <PresentationFormat>Breitbild</PresentationFormat>
  <Paragraphs>582</Paragraphs>
  <Slides>40</Slides>
  <Notes>30</Notes>
  <HiddenSlides>1</HiddenSlides>
  <MMClips>0</MMClips>
  <ScaleCrop>false</ScaleCrop>
  <HeadingPairs>
    <vt:vector size="8" baseType="variant">
      <vt:variant>
        <vt:lpstr>Verwendete Schriftarten</vt:lpstr>
      </vt:variant>
      <vt:variant>
        <vt:i4>12</vt:i4>
      </vt:variant>
      <vt:variant>
        <vt:lpstr>Design</vt:lpstr>
      </vt:variant>
      <vt:variant>
        <vt:i4>3</vt:i4>
      </vt:variant>
      <vt:variant>
        <vt:lpstr>Eingebettete OLE-Server</vt:lpstr>
      </vt:variant>
      <vt:variant>
        <vt:i4>1</vt:i4>
      </vt:variant>
      <vt:variant>
        <vt:lpstr>Folientitel</vt:lpstr>
      </vt:variant>
      <vt:variant>
        <vt:i4>40</vt:i4>
      </vt:variant>
    </vt:vector>
  </HeadingPairs>
  <TitlesOfParts>
    <vt:vector size="56" baseType="lpstr">
      <vt:lpstr>Arial</vt:lpstr>
      <vt:lpstr>Ubuntu</vt:lpstr>
      <vt:lpstr>Wingdings</vt:lpstr>
      <vt:lpstr>Helvetica Neue</vt:lpstr>
      <vt:lpstr>Calibri Light</vt:lpstr>
      <vt:lpstr>roboto</vt:lpstr>
      <vt:lpstr>Georgia</vt:lpstr>
      <vt:lpstr>Verdana</vt:lpstr>
      <vt:lpstr>Calibri</vt:lpstr>
      <vt:lpstr>Ubuntu Light</vt:lpstr>
      <vt:lpstr>Ubuntu Medium</vt:lpstr>
      <vt:lpstr>inherit</vt:lpstr>
      <vt:lpstr>Capgemini2021</vt:lpstr>
      <vt:lpstr>Capgemini Master 2021</vt:lpstr>
      <vt:lpstr>1_Capgemini2021</vt:lpstr>
      <vt:lpstr>think-cell Slide</vt:lpstr>
      <vt:lpstr>balancing the fight against climate change WITH energy security</vt:lpstr>
      <vt:lpstr>PowerPoint-Präsentation</vt:lpstr>
      <vt:lpstr>Energy crisEs</vt:lpstr>
      <vt:lpstr>How did we get there?</vt:lpstr>
      <vt:lpstr>PowerPoint-Präsentation</vt:lpstr>
      <vt:lpstr>ENERGY is also A driver of the Ukraine invasion</vt:lpstr>
      <vt:lpstr>4 SUCCESSIVE CRISES</vt:lpstr>
      <vt:lpstr>price evolution during the crises</vt:lpstr>
      <vt:lpstr>CRISES IMPACT ON ENERGY PLAYERS Finance</vt:lpstr>
      <vt:lpstr>HOW TO MANAGE EUROPEAN ENERGY security of SUPPLY WITHOUT RUSSIAN FOSSIL ENERGIES?</vt:lpstr>
      <vt:lpstr>Retail market consolidation as many retailers have gone bankrupt </vt:lpstr>
      <vt:lpstr>Technologies update</vt:lpstr>
      <vt:lpstr>Progress in Low Carbon Technologies</vt:lpstr>
      <vt:lpstr>Power sector INVESTMENTS: investment in grids is critical for energy transition</vt:lpstr>
      <vt:lpstr>Renewables investments have increased but are Below objectives</vt:lpstr>
      <vt:lpstr>93 GW of wind and 133 GW of solar installed in 2021 despite a decline in Chinese wind</vt:lpstr>
      <vt:lpstr>Advances in wind technologies</vt:lpstr>
      <vt:lpstr>a slowdown in onshore installations but a significant increase in offshore installations</vt:lpstr>
      <vt:lpstr>Advances in PV solar technologies</vt:lpstr>
      <vt:lpstr>A rise in wind and solar COSTS after 10 years of decrease</vt:lpstr>
      <vt:lpstr>NUCLEAR RENAISSANCE</vt:lpstr>
      <vt:lpstr>NUCLEAR RENAISSANCE</vt:lpstr>
      <vt:lpstr>An increase in the demand for batteries requiring the development of gigafactories</vt:lpstr>
      <vt:lpstr>Li-ion batteries dominate the market, but new batteries with lower critical metal requirements are being developed </vt:lpstr>
      <vt:lpstr>Forecast of lithium required with current technologies</vt:lpstr>
      <vt:lpstr>coal usage is increasing: 2022 will be a record year in coal consumption</vt:lpstr>
      <vt:lpstr>CO2 Capture is badly needed</vt:lpstr>
      <vt:lpstr>Ccus projects ARE Becoming more competitive with carbon price increase</vt:lpstr>
      <vt:lpstr>Governments’ support, green hydrogen Production objectives are very ambitious</vt:lpstr>
      <vt:lpstr>LCOE Comparison - Renewable Energy versus Marginal Cost of Selected Existing Conventional Generation</vt:lpstr>
      <vt:lpstr>Have wE LOst SIGHT OF CLIMATE CHANGE?</vt:lpstr>
      <vt:lpstr>Access to energy AT an affordable price, must be possible for everybody</vt:lpstr>
      <vt:lpstr>Europe action’S against climate change ARE accelerated by the Russian invasion of Ukraine</vt:lpstr>
      <vt:lpstr>high electricity prices and net zero carbon objectives are pushing PPA demand up</vt:lpstr>
      <vt:lpstr>Bold us decisions to accelerate its energy transition and reduce  its ghgs emissions</vt:lpstr>
      <vt:lpstr>Conclusions and Recommendations</vt:lpstr>
      <vt:lpstr>Conclusions &amp; recommendations</vt:lpstr>
      <vt:lpstr>PowerPoint-Präsentation</vt:lpstr>
      <vt:lpstr>THANK YOU</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Capgemini template</dc:subject>
  <dc:creator>Vié, Philippe</dc:creator>
  <cp:lastModifiedBy>Luther Gerhard</cp:lastModifiedBy>
  <cp:revision>21</cp:revision>
  <cp:lastPrinted>2022-10-11T13:42:29Z</cp:lastPrinted>
  <dcterms:created xsi:type="dcterms:W3CDTF">2022-08-24T05:28:22Z</dcterms:created>
  <dcterms:modified xsi:type="dcterms:W3CDTF">2023-04-25T20:07:31Z</dcterms:modified>
  <cp:category>Enter Data Classification</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F34CCE6959F594EADAEF4FAC3DCE259</vt:lpwstr>
  </property>
  <property fmtid="{D5CDD505-2E9C-101B-9397-08002B2CF9AE}" pid="3" name="MediaServiceImageTags">
    <vt:lpwstr/>
  </property>
</Properties>
</file>